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5.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7.xml" ContentType="application/vnd.openxmlformats-officedocument.theme+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8.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9.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theme/theme10.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11.xml" ContentType="application/vnd.openxmlformats-officedocument.theme+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theme/theme1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13.xml" ContentType="application/vnd.openxmlformats-officedocument.theme+xml"/>
  <Override PartName="/ppt/tags/tag50.xml" ContentType="application/vnd.openxmlformats-officedocument.presentationml.tags+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theme/theme14.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theme/theme15.xml" ContentType="application/vnd.openxmlformats-officedocument.theme+xml"/>
  <Override PartName="/ppt/tags/tag53.xml" ContentType="application/vnd.openxmlformats-officedocument.presentationml.tags+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theme/theme16.xml" ContentType="application/vnd.openxmlformats-officedocument.theme+xml"/>
  <Override PartName="/ppt/tags/tag54.xml" ContentType="application/vnd.openxmlformats-officedocument.presentationml.tags+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theme/theme17.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theme/theme18.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theme/theme19.xml" ContentType="application/vnd.openxmlformats-officedocument.theme+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theme/theme20.xml" ContentType="application/vnd.openxmlformats-officedocument.theme+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theme/theme21.xml" ContentType="application/vnd.openxmlformats-officedocument.theme+xml"/>
  <Override PartName="/ppt/tags/tag65.xml" ContentType="application/vnd.openxmlformats-officedocument.presentationml.tags+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theme/theme22.xml" ContentType="application/vnd.openxmlformats-officedocument.theme+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theme/theme23.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theme/theme24.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theme/theme25.xml" ContentType="application/vnd.openxmlformats-officedocument.them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theme/theme26.xml" ContentType="application/vnd.openxmlformats-officedocument.them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theme/theme27.xml" ContentType="application/vnd.openxmlformats-officedocument.them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theme/theme28.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theme/theme29.xml" ContentType="application/vnd.openxmlformats-officedocument.them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theme/theme30.xml" ContentType="application/vnd.openxmlformats-officedocument.them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theme/theme31.xml" ContentType="application/vnd.openxmlformats-officedocument.theme+xml"/>
  <Override PartName="/ppt/tags/tag158.xml" ContentType="application/vnd.openxmlformats-officedocument.presentationml.tags+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theme/theme32.xml" ContentType="application/vnd.openxmlformats-officedocument.them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theme/theme33.xml" ContentType="application/vnd.openxmlformats-officedocument.them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theme/theme34.xml" ContentType="application/vnd.openxmlformats-officedocument.them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theme/theme35.xml" ContentType="application/vnd.openxmlformats-officedocument.theme+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theme/theme36.xml" ContentType="application/vnd.openxmlformats-officedocument.them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theme/theme37.xml" ContentType="application/vnd.openxmlformats-officedocument.them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theme/theme38.xml" ContentType="application/vnd.openxmlformats-officedocument.theme+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theme/theme39.xml" ContentType="application/vnd.openxmlformats-officedocument.them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heme/theme4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notesSlides/notesSlide6.xml" ContentType="application/vnd.openxmlformats-officedocument.presentationml.notesSlide+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tags/tag242.xml" ContentType="application/vnd.openxmlformats-officedocument.presentationml.tags+xml"/>
  <Override PartName="/ppt/tags/tag243.xml" ContentType="application/vnd.openxmlformats-officedocument.presentationml.tags+xml"/>
  <Override PartName="/ppt/notesSlides/notesSlide8.xml" ContentType="application/vnd.openxmlformats-officedocument.presentationml.notesSlide+xml"/>
  <Override PartName="/ppt/tags/tag24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4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4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47.xml" ContentType="application/vnd.openxmlformats-officedocument.presentationml.tags+xml"/>
  <Override PartName="/ppt/notesSlides/notesSlide24.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50.xml" ContentType="application/vnd.openxmlformats-officedocument.presentationml.tags+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99" r:id="rId2"/>
    <p:sldMasterId id="2147483737" r:id="rId3"/>
    <p:sldMasterId id="2147483775" r:id="rId4"/>
    <p:sldMasterId id="2147483813" r:id="rId5"/>
    <p:sldMasterId id="2147483857" r:id="rId6"/>
    <p:sldMasterId id="2147483895" r:id="rId7"/>
    <p:sldMasterId id="2147483925" r:id="rId8"/>
    <p:sldMasterId id="2147483960" r:id="rId9"/>
    <p:sldMasterId id="2147483995" r:id="rId10"/>
    <p:sldMasterId id="2147484030" r:id="rId11"/>
    <p:sldMasterId id="2147484056" r:id="rId12"/>
    <p:sldMasterId id="2147484093" r:id="rId13"/>
    <p:sldMasterId id="2147484130" r:id="rId14"/>
    <p:sldMasterId id="2147484167" r:id="rId15"/>
    <p:sldMasterId id="2147484221" r:id="rId16"/>
    <p:sldMasterId id="2147484257" r:id="rId17"/>
    <p:sldMasterId id="2147484410" r:id="rId18"/>
    <p:sldMasterId id="2147484427" r:id="rId19"/>
    <p:sldMasterId id="2147484457" r:id="rId20"/>
    <p:sldMasterId id="2147484566" r:id="rId21"/>
    <p:sldMasterId id="2147484603" r:id="rId22"/>
    <p:sldMasterId id="2147484615" r:id="rId23"/>
    <p:sldMasterId id="2147484665" r:id="rId24"/>
    <p:sldMasterId id="2147484704" r:id="rId25"/>
    <p:sldMasterId id="2147484743" r:id="rId26"/>
    <p:sldMasterId id="2147484781" r:id="rId27"/>
    <p:sldMasterId id="2147484819" r:id="rId28"/>
    <p:sldMasterId id="2147484857" r:id="rId29"/>
    <p:sldMasterId id="2147484919" r:id="rId30"/>
    <p:sldMasterId id="2147484938" r:id="rId31"/>
    <p:sldMasterId id="2147484943" r:id="rId32"/>
    <p:sldMasterId id="2147484949" r:id="rId33"/>
    <p:sldMasterId id="2147484955" r:id="rId34"/>
    <p:sldMasterId id="2147484960" r:id="rId35"/>
    <p:sldMasterId id="2147484991" r:id="rId36"/>
    <p:sldMasterId id="2147485037" r:id="rId37"/>
    <p:sldMasterId id="2147485055" r:id="rId38"/>
    <p:sldMasterId id="2147485099" r:id="rId39"/>
  </p:sldMasterIdLst>
  <p:notesMasterIdLst>
    <p:notesMasterId r:id="rId71"/>
  </p:notesMasterIdLst>
  <p:sldIdLst>
    <p:sldId id="383" r:id="rId40"/>
    <p:sldId id="452" r:id="rId41"/>
    <p:sldId id="496" r:id="rId42"/>
    <p:sldId id="489" r:id="rId43"/>
    <p:sldId id="324" r:id="rId44"/>
    <p:sldId id="505" r:id="rId45"/>
    <p:sldId id="506" r:id="rId46"/>
    <p:sldId id="507" r:id="rId47"/>
    <p:sldId id="508" r:id="rId48"/>
    <p:sldId id="385" r:id="rId49"/>
    <p:sldId id="485" r:id="rId50"/>
    <p:sldId id="493" r:id="rId51"/>
    <p:sldId id="492" r:id="rId52"/>
    <p:sldId id="495" r:id="rId53"/>
    <p:sldId id="469" r:id="rId54"/>
    <p:sldId id="470" r:id="rId55"/>
    <p:sldId id="472" r:id="rId56"/>
    <p:sldId id="512" r:id="rId57"/>
    <p:sldId id="518" r:id="rId58"/>
    <p:sldId id="523" r:id="rId59"/>
    <p:sldId id="511" r:id="rId60"/>
    <p:sldId id="520" r:id="rId61"/>
    <p:sldId id="521" r:id="rId62"/>
    <p:sldId id="522" r:id="rId63"/>
    <p:sldId id="519" r:id="rId64"/>
    <p:sldId id="500" r:id="rId65"/>
    <p:sldId id="491" r:id="rId66"/>
    <p:sldId id="355" r:id="rId67"/>
    <p:sldId id="444" r:id="rId68"/>
    <p:sldId id="394" r:id="rId69"/>
    <p:sldId id="490" r:id="rId70"/>
  </p:sldIdLst>
  <p:sldSz cx="12192000" cy="6858000"/>
  <p:notesSz cx="6797675" cy="9926638"/>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4" userDrawn="1">
          <p15:clr>
            <a:srgbClr val="A4A3A4"/>
          </p15:clr>
        </p15:guide>
        <p15:guide id="2" pos="3840" userDrawn="1">
          <p15:clr>
            <a:srgbClr val="A4A3A4"/>
          </p15:clr>
        </p15:guide>
        <p15:guide id="3" orient="horz" pos="232" userDrawn="1">
          <p15:clr>
            <a:srgbClr val="A4A3A4"/>
          </p15:clr>
        </p15:guide>
        <p15:guide id="4" orient="horz" pos="958" userDrawn="1">
          <p15:clr>
            <a:srgbClr val="A4A3A4"/>
          </p15:clr>
        </p15:guide>
        <p15:guide id="5" pos="1481" userDrawn="1">
          <p15:clr>
            <a:srgbClr val="A4A3A4"/>
          </p15:clr>
        </p15:guide>
        <p15:guide id="6" pos="121"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478"/>
    <a:srgbClr val="337693"/>
    <a:srgbClr val="DEEBF7"/>
    <a:srgbClr val="70D9B6"/>
    <a:srgbClr val="36393E"/>
    <a:srgbClr val="004355"/>
    <a:srgbClr val="305A83"/>
    <a:srgbClr val="C9CED1"/>
    <a:srgbClr val="E2E1E7"/>
    <a:srgbClr val="9121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6D9F66E-5EB9-4882-86FB-DCBF35E3C3E4}" styleName="Mittlere Formatvorlage 4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81" autoAdjust="0"/>
    <p:restoredTop sz="84615" autoAdjust="0"/>
  </p:normalViewPr>
  <p:slideViewPr>
    <p:cSldViewPr snapToGrid="0">
      <p:cViewPr varScale="1">
        <p:scale>
          <a:sx n="94" d="100"/>
          <a:sy n="94" d="100"/>
        </p:scale>
        <p:origin x="468" y="90"/>
      </p:cViewPr>
      <p:guideLst>
        <p:guide orient="horz" pos="414"/>
        <p:guide pos="3840"/>
        <p:guide orient="horz" pos="232"/>
        <p:guide orient="horz" pos="958"/>
        <p:guide pos="1481"/>
        <p:guide pos="121"/>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250"/>
    </p:cViewPr>
  </p:sorterViewPr>
  <p:notesViewPr>
    <p:cSldViewPr snapToGrid="0">
      <p:cViewPr varScale="1">
        <p:scale>
          <a:sx n="64" d="100"/>
          <a:sy n="64" d="100"/>
        </p:scale>
        <p:origin x="3144" y="7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3.xml"/><Relationship Id="rId47" Type="http://schemas.openxmlformats.org/officeDocument/2006/relationships/slide" Target="slides/slide8.xml"/><Relationship Id="rId63" Type="http://schemas.openxmlformats.org/officeDocument/2006/relationships/slide" Target="slides/slide24.xml"/><Relationship Id="rId68" Type="http://schemas.openxmlformats.org/officeDocument/2006/relationships/slide" Target="slides/slide29.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 Target="slides/slide1.xml"/><Relationship Id="rId45" Type="http://schemas.openxmlformats.org/officeDocument/2006/relationships/slide" Target="slides/slide6.xml"/><Relationship Id="rId53" Type="http://schemas.openxmlformats.org/officeDocument/2006/relationships/slide" Target="slides/slide14.xml"/><Relationship Id="rId58" Type="http://schemas.openxmlformats.org/officeDocument/2006/relationships/slide" Target="slides/slide19.xml"/><Relationship Id="rId66" Type="http://schemas.openxmlformats.org/officeDocument/2006/relationships/slide" Target="slides/slide27.xml"/><Relationship Id="rId74"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22.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4.xml"/><Relationship Id="rId48" Type="http://schemas.openxmlformats.org/officeDocument/2006/relationships/slide" Target="slides/slide9.xml"/><Relationship Id="rId56" Type="http://schemas.openxmlformats.org/officeDocument/2006/relationships/slide" Target="slides/slide17.xml"/><Relationship Id="rId64" Type="http://schemas.openxmlformats.org/officeDocument/2006/relationships/slide" Target="slides/slide25.xml"/><Relationship Id="rId69" Type="http://schemas.openxmlformats.org/officeDocument/2006/relationships/slide" Target="slides/slide30.xml"/><Relationship Id="rId8" Type="http://schemas.openxmlformats.org/officeDocument/2006/relationships/slideMaster" Target="slideMasters/slideMaster8.xml"/><Relationship Id="rId51" Type="http://schemas.openxmlformats.org/officeDocument/2006/relationships/slide" Target="slides/slide12.xml"/><Relationship Id="rId72"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 Target="slides/slide7.xml"/><Relationship Id="rId59" Type="http://schemas.openxmlformats.org/officeDocument/2006/relationships/slide" Target="slides/slide20.xml"/><Relationship Id="rId67" Type="http://schemas.openxmlformats.org/officeDocument/2006/relationships/slide" Target="slides/slide28.xml"/><Relationship Id="rId20" Type="http://schemas.openxmlformats.org/officeDocument/2006/relationships/slideMaster" Target="slideMasters/slideMaster20.xml"/><Relationship Id="rId41" Type="http://schemas.openxmlformats.org/officeDocument/2006/relationships/slide" Target="slides/slide2.xml"/><Relationship Id="rId54" Type="http://schemas.openxmlformats.org/officeDocument/2006/relationships/slide" Target="slides/slide15.xml"/><Relationship Id="rId62" Type="http://schemas.openxmlformats.org/officeDocument/2006/relationships/slide" Target="slides/slide23.xml"/><Relationship Id="rId70" Type="http://schemas.openxmlformats.org/officeDocument/2006/relationships/slide" Target="slides/slide31.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 Target="slides/slide10.xml"/><Relationship Id="rId57" Type="http://schemas.openxmlformats.org/officeDocument/2006/relationships/slide" Target="slides/slide18.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5.xml"/><Relationship Id="rId52" Type="http://schemas.openxmlformats.org/officeDocument/2006/relationships/slide" Target="slides/slide13.xml"/><Relationship Id="rId60" Type="http://schemas.openxmlformats.org/officeDocument/2006/relationships/slide" Target="slides/slide21.xml"/><Relationship Id="rId65" Type="http://schemas.openxmlformats.org/officeDocument/2006/relationships/slide" Target="slides/slide26.xml"/><Relationship Id="rId73"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34" Type="http://schemas.openxmlformats.org/officeDocument/2006/relationships/slideMaster" Target="slideMasters/slideMaster34.xml"/><Relationship Id="rId50" Type="http://schemas.openxmlformats.org/officeDocument/2006/relationships/slide" Target="slides/slide11.xml"/><Relationship Id="rId55" Type="http://schemas.openxmlformats.org/officeDocument/2006/relationships/slide" Target="slides/slide16.xml"/><Relationship Id="rId7" Type="http://schemas.openxmlformats.org/officeDocument/2006/relationships/slideMaster" Target="slideMasters/slideMaster7.xml"/><Relationship Id="rId7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98412698412698E-2"/>
          <c:y val="0.10238248551191242"/>
          <c:w val="0.97460317460317458"/>
          <c:h val="0.86413393432066965"/>
        </c:manualLayout>
      </c:layout>
      <c:barChart>
        <c:barDir val="col"/>
        <c:grouping val="stacked"/>
        <c:varyColors val="0"/>
        <c:ser>
          <c:idx val="0"/>
          <c:order val="0"/>
          <c:spPr>
            <a:solidFill>
              <a:srgbClr val="005478"/>
            </a:solidFill>
            <a:ln>
              <a:noFill/>
            </a:ln>
          </c:spPr>
          <c:invertIfNegative val="0"/>
          <c:dLbls>
            <c:dLbl>
              <c:idx val="0"/>
              <c:layout>
                <c:manualLayout>
                  <c:x val="0"/>
                  <c:y val="-0.34642627173213136"/>
                </c:manualLayout>
              </c:layout>
              <c:numFmt formatCode="#,##0;&quot;-&quot;#,##0" sourceLinked="0"/>
              <c:spPr>
                <a:noFill/>
                <a:ln>
                  <a:noFill/>
                </a:ln>
              </c:spPr>
              <c:txPr>
                <a:bodyPr wrap="none"/>
                <a:lstStyle/>
                <a:p>
                  <a:pPr>
                    <a:defRPr sz="1400" b="1">
                      <a:solidFill>
                        <a:srgbClr val="005478"/>
                      </a:solidFill>
                      <a:latin typeface="CorpoS" pitchFamily="2" charset="0"/>
                      <a:ea typeface="+mn-ea"/>
                      <a:cs typeface="+mn-cs"/>
                      <a:sym typeface="+mn-lt"/>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D44F-4C8A-8D39-33B10CFC49C0}"/>
                </c:ext>
              </c:extLst>
            </c:dLbl>
            <c:dLbl>
              <c:idx val="1"/>
              <c:layout>
                <c:manualLayout>
                  <c:x val="0"/>
                  <c:y val="-0.35028976175144882"/>
                </c:manualLayout>
              </c:layout>
              <c:numFmt formatCode="#,##0;&quot;-&quot;#,##0" sourceLinked="0"/>
              <c:spPr>
                <a:noFill/>
                <a:ln>
                  <a:noFill/>
                </a:ln>
              </c:spPr>
              <c:txPr>
                <a:bodyPr wrap="none"/>
                <a:lstStyle/>
                <a:p>
                  <a:pPr>
                    <a:defRPr sz="1400" b="1">
                      <a:solidFill>
                        <a:srgbClr val="005478"/>
                      </a:solidFill>
                      <a:latin typeface="CorpoS" pitchFamily="2" charset="0"/>
                      <a:ea typeface="+mn-ea"/>
                      <a:cs typeface="+mn-cs"/>
                      <a:sym typeface="+mn-lt"/>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D44F-4C8A-8D39-33B10CFC49C0}"/>
                </c:ext>
              </c:extLst>
            </c:dLbl>
            <c:dLbl>
              <c:idx val="2"/>
              <c:layout>
                <c:manualLayout>
                  <c:x val="0"/>
                  <c:y val="-0.38312942691564711"/>
                </c:manualLayout>
              </c:layout>
              <c:numFmt formatCode="#,##0;&quot;-&quot;#,##0" sourceLinked="0"/>
              <c:spPr>
                <a:noFill/>
                <a:ln>
                  <a:noFill/>
                </a:ln>
              </c:spPr>
              <c:txPr>
                <a:bodyPr wrap="none"/>
                <a:lstStyle/>
                <a:p>
                  <a:pPr>
                    <a:defRPr sz="1400" b="1">
                      <a:solidFill>
                        <a:srgbClr val="005478"/>
                      </a:solidFill>
                      <a:latin typeface="CorpoS" pitchFamily="2" charset="0"/>
                      <a:ea typeface="+mn-ea"/>
                      <a:cs typeface="+mn-cs"/>
                      <a:sym typeface="+mn-lt"/>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D44F-4C8A-8D39-33B10CFC49C0}"/>
                </c:ext>
              </c:extLst>
            </c:dLbl>
            <c:dLbl>
              <c:idx val="3"/>
              <c:layout>
                <c:manualLayout>
                  <c:x val="0"/>
                  <c:y val="-0.37733419188667094"/>
                </c:manualLayout>
              </c:layout>
              <c:numFmt formatCode="#,##0;&quot;-&quot;#,##0" sourceLinked="0"/>
              <c:spPr>
                <a:noFill/>
                <a:ln>
                  <a:noFill/>
                </a:ln>
              </c:spPr>
              <c:txPr>
                <a:bodyPr wrap="none"/>
                <a:lstStyle/>
                <a:p>
                  <a:pPr>
                    <a:defRPr sz="1400" b="1">
                      <a:solidFill>
                        <a:srgbClr val="005478"/>
                      </a:solidFill>
                      <a:latin typeface="CorpoS" pitchFamily="2" charset="0"/>
                      <a:ea typeface="+mn-ea"/>
                      <a:cs typeface="+mn-cs"/>
                      <a:sym typeface="+mn-lt"/>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D44F-4C8A-8D39-33B10CFC49C0}"/>
                </c:ext>
              </c:extLst>
            </c:dLbl>
            <c:dLbl>
              <c:idx val="4"/>
              <c:layout>
                <c:manualLayout>
                  <c:x val="0"/>
                  <c:y val="-0.41081777205408887"/>
                </c:manualLayout>
              </c:layout>
              <c:numFmt formatCode="#,##0;&quot;-&quot;#,##0" sourceLinked="0"/>
              <c:spPr>
                <a:noFill/>
                <a:ln>
                  <a:noFill/>
                </a:ln>
              </c:spPr>
              <c:txPr>
                <a:bodyPr wrap="none"/>
                <a:lstStyle/>
                <a:p>
                  <a:pPr>
                    <a:defRPr sz="1400" b="1">
                      <a:solidFill>
                        <a:srgbClr val="005478"/>
                      </a:solidFill>
                      <a:latin typeface="CorpoS" pitchFamily="2" charset="0"/>
                      <a:ea typeface="+mn-ea"/>
                      <a:cs typeface="+mn-cs"/>
                      <a:sym typeface="+mn-lt"/>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D44F-4C8A-8D39-33B10CFC49C0}"/>
                </c:ext>
              </c:extLst>
            </c:dLbl>
            <c:dLbl>
              <c:idx val="5"/>
              <c:layout>
                <c:manualLayout>
                  <c:x val="0"/>
                  <c:y val="-0.3921442369607212"/>
                </c:manualLayout>
              </c:layout>
              <c:numFmt formatCode="#,##0;&quot;-&quot;#,##0" sourceLinked="0"/>
              <c:spPr>
                <a:noFill/>
                <a:ln>
                  <a:noFill/>
                </a:ln>
              </c:spPr>
              <c:txPr>
                <a:bodyPr wrap="none"/>
                <a:lstStyle/>
                <a:p>
                  <a:pPr>
                    <a:defRPr sz="1400" b="1">
                      <a:solidFill>
                        <a:srgbClr val="005478"/>
                      </a:solidFill>
                      <a:latin typeface="CorpoS" pitchFamily="2" charset="0"/>
                      <a:ea typeface="+mn-ea"/>
                      <a:cs typeface="+mn-cs"/>
                      <a:sym typeface="+mn-lt"/>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D44F-4C8A-8D39-33B10CFC49C0}"/>
                </c:ext>
              </c:extLst>
            </c:dLbl>
            <c:dLbl>
              <c:idx val="6"/>
              <c:layout>
                <c:manualLayout>
                  <c:x val="0"/>
                  <c:y val="-0.39858338699291695"/>
                </c:manualLayout>
              </c:layout>
              <c:numFmt formatCode="#,##0;&quot;-&quot;#,##0" sourceLinked="0"/>
              <c:spPr>
                <a:noFill/>
                <a:ln>
                  <a:noFill/>
                </a:ln>
              </c:spPr>
              <c:txPr>
                <a:bodyPr wrap="none"/>
                <a:lstStyle/>
                <a:p>
                  <a:pPr>
                    <a:defRPr sz="1400" b="1">
                      <a:solidFill>
                        <a:srgbClr val="005478"/>
                      </a:solidFill>
                      <a:latin typeface="CorpoS" pitchFamily="2" charset="0"/>
                      <a:ea typeface="+mn-ea"/>
                      <a:cs typeface="+mn-cs"/>
                      <a:sym typeface="+mn-lt"/>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D44F-4C8A-8D39-33B10CFC49C0}"/>
                </c:ext>
              </c:extLst>
            </c:dLbl>
            <c:dLbl>
              <c:idx val="7"/>
              <c:layout>
                <c:manualLayout>
                  <c:x val="0"/>
                  <c:y val="-0.41532517707662586"/>
                </c:manualLayout>
              </c:layout>
              <c:numFmt formatCode="#,##0;&quot;-&quot;#,##0" sourceLinked="0"/>
              <c:spPr>
                <a:noFill/>
                <a:ln>
                  <a:noFill/>
                </a:ln>
              </c:spPr>
              <c:txPr>
                <a:bodyPr wrap="none"/>
                <a:lstStyle/>
                <a:p>
                  <a:pPr>
                    <a:defRPr sz="1400" b="1">
                      <a:solidFill>
                        <a:srgbClr val="005478"/>
                      </a:solidFill>
                      <a:latin typeface="CorpoS" pitchFamily="2" charset="0"/>
                      <a:ea typeface="+mn-ea"/>
                      <a:cs typeface="+mn-cs"/>
                      <a:sym typeface="+mn-lt"/>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D44F-4C8A-8D39-33B10CFC49C0}"/>
                </c:ext>
              </c:extLst>
            </c:dLbl>
            <c:dLbl>
              <c:idx val="8"/>
              <c:layout>
                <c:manualLayout>
                  <c:x val="0"/>
                  <c:y val="-0.41661300708306503"/>
                </c:manualLayout>
              </c:layout>
              <c:numFmt formatCode="#,##0;&quot;-&quot;#,##0" sourceLinked="0"/>
              <c:spPr>
                <a:noFill/>
                <a:ln>
                  <a:noFill/>
                </a:ln>
              </c:spPr>
              <c:txPr>
                <a:bodyPr wrap="none"/>
                <a:lstStyle/>
                <a:p>
                  <a:pPr>
                    <a:defRPr sz="1400" b="1">
                      <a:solidFill>
                        <a:srgbClr val="005478"/>
                      </a:solidFill>
                      <a:latin typeface="CorpoS" pitchFamily="2" charset="0"/>
                      <a:ea typeface="+mn-ea"/>
                      <a:cs typeface="+mn-cs"/>
                      <a:sym typeface="+mn-lt"/>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D44F-4C8A-8D39-33B10CFC49C0}"/>
                </c:ext>
              </c:extLst>
            </c:dLbl>
            <c:dLbl>
              <c:idx val="9"/>
              <c:layout>
                <c:manualLayout>
                  <c:x val="0"/>
                  <c:y val="-0.43206696716033482"/>
                </c:manualLayout>
              </c:layout>
              <c:numFmt formatCode="#,##0;&quot;-&quot;#,##0" sourceLinked="0"/>
              <c:spPr>
                <a:noFill/>
                <a:ln>
                  <a:noFill/>
                </a:ln>
              </c:spPr>
              <c:txPr>
                <a:bodyPr wrap="none"/>
                <a:lstStyle/>
                <a:p>
                  <a:pPr>
                    <a:defRPr sz="1400" b="1">
                      <a:solidFill>
                        <a:srgbClr val="005478"/>
                      </a:solidFill>
                      <a:latin typeface="CorpoS" pitchFamily="2" charset="0"/>
                      <a:ea typeface="+mn-ea"/>
                      <a:cs typeface="+mn-cs"/>
                      <a:sym typeface="+mn-lt"/>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D44F-4C8A-8D39-33B10CFC49C0}"/>
                </c:ext>
              </c:extLst>
            </c:dLbl>
            <c:dLbl>
              <c:idx val="10"/>
              <c:layout>
                <c:manualLayout>
                  <c:x val="0"/>
                  <c:y val="-0.44494526722472633"/>
                </c:manualLayout>
              </c:layout>
              <c:numFmt formatCode="#,##0;&quot;-&quot;#,##0" sourceLinked="0"/>
              <c:spPr>
                <a:noFill/>
                <a:ln>
                  <a:noFill/>
                </a:ln>
              </c:spPr>
              <c:txPr>
                <a:bodyPr wrap="none"/>
                <a:lstStyle/>
                <a:p>
                  <a:pPr>
                    <a:defRPr sz="1400" b="1">
                      <a:solidFill>
                        <a:srgbClr val="005478"/>
                      </a:solidFill>
                      <a:latin typeface="CorpoS" pitchFamily="2" charset="0"/>
                      <a:ea typeface="+mn-ea"/>
                      <a:cs typeface="+mn-cs"/>
                      <a:sym typeface="+mn-lt"/>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D44F-4C8A-8D39-33B10CFC49C0}"/>
                </c:ext>
              </c:extLst>
            </c:dLbl>
            <c:dLbl>
              <c:idx val="11"/>
              <c:layout>
                <c:manualLayout>
                  <c:x val="0"/>
                  <c:y val="-0.45396007726980037"/>
                </c:manualLayout>
              </c:layout>
              <c:numFmt formatCode="#,##0;&quot;-&quot;#,##0" sourceLinked="0"/>
              <c:spPr>
                <a:noFill/>
                <a:ln>
                  <a:noFill/>
                </a:ln>
              </c:spPr>
              <c:txPr>
                <a:bodyPr wrap="none"/>
                <a:lstStyle/>
                <a:p>
                  <a:pPr>
                    <a:defRPr sz="1400" b="1">
                      <a:solidFill>
                        <a:srgbClr val="005478"/>
                      </a:solidFill>
                      <a:latin typeface="CorpoS" pitchFamily="2" charset="0"/>
                      <a:ea typeface="+mn-ea"/>
                      <a:cs typeface="+mn-cs"/>
                      <a:sym typeface="+mn-lt"/>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D44F-4C8A-8D39-33B10CFC49C0}"/>
                </c:ext>
              </c:extLst>
            </c:dLbl>
            <c:dLbl>
              <c:idx val="12"/>
              <c:layout>
                <c:manualLayout>
                  <c:x val="0"/>
                  <c:y val="-0.48229233741146171"/>
                </c:manualLayout>
              </c:layout>
              <c:numFmt formatCode="#,##0;&quot;-&quot;#,##0" sourceLinked="0"/>
              <c:spPr>
                <a:noFill/>
                <a:ln>
                  <a:noFill/>
                </a:ln>
              </c:spPr>
              <c:txPr>
                <a:bodyPr wrap="none"/>
                <a:lstStyle/>
                <a:p>
                  <a:pPr>
                    <a:defRPr sz="1400" b="1">
                      <a:solidFill>
                        <a:srgbClr val="005478"/>
                      </a:solidFill>
                      <a:latin typeface="CorpoS" pitchFamily="2" charset="0"/>
                      <a:ea typeface="+mn-ea"/>
                      <a:cs typeface="+mn-cs"/>
                      <a:sym typeface="+mn-lt"/>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D44F-4C8A-8D39-33B10CFC49C0}"/>
                </c:ext>
              </c:extLst>
            </c:dLbl>
            <c:dLbl>
              <c:idx val="13"/>
              <c:layout>
                <c:manualLayout>
                  <c:x val="0"/>
                  <c:y val="-0.4739214423696072"/>
                </c:manualLayout>
              </c:layout>
              <c:numFmt formatCode="#,##0;&quot;-&quot;#,##0" sourceLinked="0"/>
              <c:spPr>
                <a:noFill/>
                <a:ln>
                  <a:noFill/>
                </a:ln>
              </c:spPr>
              <c:txPr>
                <a:bodyPr wrap="none"/>
                <a:lstStyle/>
                <a:p>
                  <a:pPr>
                    <a:defRPr sz="1400" b="1">
                      <a:solidFill>
                        <a:srgbClr val="005478"/>
                      </a:solidFill>
                      <a:latin typeface="CorpoS" pitchFamily="2" charset="0"/>
                      <a:ea typeface="+mn-ea"/>
                      <a:cs typeface="+mn-cs"/>
                      <a:sym typeface="+mn-lt"/>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D44F-4C8A-8D39-33B10CFC49C0}"/>
                </c:ext>
              </c:extLst>
            </c:dLbl>
            <c:spPr>
              <a:noFill/>
              <a:ln>
                <a:noFill/>
              </a:ln>
              <a:effectLst/>
            </c:spPr>
            <c:txPr>
              <a:bodyPr wrap="square" lIns="38100" tIns="19050" rIns="38100" bIns="19050" anchor="ctr">
                <a:spAutoFit/>
              </a:bodyPr>
              <a:lstStyle/>
              <a:p>
                <a:pPr>
                  <a:defRPr b="1">
                    <a:solidFill>
                      <a:srgbClr val="005478"/>
                    </a:solidFill>
                    <a:latin typeface="CorpoS" pitchFamily="2" charset="0"/>
                  </a:defRPr>
                </a:pPr>
                <a:endParaRPr lang="ru-RU"/>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34.994447379486601</c:v>
                </c:pt>
                <c:pt idx="1">
                  <c:v>35.466506784940997</c:v>
                </c:pt>
                <c:pt idx="2">
                  <c:v>39.306224379824975</c:v>
                </c:pt>
                <c:pt idx="3">
                  <c:v>38.595123247531845</c:v>
                </c:pt>
                <c:pt idx="4">
                  <c:v>42.600351947541235</c:v>
                </c:pt>
                <c:pt idx="5">
                  <c:v>40.416061234922459</c:v>
                </c:pt>
                <c:pt idx="6">
                  <c:v>41.114364686242503</c:v>
                </c:pt>
                <c:pt idx="7">
                  <c:v>43.080893891999963</c:v>
                </c:pt>
                <c:pt idx="8">
                  <c:v>43.27099363030009</c:v>
                </c:pt>
                <c:pt idx="9">
                  <c:v>45.095562759452584</c:v>
                </c:pt>
                <c:pt idx="10">
                  <c:v>46.574513678869032</c:v>
                </c:pt>
                <c:pt idx="11">
                  <c:v>47.665059170018473</c:v>
                </c:pt>
                <c:pt idx="12">
                  <c:v>51</c:v>
                </c:pt>
                <c:pt idx="13">
                  <c:v>50</c:v>
                </c:pt>
              </c:numCache>
            </c:numRef>
          </c:val>
          <c:extLst>
            <c:ext xmlns:c16="http://schemas.microsoft.com/office/drawing/2014/chart" uri="{C3380CC4-5D6E-409C-BE32-E72D297353CC}">
              <c16:uniqueId val="{0000000E-D44F-4C8A-8D39-33B10CFC49C0}"/>
            </c:ext>
          </c:extLst>
        </c:ser>
        <c:dLbls>
          <c:showLegendKey val="0"/>
          <c:showVal val="0"/>
          <c:showCatName val="0"/>
          <c:showSerName val="0"/>
          <c:showPercent val="0"/>
          <c:showBubbleSize val="0"/>
        </c:dLbls>
        <c:gapWidth val="80"/>
        <c:overlap val="100"/>
        <c:axId val="749095480"/>
        <c:axId val="749098616"/>
      </c:barChart>
      <c:catAx>
        <c:axId val="749095480"/>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749098616"/>
        <c:crosses val="min"/>
        <c:auto val="0"/>
        <c:lblAlgn val="ctr"/>
        <c:lblOffset val="100"/>
        <c:noMultiLvlLbl val="0"/>
      </c:catAx>
      <c:valAx>
        <c:axId val="749098616"/>
        <c:scaling>
          <c:orientation val="minMax"/>
          <c:max val="51"/>
          <c:min val="0"/>
        </c:scaling>
        <c:delete val="1"/>
        <c:axPos val="l"/>
        <c:numFmt formatCode="General" sourceLinked="1"/>
        <c:majorTickMark val="out"/>
        <c:minorTickMark val="none"/>
        <c:tickLblPos val="nextTo"/>
        <c:crossAx val="749095480"/>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4.vml.rels><?xml version="1.0" encoding="UTF-8" standalone="yes"?>
<Relationships xmlns="http://schemas.openxmlformats.org/package/2006/relationships"><Relationship Id="rId1" Type="http://schemas.openxmlformats.org/officeDocument/2006/relationships/image" Target="NULL"/></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9.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9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95.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2945659" cy="498056"/>
          </a:xfrm>
          <a:prstGeom prst="rect">
            <a:avLst/>
          </a:prstGeom>
        </p:spPr>
        <p:txBody>
          <a:bodyPr vert="horz" lIns="91432" tIns="45716" rIns="91432" bIns="45716" rtlCol="0"/>
          <a:lstStyle>
            <a:lvl1pPr algn="l">
              <a:defRPr sz="1200"/>
            </a:lvl1pPr>
          </a:lstStyle>
          <a:p>
            <a:endParaRPr lang="de-DE"/>
          </a:p>
        </p:txBody>
      </p:sp>
      <p:sp>
        <p:nvSpPr>
          <p:cNvPr id="3" name="Datumsplatzhalter 2"/>
          <p:cNvSpPr>
            <a:spLocks noGrp="1"/>
          </p:cNvSpPr>
          <p:nvPr>
            <p:ph type="dt" idx="1"/>
          </p:nvPr>
        </p:nvSpPr>
        <p:spPr>
          <a:xfrm>
            <a:off x="3850444" y="0"/>
            <a:ext cx="2945659" cy="498056"/>
          </a:xfrm>
          <a:prstGeom prst="rect">
            <a:avLst/>
          </a:prstGeom>
        </p:spPr>
        <p:txBody>
          <a:bodyPr vert="horz" lIns="91432" tIns="45716" rIns="91432" bIns="45716" rtlCol="0"/>
          <a:lstStyle>
            <a:lvl1pPr algn="r">
              <a:defRPr sz="1200"/>
            </a:lvl1pPr>
          </a:lstStyle>
          <a:p>
            <a:fld id="{BBD27C4D-87A9-47FC-8B9F-7C71152A43B2}" type="datetimeFigureOut">
              <a:rPr lang="de-DE" smtClean="0"/>
              <a:t>26.04.2019</a:t>
            </a:fld>
            <a:endParaRPr lang="de-DE"/>
          </a:p>
        </p:txBody>
      </p:sp>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32" tIns="45716" rIns="91432" bIns="45716" rtlCol="0" anchor="ctr"/>
          <a:lstStyle/>
          <a:p>
            <a:endParaRPr lang="de-DE"/>
          </a:p>
        </p:txBody>
      </p:sp>
      <p:sp>
        <p:nvSpPr>
          <p:cNvPr id="5" name="Notizenplatzhalter 4"/>
          <p:cNvSpPr>
            <a:spLocks noGrp="1"/>
          </p:cNvSpPr>
          <p:nvPr>
            <p:ph type="body" sz="quarter" idx="3"/>
          </p:nvPr>
        </p:nvSpPr>
        <p:spPr>
          <a:xfrm>
            <a:off x="679768" y="4777194"/>
            <a:ext cx="5438140" cy="3908614"/>
          </a:xfrm>
          <a:prstGeom prst="rect">
            <a:avLst/>
          </a:prstGeom>
        </p:spPr>
        <p:txBody>
          <a:bodyPr vert="horz" lIns="91432" tIns="45716" rIns="91432" bIns="45716"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1" y="9428585"/>
            <a:ext cx="2945659" cy="498055"/>
          </a:xfrm>
          <a:prstGeom prst="rect">
            <a:avLst/>
          </a:prstGeom>
        </p:spPr>
        <p:txBody>
          <a:bodyPr vert="horz" lIns="91432" tIns="45716" rIns="91432" bIns="45716" rtlCol="0" anchor="b"/>
          <a:lstStyle>
            <a:lvl1pPr algn="l">
              <a:defRPr sz="1200"/>
            </a:lvl1pPr>
          </a:lstStyle>
          <a:p>
            <a:endParaRPr lang="de-DE"/>
          </a:p>
        </p:txBody>
      </p:sp>
      <p:sp>
        <p:nvSpPr>
          <p:cNvPr id="7" name="Foliennummernplatzhalter 6"/>
          <p:cNvSpPr>
            <a:spLocks noGrp="1"/>
          </p:cNvSpPr>
          <p:nvPr>
            <p:ph type="sldNum" sz="quarter" idx="5"/>
          </p:nvPr>
        </p:nvSpPr>
        <p:spPr>
          <a:xfrm>
            <a:off x="3850444" y="9428585"/>
            <a:ext cx="2945659" cy="498055"/>
          </a:xfrm>
          <a:prstGeom prst="rect">
            <a:avLst/>
          </a:prstGeom>
        </p:spPr>
        <p:txBody>
          <a:bodyPr vert="horz" lIns="91432" tIns="45716" rIns="91432" bIns="45716" rtlCol="0" anchor="b"/>
          <a:lstStyle>
            <a:lvl1pPr algn="r">
              <a:defRPr sz="1200"/>
            </a:lvl1pPr>
          </a:lstStyle>
          <a:p>
            <a:fld id="{59FA2CA8-D4D6-4095-9C83-09CE76379C3A}" type="slidenum">
              <a:rPr lang="de-DE" smtClean="0"/>
              <a:t>‹#›</a:t>
            </a:fld>
            <a:endParaRPr lang="de-DE"/>
          </a:p>
        </p:txBody>
      </p:sp>
    </p:spTree>
    <p:extLst>
      <p:ext uri="{BB962C8B-B14F-4D97-AF65-F5344CB8AC3E}">
        <p14:creationId xmlns:p14="http://schemas.microsoft.com/office/powerpoint/2010/main" val="34580832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9FA2CA8-D4D6-4095-9C83-09CE76379C3A}" type="slidenum">
              <a:rPr lang="de-DE" smtClean="0"/>
              <a:t>1</a:t>
            </a:fld>
            <a:endParaRPr lang="de-DE" dirty="0"/>
          </a:p>
        </p:txBody>
      </p:sp>
    </p:spTree>
    <p:extLst>
      <p:ext uri="{BB962C8B-B14F-4D97-AF65-F5344CB8AC3E}">
        <p14:creationId xmlns:p14="http://schemas.microsoft.com/office/powerpoint/2010/main" val="26059020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92459" indent="-192459">
              <a:spcAft>
                <a:spcPts val="674"/>
              </a:spcAft>
              <a:buFont typeface="Arial" panose="020B0604020202020204" pitchFamily="34" charset="0"/>
              <a:buChar char="•"/>
            </a:pPr>
            <a:r>
              <a:rPr lang="ru-RU" noProof="1" smtClean="0"/>
              <a:t>Давайте начнем с рассмотрения сил, которые формируют нашу отрасль. И, конечно же, тенденции сегодня не являются секретом - они общеизвестны. Но что более важно, они все реальны! Просто рассмотрим самые последние примеры.</a:t>
            </a:r>
          </a:p>
          <a:p>
            <a:pPr marL="192459" indent="-192459">
              <a:spcAft>
                <a:spcPts val="674"/>
              </a:spcAft>
              <a:buFont typeface="Arial" panose="020B0604020202020204" pitchFamily="34" charset="0"/>
              <a:buChar char="•"/>
            </a:pPr>
            <a:r>
              <a:rPr lang="ru-RU" noProof="1" smtClean="0"/>
              <a:t>Неудивительно, что покупательная способность смещается в сторону городских районов. Например, согласно недавнему исследованию McKinsey, до 85% мирового ВВП создается в городах с населением более 200 000 человек. При этом соответствующий рынок все больше перемещается в города.</a:t>
            </a:r>
          </a:p>
          <a:p>
            <a:pPr marL="192459" indent="-192459">
              <a:spcAft>
                <a:spcPts val="674"/>
              </a:spcAft>
              <a:buFont typeface="Arial" panose="020B0604020202020204" pitchFamily="34" charset="0"/>
              <a:buChar char="•"/>
            </a:pPr>
            <a:r>
              <a:rPr lang="ru-RU" noProof="1" smtClean="0"/>
              <a:t>В то же время многие города все чаще пытаются сократить количество автомобилей для борьбы с загрязнением и заторами. Например, Сингапур только что объявил, что, начиная с этого месяца, он не допустит увеличения количества автомобилей на своих дорогах. Для каждой новой машины, одна старая машина должна исчезнуть. Кроме того, как многие из вас знают, владеть машиной там невероятно дорого.</a:t>
            </a:r>
          </a:p>
          <a:p>
            <a:pPr marL="192459" indent="-192459">
              <a:spcAft>
                <a:spcPts val="674"/>
              </a:spcAft>
              <a:buFont typeface="Arial" panose="020B0604020202020204" pitchFamily="34" charset="0"/>
              <a:buChar char="•"/>
            </a:pPr>
            <a:r>
              <a:rPr lang="ru-RU" noProof="1" smtClean="0"/>
              <a:t>Что касается Европы, я полагаю, что вы все следите за дискуссией об ограничении доступа в немецких городах, которая ведется Европейской комиссией. Согласно последним исследованиям, в 10 немецких городах, возможно, потребуется ввести ограничения доступа для частных автомобилей к концу этого года.</a:t>
            </a:r>
          </a:p>
          <a:p>
            <a:pPr marL="192459" indent="-192459">
              <a:spcAft>
                <a:spcPts val="674"/>
              </a:spcAft>
              <a:buFont typeface="Arial" panose="020B0604020202020204" pitchFamily="34" charset="0"/>
              <a:buChar char="•"/>
            </a:pPr>
            <a:r>
              <a:rPr lang="ru-RU" noProof="1" smtClean="0"/>
              <a:t>Подобные сдвиги все чаще создают стимулы для того, чтобы отдавать предпочтение пользованию, а не собственности - даже когда речь идет о мобильности. И они усиливают тенденцию к разделению экономики.</a:t>
            </a:r>
          </a:p>
          <a:p>
            <a:pPr marL="192459" indent="-192459">
              <a:spcAft>
                <a:spcPts val="674"/>
              </a:spcAft>
              <a:buFont typeface="Arial" panose="020B0604020202020204" pitchFamily="34" charset="0"/>
              <a:buChar char="•"/>
            </a:pPr>
            <a:r>
              <a:rPr lang="ru-RU" noProof="1" smtClean="0"/>
              <a:t>Но, в конечном счете, я лично чувствую, что наиболее важным фактором изменений являются технологии. Клиенты переходят на решения для смартфонов по требованию, потому что это удобно, это гибко, и это современная необходимость. Рост искусственного интеллекта сделает эту тенденцию только сильнее.</a:t>
            </a:r>
          </a:p>
          <a:p>
            <a:pPr marL="192459" indent="-192459">
              <a:spcAft>
                <a:spcPts val="674"/>
              </a:spcAft>
              <a:buFont typeface="Arial" panose="020B0604020202020204" pitchFamily="34" charset="0"/>
              <a:buChar char="•"/>
            </a:pPr>
            <a:r>
              <a:rPr lang="ru-RU" noProof="1" smtClean="0"/>
              <a:t>Наконец, когда дело доходит до самого автомобиля, очевидно, что автономное вождение становится все более доступным - и это также принесет огромные изменения и возможности в нашу отрасль.</a:t>
            </a:r>
            <a:endParaRPr lang="de-DE" dirty="0" smtClean="0"/>
          </a:p>
          <a:p>
            <a:endParaRPr lang="de-DE" dirty="0"/>
          </a:p>
        </p:txBody>
      </p:sp>
      <p:sp>
        <p:nvSpPr>
          <p:cNvPr id="4" name="Foliennummernplatzhalter 3"/>
          <p:cNvSpPr>
            <a:spLocks noGrp="1"/>
          </p:cNvSpPr>
          <p:nvPr>
            <p:ph type="sldNum" sz="quarter" idx="10"/>
          </p:nvPr>
        </p:nvSpPr>
        <p:spPr/>
        <p:txBody>
          <a:bodyPr/>
          <a:lstStyle/>
          <a:p>
            <a:fld id="{59FA2CA8-D4D6-4095-9C83-09CE76379C3A}" type="slidenum">
              <a:rPr lang="de-DE" smtClean="0"/>
              <a:t>10</a:t>
            </a:fld>
            <a:endParaRPr lang="de-DE"/>
          </a:p>
        </p:txBody>
      </p:sp>
    </p:spTree>
    <p:extLst>
      <p:ext uri="{BB962C8B-B14F-4D97-AF65-F5344CB8AC3E}">
        <p14:creationId xmlns:p14="http://schemas.microsoft.com/office/powerpoint/2010/main" val="33210280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882213"/>
            <a:endParaRPr lang="en-US" dirty="0">
              <a:solidFill>
                <a:schemeClr val="bg1"/>
              </a:solidFill>
              <a:cs typeface="Times New Roman" panose="02020603050405020304" pitchFamily="18" charset="0"/>
            </a:endParaRPr>
          </a:p>
          <a:p>
            <a:pPr defTabSz="882213"/>
            <a:endParaRPr lang="de-DE" dirty="0">
              <a:solidFill>
                <a:schemeClr val="bg1"/>
              </a:solidFill>
              <a:cs typeface="Daimler CS"/>
            </a:endParaRPr>
          </a:p>
          <a:p>
            <a:endParaRPr lang="de-DE" dirty="0"/>
          </a:p>
        </p:txBody>
      </p:sp>
      <p:sp>
        <p:nvSpPr>
          <p:cNvPr id="4" name="Foliennummernplatzhalter 3"/>
          <p:cNvSpPr>
            <a:spLocks noGrp="1"/>
          </p:cNvSpPr>
          <p:nvPr>
            <p:ph type="sldNum" sz="quarter" idx="10"/>
          </p:nvPr>
        </p:nvSpPr>
        <p:spPr/>
        <p:txBody>
          <a:bodyPr/>
          <a:lstStyle/>
          <a:p>
            <a:fld id="{59FA2CA8-D4D6-4095-9C83-09CE76379C3A}" type="slidenum">
              <a:rPr lang="de-DE" smtClean="0"/>
              <a:t>11</a:t>
            </a:fld>
            <a:endParaRPr lang="de-DE"/>
          </a:p>
        </p:txBody>
      </p:sp>
    </p:spTree>
    <p:extLst>
      <p:ext uri="{BB962C8B-B14F-4D97-AF65-F5344CB8AC3E}">
        <p14:creationId xmlns:p14="http://schemas.microsoft.com/office/powerpoint/2010/main" val="28125553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84159" indent="-184159">
              <a:spcAft>
                <a:spcPts val="645"/>
              </a:spcAft>
              <a:buFont typeface="Arial" panose="020B0604020202020204" pitchFamily="34" charset="0"/>
              <a:buChar char="•"/>
            </a:pPr>
            <a:endParaRPr lang="en-US" b="1" dirty="0"/>
          </a:p>
        </p:txBody>
      </p:sp>
      <p:sp>
        <p:nvSpPr>
          <p:cNvPr id="4" name="Foliennummernplatzhalter 3"/>
          <p:cNvSpPr>
            <a:spLocks noGrp="1"/>
          </p:cNvSpPr>
          <p:nvPr>
            <p:ph type="sldNum" sz="quarter" idx="10"/>
          </p:nvPr>
        </p:nvSpPr>
        <p:spPr/>
        <p:txBody>
          <a:bodyPr/>
          <a:lstStyle/>
          <a:p>
            <a:fld id="{07CDEC8E-083D-460F-83A0-525688156DBE}" type="slidenum">
              <a:rPr lang="de-DE" smtClean="0">
                <a:solidFill>
                  <a:prstClr val="black"/>
                </a:solidFill>
              </a:rPr>
              <a:pPr/>
              <a:t>12</a:t>
            </a:fld>
            <a:endParaRPr lang="de-DE">
              <a:solidFill>
                <a:prstClr val="black"/>
              </a:solidFill>
            </a:endParaRPr>
          </a:p>
        </p:txBody>
      </p:sp>
    </p:spTree>
    <p:extLst>
      <p:ext uri="{BB962C8B-B14F-4D97-AF65-F5344CB8AC3E}">
        <p14:creationId xmlns:p14="http://schemas.microsoft.com/office/powerpoint/2010/main" val="38804688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9FA2CA8-D4D6-4095-9C83-09CE76379C3A}" type="slidenum">
              <a:rPr lang="de-DE" smtClean="0">
                <a:solidFill>
                  <a:prstClr val="black"/>
                </a:solidFill>
              </a:rPr>
              <a:pPr/>
              <a:t>13</a:t>
            </a:fld>
            <a:endParaRPr lang="de-DE">
              <a:solidFill>
                <a:prstClr val="black"/>
              </a:solidFill>
            </a:endParaRPr>
          </a:p>
        </p:txBody>
      </p:sp>
    </p:spTree>
    <p:extLst>
      <p:ext uri="{BB962C8B-B14F-4D97-AF65-F5344CB8AC3E}">
        <p14:creationId xmlns:p14="http://schemas.microsoft.com/office/powerpoint/2010/main" val="40921987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AC7F1437-3BF2-450D-A7B9-B11E523F51F3}" type="slidenum">
              <a:rPr lang="de-DE" smtClean="0">
                <a:solidFill>
                  <a:prstClr val="black"/>
                </a:solidFill>
                <a:latin typeface="Daimler CS"/>
              </a:rPr>
              <a:pPr/>
              <a:t>14</a:t>
            </a:fld>
            <a:endParaRPr lang="de-DE" dirty="0">
              <a:solidFill>
                <a:prstClr val="black"/>
              </a:solidFill>
              <a:latin typeface="Daimler CS"/>
            </a:endParaRPr>
          </a:p>
        </p:txBody>
      </p:sp>
    </p:spTree>
    <p:extLst>
      <p:ext uri="{BB962C8B-B14F-4D97-AF65-F5344CB8AC3E}">
        <p14:creationId xmlns:p14="http://schemas.microsoft.com/office/powerpoint/2010/main" val="31004818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9FA2CA8-D4D6-4095-9C83-09CE76379C3A}" type="slidenum">
              <a:rPr lang="de-DE" smtClean="0">
                <a:solidFill>
                  <a:prstClr val="black"/>
                </a:solidFill>
              </a:rPr>
              <a:pPr/>
              <a:t>15</a:t>
            </a:fld>
            <a:endParaRPr lang="de-DE">
              <a:solidFill>
                <a:prstClr val="black"/>
              </a:solidFill>
            </a:endParaRPr>
          </a:p>
        </p:txBody>
      </p:sp>
    </p:spTree>
    <p:extLst>
      <p:ext uri="{BB962C8B-B14F-4D97-AF65-F5344CB8AC3E}">
        <p14:creationId xmlns:p14="http://schemas.microsoft.com/office/powerpoint/2010/main" val="24831084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9FA2CA8-D4D6-4095-9C83-09CE76379C3A}" type="slidenum">
              <a:rPr lang="de-DE" smtClean="0">
                <a:solidFill>
                  <a:prstClr val="black"/>
                </a:solidFill>
              </a:rPr>
              <a:pPr/>
              <a:t>16</a:t>
            </a:fld>
            <a:endParaRPr lang="de-DE">
              <a:solidFill>
                <a:prstClr val="black"/>
              </a:solidFill>
            </a:endParaRPr>
          </a:p>
        </p:txBody>
      </p:sp>
    </p:spTree>
    <p:extLst>
      <p:ext uri="{BB962C8B-B14F-4D97-AF65-F5344CB8AC3E}">
        <p14:creationId xmlns:p14="http://schemas.microsoft.com/office/powerpoint/2010/main" val="8908294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9FA2CA8-D4D6-4095-9C83-09CE76379C3A}" type="slidenum">
              <a:rPr lang="de-DE" smtClean="0"/>
              <a:t>17</a:t>
            </a:fld>
            <a:endParaRPr lang="de-DE"/>
          </a:p>
        </p:txBody>
      </p:sp>
    </p:spTree>
    <p:extLst>
      <p:ext uri="{BB962C8B-B14F-4D97-AF65-F5344CB8AC3E}">
        <p14:creationId xmlns:p14="http://schemas.microsoft.com/office/powerpoint/2010/main" val="16955976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669D846-3768-4969-A5A2-E7F5DA8C963E}" type="slidenum">
              <a:rPr lang="de-DE" smtClean="0">
                <a:solidFill>
                  <a:prstClr val="black"/>
                </a:solidFill>
              </a:rPr>
              <a:pPr/>
              <a:t>18</a:t>
            </a:fld>
            <a:endParaRPr lang="de-DE">
              <a:solidFill>
                <a:prstClr val="black"/>
              </a:solidFill>
            </a:endParaRPr>
          </a:p>
        </p:txBody>
      </p:sp>
    </p:spTree>
    <p:extLst>
      <p:ext uri="{BB962C8B-B14F-4D97-AF65-F5344CB8AC3E}">
        <p14:creationId xmlns:p14="http://schemas.microsoft.com/office/powerpoint/2010/main" val="18542475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99"/>
        <p:cNvGrpSpPr/>
        <p:nvPr/>
      </p:nvGrpSpPr>
      <p:grpSpPr>
        <a:xfrm>
          <a:off x="0" y="0"/>
          <a:ext cx="0" cy="0"/>
          <a:chOff x="0" y="0"/>
          <a:chExt cx="0" cy="0"/>
        </a:xfrm>
      </p:grpSpPr>
      <p:sp>
        <p:nvSpPr>
          <p:cNvPr id="3000" name="Google Shape;3000;g5023f3a16b_0_3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01" name="Google Shape;3001;g5023f3a16b_0_38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2681666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spcAft>
                <a:spcPts val="600"/>
              </a:spcAft>
            </a:pPr>
            <a:endParaRPr lang="en-US" b="1" dirty="0" smtClean="0"/>
          </a:p>
        </p:txBody>
      </p:sp>
      <p:sp>
        <p:nvSpPr>
          <p:cNvPr id="4" name="Foliennummernplatzhalter 3"/>
          <p:cNvSpPr>
            <a:spLocks noGrp="1"/>
          </p:cNvSpPr>
          <p:nvPr>
            <p:ph type="sldNum" sz="quarter" idx="10"/>
          </p:nvPr>
        </p:nvSpPr>
        <p:spPr/>
        <p:txBody>
          <a:bodyPr/>
          <a:lstStyle/>
          <a:p>
            <a:fld id="{59FA2CA8-D4D6-4095-9C83-09CE76379C3A}" type="slidenum">
              <a:rPr lang="de-DE" smtClean="0"/>
              <a:t>2</a:t>
            </a:fld>
            <a:endParaRPr lang="de-DE" dirty="0"/>
          </a:p>
        </p:txBody>
      </p:sp>
    </p:spTree>
    <p:extLst>
      <p:ext uri="{BB962C8B-B14F-4D97-AF65-F5344CB8AC3E}">
        <p14:creationId xmlns:p14="http://schemas.microsoft.com/office/powerpoint/2010/main" val="29844389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Мы увеличим наши лидирующие позиции на рынке в свободном </a:t>
            </a:r>
            <a:r>
              <a:rPr lang="ru-RU" dirty="0" err="1" smtClean="0"/>
              <a:t>каршеринге</a:t>
            </a:r>
            <a:endParaRPr lang="ru-RU" dirty="0" smtClean="0"/>
          </a:p>
          <a:p>
            <a:r>
              <a:rPr lang="ru-RU" dirty="0" smtClean="0"/>
              <a:t>У Car2go более 3,5 миллионов клиентов в 26 городах Европы, Северной Америки и Азии</a:t>
            </a:r>
          </a:p>
          <a:p>
            <a:r>
              <a:rPr lang="ru-RU" dirty="0" err="1" smtClean="0"/>
              <a:t>DriveNow</a:t>
            </a:r>
            <a:r>
              <a:rPr lang="ru-RU" dirty="0" smtClean="0"/>
              <a:t> прекрасно дополняет это предложение, имея более 1 миллиона пользователей в 14 городах.</a:t>
            </a:r>
          </a:p>
          <a:p>
            <a:r>
              <a:rPr lang="ru-RU" dirty="0" smtClean="0"/>
              <a:t>Вместе мы будем присутствовать в более чем 30 городах</a:t>
            </a:r>
          </a:p>
          <a:p>
            <a:r>
              <a:rPr lang="ru-RU" dirty="0" smtClean="0"/>
              <a:t>Только на нашем основном рынке в Западной Европе мы будем присутствовать более чем в 10 странах</a:t>
            </a:r>
          </a:p>
          <a:p>
            <a:r>
              <a:rPr lang="ru-RU" dirty="0" smtClean="0"/>
              <a:t>Полностью электрический километраж в 2018 году: 600 раз по всему миру!</a:t>
            </a:r>
            <a:endParaRPr lang="en-US" b="1" i="0" u="none" kern="1200" spc="0" dirty="0">
              <a:solidFill>
                <a:srgbClr val="000000">
                  <a:lumMod val="100000"/>
                </a:srgbClr>
              </a:solidFill>
              <a:latin typeface="CorpoS" pitchFamily="2" charset="0"/>
            </a:endParaRPr>
          </a:p>
        </p:txBody>
      </p:sp>
      <p:sp>
        <p:nvSpPr>
          <p:cNvPr id="4" name="Slide Number Placeholder 3"/>
          <p:cNvSpPr>
            <a:spLocks noGrp="1"/>
          </p:cNvSpPr>
          <p:nvPr>
            <p:ph type="sldNum" sz="quarter" idx="10"/>
          </p:nvPr>
        </p:nvSpPr>
        <p:spPr/>
        <p:txBody>
          <a:bodyPr/>
          <a:lstStyle/>
          <a:p>
            <a:fld id="{AC7F1437-3BF2-450D-A7B9-B11E523F51F3}" type="slidenum">
              <a:rPr lang="de-DE" smtClean="0">
                <a:solidFill>
                  <a:prstClr val="black"/>
                </a:solidFill>
              </a:rPr>
              <a:pPr/>
              <a:t>20</a:t>
            </a:fld>
            <a:endParaRPr lang="de-DE" dirty="0">
              <a:solidFill>
                <a:prstClr val="black"/>
              </a:solidFill>
            </a:endParaRPr>
          </a:p>
        </p:txBody>
      </p:sp>
    </p:spTree>
    <p:extLst>
      <p:ext uri="{BB962C8B-B14F-4D97-AF65-F5344CB8AC3E}">
        <p14:creationId xmlns:p14="http://schemas.microsoft.com/office/powerpoint/2010/main" val="39215172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rtl="0"/>
            <a:r>
              <a:rPr lang="de-DE" b="0" dirty="0">
                <a:effectLst/>
              </a:rPr>
              <a:t/>
            </a:r>
            <a:br>
              <a:rPr lang="de-DE" b="0" dirty="0">
                <a:effectLst/>
              </a:rPr>
            </a:br>
            <a:r>
              <a:rPr lang="ru-RU" sz="1200" b="1" i="0" u="none" strike="noStrike" kern="1200" dirty="0" err="1" smtClean="0">
                <a:solidFill>
                  <a:schemeClr val="tx1"/>
                </a:solidFill>
                <a:effectLst/>
                <a:latin typeface="+mn-lt"/>
                <a:ea typeface="+mn-ea"/>
                <a:cs typeface="+mn-cs"/>
              </a:rPr>
              <a:t>MaaS</a:t>
            </a:r>
            <a:r>
              <a:rPr lang="ru-RU" sz="1200" b="1" i="0" u="none" strike="noStrike" kern="1200" dirty="0" smtClean="0">
                <a:solidFill>
                  <a:schemeClr val="tx1"/>
                </a:solidFill>
                <a:effectLst/>
                <a:latin typeface="+mn-lt"/>
                <a:ea typeface="+mn-ea"/>
                <a:cs typeface="+mn-cs"/>
              </a:rPr>
              <a:t> - это ключ к воплощению нашего видения REACH NOW в жизнь.</a:t>
            </a:r>
          </a:p>
          <a:p>
            <a:pPr rtl="0"/>
            <a:endParaRPr lang="ru-RU" sz="1200" b="1" i="0" u="none" strike="noStrike" kern="1200" dirty="0" smtClean="0">
              <a:solidFill>
                <a:schemeClr val="tx1"/>
              </a:solidFill>
              <a:effectLst/>
              <a:latin typeface="+mn-lt"/>
              <a:ea typeface="+mn-ea"/>
              <a:cs typeface="+mn-cs"/>
            </a:endParaRPr>
          </a:p>
          <a:p>
            <a:pPr rtl="0"/>
            <a:r>
              <a:rPr lang="ru-RU" sz="1200" b="1" i="0" u="none" strike="noStrike" kern="1200" dirty="0" err="1" smtClean="0">
                <a:solidFill>
                  <a:schemeClr val="tx1"/>
                </a:solidFill>
                <a:effectLst/>
                <a:latin typeface="+mn-lt"/>
                <a:ea typeface="+mn-ea"/>
                <a:cs typeface="+mn-cs"/>
              </a:rPr>
              <a:t>MaaS</a:t>
            </a:r>
            <a:r>
              <a:rPr lang="ru-RU" sz="1200" b="1" i="0" u="none" strike="noStrike" kern="1200" dirty="0" smtClean="0">
                <a:solidFill>
                  <a:schemeClr val="tx1"/>
                </a:solidFill>
                <a:effectLst/>
                <a:latin typeface="+mn-lt"/>
                <a:ea typeface="+mn-ea"/>
                <a:cs typeface="+mn-cs"/>
              </a:rPr>
              <a:t> относится к объединению и распределению различных типов мобильности, таких как общественный транспорт, совместное использование автомобилей, совместное использование велосипедов, проезд на такси в одном </a:t>
            </a:r>
            <a:r>
              <a:rPr lang="ru-RU" sz="1200" b="1" i="0" u="none" strike="noStrike" kern="1200" dirty="0" err="1" smtClean="0">
                <a:solidFill>
                  <a:schemeClr val="tx1"/>
                </a:solidFill>
                <a:effectLst/>
                <a:latin typeface="+mn-lt"/>
                <a:ea typeface="+mn-ea"/>
                <a:cs typeface="+mn-cs"/>
              </a:rPr>
              <a:t>мультимодальном</a:t>
            </a:r>
            <a:r>
              <a:rPr lang="ru-RU" sz="1200" b="1" i="0" u="none" strike="noStrike" kern="1200" dirty="0" smtClean="0">
                <a:solidFill>
                  <a:schemeClr val="tx1"/>
                </a:solidFill>
                <a:effectLst/>
                <a:latin typeface="+mn-lt"/>
                <a:ea typeface="+mn-ea"/>
                <a:cs typeface="+mn-cs"/>
              </a:rPr>
              <a:t> решении. Благодаря возможности поиска, бронирования и оплаты в одном интегрированном приложении </a:t>
            </a:r>
            <a:r>
              <a:rPr lang="ru-RU" sz="1200" b="1" i="0" u="none" strike="noStrike" kern="1200" dirty="0" err="1" smtClean="0">
                <a:solidFill>
                  <a:schemeClr val="tx1"/>
                </a:solidFill>
                <a:effectLst/>
                <a:latin typeface="+mn-lt"/>
                <a:ea typeface="+mn-ea"/>
                <a:cs typeface="+mn-cs"/>
              </a:rPr>
              <a:t>MaaS</a:t>
            </a:r>
            <a:r>
              <a:rPr lang="ru-RU" sz="1200" b="1" i="0" u="none" strike="noStrike" kern="1200" dirty="0" smtClean="0">
                <a:solidFill>
                  <a:schemeClr val="tx1"/>
                </a:solidFill>
                <a:effectLst/>
                <a:latin typeface="+mn-lt"/>
                <a:ea typeface="+mn-ea"/>
                <a:cs typeface="+mn-cs"/>
              </a:rPr>
              <a:t> помогает людям выбрать лучший вариант путешествия, создавая цельный и гибкий опыт.</a:t>
            </a:r>
          </a:p>
          <a:p>
            <a:pPr rtl="0"/>
            <a:endParaRPr lang="ru-RU" sz="1200" b="1" i="0" u="none" strike="noStrike" kern="1200" dirty="0" smtClean="0">
              <a:solidFill>
                <a:schemeClr val="tx1"/>
              </a:solidFill>
              <a:effectLst/>
              <a:latin typeface="+mn-lt"/>
              <a:ea typeface="+mn-ea"/>
              <a:cs typeface="+mn-cs"/>
            </a:endParaRPr>
          </a:p>
          <a:p>
            <a:pPr rtl="0"/>
            <a:r>
              <a:rPr lang="ru-RU" sz="1200" b="1" i="0" u="none" strike="noStrike" kern="1200" dirty="0" smtClean="0">
                <a:solidFill>
                  <a:schemeClr val="tx1"/>
                </a:solidFill>
                <a:effectLst/>
                <a:latin typeface="+mn-lt"/>
                <a:ea typeface="+mn-ea"/>
                <a:cs typeface="+mn-cs"/>
              </a:rPr>
              <a:t>Благодаря </a:t>
            </a:r>
            <a:r>
              <a:rPr lang="ru-RU" sz="1200" b="1" i="0" u="none" strike="noStrike" kern="1200" dirty="0" err="1" smtClean="0">
                <a:solidFill>
                  <a:schemeClr val="tx1"/>
                </a:solidFill>
                <a:effectLst/>
                <a:latin typeface="+mn-lt"/>
                <a:ea typeface="+mn-ea"/>
                <a:cs typeface="+mn-cs"/>
              </a:rPr>
              <a:t>MaaS</a:t>
            </a:r>
            <a:r>
              <a:rPr lang="ru-RU" sz="1200" b="1" i="0" u="none" strike="noStrike" kern="1200" dirty="0" smtClean="0">
                <a:solidFill>
                  <a:schemeClr val="tx1"/>
                </a:solidFill>
                <a:effectLst/>
                <a:latin typeface="+mn-lt"/>
                <a:ea typeface="+mn-ea"/>
                <a:cs typeface="+mn-cs"/>
              </a:rPr>
              <a:t> миллионы наших клиентов получают простой и удобный доступ к мобильности в любое время и в любом месте.</a:t>
            </a:r>
          </a:p>
          <a:p>
            <a:pPr rtl="0"/>
            <a:endParaRPr lang="ru-RU" sz="1200" b="1" i="0" u="none" strike="noStrike" kern="1200" dirty="0" smtClean="0">
              <a:solidFill>
                <a:schemeClr val="tx1"/>
              </a:solidFill>
              <a:effectLst/>
              <a:latin typeface="+mn-lt"/>
              <a:ea typeface="+mn-ea"/>
              <a:cs typeface="+mn-cs"/>
            </a:endParaRPr>
          </a:p>
          <a:p>
            <a:pPr rtl="0"/>
            <a:r>
              <a:rPr lang="ru-RU" sz="1200" b="1" i="0" u="none" strike="noStrike" kern="1200" dirty="0" smtClean="0">
                <a:solidFill>
                  <a:schemeClr val="tx1"/>
                </a:solidFill>
                <a:effectLst/>
                <a:latin typeface="+mn-lt"/>
                <a:ea typeface="+mn-ea"/>
                <a:cs typeface="+mn-cs"/>
              </a:rPr>
              <a:t>REACH NOW объединит все ваши любимые способы передвижения по городу в одном приложении - в конечном счете, предлагая доступ ко всему спектру наших мобильных услуг NOW и многим другим - только с одной учетной записью.</a:t>
            </a:r>
          </a:p>
          <a:p>
            <a:pPr rtl="0"/>
            <a:endParaRPr lang="ru-RU" sz="1200" b="1" i="0" u="none" strike="noStrike" kern="1200" dirty="0" smtClean="0">
              <a:solidFill>
                <a:schemeClr val="tx1"/>
              </a:solidFill>
              <a:effectLst/>
              <a:latin typeface="+mn-lt"/>
              <a:ea typeface="+mn-ea"/>
              <a:cs typeface="+mn-cs"/>
            </a:endParaRPr>
          </a:p>
          <a:p>
            <a:pPr rtl="0"/>
            <a:r>
              <a:rPr lang="ru-RU" sz="1200" b="1" i="0" u="none" strike="noStrike" kern="1200" dirty="0" smtClean="0">
                <a:solidFill>
                  <a:schemeClr val="tx1"/>
                </a:solidFill>
                <a:effectLst/>
                <a:latin typeface="+mn-lt"/>
                <a:ea typeface="+mn-ea"/>
                <a:cs typeface="+mn-cs"/>
              </a:rPr>
              <a:t>REACH NOW - от общественного транспорта до совместного проезда на автомобиле, от проката автомобилей до проката автомобилей - всегда будет в вашем распоряжении</a:t>
            </a:r>
            <a:endParaRPr lang="de-DE" dirty="0"/>
          </a:p>
        </p:txBody>
      </p:sp>
      <p:sp>
        <p:nvSpPr>
          <p:cNvPr id="4" name="Foliennummernplatzhalter 3"/>
          <p:cNvSpPr>
            <a:spLocks noGrp="1"/>
          </p:cNvSpPr>
          <p:nvPr>
            <p:ph type="sldNum" sz="quarter" idx="5"/>
          </p:nvPr>
        </p:nvSpPr>
        <p:spPr/>
        <p:txBody>
          <a:bodyPr/>
          <a:lstStyle/>
          <a:p>
            <a:pPr>
              <a:defRPr/>
            </a:pPr>
            <a:fld id="{7669D846-3768-4969-A5A2-E7F5DA8C963E}" type="slidenum">
              <a:rPr lang="de-DE" smtClean="0">
                <a:solidFill>
                  <a:srgbClr val="001E3E"/>
                </a:solidFill>
                <a:latin typeface="Corbel"/>
              </a:rPr>
              <a:pPr>
                <a:defRPr/>
              </a:pPr>
              <a:t>21</a:t>
            </a:fld>
            <a:endParaRPr lang="de-DE">
              <a:solidFill>
                <a:srgbClr val="001E3E"/>
              </a:solidFill>
              <a:latin typeface="Corbel"/>
            </a:endParaRPr>
          </a:p>
        </p:txBody>
      </p:sp>
    </p:spTree>
    <p:extLst>
      <p:ext uri="{BB962C8B-B14F-4D97-AF65-F5344CB8AC3E}">
        <p14:creationId xmlns:p14="http://schemas.microsoft.com/office/powerpoint/2010/main" val="958171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ru-RU" dirty="0" smtClean="0"/>
              <a:t>Мультимодальная вертикаль позволит клиентам выбрать предпочитаемый вид транспорта одним касанием</a:t>
            </a:r>
          </a:p>
          <a:p>
            <a:r>
              <a:rPr lang="ru-RU" dirty="0" smtClean="0"/>
              <a:t>Каждые 1,1 секунды один клиент совершает транзакцию через наши платформы</a:t>
            </a:r>
          </a:p>
          <a:p>
            <a:r>
              <a:rPr lang="ru-RU" dirty="0" smtClean="0"/>
              <a:t>В целом, у нас есть около 7 миллионов клиентов в Европе и Северной Америке</a:t>
            </a:r>
          </a:p>
          <a:p>
            <a:r>
              <a:rPr lang="ru-RU" dirty="0" smtClean="0"/>
              <a:t>Мы также сотрудничаем с городами и предлагаем решения «под</a:t>
            </a:r>
            <a:r>
              <a:rPr lang="ru-RU" baseline="0" dirty="0" smtClean="0"/>
              <a:t> вашим брендом</a:t>
            </a:r>
            <a:r>
              <a:rPr lang="ru-RU" dirty="0" smtClean="0"/>
              <a:t>» для мобильных платформ в Европе и США.</a:t>
            </a:r>
            <a:endParaRPr lang="en-US" b="1" i="0" u="none" kern="1200" spc="0" dirty="0">
              <a:solidFill>
                <a:srgbClr val="000000">
                  <a:lumMod val="100000"/>
                </a:srgbClr>
              </a:solidFill>
              <a:latin typeface="CorpoS" pitchFamily="2" charset="0"/>
            </a:endParaRPr>
          </a:p>
        </p:txBody>
      </p:sp>
      <p:sp>
        <p:nvSpPr>
          <p:cNvPr id="4" name="Foliennummernplatzhalter 3"/>
          <p:cNvSpPr>
            <a:spLocks noGrp="1"/>
          </p:cNvSpPr>
          <p:nvPr>
            <p:ph type="sldNum" sz="quarter" idx="5"/>
          </p:nvPr>
        </p:nvSpPr>
        <p:spPr/>
        <p:txBody>
          <a:bodyPr/>
          <a:lstStyle/>
          <a:p>
            <a:fld id="{7669D846-3768-4969-A5A2-E7F5DA8C963E}" type="slidenum">
              <a:rPr lang="de-DE" smtClean="0">
                <a:solidFill>
                  <a:srgbClr val="001E3E"/>
                </a:solidFill>
                <a:latin typeface="Corbel"/>
              </a:rPr>
              <a:pPr/>
              <a:t>22</a:t>
            </a:fld>
            <a:endParaRPr lang="de-DE">
              <a:solidFill>
                <a:srgbClr val="001E3E"/>
              </a:solidFill>
              <a:latin typeface="Corbel"/>
            </a:endParaRPr>
          </a:p>
        </p:txBody>
      </p:sp>
    </p:spTree>
    <p:extLst>
      <p:ext uri="{BB962C8B-B14F-4D97-AF65-F5344CB8AC3E}">
        <p14:creationId xmlns:p14="http://schemas.microsoft.com/office/powerpoint/2010/main" val="29926176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9FA2CA8-D4D6-4095-9C83-09CE76379C3A}" type="slidenum">
              <a:rPr lang="de-DE" smtClean="0"/>
              <a:t>24</a:t>
            </a:fld>
            <a:endParaRPr lang="de-DE"/>
          </a:p>
        </p:txBody>
      </p:sp>
    </p:spTree>
    <p:extLst>
      <p:ext uri="{BB962C8B-B14F-4D97-AF65-F5344CB8AC3E}">
        <p14:creationId xmlns:p14="http://schemas.microsoft.com/office/powerpoint/2010/main" val="1568750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С парковкой и зарядкой мы предоставляем инфраструктуру для экосистемы мобильности</a:t>
            </a:r>
          </a:p>
          <a:p>
            <a:r>
              <a:rPr lang="ru-RU" dirty="0" smtClean="0"/>
              <a:t>Мы упрощаем поиск и оплату парковочных мест и тем самым решаем ключевые болевые точки городского движения</a:t>
            </a:r>
          </a:p>
          <a:p>
            <a:r>
              <a:rPr lang="ru-RU" dirty="0" smtClean="0"/>
              <a:t>Наше приложение «Парковка» охватывает более 1 миллиона парковочных мест в более чем 1000 городах по всему миру.</a:t>
            </a:r>
          </a:p>
          <a:p>
            <a:r>
              <a:rPr lang="ru-RU" dirty="0" smtClean="0"/>
              <a:t>Благодаря этому мы достигаем более 27 миллионов клиентов в 11 странах.</a:t>
            </a:r>
          </a:p>
          <a:p>
            <a:r>
              <a:rPr lang="ru-RU" dirty="0" smtClean="0"/>
              <a:t>С помощью зарядки мы обеспечиваем переход к электрической мобильности в городах.</a:t>
            </a:r>
          </a:p>
          <a:p>
            <a:r>
              <a:rPr lang="ru-RU" dirty="0" smtClean="0"/>
              <a:t>Уже сейчас более 100 000 станций по всему миру включены в нашу сеть</a:t>
            </a:r>
            <a:endParaRPr lang="en-US" dirty="0"/>
          </a:p>
        </p:txBody>
      </p:sp>
      <p:sp>
        <p:nvSpPr>
          <p:cNvPr id="4" name="Slide Number Placeholder 3"/>
          <p:cNvSpPr>
            <a:spLocks noGrp="1"/>
          </p:cNvSpPr>
          <p:nvPr>
            <p:ph type="sldNum" sz="quarter" idx="10"/>
          </p:nvPr>
        </p:nvSpPr>
        <p:spPr/>
        <p:txBody>
          <a:bodyPr/>
          <a:lstStyle/>
          <a:p>
            <a:fld id="{AC7F1437-3BF2-450D-A7B9-B11E523F51F3}" type="slidenum">
              <a:rPr lang="de-DE" smtClean="0">
                <a:solidFill>
                  <a:prstClr val="black"/>
                </a:solidFill>
              </a:rPr>
              <a:pPr/>
              <a:t>25</a:t>
            </a:fld>
            <a:endParaRPr lang="de-DE" dirty="0">
              <a:solidFill>
                <a:prstClr val="black"/>
              </a:solidFill>
            </a:endParaRPr>
          </a:p>
        </p:txBody>
      </p:sp>
    </p:spTree>
    <p:extLst>
      <p:ext uri="{BB962C8B-B14F-4D97-AF65-F5344CB8AC3E}">
        <p14:creationId xmlns:p14="http://schemas.microsoft.com/office/powerpoint/2010/main" val="9710356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AC7F1437-3BF2-450D-A7B9-B11E523F51F3}" type="slidenum">
              <a:rPr lang="de-DE">
                <a:solidFill>
                  <a:prstClr val="black"/>
                </a:solidFill>
                <a:latin typeface="Daimler CS"/>
              </a:rPr>
              <a:pPr/>
              <a:t>26</a:t>
            </a:fld>
            <a:endParaRPr lang="de-DE" dirty="0">
              <a:solidFill>
                <a:prstClr val="black"/>
              </a:solidFill>
              <a:latin typeface="Daimler CS"/>
            </a:endParaRPr>
          </a:p>
        </p:txBody>
      </p:sp>
    </p:spTree>
    <p:extLst>
      <p:ext uri="{BB962C8B-B14F-4D97-AF65-F5344CB8AC3E}">
        <p14:creationId xmlns:p14="http://schemas.microsoft.com/office/powerpoint/2010/main" val="3724131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65415" indent="-165415">
              <a:buFont typeface="Arial" panose="020B0604020202020204" pitchFamily="34" charset="0"/>
              <a:buChar char="•"/>
            </a:pPr>
            <a:r>
              <a:rPr lang="ru-RU" sz="900" dirty="0" smtClean="0">
                <a:latin typeface="CorpoS" pitchFamily="2" charset="0"/>
              </a:rPr>
              <a:t>Определить необходимые рамки</a:t>
            </a:r>
          </a:p>
          <a:p>
            <a:pPr marL="165415" indent="-165415">
              <a:buFont typeface="Arial" panose="020B0604020202020204" pitchFamily="34" charset="0"/>
              <a:buChar char="•"/>
            </a:pPr>
            <a:r>
              <a:rPr lang="ru-RU" sz="900" dirty="0" smtClean="0">
                <a:latin typeface="CorpoS" pitchFamily="2" charset="0"/>
              </a:rPr>
              <a:t>Усилить всю электрическую инфраструктуру</a:t>
            </a:r>
          </a:p>
          <a:p>
            <a:pPr marL="165415" indent="-165415">
              <a:buFont typeface="Arial" panose="020B0604020202020204" pitchFamily="34" charset="0"/>
              <a:buChar char="•"/>
            </a:pPr>
            <a:r>
              <a:rPr lang="ru-RU" sz="900" dirty="0" smtClean="0">
                <a:latin typeface="CorpoS" pitchFamily="2" charset="0"/>
              </a:rPr>
              <a:t>Иметь целостный взгляд на мобильность</a:t>
            </a:r>
            <a:endParaRPr lang="de-DE" sz="900" dirty="0">
              <a:solidFill>
                <a:srgbClr val="FFFF00"/>
              </a:solidFill>
              <a:latin typeface="CorpoS" pitchFamily="2" charset="0"/>
            </a:endParaRPr>
          </a:p>
        </p:txBody>
      </p:sp>
      <p:sp>
        <p:nvSpPr>
          <p:cNvPr id="4" name="Foliennummernplatzhalter 3"/>
          <p:cNvSpPr>
            <a:spLocks noGrp="1"/>
          </p:cNvSpPr>
          <p:nvPr>
            <p:ph type="sldNum" sz="quarter" idx="10"/>
          </p:nvPr>
        </p:nvSpPr>
        <p:spPr/>
        <p:txBody>
          <a:bodyPr/>
          <a:lstStyle/>
          <a:p>
            <a:fld id="{59FA2CA8-D4D6-4095-9C83-09CE76379C3A}" type="slidenum">
              <a:rPr lang="de-DE" smtClean="0"/>
              <a:t>28</a:t>
            </a:fld>
            <a:endParaRPr lang="de-DE"/>
          </a:p>
        </p:txBody>
      </p:sp>
    </p:spTree>
    <p:extLst>
      <p:ext uri="{BB962C8B-B14F-4D97-AF65-F5344CB8AC3E}">
        <p14:creationId xmlns:p14="http://schemas.microsoft.com/office/powerpoint/2010/main" val="26900927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smtClean="0"/>
          </a:p>
          <a:p>
            <a:endParaRPr lang="de-DE" dirty="0"/>
          </a:p>
        </p:txBody>
      </p:sp>
      <p:sp>
        <p:nvSpPr>
          <p:cNvPr id="4" name="Foliennummernplatzhalter 3"/>
          <p:cNvSpPr>
            <a:spLocks noGrp="1"/>
          </p:cNvSpPr>
          <p:nvPr>
            <p:ph type="sldNum" sz="quarter" idx="10"/>
          </p:nvPr>
        </p:nvSpPr>
        <p:spPr/>
        <p:txBody>
          <a:bodyPr/>
          <a:lstStyle/>
          <a:p>
            <a:fld id="{59FA2CA8-D4D6-4095-9C83-09CE76379C3A}" type="slidenum">
              <a:rPr lang="de-DE" smtClean="0">
                <a:solidFill>
                  <a:prstClr val="black"/>
                </a:solidFill>
              </a:rPr>
              <a:pPr/>
              <a:t>29</a:t>
            </a:fld>
            <a:endParaRPr lang="de-DE" dirty="0">
              <a:solidFill>
                <a:prstClr val="black"/>
              </a:solidFill>
            </a:endParaRPr>
          </a:p>
        </p:txBody>
      </p:sp>
    </p:spTree>
    <p:extLst>
      <p:ext uri="{BB962C8B-B14F-4D97-AF65-F5344CB8AC3E}">
        <p14:creationId xmlns:p14="http://schemas.microsoft.com/office/powerpoint/2010/main" val="36317019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
        <p:nvSpPr>
          <p:cNvPr id="4" name="Foliennummernplatzhalter 3"/>
          <p:cNvSpPr>
            <a:spLocks noGrp="1"/>
          </p:cNvSpPr>
          <p:nvPr>
            <p:ph type="sldNum" sz="quarter" idx="10"/>
          </p:nvPr>
        </p:nvSpPr>
        <p:spPr/>
        <p:txBody>
          <a:bodyPr/>
          <a:lstStyle/>
          <a:p>
            <a:fld id="{AC7F1437-3BF2-450D-A7B9-B11E523F51F3}" type="slidenum">
              <a:rPr lang="de-DE" smtClean="0">
                <a:solidFill>
                  <a:prstClr val="black"/>
                </a:solidFill>
                <a:latin typeface="Daimler CS"/>
              </a:rPr>
              <a:pPr/>
              <a:t>30</a:t>
            </a:fld>
            <a:endParaRPr lang="de-DE" dirty="0">
              <a:solidFill>
                <a:prstClr val="black"/>
              </a:solidFill>
              <a:latin typeface="Daimler CS"/>
            </a:endParaRPr>
          </a:p>
        </p:txBody>
      </p:sp>
    </p:spTree>
    <p:extLst>
      <p:ext uri="{BB962C8B-B14F-4D97-AF65-F5344CB8AC3E}">
        <p14:creationId xmlns:p14="http://schemas.microsoft.com/office/powerpoint/2010/main" val="8782741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AC7F1437-3BF2-450D-A7B9-B11E523F51F3}" type="slidenum">
              <a:rPr lang="de-DE" smtClean="0">
                <a:solidFill>
                  <a:prstClr val="black"/>
                </a:solidFill>
                <a:latin typeface="Daimler CS"/>
              </a:rPr>
              <a:pPr/>
              <a:t>31</a:t>
            </a:fld>
            <a:endParaRPr lang="de-DE" dirty="0">
              <a:solidFill>
                <a:prstClr val="black"/>
              </a:solidFill>
              <a:latin typeface="Daimler CS"/>
            </a:endParaRPr>
          </a:p>
        </p:txBody>
      </p:sp>
    </p:spTree>
    <p:extLst>
      <p:ext uri="{BB962C8B-B14F-4D97-AF65-F5344CB8AC3E}">
        <p14:creationId xmlns:p14="http://schemas.microsoft.com/office/powerpoint/2010/main" val="32915623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7691" indent="-177691">
              <a:spcAft>
                <a:spcPts val="622"/>
              </a:spcAft>
              <a:buFont typeface="Arial" panose="020B0604020202020204" pitchFamily="34" charset="0"/>
              <a:buChar char="•"/>
            </a:pPr>
            <a:endParaRPr lang="de-DE" dirty="0"/>
          </a:p>
        </p:txBody>
      </p:sp>
      <p:sp>
        <p:nvSpPr>
          <p:cNvPr id="4" name="Foliennummernplatzhalter 3"/>
          <p:cNvSpPr>
            <a:spLocks noGrp="1"/>
          </p:cNvSpPr>
          <p:nvPr>
            <p:ph type="sldNum" sz="quarter" idx="10"/>
          </p:nvPr>
        </p:nvSpPr>
        <p:spPr/>
        <p:txBody>
          <a:bodyPr/>
          <a:lstStyle/>
          <a:p>
            <a:fld id="{AC7F1437-3BF2-450D-A7B9-B11E523F51F3}" type="slidenum">
              <a:rPr lang="de-DE" smtClean="0">
                <a:solidFill>
                  <a:prstClr val="black"/>
                </a:solidFill>
                <a:latin typeface="Daimler CS"/>
              </a:rPr>
              <a:pPr/>
              <a:t>3</a:t>
            </a:fld>
            <a:endParaRPr lang="de-DE" dirty="0">
              <a:solidFill>
                <a:prstClr val="black"/>
              </a:solidFill>
              <a:latin typeface="Daimler CS"/>
            </a:endParaRPr>
          </a:p>
        </p:txBody>
      </p:sp>
    </p:spTree>
    <p:extLst>
      <p:ext uri="{BB962C8B-B14F-4D97-AF65-F5344CB8AC3E}">
        <p14:creationId xmlns:p14="http://schemas.microsoft.com/office/powerpoint/2010/main" val="2546094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32441" indent="-332441">
              <a:spcAft>
                <a:spcPts val="699"/>
              </a:spcAft>
              <a:buFont typeface="Arial" panose="020B0604020202020204" pitchFamily="34" charset="0"/>
              <a:buChar char="•"/>
            </a:pPr>
            <a:r>
              <a:rPr lang="ru-RU" dirty="0" smtClean="0">
                <a:solidFill>
                  <a:prstClr val="black"/>
                </a:solidFill>
              </a:rPr>
              <a:t>Как видите, мы создали комплексную экосистему услуг. На сегодняшний день миллионы клиентов по всему миру полагаются на наши различные услуги.</a:t>
            </a:r>
          </a:p>
          <a:p>
            <a:pPr marL="332441" indent="-332441">
              <a:spcAft>
                <a:spcPts val="699"/>
              </a:spcAft>
              <a:buFont typeface="Arial" panose="020B0604020202020204" pitchFamily="34" charset="0"/>
              <a:buChar char="•"/>
            </a:pPr>
            <a:r>
              <a:rPr lang="ru-RU" dirty="0" smtClean="0">
                <a:solidFill>
                  <a:prstClr val="black"/>
                </a:solidFill>
              </a:rPr>
              <a:t>Как вы видите в левой части этого слайда, мы предоставляем финансовые, лизинговые и страховые решения, в том числе решения по управлению автопарком через нашу дочернюю компанию </a:t>
            </a:r>
            <a:r>
              <a:rPr lang="ru-RU" dirty="0" err="1" smtClean="0">
                <a:solidFill>
                  <a:prstClr val="black"/>
                </a:solidFill>
              </a:rPr>
              <a:t>Athlon</a:t>
            </a:r>
            <a:r>
              <a:rPr lang="ru-RU" dirty="0" smtClean="0">
                <a:solidFill>
                  <a:prstClr val="black"/>
                </a:solidFill>
              </a:rPr>
              <a:t>.</a:t>
            </a:r>
          </a:p>
          <a:p>
            <a:pPr marL="332441" indent="-332441">
              <a:spcAft>
                <a:spcPts val="699"/>
              </a:spcAft>
              <a:buFont typeface="Arial" panose="020B0604020202020204" pitchFamily="34" charset="0"/>
              <a:buChar char="•"/>
            </a:pPr>
            <a:r>
              <a:rPr lang="ru-RU" dirty="0" smtClean="0">
                <a:solidFill>
                  <a:prstClr val="black"/>
                </a:solidFill>
              </a:rPr>
              <a:t>Как вы видите с правой стороны, мы также предлагаем различные инновационные услуги мобильности, от совместного использования автомобилей до мультимодальных решений.</a:t>
            </a:r>
          </a:p>
          <a:p>
            <a:pPr marL="332441" indent="-332441">
              <a:spcAft>
                <a:spcPts val="699"/>
              </a:spcAft>
              <a:buFont typeface="Arial" panose="020B0604020202020204" pitchFamily="34" charset="0"/>
              <a:buChar char="•"/>
            </a:pPr>
            <a:r>
              <a:rPr lang="ru-RU" dirty="0" smtClean="0">
                <a:solidFill>
                  <a:prstClr val="black"/>
                </a:solidFill>
              </a:rPr>
              <a:t>Можно сказать, что в последние годы мы начали диверсификацию нашего бизнеса DFS, создав предложения по мобильности:</a:t>
            </a:r>
          </a:p>
          <a:p>
            <a:pPr marL="332441" indent="-332441">
              <a:spcAft>
                <a:spcPts val="699"/>
              </a:spcAft>
              <a:buFont typeface="Arial" panose="020B0604020202020204" pitchFamily="34" charset="0"/>
              <a:buChar char="•"/>
            </a:pPr>
            <a:r>
              <a:rPr lang="ru-RU" dirty="0" smtClean="0">
                <a:solidFill>
                  <a:prstClr val="black"/>
                </a:solidFill>
              </a:rPr>
              <a:t>Мы используем дополнительные возможности для бизнеса,</a:t>
            </a:r>
          </a:p>
          <a:p>
            <a:pPr marL="332441" indent="-332441">
              <a:spcAft>
                <a:spcPts val="699"/>
              </a:spcAft>
              <a:buFont typeface="Arial" panose="020B0604020202020204" pitchFamily="34" charset="0"/>
              <a:buChar char="•"/>
            </a:pPr>
            <a:r>
              <a:rPr lang="ru-RU" dirty="0" smtClean="0">
                <a:solidFill>
                  <a:prstClr val="black"/>
                </a:solidFill>
              </a:rPr>
              <a:t>мы застрахованы от сбоев,</a:t>
            </a:r>
          </a:p>
          <a:p>
            <a:pPr marL="332441" indent="-332441">
              <a:spcAft>
                <a:spcPts val="699"/>
              </a:spcAft>
              <a:buFont typeface="Arial" panose="020B0604020202020204" pitchFamily="34" charset="0"/>
              <a:buChar char="•"/>
            </a:pPr>
            <a:r>
              <a:rPr lang="ru-RU" dirty="0" smtClean="0">
                <a:solidFill>
                  <a:prstClr val="black"/>
                </a:solidFill>
              </a:rPr>
              <a:t>и мы ставим себя на передний план, когда речь заходит о формировании будущего мобильности.</a:t>
            </a:r>
            <a:endParaRPr lang="de-DE" dirty="0"/>
          </a:p>
        </p:txBody>
      </p:sp>
      <p:sp>
        <p:nvSpPr>
          <p:cNvPr id="4" name="Foliennummernplatzhalter 3"/>
          <p:cNvSpPr>
            <a:spLocks noGrp="1"/>
          </p:cNvSpPr>
          <p:nvPr>
            <p:ph type="sldNum" sz="quarter" idx="10"/>
          </p:nvPr>
        </p:nvSpPr>
        <p:spPr/>
        <p:txBody>
          <a:bodyPr/>
          <a:lstStyle/>
          <a:p>
            <a:fld id="{59FA2CA8-D4D6-4095-9C83-09CE76379C3A}" type="slidenum">
              <a:rPr lang="de-DE" smtClean="0"/>
              <a:t>4</a:t>
            </a:fld>
            <a:endParaRPr lang="de-DE"/>
          </a:p>
        </p:txBody>
      </p:sp>
    </p:spTree>
    <p:extLst>
      <p:ext uri="{BB962C8B-B14F-4D97-AF65-F5344CB8AC3E}">
        <p14:creationId xmlns:p14="http://schemas.microsoft.com/office/powerpoint/2010/main" val="27114982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3789" y="5118726"/>
            <a:ext cx="5390305" cy="5116854"/>
          </a:xfrm>
        </p:spPr>
        <p:txBody>
          <a:bodyPr/>
          <a:lstStyle/>
          <a:p>
            <a:pPr>
              <a:spcAft>
                <a:spcPts val="622"/>
              </a:spcAft>
            </a:pPr>
            <a:endParaRPr lang="en-US" dirty="0"/>
          </a:p>
        </p:txBody>
      </p:sp>
      <p:sp>
        <p:nvSpPr>
          <p:cNvPr id="4" name="Foliennummernplatzhalter 3"/>
          <p:cNvSpPr>
            <a:spLocks noGrp="1"/>
          </p:cNvSpPr>
          <p:nvPr>
            <p:ph type="sldNum" sz="quarter" idx="10"/>
          </p:nvPr>
        </p:nvSpPr>
        <p:spPr/>
        <p:txBody>
          <a:bodyPr/>
          <a:lstStyle/>
          <a:p>
            <a:fld id="{AC7F1437-3BF2-450D-A7B9-B11E523F51F3}" type="slidenum">
              <a:rPr lang="de-DE" smtClean="0">
                <a:solidFill>
                  <a:prstClr val="black"/>
                </a:solidFill>
              </a:rPr>
              <a:pPr/>
              <a:t>5</a:t>
            </a:fld>
            <a:endParaRPr lang="de-DE" dirty="0">
              <a:solidFill>
                <a:prstClr val="black"/>
              </a:solidFill>
            </a:endParaRPr>
          </a:p>
        </p:txBody>
      </p:sp>
    </p:spTree>
    <p:extLst>
      <p:ext uri="{BB962C8B-B14F-4D97-AF65-F5344CB8AC3E}">
        <p14:creationId xmlns:p14="http://schemas.microsoft.com/office/powerpoint/2010/main" val="8403886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spcBef>
                <a:spcPts val="600"/>
              </a:spcBef>
              <a:buFont typeface="Arial" panose="020B0604020202020204" pitchFamily="34" charset="0"/>
              <a:buChar char="•"/>
              <a:defRPr/>
            </a:pPr>
            <a:r>
              <a:rPr lang="ru-RU" dirty="0" smtClean="0"/>
              <a:t>На сегодняшний день мы присутствуем в более чем 40 странах мира, где около 12 000 * наших сотрудников находятся рядом с нашими клиентами.</a:t>
            </a:r>
          </a:p>
          <a:p>
            <a:pPr marL="171450" indent="-171450">
              <a:spcBef>
                <a:spcPts val="600"/>
              </a:spcBef>
              <a:buFont typeface="Arial" panose="020B0604020202020204" pitchFamily="34" charset="0"/>
              <a:buChar char="•"/>
              <a:defRPr/>
            </a:pPr>
            <a:r>
              <a:rPr lang="ru-RU" dirty="0" smtClean="0"/>
              <a:t>Наш общий портфель составляет 154 миллиарда евро. Мы управляем этим портфелем на основе региональной структуры.</a:t>
            </a:r>
          </a:p>
          <a:p>
            <a:pPr marL="171450" indent="-171450">
              <a:spcBef>
                <a:spcPts val="600"/>
              </a:spcBef>
              <a:buFont typeface="Arial" panose="020B0604020202020204" pitchFamily="34" charset="0"/>
              <a:buChar char="•"/>
              <a:defRPr/>
            </a:pPr>
            <a:r>
              <a:rPr lang="ru-RU" dirty="0" smtClean="0"/>
              <a:t>Наши деловые регионы - Америка, Европа, Африка и Азиатско-Тихоокеанский регион.</a:t>
            </a:r>
          </a:p>
          <a:p>
            <a:pPr marL="171450" indent="-171450">
              <a:spcBef>
                <a:spcPts val="600"/>
              </a:spcBef>
              <a:buFont typeface="Arial" panose="020B0604020202020204" pitchFamily="34" charset="0"/>
              <a:buChar char="•"/>
              <a:defRPr/>
            </a:pPr>
            <a:r>
              <a:rPr lang="ru-RU" dirty="0" smtClean="0"/>
              <a:t>Наши пять самых важных стран - США, Германия, Великобритания, Китай и Канада.</a:t>
            </a:r>
          </a:p>
          <a:p>
            <a:pPr marL="171450" indent="-171450">
              <a:spcBef>
                <a:spcPts val="600"/>
              </a:spcBef>
              <a:buFont typeface="Arial" panose="020B0604020202020204" pitchFamily="34" charset="0"/>
              <a:buChar char="•"/>
              <a:defRPr/>
            </a:pPr>
            <a:r>
              <a:rPr lang="ru-RU" dirty="0" smtClean="0"/>
              <a:t>* Вкл. </a:t>
            </a:r>
            <a:r>
              <a:rPr lang="ru-RU" dirty="0" err="1" smtClean="0"/>
              <a:t>Athlon</a:t>
            </a:r>
            <a:endParaRPr lang="en-US" i="1" dirty="0"/>
          </a:p>
        </p:txBody>
      </p:sp>
      <p:sp>
        <p:nvSpPr>
          <p:cNvPr id="4" name="Foliennummernplatzhalter 3"/>
          <p:cNvSpPr>
            <a:spLocks noGrp="1"/>
          </p:cNvSpPr>
          <p:nvPr>
            <p:ph type="sldNum" sz="quarter" idx="10"/>
          </p:nvPr>
        </p:nvSpPr>
        <p:spPr/>
        <p:txBody>
          <a:bodyPr/>
          <a:lstStyle/>
          <a:p>
            <a:fld id="{AC7F1437-3BF2-450D-A7B9-B11E523F51F3}" type="slidenum">
              <a:rPr lang="de-DE" smtClean="0"/>
              <a:t>6</a:t>
            </a:fld>
            <a:endParaRPr lang="de-DE" dirty="0"/>
          </a:p>
        </p:txBody>
      </p:sp>
    </p:spTree>
    <p:extLst>
      <p:ext uri="{BB962C8B-B14F-4D97-AF65-F5344CB8AC3E}">
        <p14:creationId xmlns:p14="http://schemas.microsoft.com/office/powerpoint/2010/main" val="20396599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C7F1437-3BF2-450D-A7B9-B11E523F51F3}" type="slidenum">
              <a:rPr lang="de-DE" smtClean="0"/>
              <a:t>7</a:t>
            </a:fld>
            <a:endParaRPr lang="de-DE" dirty="0"/>
          </a:p>
        </p:txBody>
      </p:sp>
    </p:spTree>
    <p:extLst>
      <p:ext uri="{BB962C8B-B14F-4D97-AF65-F5344CB8AC3E}">
        <p14:creationId xmlns:p14="http://schemas.microsoft.com/office/powerpoint/2010/main" val="23564787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9FA2CA8-D4D6-4095-9C83-09CE76379C3A}" type="slidenum">
              <a:rPr lang="de-DE" smtClean="0">
                <a:solidFill>
                  <a:prstClr val="black"/>
                </a:solidFill>
                <a:latin typeface="Calibri" panose="020F0502020204030204"/>
              </a:rPr>
              <a:pPr/>
              <a:t>8</a:t>
            </a:fld>
            <a:endParaRPr lang="de-DE">
              <a:solidFill>
                <a:prstClr val="black"/>
              </a:solidFill>
              <a:latin typeface="Calibri" panose="020F0502020204030204"/>
            </a:endParaRPr>
          </a:p>
        </p:txBody>
      </p:sp>
    </p:spTree>
    <p:extLst>
      <p:ext uri="{BB962C8B-B14F-4D97-AF65-F5344CB8AC3E}">
        <p14:creationId xmlns:p14="http://schemas.microsoft.com/office/powerpoint/2010/main" val="32920740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9FA2CA8-D4D6-4095-9C83-09CE76379C3A}" type="slidenum">
              <a:rPr lang="de-DE" smtClean="0"/>
              <a:t>9</a:t>
            </a:fld>
            <a:endParaRPr lang="de-DE"/>
          </a:p>
        </p:txBody>
      </p:sp>
    </p:spTree>
    <p:extLst>
      <p:ext uri="{BB962C8B-B14F-4D97-AF65-F5344CB8AC3E}">
        <p14:creationId xmlns:p14="http://schemas.microsoft.com/office/powerpoint/2010/main" val="2561431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3.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1000.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vmlDrawing" Target="../drawings/vmlDrawing155.vml"/><Relationship Id="rId6" Type="http://schemas.openxmlformats.org/officeDocument/2006/relationships/image" Target="../media/image51.emf"/><Relationship Id="rId5" Type="http://schemas.openxmlformats.org/officeDocument/2006/relationships/oleObject" Target="../embeddings/oleObject155.bin"/><Relationship Id="rId4" Type="http://schemas.openxmlformats.org/officeDocument/2006/relationships/slideMaster" Target="../slideMasters/slideMaster32.xml"/></Relationships>
</file>

<file path=ppt/slideLayouts/_rels/slideLayout1001.xml.rels><?xml version="1.0" encoding="UTF-8" standalone="yes"?>
<Relationships xmlns="http://schemas.openxmlformats.org/package/2006/relationships"><Relationship Id="rId3" Type="http://schemas.openxmlformats.org/officeDocument/2006/relationships/slideMaster" Target="../slideMasters/slideMaster33.xml"/><Relationship Id="rId7" Type="http://schemas.openxmlformats.org/officeDocument/2006/relationships/image" Target="../media/image50.png"/><Relationship Id="rId2" Type="http://schemas.openxmlformats.org/officeDocument/2006/relationships/tags" Target="../tags/tag170.xml"/><Relationship Id="rId1" Type="http://schemas.openxmlformats.org/officeDocument/2006/relationships/vmlDrawing" Target="../drawings/vmlDrawing157.vml"/><Relationship Id="rId6" Type="http://schemas.openxmlformats.org/officeDocument/2006/relationships/image" Target="../media/image1.emf"/><Relationship Id="rId5" Type="http://schemas.openxmlformats.org/officeDocument/2006/relationships/oleObject" Target="../embeddings/oleObject157.bin"/><Relationship Id="rId4" Type="http://schemas.openxmlformats.org/officeDocument/2006/relationships/image" Target="../media/image4.jpg"/></Relationships>
</file>

<file path=ppt/slideLayouts/_rels/slideLayout1002.xml.rels><?xml version="1.0" encoding="UTF-8" standalone="yes"?>
<Relationships xmlns="http://schemas.openxmlformats.org/package/2006/relationships"><Relationship Id="rId3" Type="http://schemas.openxmlformats.org/officeDocument/2006/relationships/tags" Target="../tags/tag172.xml"/><Relationship Id="rId2" Type="http://schemas.openxmlformats.org/officeDocument/2006/relationships/tags" Target="../tags/tag171.xml"/><Relationship Id="rId1" Type="http://schemas.openxmlformats.org/officeDocument/2006/relationships/vmlDrawing" Target="../drawings/vmlDrawing158.vml"/><Relationship Id="rId6" Type="http://schemas.openxmlformats.org/officeDocument/2006/relationships/image" Target="../media/image1.emf"/><Relationship Id="rId5" Type="http://schemas.openxmlformats.org/officeDocument/2006/relationships/oleObject" Target="../embeddings/oleObject158.bin"/><Relationship Id="rId4" Type="http://schemas.openxmlformats.org/officeDocument/2006/relationships/slideMaster" Target="../slideMasters/slideMaster33.xml"/></Relationships>
</file>

<file path=ppt/slideLayouts/_rels/slideLayout1003.xml.rels><?xml version="1.0" encoding="UTF-8" standalone="yes"?>
<Relationships xmlns="http://schemas.openxmlformats.org/package/2006/relationships"><Relationship Id="rId3" Type="http://schemas.openxmlformats.org/officeDocument/2006/relationships/tags" Target="../tags/tag174.xml"/><Relationship Id="rId2" Type="http://schemas.openxmlformats.org/officeDocument/2006/relationships/tags" Target="../tags/tag173.xml"/><Relationship Id="rId1" Type="http://schemas.openxmlformats.org/officeDocument/2006/relationships/vmlDrawing" Target="../drawings/vmlDrawing159.vml"/><Relationship Id="rId6" Type="http://schemas.openxmlformats.org/officeDocument/2006/relationships/image" Target="../media/image1.emf"/><Relationship Id="rId5" Type="http://schemas.openxmlformats.org/officeDocument/2006/relationships/oleObject" Target="../embeddings/oleObject159.bin"/><Relationship Id="rId4" Type="http://schemas.openxmlformats.org/officeDocument/2006/relationships/slideMaster" Target="../slideMasters/slideMaster33.xml"/></Relationships>
</file>

<file path=ppt/slideLayouts/_rels/slideLayout1004.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vmlDrawing" Target="../drawings/vmlDrawing160.vml"/><Relationship Id="rId6" Type="http://schemas.openxmlformats.org/officeDocument/2006/relationships/image" Target="../media/image51.emf"/><Relationship Id="rId5" Type="http://schemas.openxmlformats.org/officeDocument/2006/relationships/oleObject" Target="../embeddings/oleObject160.bin"/><Relationship Id="rId4" Type="http://schemas.openxmlformats.org/officeDocument/2006/relationships/slideMaster" Target="../slideMasters/slideMaster33.xml"/></Relationships>
</file>

<file path=ppt/slideLayouts/_rels/slideLayout100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006.xml.rels><?xml version="1.0" encoding="UTF-8" standalone="yes"?>
<Relationships xmlns="http://schemas.openxmlformats.org/package/2006/relationships"><Relationship Id="rId3" Type="http://schemas.openxmlformats.org/officeDocument/2006/relationships/slideMaster" Target="../slideMasters/slideMaster34.xml"/><Relationship Id="rId7" Type="http://schemas.openxmlformats.org/officeDocument/2006/relationships/image" Target="../media/image50.png"/><Relationship Id="rId2" Type="http://schemas.openxmlformats.org/officeDocument/2006/relationships/tags" Target="../tags/tag179.xml"/><Relationship Id="rId1" Type="http://schemas.openxmlformats.org/officeDocument/2006/relationships/vmlDrawing" Target="../drawings/vmlDrawing162.vml"/><Relationship Id="rId6" Type="http://schemas.openxmlformats.org/officeDocument/2006/relationships/image" Target="../media/image1.emf"/><Relationship Id="rId5" Type="http://schemas.openxmlformats.org/officeDocument/2006/relationships/oleObject" Target="../embeddings/oleObject162.bin"/><Relationship Id="rId4" Type="http://schemas.openxmlformats.org/officeDocument/2006/relationships/image" Target="../media/image4.jpg"/></Relationships>
</file>

<file path=ppt/slideLayouts/_rels/slideLayout1007.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vmlDrawing" Target="../drawings/vmlDrawing163.vml"/><Relationship Id="rId6" Type="http://schemas.openxmlformats.org/officeDocument/2006/relationships/image" Target="../media/image1.emf"/><Relationship Id="rId5" Type="http://schemas.openxmlformats.org/officeDocument/2006/relationships/oleObject" Target="../embeddings/oleObject163.bin"/><Relationship Id="rId4" Type="http://schemas.openxmlformats.org/officeDocument/2006/relationships/slideMaster" Target="../slideMasters/slideMaster34.xml"/></Relationships>
</file>

<file path=ppt/slideLayouts/_rels/slideLayout1008.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vmlDrawing" Target="../drawings/vmlDrawing164.vml"/><Relationship Id="rId6" Type="http://schemas.openxmlformats.org/officeDocument/2006/relationships/image" Target="../media/image1.emf"/><Relationship Id="rId5" Type="http://schemas.openxmlformats.org/officeDocument/2006/relationships/oleObject" Target="../embeddings/oleObject164.bin"/><Relationship Id="rId4" Type="http://schemas.openxmlformats.org/officeDocument/2006/relationships/slideMaster" Target="../slideMasters/slideMaster34.xml"/></Relationships>
</file>

<file path=ppt/slideLayouts/_rels/slideLayout1009.xml.rels><?xml version="1.0" encoding="UTF-8" standalone="yes"?>
<Relationships xmlns="http://schemas.openxmlformats.org/package/2006/relationships"><Relationship Id="rId3" Type="http://schemas.openxmlformats.org/officeDocument/2006/relationships/tags" Target="../tags/tag185.xml"/><Relationship Id="rId2" Type="http://schemas.openxmlformats.org/officeDocument/2006/relationships/tags" Target="../tags/tag184.xml"/><Relationship Id="rId1" Type="http://schemas.openxmlformats.org/officeDocument/2006/relationships/vmlDrawing" Target="../drawings/vmlDrawing165.vml"/><Relationship Id="rId6" Type="http://schemas.openxmlformats.org/officeDocument/2006/relationships/image" Target="../media/image51.emf"/><Relationship Id="rId5" Type="http://schemas.openxmlformats.org/officeDocument/2006/relationships/oleObject" Target="../embeddings/oleObject165.bin"/><Relationship Id="rId4" Type="http://schemas.openxmlformats.org/officeDocument/2006/relationships/slideMaster" Target="../slideMasters/slideMaster3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8.jpg"/></Relationships>
</file>

<file path=ppt/slideLayouts/_rels/slideLayout10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35.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10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35.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10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35.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10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35.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10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5.xml"/><Relationship Id="rId4" Type="http://schemas.openxmlformats.org/officeDocument/2006/relationships/image" Target="../media/image4.jpg"/></Relationships>
</file>

<file path=ppt/slideLayouts/_rels/slideLayout10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5.xml"/><Relationship Id="rId4" Type="http://schemas.openxmlformats.org/officeDocument/2006/relationships/image" Target="../media/image7.jpg"/></Relationships>
</file>

<file path=ppt/slideLayouts/_rels/slideLayout10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g"/><Relationship Id="rId1" Type="http://schemas.openxmlformats.org/officeDocument/2006/relationships/slideMaster" Target="../slideMasters/slideMaster35.xml"/><Relationship Id="rId4" Type="http://schemas.openxmlformats.org/officeDocument/2006/relationships/image" Target="../media/image3.png"/></Relationships>
</file>

<file path=ppt/slideLayouts/_rels/slideLayout101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01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0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5.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02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0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5.xml"/></Relationships>
</file>

<file path=ppt/slideLayouts/_rels/slideLayout10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5.xml"/><Relationship Id="rId4" Type="http://schemas.openxmlformats.org/officeDocument/2006/relationships/image" Target="../media/image9.jpg"/></Relationships>
</file>

<file path=ppt/slideLayouts/_rels/slideLayout10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5.xml"/><Relationship Id="rId4" Type="http://schemas.openxmlformats.org/officeDocument/2006/relationships/image" Target="../media/image10.jpg"/></Relationships>
</file>

<file path=ppt/slideLayouts/_rels/slideLayout10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5.xml"/><Relationship Id="rId4" Type="http://schemas.openxmlformats.org/officeDocument/2006/relationships/image" Target="../media/image11.jpg"/></Relationships>
</file>

<file path=ppt/slideLayouts/_rels/slideLayout10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5.xml"/><Relationship Id="rId4" Type="http://schemas.openxmlformats.org/officeDocument/2006/relationships/image" Target="../media/image12.jpg"/></Relationships>
</file>

<file path=ppt/slideLayouts/_rels/slideLayout10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5.xml"/><Relationship Id="rId4" Type="http://schemas.openxmlformats.org/officeDocument/2006/relationships/image" Target="../media/image13.jpg"/></Relationships>
</file>

<file path=ppt/slideLayouts/_rels/slideLayout10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5.xml"/></Relationships>
</file>

<file path=ppt/slideLayouts/_rels/slideLayout10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5.xml"/></Relationships>
</file>

<file path=ppt/slideLayouts/_rels/slideLayout10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5.xml"/></Relationships>
</file>

<file path=ppt/slideLayouts/_rels/slideLayout10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5.xml"/></Relationships>
</file>

<file path=ppt/slideLayouts/_rels/slideLayout103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03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03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03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03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03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0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36.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10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36.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36.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10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36.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10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6.xml"/><Relationship Id="rId4" Type="http://schemas.openxmlformats.org/officeDocument/2006/relationships/image" Target="../media/image52.jpeg"/></Relationships>
</file>

<file path=ppt/slideLayouts/_rels/slideLayout10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6.xml"/><Relationship Id="rId4" Type="http://schemas.openxmlformats.org/officeDocument/2006/relationships/image" Target="../media/image53.jpeg"/></Relationships>
</file>

<file path=ppt/slideLayouts/_rels/slideLayout10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6.xml"/><Relationship Id="rId4" Type="http://schemas.openxmlformats.org/officeDocument/2006/relationships/image" Target="../media/image8.jpg"/></Relationships>
</file>

<file path=ppt/slideLayouts/_rels/slideLayout104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04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0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6.xml"/></Relationships>
</file>

<file path=ppt/slideLayouts/_rels/slideLayout104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0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6.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0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6.xml"/><Relationship Id="rId4" Type="http://schemas.openxmlformats.org/officeDocument/2006/relationships/image" Target="../media/image9.jpg"/></Relationships>
</file>

<file path=ppt/slideLayouts/_rels/slideLayout10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6.xml"/><Relationship Id="rId4" Type="http://schemas.openxmlformats.org/officeDocument/2006/relationships/image" Target="../media/image10.jpg"/></Relationships>
</file>

<file path=ppt/slideLayouts/_rels/slideLayout10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6.xml"/><Relationship Id="rId4" Type="http://schemas.openxmlformats.org/officeDocument/2006/relationships/image" Target="../media/image54.jpeg"/></Relationships>
</file>

<file path=ppt/slideLayouts/_rels/slideLayout10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6.xml"/><Relationship Id="rId4" Type="http://schemas.openxmlformats.org/officeDocument/2006/relationships/image" Target="../media/image55.jpeg"/></Relationships>
</file>

<file path=ppt/slideLayouts/_rels/slideLayout10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6.xml"/><Relationship Id="rId4" Type="http://schemas.openxmlformats.org/officeDocument/2006/relationships/image" Target="../media/image56.jpeg"/></Relationships>
</file>

<file path=ppt/slideLayouts/_rels/slideLayout10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6.xml"/></Relationships>
</file>

<file path=ppt/slideLayouts/_rels/slideLayout10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6.xml"/></Relationships>
</file>

<file path=ppt/slideLayouts/_rels/slideLayout10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6.xml"/></Relationships>
</file>

<file path=ppt/slideLayouts/_rels/slideLayout10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6.xml"/></Relationships>
</file>

<file path=ppt/slideLayouts/_rels/slideLayout10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6.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5.emf"/><Relationship Id="rId4" Type="http://schemas.openxmlformats.org/officeDocument/2006/relationships/oleObject" Target="../embeddings/oleObject14.bin"/></Relationships>
</file>

<file path=ppt/slideLayouts/_rels/slideLayout106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06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06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06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06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06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0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6.xml"/><Relationship Id="rId4" Type="http://schemas.openxmlformats.org/officeDocument/2006/relationships/image" Target="../media/image54.jpeg"/></Relationships>
</file>

<file path=ppt/slideLayouts/_rels/slideLayout10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6.xml"/><Relationship Id="rId4" Type="http://schemas.openxmlformats.org/officeDocument/2006/relationships/image" Target="../media/image55.jpeg"/></Relationships>
</file>

<file path=ppt/slideLayouts/_rels/slideLayout10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6.xml"/></Relationships>
</file>

<file path=ppt/slideLayouts/_rels/slideLayout106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5.emf"/><Relationship Id="rId4" Type="http://schemas.openxmlformats.org/officeDocument/2006/relationships/oleObject" Target="../embeddings/oleObject15.bin"/></Relationships>
</file>

<file path=ppt/slideLayouts/_rels/slideLayout107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07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072.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86.xml"/><Relationship Id="rId1" Type="http://schemas.openxmlformats.org/officeDocument/2006/relationships/vmlDrawing" Target="../drawings/vmlDrawing166.vml"/><Relationship Id="rId5" Type="http://schemas.openxmlformats.org/officeDocument/2006/relationships/image" Target="../media/image57.emf"/><Relationship Id="rId4" Type="http://schemas.openxmlformats.org/officeDocument/2006/relationships/oleObject" Target="../embeddings/oleObject166.bin"/></Relationships>
</file>

<file path=ppt/slideLayouts/_rels/slideLayout1073.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87.xml"/><Relationship Id="rId1" Type="http://schemas.openxmlformats.org/officeDocument/2006/relationships/vmlDrawing" Target="../drawings/vmlDrawing167.vml"/><Relationship Id="rId5" Type="http://schemas.openxmlformats.org/officeDocument/2006/relationships/image" Target="../media/image1.emf"/><Relationship Id="rId4" Type="http://schemas.openxmlformats.org/officeDocument/2006/relationships/oleObject" Target="../embeddings/oleObject167.bin"/></Relationships>
</file>

<file path=ppt/slideLayouts/_rels/slideLayout107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075.xml.rels><?xml version="1.0" encoding="UTF-8" standalone="yes"?>
<Relationships xmlns="http://schemas.openxmlformats.org/package/2006/relationships"><Relationship Id="rId3" Type="http://schemas.openxmlformats.org/officeDocument/2006/relationships/tags" Target="../tags/tag189.xml"/><Relationship Id="rId2" Type="http://schemas.openxmlformats.org/officeDocument/2006/relationships/tags" Target="../tags/tag188.xml"/><Relationship Id="rId1" Type="http://schemas.openxmlformats.org/officeDocument/2006/relationships/vmlDrawing" Target="../drawings/vmlDrawing168.vml"/><Relationship Id="rId6" Type="http://schemas.openxmlformats.org/officeDocument/2006/relationships/image" Target="../media/image45.emf"/><Relationship Id="rId5" Type="http://schemas.openxmlformats.org/officeDocument/2006/relationships/oleObject" Target="../embeddings/oleObject168.bin"/><Relationship Id="rId4" Type="http://schemas.openxmlformats.org/officeDocument/2006/relationships/slideMaster" Target="../slideMasters/slideMaster36.xml"/></Relationships>
</file>

<file path=ppt/slideLayouts/_rels/slideLayout1076.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15.emf"/><Relationship Id="rId2" Type="http://schemas.openxmlformats.org/officeDocument/2006/relationships/tags" Target="../tags/tag190.xml"/><Relationship Id="rId1" Type="http://schemas.openxmlformats.org/officeDocument/2006/relationships/vmlDrawing" Target="../drawings/vmlDrawing169.vml"/><Relationship Id="rId6" Type="http://schemas.openxmlformats.org/officeDocument/2006/relationships/oleObject" Target="../embeddings/oleObject169.bin"/><Relationship Id="rId5" Type="http://schemas.openxmlformats.org/officeDocument/2006/relationships/image" Target="../media/image58.jpg"/><Relationship Id="rId4" Type="http://schemas.openxmlformats.org/officeDocument/2006/relationships/slideMaster" Target="../slideMasters/slideMaster36.xml"/></Relationships>
</file>

<file path=ppt/slideLayouts/_rels/slideLayout1077.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59.jpeg"/><Relationship Id="rId2" Type="http://schemas.openxmlformats.org/officeDocument/2006/relationships/tags" Target="../tags/tag192.xml"/><Relationship Id="rId1" Type="http://schemas.openxmlformats.org/officeDocument/2006/relationships/vmlDrawing" Target="../drawings/vmlDrawing170.vml"/><Relationship Id="rId6" Type="http://schemas.openxmlformats.org/officeDocument/2006/relationships/image" Target="../media/image39.emf"/><Relationship Id="rId5" Type="http://schemas.openxmlformats.org/officeDocument/2006/relationships/oleObject" Target="../embeddings/oleObject170.bin"/><Relationship Id="rId4" Type="http://schemas.openxmlformats.org/officeDocument/2006/relationships/slideMaster" Target="../slideMasters/slideMaster36.xml"/></Relationships>
</file>

<file path=ppt/slideLayouts/_rels/slideLayout107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94.xml"/><Relationship Id="rId1" Type="http://schemas.openxmlformats.org/officeDocument/2006/relationships/vmlDrawing" Target="../drawings/vmlDrawing171.vml"/><Relationship Id="rId5" Type="http://schemas.openxmlformats.org/officeDocument/2006/relationships/image" Target="../media/image45.emf"/><Relationship Id="rId4" Type="http://schemas.openxmlformats.org/officeDocument/2006/relationships/oleObject" Target="../embeddings/oleObject171.bin"/></Relationships>
</file>

<file path=ppt/slideLayouts/_rels/slideLayout107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081.xml.rels><?xml version="1.0" encoding="UTF-8" standalone="yes"?>
<Relationships xmlns="http://schemas.openxmlformats.org/package/2006/relationships"><Relationship Id="rId3" Type="http://schemas.openxmlformats.org/officeDocument/2006/relationships/tags" Target="../tags/tag196.xml"/><Relationship Id="rId2" Type="http://schemas.openxmlformats.org/officeDocument/2006/relationships/tags" Target="../tags/tag195.xml"/><Relationship Id="rId1" Type="http://schemas.openxmlformats.org/officeDocument/2006/relationships/vmlDrawing" Target="../drawings/vmlDrawing172.vml"/><Relationship Id="rId6" Type="http://schemas.openxmlformats.org/officeDocument/2006/relationships/image" Target="../media/image1.emf"/><Relationship Id="rId5" Type="http://schemas.openxmlformats.org/officeDocument/2006/relationships/oleObject" Target="../embeddings/oleObject172.bin"/><Relationship Id="rId4" Type="http://schemas.openxmlformats.org/officeDocument/2006/relationships/slideMaster" Target="../slideMasters/slideMaster36.xml"/></Relationships>
</file>

<file path=ppt/slideLayouts/_rels/slideLayout1082.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97.xml"/><Relationship Id="rId1" Type="http://schemas.openxmlformats.org/officeDocument/2006/relationships/vmlDrawing" Target="../drawings/vmlDrawing173.vml"/><Relationship Id="rId5" Type="http://schemas.openxmlformats.org/officeDocument/2006/relationships/image" Target="../media/image45.emf"/><Relationship Id="rId4" Type="http://schemas.openxmlformats.org/officeDocument/2006/relationships/oleObject" Target="../embeddings/oleObject173.bin"/></Relationships>
</file>

<file path=ppt/slideLayouts/_rels/slideLayout1083.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image" Target="../media/image4.jpg"/><Relationship Id="rId1" Type="http://schemas.openxmlformats.org/officeDocument/2006/relationships/slideMaster" Target="../slideMasters/slideMaster37.xml"/><Relationship Id="rId6" Type="http://schemas.openxmlformats.org/officeDocument/2006/relationships/image" Target="../media/image14.wmf"/><Relationship Id="rId11" Type="http://schemas.openxmlformats.org/officeDocument/2006/relationships/image" Target="../media/image36.PNG"/><Relationship Id="rId5" Type="http://schemas.openxmlformats.org/officeDocument/2006/relationships/image" Target="../media/image5.png"/><Relationship Id="rId10" Type="http://schemas.openxmlformats.org/officeDocument/2006/relationships/image" Target="../media/image35.png"/><Relationship Id="rId4" Type="http://schemas.openxmlformats.org/officeDocument/2006/relationships/image" Target="../media/image3.png"/><Relationship Id="rId9" Type="http://schemas.openxmlformats.org/officeDocument/2006/relationships/image" Target="../media/image34.png"/></Relationships>
</file>

<file path=ppt/slideLayouts/_rels/slideLayout108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08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08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087.xml.rels><?xml version="1.0" encoding="UTF-8" standalone="yes"?>
<Relationships xmlns="http://schemas.openxmlformats.org/package/2006/relationships"><Relationship Id="rId3" Type="http://schemas.openxmlformats.org/officeDocument/2006/relationships/tags" Target="../tags/tag200.xml"/><Relationship Id="rId2" Type="http://schemas.openxmlformats.org/officeDocument/2006/relationships/tags" Target="../tags/tag199.xml"/><Relationship Id="rId1" Type="http://schemas.openxmlformats.org/officeDocument/2006/relationships/vmlDrawing" Target="../drawings/vmlDrawing174.vml"/><Relationship Id="rId6" Type="http://schemas.openxmlformats.org/officeDocument/2006/relationships/image" Target="../media/image1.emf"/><Relationship Id="rId5" Type="http://schemas.openxmlformats.org/officeDocument/2006/relationships/oleObject" Target="../embeddings/oleObject174.bin"/><Relationship Id="rId4" Type="http://schemas.openxmlformats.org/officeDocument/2006/relationships/slideMaster" Target="../slideMasters/slideMaster37.xml"/></Relationships>
</file>

<file path=ppt/slideLayouts/_rels/slideLayout1088.xml.rels><?xml version="1.0" encoding="UTF-8" standalone="yes"?>
<Relationships xmlns="http://schemas.openxmlformats.org/package/2006/relationships"><Relationship Id="rId3" Type="http://schemas.openxmlformats.org/officeDocument/2006/relationships/tags" Target="../tags/tag202.xml"/><Relationship Id="rId2" Type="http://schemas.openxmlformats.org/officeDocument/2006/relationships/tags" Target="../tags/tag201.xml"/><Relationship Id="rId1" Type="http://schemas.openxmlformats.org/officeDocument/2006/relationships/vmlDrawing" Target="../drawings/vmlDrawing175.vml"/><Relationship Id="rId6" Type="http://schemas.openxmlformats.org/officeDocument/2006/relationships/image" Target="../media/image45.emf"/><Relationship Id="rId5" Type="http://schemas.openxmlformats.org/officeDocument/2006/relationships/oleObject" Target="../embeddings/oleObject175.bin"/><Relationship Id="rId4" Type="http://schemas.openxmlformats.org/officeDocument/2006/relationships/slideMaster" Target="../slideMasters/slideMaster37.xml"/></Relationships>
</file>

<file path=ppt/slideLayouts/_rels/slideLayout1089.xml.rels><?xml version="1.0" encoding="UTF-8" standalone="yes"?>
<Relationships xmlns="http://schemas.openxmlformats.org/package/2006/relationships"><Relationship Id="rId3" Type="http://schemas.openxmlformats.org/officeDocument/2006/relationships/tags" Target="../tags/tag204.xml"/><Relationship Id="rId2" Type="http://schemas.openxmlformats.org/officeDocument/2006/relationships/tags" Target="../tags/tag203.xml"/><Relationship Id="rId1" Type="http://schemas.openxmlformats.org/officeDocument/2006/relationships/vmlDrawing" Target="../drawings/vmlDrawing176.vml"/><Relationship Id="rId6" Type="http://schemas.openxmlformats.org/officeDocument/2006/relationships/image" Target="../media/image1.emf"/><Relationship Id="rId5" Type="http://schemas.openxmlformats.org/officeDocument/2006/relationships/oleObject" Target="../embeddings/oleObject176.bin"/><Relationship Id="rId4" Type="http://schemas.openxmlformats.org/officeDocument/2006/relationships/slideMaster" Target="../slideMasters/slideMaster3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4.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10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09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7.xml"/></Relationships>
</file>

<file path=ppt/slideLayouts/_rels/slideLayout1092.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205.xml"/><Relationship Id="rId1" Type="http://schemas.openxmlformats.org/officeDocument/2006/relationships/vmlDrawing" Target="../drawings/vmlDrawing177.vml"/><Relationship Id="rId6" Type="http://schemas.openxmlformats.org/officeDocument/2006/relationships/image" Target="../media/image15.emf"/><Relationship Id="rId5" Type="http://schemas.openxmlformats.org/officeDocument/2006/relationships/oleObject" Target="../embeddings/oleObject177.bin"/><Relationship Id="rId4" Type="http://schemas.openxmlformats.org/officeDocument/2006/relationships/image" Target="../media/image47.jpeg"/></Relationships>
</file>

<file path=ppt/slideLayouts/_rels/slideLayout109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206.xml"/><Relationship Id="rId1" Type="http://schemas.openxmlformats.org/officeDocument/2006/relationships/vmlDrawing" Target="../drawings/vmlDrawing178.vml"/><Relationship Id="rId6" Type="http://schemas.openxmlformats.org/officeDocument/2006/relationships/image" Target="../media/image15.emf"/><Relationship Id="rId5" Type="http://schemas.openxmlformats.org/officeDocument/2006/relationships/oleObject" Target="../embeddings/oleObject178.bin"/><Relationship Id="rId4" Type="http://schemas.openxmlformats.org/officeDocument/2006/relationships/image" Target="../media/image47.jpeg"/></Relationships>
</file>

<file path=ppt/slideLayouts/_rels/slideLayout109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207.xml"/><Relationship Id="rId1" Type="http://schemas.openxmlformats.org/officeDocument/2006/relationships/vmlDrawing" Target="../drawings/vmlDrawing179.vml"/><Relationship Id="rId6" Type="http://schemas.openxmlformats.org/officeDocument/2006/relationships/image" Target="../media/image48.wmf"/><Relationship Id="rId5" Type="http://schemas.openxmlformats.org/officeDocument/2006/relationships/image" Target="NULL"/><Relationship Id="rId4" Type="http://schemas.openxmlformats.org/officeDocument/2006/relationships/oleObject" Target="../embeddings/oleObject179.bin"/></Relationships>
</file>

<file path=ppt/slideLayouts/_rels/slideLayout1095.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48.wmf"/><Relationship Id="rId2" Type="http://schemas.openxmlformats.org/officeDocument/2006/relationships/tags" Target="../tags/tag208.xml"/><Relationship Id="rId1" Type="http://schemas.openxmlformats.org/officeDocument/2006/relationships/vmlDrawing" Target="../drawings/vmlDrawing180.vml"/><Relationship Id="rId6" Type="http://schemas.openxmlformats.org/officeDocument/2006/relationships/image" Target="../media/image49.emf"/><Relationship Id="rId5" Type="http://schemas.openxmlformats.org/officeDocument/2006/relationships/oleObject" Target="../embeddings/oleObject180.bin"/><Relationship Id="rId4" Type="http://schemas.openxmlformats.org/officeDocument/2006/relationships/slideMaster" Target="../slideMasters/slideMaster37.xml"/></Relationships>
</file>

<file path=ppt/slideLayouts/_rels/slideLayout1096.xml.rels><?xml version="1.0" encoding="UTF-8" standalone="yes"?>
<Relationships xmlns="http://schemas.openxmlformats.org/package/2006/relationships"><Relationship Id="rId3" Type="http://schemas.openxmlformats.org/officeDocument/2006/relationships/tags" Target="../tags/tag211.xml"/><Relationship Id="rId7" Type="http://schemas.openxmlformats.org/officeDocument/2006/relationships/image" Target="../media/image48.wmf"/><Relationship Id="rId2" Type="http://schemas.openxmlformats.org/officeDocument/2006/relationships/tags" Target="../tags/tag210.xml"/><Relationship Id="rId1" Type="http://schemas.openxmlformats.org/officeDocument/2006/relationships/vmlDrawing" Target="../drawings/vmlDrawing181.vml"/><Relationship Id="rId6" Type="http://schemas.openxmlformats.org/officeDocument/2006/relationships/image" Target="../media/image49.emf"/><Relationship Id="rId5" Type="http://schemas.openxmlformats.org/officeDocument/2006/relationships/oleObject" Target="../embeddings/oleObject181.bin"/><Relationship Id="rId4" Type="http://schemas.openxmlformats.org/officeDocument/2006/relationships/slideMaster" Target="../slideMasters/slideMaster37.xml"/></Relationships>
</file>

<file path=ppt/slideLayouts/_rels/slideLayout1097.xml.rels><?xml version="1.0" encoding="UTF-8" standalone="yes"?>
<Relationships xmlns="http://schemas.openxmlformats.org/package/2006/relationships"><Relationship Id="rId3" Type="http://schemas.openxmlformats.org/officeDocument/2006/relationships/tags" Target="../tags/tag213.xml"/><Relationship Id="rId7" Type="http://schemas.openxmlformats.org/officeDocument/2006/relationships/image" Target="../media/image48.wmf"/><Relationship Id="rId2" Type="http://schemas.openxmlformats.org/officeDocument/2006/relationships/tags" Target="../tags/tag212.xml"/><Relationship Id="rId1" Type="http://schemas.openxmlformats.org/officeDocument/2006/relationships/vmlDrawing" Target="../drawings/vmlDrawing182.vml"/><Relationship Id="rId6" Type="http://schemas.openxmlformats.org/officeDocument/2006/relationships/image" Target="../media/image49.emf"/><Relationship Id="rId5" Type="http://schemas.openxmlformats.org/officeDocument/2006/relationships/oleObject" Target="../embeddings/oleObject182.bin"/><Relationship Id="rId4" Type="http://schemas.openxmlformats.org/officeDocument/2006/relationships/slideMaster" Target="../slideMasters/slideMaster37.xml"/></Relationships>
</file>

<file path=ppt/slideLayouts/_rels/slideLayout1098.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48.wmf"/><Relationship Id="rId2" Type="http://schemas.openxmlformats.org/officeDocument/2006/relationships/tags" Target="../tags/tag214.xml"/><Relationship Id="rId1" Type="http://schemas.openxmlformats.org/officeDocument/2006/relationships/vmlDrawing" Target="../drawings/vmlDrawing183.vml"/><Relationship Id="rId6" Type="http://schemas.openxmlformats.org/officeDocument/2006/relationships/image" Target="../media/image49.emf"/><Relationship Id="rId5" Type="http://schemas.openxmlformats.org/officeDocument/2006/relationships/oleObject" Target="../embeddings/oleObject183.bin"/><Relationship Id="rId4" Type="http://schemas.openxmlformats.org/officeDocument/2006/relationships/slideMaster" Target="../slideMasters/slideMaster37.xml"/></Relationships>
</file>

<file path=ppt/slideLayouts/_rels/slideLayout10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7.xml"/><Relationship Id="rId4" Type="http://schemas.openxmlformats.org/officeDocument/2006/relationships/image" Target="../media/image52.jpe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4.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110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8.xml"/></Relationships>
</file>

<file path=ppt/slideLayouts/_rels/slideLayout110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8.xml"/></Relationships>
</file>

<file path=ppt/slideLayouts/_rels/slideLayout1102.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2.jpg"/><Relationship Id="rId1" Type="http://schemas.openxmlformats.org/officeDocument/2006/relationships/slideMaster" Target="../slideMasters/slideMaster38.xml"/></Relationships>
</file>

<file path=ppt/slideLayouts/_rels/slideLayout1103.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4.jpg"/><Relationship Id="rId1" Type="http://schemas.openxmlformats.org/officeDocument/2006/relationships/slideMaster" Target="../slideMasters/slideMaster38.xml"/></Relationships>
</file>

<file path=ppt/slideLayouts/_rels/slideLayout1104.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5.jpg"/><Relationship Id="rId1" Type="http://schemas.openxmlformats.org/officeDocument/2006/relationships/slideMaster" Target="../slideMasters/slideMaster38.xml"/></Relationships>
</file>

<file path=ppt/slideLayouts/_rels/slideLayout1105.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6.jpg"/><Relationship Id="rId1" Type="http://schemas.openxmlformats.org/officeDocument/2006/relationships/slideMaster" Target="../slideMasters/slideMaster38.xml"/></Relationships>
</file>

<file path=ppt/slideLayouts/_rels/slideLayout1106.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7.jpg"/><Relationship Id="rId1" Type="http://schemas.openxmlformats.org/officeDocument/2006/relationships/slideMaster" Target="../slideMasters/slideMaster38.xml"/></Relationships>
</file>

<file path=ppt/slideLayouts/_rels/slideLayout1107.xml.rels><?xml version="1.0" encoding="UTF-8" standalone="yes"?>
<Relationships xmlns="http://schemas.openxmlformats.org/package/2006/relationships"><Relationship Id="rId2" Type="http://schemas.openxmlformats.org/officeDocument/2006/relationships/image" Target="../media/image62.jpg"/><Relationship Id="rId1" Type="http://schemas.openxmlformats.org/officeDocument/2006/relationships/slideMaster" Target="../slideMasters/slideMaster38.xml"/></Relationships>
</file>

<file path=ppt/slideLayouts/_rels/slideLayout1108.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Master" Target="../slideMasters/slideMaster38.xml"/></Relationships>
</file>

<file path=ppt/slideLayouts/_rels/slideLayout1109.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Master" Target="../slideMasters/slideMaster38.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4.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1110.xml.rels><?xml version="1.0" encoding="UTF-8" standalone="yes"?>
<Relationships xmlns="http://schemas.openxmlformats.org/package/2006/relationships"><Relationship Id="rId2" Type="http://schemas.openxmlformats.org/officeDocument/2006/relationships/image" Target="../media/image66.jpg"/><Relationship Id="rId1" Type="http://schemas.openxmlformats.org/officeDocument/2006/relationships/slideMaster" Target="../slideMasters/slideMaster38.xml"/></Relationships>
</file>

<file path=ppt/slideLayouts/_rels/slideLayout1111.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Master" Target="../slideMasters/slideMaster38.xml"/></Relationships>
</file>

<file path=ppt/slideLayouts/_rels/slideLayout1112.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38.xml"/></Relationships>
</file>

<file path=ppt/slideLayouts/_rels/slideLayout111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11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11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116.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38.xml"/></Relationships>
</file>

<file path=ppt/slideLayouts/_rels/slideLayout1117.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38.xml"/></Relationships>
</file>

<file path=ppt/slideLayouts/_rels/slideLayout1118.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Master" Target="../slideMasters/slideMaster38.xml"/></Relationships>
</file>

<file path=ppt/slideLayouts/_rels/slideLayout111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4.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112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12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12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12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12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12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12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38.xml"/></Relationships>
</file>

<file path=ppt/slideLayouts/_rels/slideLayout112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12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129.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Master" Target="../slideMasters/slideMaster38.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4.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113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13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1.png"/><Relationship Id="rId1" Type="http://schemas.openxmlformats.org/officeDocument/2006/relationships/slideMaster" Target="../slideMasters/slideMaster38.xml"/></Relationships>
</file>

<file path=ppt/slideLayouts/_rels/slideLayout113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133.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72.png"/><Relationship Id="rId1" Type="http://schemas.openxmlformats.org/officeDocument/2006/relationships/slideMaster" Target="../slideMasters/slideMaster38.xml"/></Relationships>
</file>

<file path=ppt/slideLayouts/_rels/slideLayout113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135.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Master" Target="../slideMasters/slideMaster38.xml"/></Relationships>
</file>

<file path=ppt/slideLayouts/_rels/slideLayout113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137.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Master" Target="../slideMasters/slideMaster38.xml"/></Relationships>
</file>

<file path=ppt/slideLayouts/_rels/slideLayout1138.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Master" Target="../slideMasters/slideMaster38.xml"/></Relationships>
</file>

<file path=ppt/slideLayouts/_rels/slideLayout113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jpg"/></Relationships>
</file>

<file path=ppt/slideLayouts/_rels/slideLayout1140.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Master" Target="../slideMasters/slideMaster38.xml"/></Relationships>
</file>

<file path=ppt/slideLayouts/_rels/slideLayout1141.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Master" Target="../slideMasters/slideMaster38.xml"/></Relationships>
</file>

<file path=ppt/slideLayouts/_rels/slideLayout1142.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Master" Target="../slideMasters/slideMaster38.xml"/></Relationships>
</file>

<file path=ppt/slideLayouts/_rels/slideLayout1143.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217.xml"/><Relationship Id="rId1" Type="http://schemas.openxmlformats.org/officeDocument/2006/relationships/vmlDrawing" Target="../drawings/vmlDrawing185.vml"/><Relationship Id="rId5" Type="http://schemas.openxmlformats.org/officeDocument/2006/relationships/image" Target="../media/image45.emf"/><Relationship Id="rId4" Type="http://schemas.openxmlformats.org/officeDocument/2006/relationships/oleObject" Target="../embeddings/oleObject185.bin"/></Relationships>
</file>

<file path=ppt/slideLayouts/_rels/slideLayout1144.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218.xml"/><Relationship Id="rId1" Type="http://schemas.openxmlformats.org/officeDocument/2006/relationships/vmlDrawing" Target="../drawings/vmlDrawing186.vml"/><Relationship Id="rId5" Type="http://schemas.openxmlformats.org/officeDocument/2006/relationships/image" Target="../media/image45.emf"/><Relationship Id="rId4" Type="http://schemas.openxmlformats.org/officeDocument/2006/relationships/oleObject" Target="../embeddings/oleObject186.bin"/></Relationships>
</file>

<file path=ppt/slideLayouts/_rels/slideLayout1145.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219.xml"/><Relationship Id="rId1" Type="http://schemas.openxmlformats.org/officeDocument/2006/relationships/vmlDrawing" Target="../drawings/vmlDrawing187.vml"/><Relationship Id="rId5" Type="http://schemas.openxmlformats.org/officeDocument/2006/relationships/image" Target="../media/image45.emf"/><Relationship Id="rId4" Type="http://schemas.openxmlformats.org/officeDocument/2006/relationships/oleObject" Target="../embeddings/oleObject187.bin"/></Relationships>
</file>

<file path=ppt/slideLayouts/_rels/slideLayout1146.xml.rels><?xml version="1.0" encoding="UTF-8" standalone="yes"?>
<Relationships xmlns="http://schemas.openxmlformats.org/package/2006/relationships"><Relationship Id="rId3" Type="http://schemas.openxmlformats.org/officeDocument/2006/relationships/slideMaster" Target="../slideMasters/slideMaster39.xml"/><Relationship Id="rId7" Type="http://schemas.microsoft.com/office/2007/relationships/hdphoto" Target="../media/hdphoto1.wdp"/><Relationship Id="rId2" Type="http://schemas.openxmlformats.org/officeDocument/2006/relationships/tags" Target="../tags/tag220.xml"/><Relationship Id="rId1" Type="http://schemas.openxmlformats.org/officeDocument/2006/relationships/vmlDrawing" Target="../drawings/vmlDrawing188.vml"/><Relationship Id="rId6" Type="http://schemas.openxmlformats.org/officeDocument/2006/relationships/image" Target="../media/image73.png"/><Relationship Id="rId5" Type="http://schemas.openxmlformats.org/officeDocument/2006/relationships/image" Target="../media/image45.emf"/><Relationship Id="rId4" Type="http://schemas.openxmlformats.org/officeDocument/2006/relationships/oleObject" Target="../embeddings/oleObject188.bin"/></Relationships>
</file>

<file path=ppt/slideLayouts/_rels/slideLayout1147.xml.rels><?xml version="1.0" encoding="UTF-8" standalone="yes"?>
<Relationships xmlns="http://schemas.openxmlformats.org/package/2006/relationships"><Relationship Id="rId3" Type="http://schemas.openxmlformats.org/officeDocument/2006/relationships/slideMaster" Target="../slideMasters/slideMaster39.xml"/><Relationship Id="rId7" Type="http://schemas.microsoft.com/office/2007/relationships/hdphoto" Target="../media/hdphoto1.wdp"/><Relationship Id="rId2" Type="http://schemas.openxmlformats.org/officeDocument/2006/relationships/tags" Target="../tags/tag221.xml"/><Relationship Id="rId1" Type="http://schemas.openxmlformats.org/officeDocument/2006/relationships/vmlDrawing" Target="../drawings/vmlDrawing189.vml"/><Relationship Id="rId6" Type="http://schemas.openxmlformats.org/officeDocument/2006/relationships/image" Target="../media/image73.png"/><Relationship Id="rId5" Type="http://schemas.openxmlformats.org/officeDocument/2006/relationships/image" Target="../media/image45.emf"/><Relationship Id="rId4" Type="http://schemas.openxmlformats.org/officeDocument/2006/relationships/oleObject" Target="../embeddings/oleObject189.bin"/></Relationships>
</file>

<file path=ppt/slideLayouts/_rels/slideLayout1148.xml.rels><?xml version="1.0" encoding="UTF-8" standalone="yes"?>
<Relationships xmlns="http://schemas.openxmlformats.org/package/2006/relationships"><Relationship Id="rId3" Type="http://schemas.openxmlformats.org/officeDocument/2006/relationships/slideMaster" Target="../slideMasters/slideMaster39.xml"/><Relationship Id="rId7" Type="http://schemas.microsoft.com/office/2007/relationships/hdphoto" Target="../media/hdphoto2.wdp"/><Relationship Id="rId2" Type="http://schemas.openxmlformats.org/officeDocument/2006/relationships/tags" Target="../tags/tag222.xml"/><Relationship Id="rId1" Type="http://schemas.openxmlformats.org/officeDocument/2006/relationships/vmlDrawing" Target="../drawings/vmlDrawing190.vml"/><Relationship Id="rId6" Type="http://schemas.openxmlformats.org/officeDocument/2006/relationships/image" Target="../media/image74.png"/><Relationship Id="rId5" Type="http://schemas.openxmlformats.org/officeDocument/2006/relationships/image" Target="../media/image45.emf"/><Relationship Id="rId4" Type="http://schemas.openxmlformats.org/officeDocument/2006/relationships/oleObject" Target="../embeddings/oleObject190.bin"/></Relationships>
</file>

<file path=ppt/slideLayouts/_rels/slideLayout114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7.jpg"/></Relationships>
</file>

<file path=ppt/slideLayouts/_rels/slideLayout115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5.png"/><Relationship Id="rId1" Type="http://schemas.openxmlformats.org/officeDocument/2006/relationships/slideMaster" Target="../slideMasters/slideMaster39.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8.jp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9.jp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0.jp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1.jp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2.jp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13.jp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4.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8.jp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5.emf"/><Relationship Id="rId4" Type="http://schemas.openxmlformats.org/officeDocument/2006/relationships/oleObject" Target="../embeddings/oleObject19.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5.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5.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5.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5.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5.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jp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7.jp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8.jp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9.jp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0.jp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1.jp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2.jp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1.jpg"/></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3.jp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2.jp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5.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8.jpg"/></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5.emf"/><Relationship Id="rId4" Type="http://schemas.openxmlformats.org/officeDocument/2006/relationships/oleObject" Target="../embeddings/oleObject24.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15.emf"/><Relationship Id="rId4" Type="http://schemas.openxmlformats.org/officeDocument/2006/relationships/oleObject" Target="../embeddings/oleObject25.bin"/></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3.jpg"/></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jp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7.jp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8.jp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9.jp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0.jp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1.jp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2.jp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3.jp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6.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8.jp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15.emf"/><Relationship Id="rId4" Type="http://schemas.openxmlformats.org/officeDocument/2006/relationships/oleObject" Target="../embeddings/oleObject30.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15.emf"/><Relationship Id="rId4" Type="http://schemas.openxmlformats.org/officeDocument/2006/relationships/oleObject" Target="../embeddings/oleObject31.bin"/></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7.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7.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7.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7.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7.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4.jp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7.jp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9.jpg"/></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10.jpg"/></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11.jpg"/></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12.jp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13.jpg"/></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8.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8.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8.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8.xml"/><Relationship Id="rId7" Type="http://schemas.openxmlformats.org/officeDocument/2006/relationships/image" Target="../media/image2.png"/><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17.emf"/><Relationship Id="rId5" Type="http://schemas.openxmlformats.org/officeDocument/2006/relationships/oleObject" Target="../embeddings/oleObject33.bin"/><Relationship Id="rId10" Type="http://schemas.openxmlformats.org/officeDocument/2006/relationships/image" Target="../media/image14.wmf"/><Relationship Id="rId4" Type="http://schemas.openxmlformats.org/officeDocument/2006/relationships/image" Target="../media/image6.jpg"/><Relationship Id="rId9"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18.jpe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19.jpe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8.jpg"/></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17.emf"/><Relationship Id="rId4" Type="http://schemas.openxmlformats.org/officeDocument/2006/relationships/oleObject" Target="../embeddings/oleObject34.bin"/></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9.jp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10.jp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20.jpeg"/></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21.jpe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22.jpe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xml"/><Relationship Id="rId1" Type="http://schemas.openxmlformats.org/officeDocument/2006/relationships/vmlDrawing" Target="../drawings/vmlDrawing35.vml"/><Relationship Id="rId5" Type="http://schemas.openxmlformats.org/officeDocument/2006/relationships/image" Target="../media/image17.emf"/><Relationship Id="rId4" Type="http://schemas.openxmlformats.org/officeDocument/2006/relationships/oleObject" Target="../embeddings/oleObject35.bin"/></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20.jpe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21.jpe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9.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9.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9.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28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9.xml"/><Relationship Id="rId7" Type="http://schemas.openxmlformats.org/officeDocument/2006/relationships/image" Target="../media/image2.png"/><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17.emf"/><Relationship Id="rId5" Type="http://schemas.openxmlformats.org/officeDocument/2006/relationships/oleObject" Target="../embeddings/oleObject38.bin"/><Relationship Id="rId10" Type="http://schemas.openxmlformats.org/officeDocument/2006/relationships/image" Target="../media/image14.wmf"/><Relationship Id="rId4" Type="http://schemas.openxmlformats.org/officeDocument/2006/relationships/image" Target="../media/image6.jpg"/><Relationship Id="rId9" Type="http://schemas.openxmlformats.org/officeDocument/2006/relationships/image" Target="../media/image5.png"/></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image" Target="../media/image18.jpe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image" Target="../media/image19.jpeg"/></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image" Target="../media/image8.jpg"/></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xml"/><Relationship Id="rId1" Type="http://schemas.openxmlformats.org/officeDocument/2006/relationships/vmlDrawing" Target="../drawings/vmlDrawing39.vml"/><Relationship Id="rId5" Type="http://schemas.openxmlformats.org/officeDocument/2006/relationships/image" Target="../media/image17.emf"/><Relationship Id="rId4" Type="http://schemas.openxmlformats.org/officeDocument/2006/relationships/oleObject" Target="../embeddings/oleObject39.bin"/></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8.jpg"/></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image" Target="../media/image9.jpg"/></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image" Target="../media/image10.jp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image" Target="../media/image20.jpe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image" Target="../media/image21.jpe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image" Target="../media/image22.jpe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xml"/><Relationship Id="rId1" Type="http://schemas.openxmlformats.org/officeDocument/2006/relationships/vmlDrawing" Target="../drawings/vmlDrawing40.vml"/><Relationship Id="rId5" Type="http://schemas.openxmlformats.org/officeDocument/2006/relationships/image" Target="../media/image17.emf"/><Relationship Id="rId4" Type="http://schemas.openxmlformats.org/officeDocument/2006/relationships/oleObject" Target="../embeddings/oleObject40.bin"/></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image" Target="../media/image20.jpe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image" Target="../media/image21.jpe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0.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0.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0.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31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0.xml"/><Relationship Id="rId7" Type="http://schemas.openxmlformats.org/officeDocument/2006/relationships/image" Target="../media/image2.png"/><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17.emf"/><Relationship Id="rId5" Type="http://schemas.openxmlformats.org/officeDocument/2006/relationships/oleObject" Target="../embeddings/oleObject43.bin"/><Relationship Id="rId10" Type="http://schemas.openxmlformats.org/officeDocument/2006/relationships/image" Target="../media/image14.wmf"/><Relationship Id="rId4" Type="http://schemas.openxmlformats.org/officeDocument/2006/relationships/image" Target="../media/image6.jpg"/><Relationship Id="rId9" Type="http://schemas.openxmlformats.org/officeDocument/2006/relationships/image" Target="../media/image5.pn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 Id="rId4" Type="http://schemas.openxmlformats.org/officeDocument/2006/relationships/image" Target="../media/image18.jpeg"/></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 Id="rId4" Type="http://schemas.openxmlformats.org/officeDocument/2006/relationships/image" Target="../media/image19.jpeg"/></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 Id="rId4" Type="http://schemas.openxmlformats.org/officeDocument/2006/relationships/image" Target="../media/image8.jpg"/></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xml"/><Relationship Id="rId1" Type="http://schemas.openxmlformats.org/officeDocument/2006/relationships/vmlDrawing" Target="../drawings/vmlDrawing44.vml"/><Relationship Id="rId5" Type="http://schemas.openxmlformats.org/officeDocument/2006/relationships/image" Target="../media/image17.emf"/><Relationship Id="rId4" Type="http://schemas.openxmlformats.org/officeDocument/2006/relationships/oleObject" Target="../embeddings/oleObject44.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 Id="rId4" Type="http://schemas.openxmlformats.org/officeDocument/2006/relationships/image" Target="../media/image9.jpg"/></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 Id="rId4" Type="http://schemas.openxmlformats.org/officeDocument/2006/relationships/image" Target="../media/image10.jpg"/></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 Id="rId4" Type="http://schemas.openxmlformats.org/officeDocument/2006/relationships/image" Target="../media/image20.jpeg"/></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 Id="rId4" Type="http://schemas.openxmlformats.org/officeDocument/2006/relationships/image" Target="../media/image21.jpeg"/></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 Id="rId4" Type="http://schemas.openxmlformats.org/officeDocument/2006/relationships/image" Target="../media/image22.jpeg"/></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xml"/><Relationship Id="rId1" Type="http://schemas.openxmlformats.org/officeDocument/2006/relationships/vmlDrawing" Target="../drawings/vmlDrawing45.vml"/><Relationship Id="rId5" Type="http://schemas.openxmlformats.org/officeDocument/2006/relationships/image" Target="../media/image17.emf"/><Relationship Id="rId4" Type="http://schemas.openxmlformats.org/officeDocument/2006/relationships/oleObject" Target="../embeddings/oleObject45.bin"/></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5.emf"/><Relationship Id="rId4" Type="http://schemas.openxmlformats.org/officeDocument/2006/relationships/oleObject" Target="../embeddings/oleObject4.bin"/></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 Id="rId4" Type="http://schemas.openxmlformats.org/officeDocument/2006/relationships/image" Target="../media/image20.jpeg"/></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 Id="rId4" Type="http://schemas.openxmlformats.org/officeDocument/2006/relationships/image" Target="../media/image21.jpeg"/></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6.xml"/><Relationship Id="rId1" Type="http://schemas.openxmlformats.org/officeDocument/2006/relationships/vmlDrawing" Target="../drawings/vmlDrawing46.vml"/><Relationship Id="rId5" Type="http://schemas.openxmlformats.org/officeDocument/2006/relationships/image" Target="../media/image17.emf"/><Relationship Id="rId4" Type="http://schemas.openxmlformats.org/officeDocument/2006/relationships/oleObject" Target="../embeddings/oleObject46.bin"/></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1.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5.emf"/><Relationship Id="rId4" Type="http://schemas.openxmlformats.org/officeDocument/2006/relationships/oleObject" Target="../embeddings/oleObject5.bin"/></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1.xml"/><Relationship Id="rId5" Type="http://schemas.openxmlformats.org/officeDocument/2006/relationships/image" Target="../media/image31.png"/><Relationship Id="rId4" Type="http://schemas.openxmlformats.org/officeDocument/2006/relationships/image" Target="../media/image30.png"/></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370.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image" Target="../media/image6.jpg"/><Relationship Id="rId1" Type="http://schemas.openxmlformats.org/officeDocument/2006/relationships/slideMaster" Target="../slideMasters/slideMaster11.xml"/><Relationship Id="rId6" Type="http://schemas.openxmlformats.org/officeDocument/2006/relationships/image" Target="../media/image14.wmf"/><Relationship Id="rId11" Type="http://schemas.openxmlformats.org/officeDocument/2006/relationships/image" Target="../media/image36.PNG"/><Relationship Id="rId5" Type="http://schemas.openxmlformats.org/officeDocument/2006/relationships/image" Target="../media/image5.png"/><Relationship Id="rId10" Type="http://schemas.openxmlformats.org/officeDocument/2006/relationships/image" Target="../media/image35.png"/><Relationship Id="rId4" Type="http://schemas.openxmlformats.org/officeDocument/2006/relationships/image" Target="../media/image3.png"/><Relationship Id="rId9" Type="http://schemas.openxmlformats.org/officeDocument/2006/relationships/image" Target="../media/image34.png"/></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2.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2.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2.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2.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 Id="rId4" Type="http://schemas.openxmlformats.org/officeDocument/2006/relationships/image" Target="../media/image4.jpg"/></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 Id="rId4" Type="http://schemas.openxmlformats.org/officeDocument/2006/relationships/image" Target="../media/image7.jpg"/></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 Id="rId4" Type="http://schemas.openxmlformats.org/officeDocument/2006/relationships/image" Target="../media/image8.jp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 Id="rId4" Type="http://schemas.openxmlformats.org/officeDocument/2006/relationships/image" Target="../media/image9.jpg"/></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 Id="rId4" Type="http://schemas.openxmlformats.org/officeDocument/2006/relationships/image" Target="../media/image10.jpg"/></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 Id="rId4" Type="http://schemas.openxmlformats.org/officeDocument/2006/relationships/image" Target="../media/image11.jpg"/></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 Id="rId4" Type="http://schemas.openxmlformats.org/officeDocument/2006/relationships/image" Target="../media/image12.jpg"/></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 Id="rId4" Type="http://schemas.openxmlformats.org/officeDocument/2006/relationships/image" Target="../media/image13.jpg"/></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 Id="rId4" Type="http://schemas.openxmlformats.org/officeDocument/2006/relationships/image" Target="../media/image11.jp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 Id="rId4" Type="http://schemas.openxmlformats.org/officeDocument/2006/relationships/image" Target="../media/image12.jp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9.xml"/><Relationship Id="rId1" Type="http://schemas.openxmlformats.org/officeDocument/2006/relationships/vmlDrawing" Target="../drawings/vmlDrawing49.vml"/><Relationship Id="rId5" Type="http://schemas.openxmlformats.org/officeDocument/2006/relationships/image" Target="../media/image15.emf"/><Relationship Id="rId4" Type="http://schemas.openxmlformats.org/officeDocument/2006/relationships/oleObject" Target="../embeddings/oleObject49.bin"/></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3.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3.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3.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3.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 Id="rId4" Type="http://schemas.openxmlformats.org/officeDocument/2006/relationships/image" Target="../media/image4.jpg"/></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 Id="rId4" Type="http://schemas.openxmlformats.org/officeDocument/2006/relationships/image" Target="../media/image7.jpg"/></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 Id="rId4" Type="http://schemas.openxmlformats.org/officeDocument/2006/relationships/image" Target="../media/image8.jpg"/></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 Id="rId4" Type="http://schemas.openxmlformats.org/officeDocument/2006/relationships/image" Target="../media/image9.jpg"/></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 Id="rId4" Type="http://schemas.openxmlformats.org/officeDocument/2006/relationships/image" Target="../media/image10.jp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jpg"/></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 Id="rId4" Type="http://schemas.openxmlformats.org/officeDocument/2006/relationships/image" Target="../media/image11.jpg"/></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 Id="rId4" Type="http://schemas.openxmlformats.org/officeDocument/2006/relationships/image" Target="../media/image12.jpg"/></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 Id="rId4" Type="http://schemas.openxmlformats.org/officeDocument/2006/relationships/image" Target="../media/image13.jpg"/></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7.jp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 Id="rId4" Type="http://schemas.openxmlformats.org/officeDocument/2006/relationships/image" Target="../media/image11.jpg"/></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 Id="rId4" Type="http://schemas.openxmlformats.org/officeDocument/2006/relationships/image" Target="../media/image12.jpg"/></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8.jpg"/></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4.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4.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4.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4.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 Id="rId4" Type="http://schemas.openxmlformats.org/officeDocument/2006/relationships/image" Target="../media/image4.jpg"/></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 Id="rId4" Type="http://schemas.openxmlformats.org/officeDocument/2006/relationships/image" Target="../media/image7.jp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 Id="rId4" Type="http://schemas.openxmlformats.org/officeDocument/2006/relationships/image" Target="../media/image8.jpg"/></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 Id="rId4" Type="http://schemas.openxmlformats.org/officeDocument/2006/relationships/image" Target="../media/image9.jpg"/></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 Id="rId4" Type="http://schemas.openxmlformats.org/officeDocument/2006/relationships/image" Target="../media/image10.jpg"/></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 Id="rId4" Type="http://schemas.openxmlformats.org/officeDocument/2006/relationships/image" Target="../media/image11.jpg"/></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 Id="rId4" Type="http://schemas.openxmlformats.org/officeDocument/2006/relationships/image" Target="../media/image12.jpg"/></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 Id="rId4" Type="http://schemas.openxmlformats.org/officeDocument/2006/relationships/image" Target="../media/image13.jpg"/></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 Id="rId4" Type="http://schemas.openxmlformats.org/officeDocument/2006/relationships/image" Target="../media/image11.jpg"/></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 Id="rId4" Type="http://schemas.openxmlformats.org/officeDocument/2006/relationships/image" Target="../media/image12.jp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2.xml"/><Relationship Id="rId1" Type="http://schemas.openxmlformats.org/officeDocument/2006/relationships/vmlDrawing" Target="../drawings/vmlDrawing52.vml"/><Relationship Id="rId5" Type="http://schemas.openxmlformats.org/officeDocument/2006/relationships/image" Target="../media/image15.emf"/><Relationship Id="rId4" Type="http://schemas.openxmlformats.org/officeDocument/2006/relationships/oleObject" Target="../embeddings/oleObject52.bin"/></Relationships>
</file>

<file path=ppt/slideLayouts/_rels/slideLayout475.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image" Target="../media/image4.jpg"/><Relationship Id="rId1" Type="http://schemas.openxmlformats.org/officeDocument/2006/relationships/slideMaster" Target="../slideMasters/slideMaster15.xml"/><Relationship Id="rId6" Type="http://schemas.openxmlformats.org/officeDocument/2006/relationships/image" Target="../media/image14.wmf"/><Relationship Id="rId11" Type="http://schemas.openxmlformats.org/officeDocument/2006/relationships/image" Target="../media/image36.PNG"/><Relationship Id="rId5" Type="http://schemas.openxmlformats.org/officeDocument/2006/relationships/image" Target="../media/image5.png"/><Relationship Id="rId10" Type="http://schemas.openxmlformats.org/officeDocument/2006/relationships/image" Target="../media/image35.png"/><Relationship Id="rId4" Type="http://schemas.openxmlformats.org/officeDocument/2006/relationships/image" Target="../media/image3.png"/><Relationship Id="rId9" Type="http://schemas.openxmlformats.org/officeDocument/2006/relationships/image" Target="../media/image34.png"/></Relationships>
</file>

<file path=ppt/slideLayouts/_rels/slideLayout476.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image" Target="../media/image6.jpg"/><Relationship Id="rId1" Type="http://schemas.openxmlformats.org/officeDocument/2006/relationships/slideMaster" Target="../slideMasters/slideMaster15.xml"/><Relationship Id="rId6" Type="http://schemas.openxmlformats.org/officeDocument/2006/relationships/image" Target="../media/image14.wmf"/><Relationship Id="rId11" Type="http://schemas.openxmlformats.org/officeDocument/2006/relationships/image" Target="../media/image36.PNG"/><Relationship Id="rId5" Type="http://schemas.openxmlformats.org/officeDocument/2006/relationships/image" Target="../media/image5.png"/><Relationship Id="rId10" Type="http://schemas.openxmlformats.org/officeDocument/2006/relationships/image" Target="../media/image35.png"/><Relationship Id="rId4" Type="http://schemas.openxmlformats.org/officeDocument/2006/relationships/image" Target="../media/image3.png"/><Relationship Id="rId9" Type="http://schemas.openxmlformats.org/officeDocument/2006/relationships/image" Target="../media/image34.png"/></Relationships>
</file>

<file path=ppt/slideLayouts/_rels/slideLayout477.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image" Target="../media/image6.jpg"/><Relationship Id="rId1" Type="http://schemas.openxmlformats.org/officeDocument/2006/relationships/slideMaster" Target="../slideMasters/slideMaster15.xml"/><Relationship Id="rId6" Type="http://schemas.openxmlformats.org/officeDocument/2006/relationships/image" Target="../media/image14.wmf"/><Relationship Id="rId11" Type="http://schemas.openxmlformats.org/officeDocument/2006/relationships/image" Target="../media/image36.PNG"/><Relationship Id="rId5" Type="http://schemas.openxmlformats.org/officeDocument/2006/relationships/image" Target="../media/image5.png"/><Relationship Id="rId10" Type="http://schemas.openxmlformats.org/officeDocument/2006/relationships/image" Target="../media/image35.png"/><Relationship Id="rId4" Type="http://schemas.openxmlformats.org/officeDocument/2006/relationships/image" Target="../media/image3.png"/><Relationship Id="rId9" Type="http://schemas.openxmlformats.org/officeDocument/2006/relationships/image" Target="../media/image34.png"/></Relationships>
</file>

<file path=ppt/slideLayouts/_rels/slideLayout478.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image" Target="../media/image4.jpg"/><Relationship Id="rId1" Type="http://schemas.openxmlformats.org/officeDocument/2006/relationships/slideMaster" Target="../slideMasters/slideMaster15.xml"/><Relationship Id="rId6" Type="http://schemas.openxmlformats.org/officeDocument/2006/relationships/image" Target="../media/image14.wmf"/><Relationship Id="rId11" Type="http://schemas.openxmlformats.org/officeDocument/2006/relationships/image" Target="../media/image36.PNG"/><Relationship Id="rId5" Type="http://schemas.openxmlformats.org/officeDocument/2006/relationships/image" Target="../media/image5.png"/><Relationship Id="rId10" Type="http://schemas.openxmlformats.org/officeDocument/2006/relationships/image" Target="../media/image35.png"/><Relationship Id="rId4" Type="http://schemas.openxmlformats.org/officeDocument/2006/relationships/image" Target="../media/image3.png"/><Relationship Id="rId9" Type="http://schemas.openxmlformats.org/officeDocument/2006/relationships/image" Target="../media/image34.png"/></Relationships>
</file>

<file path=ppt/slideLayouts/_rels/slideLayout479.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image" Target="../media/image6.jpg"/><Relationship Id="rId1" Type="http://schemas.openxmlformats.org/officeDocument/2006/relationships/slideMaster" Target="../slideMasters/slideMaster15.xml"/><Relationship Id="rId6" Type="http://schemas.openxmlformats.org/officeDocument/2006/relationships/image" Target="../media/image14.wmf"/><Relationship Id="rId11" Type="http://schemas.openxmlformats.org/officeDocument/2006/relationships/image" Target="../media/image36.PNG"/><Relationship Id="rId5" Type="http://schemas.openxmlformats.org/officeDocument/2006/relationships/image" Target="../media/image5.png"/><Relationship Id="rId10" Type="http://schemas.openxmlformats.org/officeDocument/2006/relationships/image" Target="../media/image35.png"/><Relationship Id="rId4" Type="http://schemas.openxmlformats.org/officeDocument/2006/relationships/image" Target="../media/image3.png"/><Relationship Id="rId9" Type="http://schemas.openxmlformats.org/officeDocument/2006/relationships/image" Target="../media/image34.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png"/><Relationship Id="rId7" Type="http://schemas.openxmlformats.org/officeDocument/2006/relationships/image" Target="../media/image34.png"/><Relationship Id="rId2" Type="http://schemas.openxmlformats.org/officeDocument/2006/relationships/image" Target="../media/image2.png"/><Relationship Id="rId1" Type="http://schemas.openxmlformats.org/officeDocument/2006/relationships/slideMaster" Target="../slideMasters/slideMaster15.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4.jpg"/><Relationship Id="rId9" Type="http://schemas.openxmlformats.org/officeDocument/2006/relationships/image" Target="../media/image36.PNG"/></Relationships>
</file>

<file path=ppt/slideLayouts/_rels/slideLayout48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png"/><Relationship Id="rId7" Type="http://schemas.openxmlformats.org/officeDocument/2006/relationships/image" Target="../media/image34.png"/><Relationship Id="rId2" Type="http://schemas.openxmlformats.org/officeDocument/2006/relationships/image" Target="../media/image2.png"/><Relationship Id="rId1" Type="http://schemas.openxmlformats.org/officeDocument/2006/relationships/slideMaster" Target="../slideMasters/slideMaster15.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7.jpg"/><Relationship Id="rId9" Type="http://schemas.openxmlformats.org/officeDocument/2006/relationships/image" Target="../media/image36.PNG"/></Relationships>
</file>

<file path=ppt/slideLayouts/_rels/slideLayout48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png"/><Relationship Id="rId7" Type="http://schemas.openxmlformats.org/officeDocument/2006/relationships/image" Target="../media/image34.png"/><Relationship Id="rId2" Type="http://schemas.openxmlformats.org/officeDocument/2006/relationships/image" Target="../media/image2.png"/><Relationship Id="rId1" Type="http://schemas.openxmlformats.org/officeDocument/2006/relationships/slideMaster" Target="../slideMasters/slideMaster15.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8.jpg"/><Relationship Id="rId9" Type="http://schemas.openxmlformats.org/officeDocument/2006/relationships/image" Target="../media/image36.PNG"/></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png"/><Relationship Id="rId7" Type="http://schemas.openxmlformats.org/officeDocument/2006/relationships/image" Target="../media/image35.png"/><Relationship Id="rId2" Type="http://schemas.openxmlformats.org/officeDocument/2006/relationships/image" Target="../media/image2.png"/><Relationship Id="rId1" Type="http://schemas.openxmlformats.org/officeDocument/2006/relationships/slideMaster" Target="../slideMasters/slideMaster15.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png"/><Relationship Id="rId7" Type="http://schemas.openxmlformats.org/officeDocument/2006/relationships/image" Target="../media/image35.png"/><Relationship Id="rId2" Type="http://schemas.openxmlformats.org/officeDocument/2006/relationships/image" Target="../media/image2.png"/><Relationship Id="rId1" Type="http://schemas.openxmlformats.org/officeDocument/2006/relationships/slideMaster" Target="../slideMasters/slideMaster15.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Layouts/_rels/slideLayout48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png"/><Relationship Id="rId7" Type="http://schemas.openxmlformats.org/officeDocument/2006/relationships/image" Target="../media/image34.png"/><Relationship Id="rId2" Type="http://schemas.openxmlformats.org/officeDocument/2006/relationships/image" Target="../media/image2.png"/><Relationship Id="rId1" Type="http://schemas.openxmlformats.org/officeDocument/2006/relationships/slideMaster" Target="../slideMasters/slideMaster15.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9.jpg"/><Relationship Id="rId9" Type="http://schemas.openxmlformats.org/officeDocument/2006/relationships/image" Target="../media/image36.PNG"/></Relationships>
</file>

<file path=ppt/slideLayouts/_rels/slideLayout48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png"/><Relationship Id="rId7" Type="http://schemas.openxmlformats.org/officeDocument/2006/relationships/image" Target="../media/image34.png"/><Relationship Id="rId2" Type="http://schemas.openxmlformats.org/officeDocument/2006/relationships/image" Target="../media/image2.png"/><Relationship Id="rId1" Type="http://schemas.openxmlformats.org/officeDocument/2006/relationships/slideMaster" Target="../slideMasters/slideMaster15.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10.jpg"/><Relationship Id="rId9" Type="http://schemas.openxmlformats.org/officeDocument/2006/relationships/image" Target="../media/image36.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png"/><Relationship Id="rId7" Type="http://schemas.openxmlformats.org/officeDocument/2006/relationships/image" Target="../media/image34.png"/><Relationship Id="rId2" Type="http://schemas.openxmlformats.org/officeDocument/2006/relationships/image" Target="../media/image2.png"/><Relationship Id="rId1" Type="http://schemas.openxmlformats.org/officeDocument/2006/relationships/slideMaster" Target="../slideMasters/slideMaster15.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11.jpg"/><Relationship Id="rId9" Type="http://schemas.openxmlformats.org/officeDocument/2006/relationships/image" Target="../media/image36.PNG"/></Relationships>
</file>

<file path=ppt/slideLayouts/_rels/slideLayout49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png"/><Relationship Id="rId7" Type="http://schemas.openxmlformats.org/officeDocument/2006/relationships/image" Target="../media/image34.png"/><Relationship Id="rId2" Type="http://schemas.openxmlformats.org/officeDocument/2006/relationships/image" Target="../media/image2.png"/><Relationship Id="rId1" Type="http://schemas.openxmlformats.org/officeDocument/2006/relationships/slideMaster" Target="../slideMasters/slideMaster15.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12.jpg"/><Relationship Id="rId9" Type="http://schemas.openxmlformats.org/officeDocument/2006/relationships/image" Target="../media/image36.PNG"/></Relationships>
</file>

<file path=ppt/slideLayouts/_rels/slideLayout49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png"/><Relationship Id="rId7" Type="http://schemas.openxmlformats.org/officeDocument/2006/relationships/image" Target="../media/image34.png"/><Relationship Id="rId2" Type="http://schemas.openxmlformats.org/officeDocument/2006/relationships/image" Target="../media/image2.png"/><Relationship Id="rId1" Type="http://schemas.openxmlformats.org/officeDocument/2006/relationships/slideMaster" Target="../slideMasters/slideMaster15.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13.jpg"/><Relationship Id="rId9" Type="http://schemas.openxmlformats.org/officeDocument/2006/relationships/image" Target="../media/image36.PNG"/></Relationships>
</file>

<file path=ppt/slideLayouts/_rels/slideLayout49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png"/><Relationship Id="rId7" Type="http://schemas.openxmlformats.org/officeDocument/2006/relationships/image" Target="../media/image35.png"/><Relationship Id="rId2" Type="http://schemas.openxmlformats.org/officeDocument/2006/relationships/image" Target="../media/image2.png"/><Relationship Id="rId1" Type="http://schemas.openxmlformats.org/officeDocument/2006/relationships/slideMaster" Target="../slideMasters/slideMaster15.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Layouts/_rels/slideLayout49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png"/><Relationship Id="rId7" Type="http://schemas.openxmlformats.org/officeDocument/2006/relationships/image" Target="../media/image35.png"/><Relationship Id="rId2" Type="http://schemas.openxmlformats.org/officeDocument/2006/relationships/image" Target="../media/image2.png"/><Relationship Id="rId1" Type="http://schemas.openxmlformats.org/officeDocument/2006/relationships/slideMaster" Target="../slideMasters/slideMaster15.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Layouts/_rels/slideLayout49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png"/><Relationship Id="rId7" Type="http://schemas.openxmlformats.org/officeDocument/2006/relationships/image" Target="../media/image35.png"/><Relationship Id="rId2" Type="http://schemas.openxmlformats.org/officeDocument/2006/relationships/image" Target="../media/image2.png"/><Relationship Id="rId1" Type="http://schemas.openxmlformats.org/officeDocument/2006/relationships/slideMaster" Target="../slideMasters/slideMaster15.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Layouts/_rels/slideLayout49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png"/><Relationship Id="rId7" Type="http://schemas.openxmlformats.org/officeDocument/2006/relationships/image" Target="../media/image35.png"/><Relationship Id="rId2" Type="http://schemas.openxmlformats.org/officeDocument/2006/relationships/image" Target="../media/image2.png"/><Relationship Id="rId1" Type="http://schemas.openxmlformats.org/officeDocument/2006/relationships/slideMaster" Target="../slideMasters/slideMaster15.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Layouts/_rels/slideLayout49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png"/><Relationship Id="rId7" Type="http://schemas.openxmlformats.org/officeDocument/2006/relationships/image" Target="../media/image35.png"/><Relationship Id="rId2" Type="http://schemas.openxmlformats.org/officeDocument/2006/relationships/image" Target="../media/image2.png"/><Relationship Id="rId1" Type="http://schemas.openxmlformats.org/officeDocument/2006/relationships/slideMaster" Target="../slideMasters/slideMaster15.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9.jpg"/></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0.jpg"/></Relationships>
</file>

<file path=ppt/slideLayouts/_rels/slideLayout510.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image" Target="../media/image4.jpg"/><Relationship Id="rId1" Type="http://schemas.openxmlformats.org/officeDocument/2006/relationships/slideMaster" Target="../slideMasters/slideMaster16.xml"/><Relationship Id="rId6" Type="http://schemas.openxmlformats.org/officeDocument/2006/relationships/image" Target="../media/image14.wmf"/><Relationship Id="rId11" Type="http://schemas.openxmlformats.org/officeDocument/2006/relationships/image" Target="../media/image36.PNG"/><Relationship Id="rId5" Type="http://schemas.openxmlformats.org/officeDocument/2006/relationships/image" Target="../media/image5.png"/><Relationship Id="rId10" Type="http://schemas.openxmlformats.org/officeDocument/2006/relationships/image" Target="../media/image35.png"/><Relationship Id="rId4" Type="http://schemas.openxmlformats.org/officeDocument/2006/relationships/image" Target="../media/image3.png"/><Relationship Id="rId9" Type="http://schemas.openxmlformats.org/officeDocument/2006/relationships/image" Target="../media/image34.png"/></Relationships>
</file>

<file path=ppt/slideLayouts/_rels/slideLayout511.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image" Target="../media/image6.jpg"/><Relationship Id="rId1" Type="http://schemas.openxmlformats.org/officeDocument/2006/relationships/slideMaster" Target="../slideMasters/slideMaster16.xml"/><Relationship Id="rId6" Type="http://schemas.openxmlformats.org/officeDocument/2006/relationships/image" Target="../media/image14.wmf"/><Relationship Id="rId11" Type="http://schemas.openxmlformats.org/officeDocument/2006/relationships/image" Target="../media/image36.PNG"/><Relationship Id="rId5" Type="http://schemas.openxmlformats.org/officeDocument/2006/relationships/image" Target="../media/image5.png"/><Relationship Id="rId10" Type="http://schemas.openxmlformats.org/officeDocument/2006/relationships/image" Target="../media/image35.png"/><Relationship Id="rId4" Type="http://schemas.openxmlformats.org/officeDocument/2006/relationships/image" Target="../media/image3.png"/><Relationship Id="rId9" Type="http://schemas.openxmlformats.org/officeDocument/2006/relationships/image" Target="../media/image34.png"/></Relationships>
</file>

<file path=ppt/slideLayouts/_rels/slideLayout512.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image" Target="../media/image6.jpg"/><Relationship Id="rId1" Type="http://schemas.openxmlformats.org/officeDocument/2006/relationships/slideMaster" Target="../slideMasters/slideMaster16.xml"/><Relationship Id="rId6" Type="http://schemas.openxmlformats.org/officeDocument/2006/relationships/image" Target="../media/image14.wmf"/><Relationship Id="rId11" Type="http://schemas.openxmlformats.org/officeDocument/2006/relationships/image" Target="../media/image36.PNG"/><Relationship Id="rId5" Type="http://schemas.openxmlformats.org/officeDocument/2006/relationships/image" Target="../media/image5.png"/><Relationship Id="rId10" Type="http://schemas.openxmlformats.org/officeDocument/2006/relationships/image" Target="../media/image35.png"/><Relationship Id="rId4" Type="http://schemas.openxmlformats.org/officeDocument/2006/relationships/image" Target="../media/image3.png"/><Relationship Id="rId9" Type="http://schemas.openxmlformats.org/officeDocument/2006/relationships/image" Target="../media/image34.png"/></Relationships>
</file>

<file path=ppt/slideLayouts/_rels/slideLayout513.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image" Target="../media/image4.jpg"/><Relationship Id="rId1" Type="http://schemas.openxmlformats.org/officeDocument/2006/relationships/slideMaster" Target="../slideMasters/slideMaster16.xml"/><Relationship Id="rId6" Type="http://schemas.openxmlformats.org/officeDocument/2006/relationships/image" Target="../media/image14.wmf"/><Relationship Id="rId11" Type="http://schemas.openxmlformats.org/officeDocument/2006/relationships/image" Target="../media/image36.PNG"/><Relationship Id="rId5" Type="http://schemas.openxmlformats.org/officeDocument/2006/relationships/image" Target="../media/image5.png"/><Relationship Id="rId10" Type="http://schemas.openxmlformats.org/officeDocument/2006/relationships/image" Target="../media/image35.png"/><Relationship Id="rId4" Type="http://schemas.openxmlformats.org/officeDocument/2006/relationships/image" Target="../media/image3.png"/><Relationship Id="rId9" Type="http://schemas.openxmlformats.org/officeDocument/2006/relationships/image" Target="../media/image34.png"/></Relationships>
</file>

<file path=ppt/slideLayouts/_rels/slideLayout514.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image" Target="../media/image6.jpg"/><Relationship Id="rId1" Type="http://schemas.openxmlformats.org/officeDocument/2006/relationships/slideMaster" Target="../slideMasters/slideMaster16.xml"/><Relationship Id="rId6" Type="http://schemas.openxmlformats.org/officeDocument/2006/relationships/image" Target="../media/image14.wmf"/><Relationship Id="rId11" Type="http://schemas.openxmlformats.org/officeDocument/2006/relationships/image" Target="../media/image36.PNG"/><Relationship Id="rId5" Type="http://schemas.openxmlformats.org/officeDocument/2006/relationships/image" Target="../media/image5.png"/><Relationship Id="rId10" Type="http://schemas.openxmlformats.org/officeDocument/2006/relationships/image" Target="../media/image35.png"/><Relationship Id="rId4" Type="http://schemas.openxmlformats.org/officeDocument/2006/relationships/image" Target="../media/image3.png"/><Relationship Id="rId9" Type="http://schemas.openxmlformats.org/officeDocument/2006/relationships/image" Target="../media/image34.png"/></Relationships>
</file>

<file path=ppt/slideLayouts/_rels/slideLayout515.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png"/><Relationship Id="rId7" Type="http://schemas.openxmlformats.org/officeDocument/2006/relationships/image" Target="../media/image34.png"/><Relationship Id="rId2" Type="http://schemas.openxmlformats.org/officeDocument/2006/relationships/image" Target="../media/image2.png"/><Relationship Id="rId1" Type="http://schemas.openxmlformats.org/officeDocument/2006/relationships/slideMaster" Target="../slideMasters/slideMaster16.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4.jpg"/><Relationship Id="rId9" Type="http://schemas.openxmlformats.org/officeDocument/2006/relationships/image" Target="../media/image36.PNG"/></Relationships>
</file>

<file path=ppt/slideLayouts/_rels/slideLayout51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png"/><Relationship Id="rId7" Type="http://schemas.openxmlformats.org/officeDocument/2006/relationships/image" Target="../media/image34.png"/><Relationship Id="rId2" Type="http://schemas.openxmlformats.org/officeDocument/2006/relationships/image" Target="../media/image2.png"/><Relationship Id="rId1" Type="http://schemas.openxmlformats.org/officeDocument/2006/relationships/slideMaster" Target="../slideMasters/slideMaster16.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7.jpg"/><Relationship Id="rId9" Type="http://schemas.openxmlformats.org/officeDocument/2006/relationships/image" Target="../media/image36.PNG"/></Relationships>
</file>

<file path=ppt/slideLayouts/_rels/slideLayout517.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png"/><Relationship Id="rId7" Type="http://schemas.openxmlformats.org/officeDocument/2006/relationships/image" Target="../media/image34.png"/><Relationship Id="rId2" Type="http://schemas.openxmlformats.org/officeDocument/2006/relationships/image" Target="../media/image2.png"/><Relationship Id="rId1" Type="http://schemas.openxmlformats.org/officeDocument/2006/relationships/slideMaster" Target="../slideMasters/slideMaster16.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8.jpg"/><Relationship Id="rId9" Type="http://schemas.openxmlformats.org/officeDocument/2006/relationships/image" Target="../media/image36.PNG"/></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1.jpg"/></Relationships>
</file>

<file path=ppt/slideLayouts/_rels/slideLayout52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png"/><Relationship Id="rId7" Type="http://schemas.openxmlformats.org/officeDocument/2006/relationships/image" Target="../media/image35.png"/><Relationship Id="rId2" Type="http://schemas.openxmlformats.org/officeDocument/2006/relationships/image" Target="../media/image2.png"/><Relationship Id="rId1" Type="http://schemas.openxmlformats.org/officeDocument/2006/relationships/slideMaster" Target="../slideMasters/slideMaster16.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2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png"/><Relationship Id="rId7" Type="http://schemas.openxmlformats.org/officeDocument/2006/relationships/image" Target="../media/image35.png"/><Relationship Id="rId2" Type="http://schemas.openxmlformats.org/officeDocument/2006/relationships/image" Target="../media/image2.png"/><Relationship Id="rId1" Type="http://schemas.openxmlformats.org/officeDocument/2006/relationships/slideMaster" Target="../slideMasters/slideMaster16.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Layouts/_rels/slideLayout52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png"/><Relationship Id="rId7" Type="http://schemas.openxmlformats.org/officeDocument/2006/relationships/image" Target="../media/image34.png"/><Relationship Id="rId2" Type="http://schemas.openxmlformats.org/officeDocument/2006/relationships/image" Target="../media/image2.png"/><Relationship Id="rId1" Type="http://schemas.openxmlformats.org/officeDocument/2006/relationships/slideMaster" Target="../slideMasters/slideMaster16.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9.jpg"/><Relationship Id="rId9" Type="http://schemas.openxmlformats.org/officeDocument/2006/relationships/image" Target="../media/image36.PNG"/></Relationships>
</file>

<file path=ppt/slideLayouts/_rels/slideLayout524.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png"/><Relationship Id="rId7" Type="http://schemas.openxmlformats.org/officeDocument/2006/relationships/image" Target="../media/image34.png"/><Relationship Id="rId2" Type="http://schemas.openxmlformats.org/officeDocument/2006/relationships/image" Target="../media/image2.png"/><Relationship Id="rId1" Type="http://schemas.openxmlformats.org/officeDocument/2006/relationships/slideMaster" Target="../slideMasters/slideMaster16.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10.jpg"/><Relationship Id="rId9" Type="http://schemas.openxmlformats.org/officeDocument/2006/relationships/image" Target="../media/image36.PNG"/></Relationships>
</file>

<file path=ppt/slideLayouts/_rels/slideLayout525.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png"/><Relationship Id="rId7" Type="http://schemas.openxmlformats.org/officeDocument/2006/relationships/image" Target="../media/image34.png"/><Relationship Id="rId2" Type="http://schemas.openxmlformats.org/officeDocument/2006/relationships/image" Target="../media/image2.png"/><Relationship Id="rId1" Type="http://schemas.openxmlformats.org/officeDocument/2006/relationships/slideMaster" Target="../slideMasters/slideMaster16.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11.jpg"/><Relationship Id="rId9" Type="http://schemas.openxmlformats.org/officeDocument/2006/relationships/image" Target="../media/image36.PNG"/></Relationships>
</file>

<file path=ppt/slideLayouts/_rels/slideLayout52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png"/><Relationship Id="rId7" Type="http://schemas.openxmlformats.org/officeDocument/2006/relationships/image" Target="../media/image34.png"/><Relationship Id="rId2" Type="http://schemas.openxmlformats.org/officeDocument/2006/relationships/image" Target="../media/image2.png"/><Relationship Id="rId1" Type="http://schemas.openxmlformats.org/officeDocument/2006/relationships/slideMaster" Target="../slideMasters/slideMaster16.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12.jpg"/><Relationship Id="rId9" Type="http://schemas.openxmlformats.org/officeDocument/2006/relationships/image" Target="../media/image36.PNG"/></Relationships>
</file>

<file path=ppt/slideLayouts/_rels/slideLayout527.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png"/><Relationship Id="rId7" Type="http://schemas.openxmlformats.org/officeDocument/2006/relationships/image" Target="../media/image34.png"/><Relationship Id="rId2" Type="http://schemas.openxmlformats.org/officeDocument/2006/relationships/image" Target="../media/image2.png"/><Relationship Id="rId1" Type="http://schemas.openxmlformats.org/officeDocument/2006/relationships/slideMaster" Target="../slideMasters/slideMaster16.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13.jpg"/><Relationship Id="rId9" Type="http://schemas.openxmlformats.org/officeDocument/2006/relationships/image" Target="../media/image36.PNG"/></Relationships>
</file>

<file path=ppt/slideLayouts/_rels/slideLayout52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png"/><Relationship Id="rId7" Type="http://schemas.openxmlformats.org/officeDocument/2006/relationships/image" Target="../media/image35.png"/><Relationship Id="rId2" Type="http://schemas.openxmlformats.org/officeDocument/2006/relationships/image" Target="../media/image2.png"/><Relationship Id="rId1" Type="http://schemas.openxmlformats.org/officeDocument/2006/relationships/slideMaster" Target="../slideMasters/slideMaster16.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Layouts/_rels/slideLayout529.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png"/><Relationship Id="rId7" Type="http://schemas.openxmlformats.org/officeDocument/2006/relationships/image" Target="../media/image35.png"/><Relationship Id="rId2" Type="http://schemas.openxmlformats.org/officeDocument/2006/relationships/image" Target="../media/image2.png"/><Relationship Id="rId1" Type="http://schemas.openxmlformats.org/officeDocument/2006/relationships/slideMaster" Target="../slideMasters/slideMaster16.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2.jpg"/></Relationships>
</file>

<file path=ppt/slideLayouts/_rels/slideLayout53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png"/><Relationship Id="rId7" Type="http://schemas.openxmlformats.org/officeDocument/2006/relationships/image" Target="../media/image35.png"/><Relationship Id="rId2" Type="http://schemas.openxmlformats.org/officeDocument/2006/relationships/image" Target="../media/image2.png"/><Relationship Id="rId1" Type="http://schemas.openxmlformats.org/officeDocument/2006/relationships/slideMaster" Target="../slideMasters/slideMaster16.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Layouts/_rels/slideLayout53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png"/><Relationship Id="rId7" Type="http://schemas.openxmlformats.org/officeDocument/2006/relationships/image" Target="../media/image35.png"/><Relationship Id="rId2" Type="http://schemas.openxmlformats.org/officeDocument/2006/relationships/image" Target="../media/image2.png"/><Relationship Id="rId1" Type="http://schemas.openxmlformats.org/officeDocument/2006/relationships/slideMaster" Target="../slideMasters/slideMaster16.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Layouts/_rels/slideLayout53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png"/><Relationship Id="rId7" Type="http://schemas.openxmlformats.org/officeDocument/2006/relationships/image" Target="../media/image35.png"/><Relationship Id="rId2" Type="http://schemas.openxmlformats.org/officeDocument/2006/relationships/image" Target="../media/image2.png"/><Relationship Id="rId1" Type="http://schemas.openxmlformats.org/officeDocument/2006/relationships/slideMaster" Target="../slideMasters/slideMaster16.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3.jpg"/></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7.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5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7.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7.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7.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 Id="rId4" Type="http://schemas.openxmlformats.org/officeDocument/2006/relationships/image" Target="../media/image4.jpg"/></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 Id="rId4" Type="http://schemas.openxmlformats.org/officeDocument/2006/relationships/image" Target="../media/image7.jp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 Id="rId4" Type="http://schemas.openxmlformats.org/officeDocument/2006/relationships/image" Target="../media/image8.jpg"/></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5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 Id="rId4" Type="http://schemas.openxmlformats.org/officeDocument/2006/relationships/image" Target="../media/image9.jpg"/></Relationships>
</file>

<file path=ppt/slideLayouts/_rels/slideLayout5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 Id="rId4" Type="http://schemas.openxmlformats.org/officeDocument/2006/relationships/image" Target="../media/image10.jpg"/></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 Id="rId4" Type="http://schemas.openxmlformats.org/officeDocument/2006/relationships/image" Target="../media/image11.jpg"/></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 Id="rId4" Type="http://schemas.openxmlformats.org/officeDocument/2006/relationships/image" Target="../media/image12.jp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 Id="rId4" Type="http://schemas.openxmlformats.org/officeDocument/2006/relationships/image" Target="../media/image13.jpg"/></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5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5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 Id="rId4" Type="http://schemas.openxmlformats.org/officeDocument/2006/relationships/image" Target="../media/image11.jpg"/></Relationships>
</file>

<file path=ppt/slideLayouts/_rels/slideLayout5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 Id="rId4" Type="http://schemas.openxmlformats.org/officeDocument/2006/relationships/image" Target="../media/image12.jpg"/></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5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7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56.xml"/><Relationship Id="rId1" Type="http://schemas.openxmlformats.org/officeDocument/2006/relationships/vmlDrawing" Target="../drawings/vmlDrawing56.vml"/><Relationship Id="rId5" Type="http://schemas.openxmlformats.org/officeDocument/2006/relationships/image" Target="../media/image15.emf"/><Relationship Id="rId4" Type="http://schemas.openxmlformats.org/officeDocument/2006/relationships/oleObject" Target="../embeddings/oleObject56.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9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7.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9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8.xml"/><Relationship Id="rId1" Type="http://schemas.openxmlformats.org/officeDocument/2006/relationships/vmlDrawing" Target="../drawings/vmlDrawing58.vml"/><Relationship Id="rId5" Type="http://schemas.openxmlformats.org/officeDocument/2006/relationships/image" Target="../media/image17.emf"/><Relationship Id="rId4" Type="http://schemas.openxmlformats.org/officeDocument/2006/relationships/oleObject" Target="../embeddings/oleObject58.bin"/></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9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59.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jp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0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60.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0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61.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0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62.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0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63.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64.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9.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9.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9.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9.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9.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9.xml"/><Relationship Id="rId4" Type="http://schemas.openxmlformats.org/officeDocument/2006/relationships/image" Target="../media/image4.jpg"/></Relationships>
</file>

<file path=ppt/slideLayouts/_rels/slideLayout6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9.xml"/><Relationship Id="rId4" Type="http://schemas.openxmlformats.org/officeDocument/2006/relationships/image" Target="../media/image7.jpg"/></Relationships>
</file>

<file path=ppt/slideLayouts/_rels/slideLayout6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g"/><Relationship Id="rId1" Type="http://schemas.openxmlformats.org/officeDocument/2006/relationships/slideMaster" Target="../slideMasters/slideMaster19.xml"/><Relationship Id="rId4" Type="http://schemas.openxmlformats.org/officeDocument/2006/relationships/image" Target="../media/image3.png"/></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9.xml"/><Relationship Id="rId4" Type="http://schemas.openxmlformats.org/officeDocument/2006/relationships/image" Target="../media/image9.jpg"/></Relationships>
</file>

<file path=ppt/slideLayouts/_rels/slideLayout6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9.xml"/><Relationship Id="rId4" Type="http://schemas.openxmlformats.org/officeDocument/2006/relationships/image" Target="../media/image10.jpg"/></Relationships>
</file>

<file path=ppt/slideLayouts/_rels/slideLayout6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9.xml"/><Relationship Id="rId4" Type="http://schemas.openxmlformats.org/officeDocument/2006/relationships/image" Target="../media/image11.jpg"/></Relationships>
</file>

<file path=ppt/slideLayouts/_rels/slideLayout6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9.xml"/><Relationship Id="rId4" Type="http://schemas.openxmlformats.org/officeDocument/2006/relationships/image" Target="../media/image12.jpg"/></Relationships>
</file>

<file path=ppt/slideLayouts/_rels/slideLayout6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9.xml"/><Relationship Id="rId4" Type="http://schemas.openxmlformats.org/officeDocument/2006/relationships/image" Target="../media/image13.jpg"/></Relationships>
</file>

<file path=ppt/slideLayouts/_rels/slideLayout6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6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9.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0.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6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0.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20.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0.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8.jpg"/></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0.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0.xml"/><Relationship Id="rId4" Type="http://schemas.openxmlformats.org/officeDocument/2006/relationships/image" Target="../media/image4.jpg"/></Relationships>
</file>

<file path=ppt/slideLayouts/_rels/slideLayout6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0.xml"/><Relationship Id="rId4" Type="http://schemas.openxmlformats.org/officeDocument/2006/relationships/image" Target="../media/image7.jpg"/></Relationships>
</file>

<file path=ppt/slideLayouts/_rels/slideLayout6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g"/><Relationship Id="rId1" Type="http://schemas.openxmlformats.org/officeDocument/2006/relationships/slideMaster" Target="../slideMasters/slideMaster20.xml"/><Relationship Id="rId4" Type="http://schemas.openxmlformats.org/officeDocument/2006/relationships/image" Target="../media/image3.png"/></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0.xml"/><Relationship Id="rId4" Type="http://schemas.openxmlformats.org/officeDocument/2006/relationships/image" Target="../media/image9.jpg"/></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0.xml"/><Relationship Id="rId4" Type="http://schemas.openxmlformats.org/officeDocument/2006/relationships/image" Target="../media/image10.jpg"/></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0.xml"/><Relationship Id="rId4" Type="http://schemas.openxmlformats.org/officeDocument/2006/relationships/image" Target="../media/image11.jpg"/></Relationships>
</file>

<file path=ppt/slideLayouts/_rels/slideLayout6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0.xml"/><Relationship Id="rId4" Type="http://schemas.openxmlformats.org/officeDocument/2006/relationships/image" Target="../media/image12.jpg"/></Relationships>
</file>

<file path=ppt/slideLayouts/_rels/slideLayout6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0.xml"/><Relationship Id="rId4" Type="http://schemas.openxmlformats.org/officeDocument/2006/relationships/image" Target="../media/image13.jpg"/></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0.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1.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6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1.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1.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6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1.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1.xml"/><Relationship Id="rId4" Type="http://schemas.openxmlformats.org/officeDocument/2006/relationships/image" Target="../media/image4.jp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1.xml"/><Relationship Id="rId4" Type="http://schemas.openxmlformats.org/officeDocument/2006/relationships/image" Target="../media/image7.jpg"/></Relationships>
</file>

<file path=ppt/slideLayouts/_rels/slideLayout6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1.xml"/><Relationship Id="rId4" Type="http://schemas.openxmlformats.org/officeDocument/2006/relationships/image" Target="../media/image8.jpg"/></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6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1.xml"/><Relationship Id="rId4" Type="http://schemas.openxmlformats.org/officeDocument/2006/relationships/image" Target="../media/image9.jpg"/></Relationships>
</file>

<file path=ppt/slideLayouts/_rels/slideLayout6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1.xml"/><Relationship Id="rId4" Type="http://schemas.openxmlformats.org/officeDocument/2006/relationships/image" Target="../media/image10.jpg"/></Relationships>
</file>

<file path=ppt/slideLayouts/_rels/slideLayout6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1.xml"/><Relationship Id="rId4" Type="http://schemas.openxmlformats.org/officeDocument/2006/relationships/image" Target="../media/image11.jpg"/></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1.xml"/><Relationship Id="rId4" Type="http://schemas.openxmlformats.org/officeDocument/2006/relationships/image" Target="../media/image12.jpg"/></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1.xml"/><Relationship Id="rId4" Type="http://schemas.openxmlformats.org/officeDocument/2006/relationships/image" Target="../media/image13.jpg"/></Relationships>
</file>

<file path=ppt/slideLayouts/_rels/slideLayout6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6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6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6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6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7.jpg"/></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5.emf"/><Relationship Id="rId4" Type="http://schemas.openxmlformats.org/officeDocument/2006/relationships/oleObject" Target="../embeddings/oleObject9.bin"/></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1.xml"/><Relationship Id="rId4" Type="http://schemas.openxmlformats.org/officeDocument/2006/relationships/image" Target="../media/image11.jpg"/></Relationships>
</file>

<file path=ppt/slideLayouts/_rels/slideLayout7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1.xml"/><Relationship Id="rId4" Type="http://schemas.openxmlformats.org/officeDocument/2006/relationships/image" Target="../media/image12.jpg"/></Relationships>
</file>

<file path=ppt/slideLayouts/_rels/slideLayout7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7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5.emf"/><Relationship Id="rId4" Type="http://schemas.openxmlformats.org/officeDocument/2006/relationships/oleObject" Target="../embeddings/oleObject10.bin"/></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3.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7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3.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7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23.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7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3.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7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3.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7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3.xml"/><Relationship Id="rId4" Type="http://schemas.openxmlformats.org/officeDocument/2006/relationships/image" Target="../media/image40.jpeg"/></Relationships>
</file>

<file path=ppt/slideLayouts/_rels/slideLayout7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3.xml"/><Relationship Id="rId4" Type="http://schemas.openxmlformats.org/officeDocument/2006/relationships/image" Target="../media/image41.jpeg"/></Relationships>
</file>

<file path=ppt/slideLayouts/_rels/slideLayout7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3.xml"/><Relationship Id="rId4" Type="http://schemas.openxmlformats.org/officeDocument/2006/relationships/image" Target="../media/image8.jpg"/></Relationships>
</file>

<file path=ppt/slideLayouts/_rels/slideLayout72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7.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73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8.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7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3.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3.xml"/></Relationships>
</file>

<file path=ppt/slideLayouts/_rels/slideLayout7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3.xml"/><Relationship Id="rId4" Type="http://schemas.openxmlformats.org/officeDocument/2006/relationships/image" Target="../media/image9.jpg"/></Relationships>
</file>

<file path=ppt/slideLayouts/_rels/slideLayout7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3.xml"/><Relationship Id="rId4" Type="http://schemas.openxmlformats.org/officeDocument/2006/relationships/image" Target="../media/image10.jpg"/></Relationships>
</file>

<file path=ppt/slideLayouts/_rels/slideLayout7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3.xml"/><Relationship Id="rId4" Type="http://schemas.openxmlformats.org/officeDocument/2006/relationships/image" Target="../media/image42.jpeg"/></Relationships>
</file>

<file path=ppt/slideLayouts/_rels/slideLayout7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3.xml"/><Relationship Id="rId4" Type="http://schemas.openxmlformats.org/officeDocument/2006/relationships/image" Target="../media/image43.jpeg"/></Relationships>
</file>

<file path=ppt/slideLayouts/_rels/slideLayout7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3.xml"/><Relationship Id="rId4" Type="http://schemas.openxmlformats.org/officeDocument/2006/relationships/image" Target="../media/image44.jpeg"/></Relationships>
</file>

<file path=ppt/slideLayouts/_rels/slideLayout7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7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3.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4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9.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74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0.xml"/><Relationship Id="rId1" Type="http://schemas.openxmlformats.org/officeDocument/2006/relationships/vmlDrawing" Target="../drawings/vmlDrawing70.vml"/><Relationship Id="rId5" Type="http://schemas.openxmlformats.org/officeDocument/2006/relationships/image" Target="../media/image15.emf"/><Relationship Id="rId4" Type="http://schemas.openxmlformats.org/officeDocument/2006/relationships/oleObject" Target="../embeddings/oleObject70.bin"/></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750.xml.rels><?xml version="1.0" encoding="UTF-8" standalone="yes"?>
<Relationships xmlns="http://schemas.openxmlformats.org/package/2006/relationships"><Relationship Id="rId3" Type="http://schemas.openxmlformats.org/officeDocument/2006/relationships/slideMaster" Target="../slideMasters/slideMaster23.xml"/><Relationship Id="rId7" Type="http://schemas.openxmlformats.org/officeDocument/2006/relationships/image" Target="../media/image3.png"/><Relationship Id="rId2" Type="http://schemas.openxmlformats.org/officeDocument/2006/relationships/tags" Target="../tags/tag71.xml"/><Relationship Id="rId1" Type="http://schemas.openxmlformats.org/officeDocument/2006/relationships/vmlDrawing" Target="../drawings/vmlDrawing7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7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3.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75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2.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75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3.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5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4.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5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75.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7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4.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7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4.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7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24.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7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4.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7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4.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4.xml"/><Relationship Id="rId4" Type="http://schemas.openxmlformats.org/officeDocument/2006/relationships/image" Target="../media/image40.jpeg"/></Relationships>
</file>

<file path=ppt/slideLayouts/_rels/slideLayout7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4.xml"/><Relationship Id="rId4" Type="http://schemas.openxmlformats.org/officeDocument/2006/relationships/image" Target="../media/image41.jpeg"/></Relationships>
</file>

<file path=ppt/slideLayouts/_rels/slideLayout7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4.xml"/><Relationship Id="rId4" Type="http://schemas.openxmlformats.org/officeDocument/2006/relationships/image" Target="../media/image8.jpg"/></Relationships>
</file>

<file path=ppt/slideLayouts/_rels/slideLayout76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7.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76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8.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7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4.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7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4.xml"/><Relationship Id="rId4" Type="http://schemas.openxmlformats.org/officeDocument/2006/relationships/image" Target="../media/image9.jpg"/></Relationships>
</file>

<file path=ppt/slideLayouts/_rels/slideLayout7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4.xml"/><Relationship Id="rId4" Type="http://schemas.openxmlformats.org/officeDocument/2006/relationships/image" Target="../media/image10.jpg"/></Relationships>
</file>

<file path=ppt/slideLayouts/_rels/slideLayout7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4.xml"/><Relationship Id="rId4" Type="http://schemas.openxmlformats.org/officeDocument/2006/relationships/image" Target="../media/image42.jpeg"/></Relationships>
</file>

<file path=ppt/slideLayouts/_rels/slideLayout7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4.xml"/><Relationship Id="rId4" Type="http://schemas.openxmlformats.org/officeDocument/2006/relationships/image" Target="../media/image43.jpeg"/></Relationships>
</file>

<file path=ppt/slideLayouts/_rels/slideLayout7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4.xml"/><Relationship Id="rId4" Type="http://schemas.openxmlformats.org/officeDocument/2006/relationships/image" Target="../media/image44.jpeg"/></Relationships>
</file>

<file path=ppt/slideLayouts/_rels/slideLayout7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4.xml"/></Relationships>
</file>

<file path=ppt/slideLayouts/_rels/slideLayout7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4.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jpg"/></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8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79.xml"/><Relationship Id="rId1" Type="http://schemas.openxmlformats.org/officeDocument/2006/relationships/vmlDrawing" Target="../drawings/vmlDrawing79.vml"/><Relationship Id="rId5" Type="http://schemas.openxmlformats.org/officeDocument/2006/relationships/image" Target="../media/image15.emf"/><Relationship Id="rId4" Type="http://schemas.openxmlformats.org/officeDocument/2006/relationships/oleObject" Target="../embeddings/oleObject79.bin"/></Relationships>
</file>

<file path=ppt/slideLayouts/_rels/slideLayout78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0.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786.xml.rels><?xml version="1.0" encoding="UTF-8" standalone="yes"?>
<Relationships xmlns="http://schemas.openxmlformats.org/package/2006/relationships"><Relationship Id="rId3" Type="http://schemas.openxmlformats.org/officeDocument/2006/relationships/slideMaster" Target="../slideMasters/slideMaster24.xml"/><Relationship Id="rId7" Type="http://schemas.openxmlformats.org/officeDocument/2006/relationships/image" Target="../media/image3.png"/><Relationship Id="rId2" Type="http://schemas.openxmlformats.org/officeDocument/2006/relationships/tags" Target="../tags/tag81.xml"/><Relationship Id="rId1" Type="http://schemas.openxmlformats.org/officeDocument/2006/relationships/vmlDrawing" Target="../drawings/vmlDrawing8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7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4.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78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2.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78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3.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7.jpg"/></Relationships>
</file>

<file path=ppt/slideLayouts/_rels/slideLayout79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4.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79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5.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79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86.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7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5.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7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5.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7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25.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7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5.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7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5.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7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5.xml"/><Relationship Id="rId4" Type="http://schemas.openxmlformats.org/officeDocument/2006/relationships/image" Target="../media/image40.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8.jp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8.jpg"/></Relationships>
</file>

<file path=ppt/slideLayouts/_rels/slideLayout8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5.xml"/><Relationship Id="rId4" Type="http://schemas.openxmlformats.org/officeDocument/2006/relationships/image" Target="../media/image41.jpeg"/></Relationships>
</file>

<file path=ppt/slideLayouts/_rels/slideLayout8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5.xml"/><Relationship Id="rId4" Type="http://schemas.openxmlformats.org/officeDocument/2006/relationships/image" Target="../media/image8.jpg"/></Relationships>
</file>

<file path=ppt/slideLayouts/_rels/slideLayout802.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8.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80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9.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8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5.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8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5.xml"/></Relationships>
</file>

<file path=ppt/slideLayouts/_rels/slideLayout8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5.xml"/><Relationship Id="rId4" Type="http://schemas.openxmlformats.org/officeDocument/2006/relationships/image" Target="../media/image9.jpg"/></Relationships>
</file>

<file path=ppt/slideLayouts/_rels/slideLayout8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5.xml"/><Relationship Id="rId4" Type="http://schemas.openxmlformats.org/officeDocument/2006/relationships/image" Target="../media/image10.jpg"/></Relationships>
</file>

<file path=ppt/slideLayouts/_rels/slideLayout8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5.xml"/><Relationship Id="rId4" Type="http://schemas.openxmlformats.org/officeDocument/2006/relationships/image" Target="../media/image42.jpe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5.xml"/><Relationship Id="rId4" Type="http://schemas.openxmlformats.org/officeDocument/2006/relationships/image" Target="../media/image43.jpeg"/></Relationships>
</file>

<file path=ppt/slideLayouts/_rels/slideLayout8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5.xml"/><Relationship Id="rId4" Type="http://schemas.openxmlformats.org/officeDocument/2006/relationships/image" Target="../media/image44.jpeg"/></Relationships>
</file>

<file path=ppt/slideLayouts/_rels/slideLayout8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5.xml"/></Relationships>
</file>

<file path=ppt/slideLayouts/_rels/slideLayout8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5.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821.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90.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822.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91.xml"/><Relationship Id="rId1" Type="http://schemas.openxmlformats.org/officeDocument/2006/relationships/vmlDrawing" Target="../drawings/vmlDrawing91.vml"/><Relationship Id="rId5" Type="http://schemas.openxmlformats.org/officeDocument/2006/relationships/image" Target="../media/image15.emf"/><Relationship Id="rId4" Type="http://schemas.openxmlformats.org/officeDocument/2006/relationships/oleObject" Target="../embeddings/oleObject91.bin"/></Relationships>
</file>

<file path=ppt/slideLayouts/_rels/slideLayout823.xml.rels><?xml version="1.0" encoding="UTF-8" standalone="yes"?>
<Relationships xmlns="http://schemas.openxmlformats.org/package/2006/relationships"><Relationship Id="rId3" Type="http://schemas.openxmlformats.org/officeDocument/2006/relationships/slideMaster" Target="../slideMasters/slideMaster25.xml"/><Relationship Id="rId7" Type="http://schemas.openxmlformats.org/officeDocument/2006/relationships/image" Target="../media/image3.png"/><Relationship Id="rId2" Type="http://schemas.openxmlformats.org/officeDocument/2006/relationships/tags" Target="../tags/tag92.xml"/><Relationship Id="rId1" Type="http://schemas.openxmlformats.org/officeDocument/2006/relationships/vmlDrawing" Target="../drawings/vmlDrawing9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8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5.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825.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93.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82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94.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82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95.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829.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96.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3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97.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8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6.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8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6.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8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26.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8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6.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8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6.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8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6.xml"/><Relationship Id="rId4" Type="http://schemas.openxmlformats.org/officeDocument/2006/relationships/image" Target="../media/image40.jpeg"/></Relationships>
</file>

<file path=ppt/slideLayouts/_rels/slideLayout8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6.xml"/><Relationship Id="rId4" Type="http://schemas.openxmlformats.org/officeDocument/2006/relationships/image" Target="../media/image41.jpeg"/></Relationships>
</file>

<file path=ppt/slideLayouts/_rels/slideLayout8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6.xml"/><Relationship Id="rId4" Type="http://schemas.openxmlformats.org/officeDocument/2006/relationships/image" Target="../media/image8.jpg"/></Relationships>
</file>

<file path=ppt/slideLayouts/_rels/slideLayout839.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99.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0.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00.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8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6.xml"/></Relationships>
</file>

<file path=ppt/slideLayouts/_rels/slideLayout84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8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6.xml"/></Relationships>
</file>

<file path=ppt/slideLayouts/_rels/slideLayout8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6.xml"/><Relationship Id="rId4" Type="http://schemas.openxmlformats.org/officeDocument/2006/relationships/image" Target="../media/image9.jpg"/></Relationships>
</file>

<file path=ppt/slideLayouts/_rels/slideLayout8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6.xml"/><Relationship Id="rId4" Type="http://schemas.openxmlformats.org/officeDocument/2006/relationships/image" Target="../media/image10.jpg"/></Relationships>
</file>

<file path=ppt/slideLayouts/_rels/slideLayout8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6.xml"/><Relationship Id="rId4" Type="http://schemas.openxmlformats.org/officeDocument/2006/relationships/image" Target="../media/image42.jpeg"/></Relationships>
</file>

<file path=ppt/slideLayouts/_rels/slideLayout8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6.xml"/><Relationship Id="rId4" Type="http://schemas.openxmlformats.org/officeDocument/2006/relationships/image" Target="../media/image43.jpeg"/></Relationships>
</file>

<file path=ppt/slideLayouts/_rels/slideLayout8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6.xml"/><Relationship Id="rId4" Type="http://schemas.openxmlformats.org/officeDocument/2006/relationships/image" Target="../media/image44.jpeg"/></Relationships>
</file>

<file path=ppt/slideLayouts/_rels/slideLayout8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6.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85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85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01.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859.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02.xml"/><Relationship Id="rId1" Type="http://schemas.openxmlformats.org/officeDocument/2006/relationships/vmlDrawing" Target="../drawings/vmlDrawing102.vml"/><Relationship Id="rId5" Type="http://schemas.openxmlformats.org/officeDocument/2006/relationships/image" Target="../media/image15.emf"/><Relationship Id="rId4" Type="http://schemas.openxmlformats.org/officeDocument/2006/relationships/oleObject" Target="../embeddings/oleObject102.bin"/></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9.jpg"/></Relationships>
</file>

<file path=ppt/slideLayouts/_rels/slideLayout860.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03.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8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6.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862.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04.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863.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05.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864.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06.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86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86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07.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8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7.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8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7.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8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27.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10.jpg"/></Relationships>
</file>

<file path=ppt/slideLayouts/_rels/slideLayout8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7.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8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7.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8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7.xml"/><Relationship Id="rId4" Type="http://schemas.openxmlformats.org/officeDocument/2006/relationships/image" Target="../media/image40.jpeg"/></Relationships>
</file>

<file path=ppt/slideLayouts/_rels/slideLayout8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7.xml"/><Relationship Id="rId4" Type="http://schemas.openxmlformats.org/officeDocument/2006/relationships/image" Target="../media/image41.jpeg"/></Relationships>
</file>

<file path=ppt/slideLayouts/_rels/slideLayout8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7.xml"/><Relationship Id="rId4" Type="http://schemas.openxmlformats.org/officeDocument/2006/relationships/image" Target="../media/image8.jpg"/></Relationships>
</file>

<file path=ppt/slideLayouts/_rels/slideLayout875.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9.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87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0.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8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7.xml"/></Relationships>
</file>

<file path=ppt/slideLayouts/_rels/slideLayout87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8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7.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8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7.xml"/><Relationship Id="rId4" Type="http://schemas.openxmlformats.org/officeDocument/2006/relationships/image" Target="../media/image9.jpg"/></Relationships>
</file>

<file path=ppt/slideLayouts/_rels/slideLayout8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7.xml"/><Relationship Id="rId4" Type="http://schemas.openxmlformats.org/officeDocument/2006/relationships/image" Target="../media/image10.jpg"/></Relationships>
</file>

<file path=ppt/slideLayouts/_rels/slideLayout8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7.xml"/><Relationship Id="rId4" Type="http://schemas.openxmlformats.org/officeDocument/2006/relationships/image" Target="../media/image42.jpeg"/></Relationships>
</file>

<file path=ppt/slideLayouts/_rels/slideLayout8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7.xml"/><Relationship Id="rId4" Type="http://schemas.openxmlformats.org/officeDocument/2006/relationships/image" Target="../media/image43.jpeg"/></Relationships>
</file>

<file path=ppt/slideLayouts/_rels/slideLayout8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7.xml"/><Relationship Id="rId4" Type="http://schemas.openxmlformats.org/officeDocument/2006/relationships/image" Target="../media/image44.jpeg"/></Relationships>
</file>

<file path=ppt/slideLayouts/_rels/slideLayout8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7.xml"/></Relationships>
</file>

<file path=ppt/slideLayouts/_rels/slideLayout8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7.xml"/></Relationships>
</file>

<file path=ppt/slideLayouts/_rels/slideLayout88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88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88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12.jpg"/></Relationships>
</file>

<file path=ppt/slideLayouts/_rels/slideLayout89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89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89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89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89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1.xml"/><Relationship Id="rId1" Type="http://schemas.openxmlformats.org/officeDocument/2006/relationships/vmlDrawing" Target="../drawings/vmlDrawing111.vml"/><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895.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2.xml"/><Relationship Id="rId1" Type="http://schemas.openxmlformats.org/officeDocument/2006/relationships/vmlDrawing" Target="../drawings/vmlDrawing112.vml"/><Relationship Id="rId5" Type="http://schemas.openxmlformats.org/officeDocument/2006/relationships/image" Target="../media/image15.emf"/><Relationship Id="rId4" Type="http://schemas.openxmlformats.org/officeDocument/2006/relationships/oleObject" Target="../embeddings/oleObject112.bin"/></Relationships>
</file>

<file path=ppt/slideLayouts/_rels/slideLayout89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3.xml"/><Relationship Id="rId1" Type="http://schemas.openxmlformats.org/officeDocument/2006/relationships/vmlDrawing" Target="../drawings/vmlDrawing113.v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897.xml.rels><?xml version="1.0" encoding="UTF-8" standalone="yes"?>
<Relationships xmlns="http://schemas.openxmlformats.org/package/2006/relationships"><Relationship Id="rId3" Type="http://schemas.openxmlformats.org/officeDocument/2006/relationships/slideMaster" Target="../slideMasters/slideMaster27.xml"/><Relationship Id="rId7" Type="http://schemas.openxmlformats.org/officeDocument/2006/relationships/image" Target="../media/image3.png"/><Relationship Id="rId2" Type="http://schemas.openxmlformats.org/officeDocument/2006/relationships/tags" Target="../tags/tag114.xml"/><Relationship Id="rId1" Type="http://schemas.openxmlformats.org/officeDocument/2006/relationships/vmlDrawing" Target="../drawings/vmlDrawing11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8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7.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89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5.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13.jpg"/></Relationships>
</file>

<file path=ppt/slideLayouts/_rels/slideLayout900.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6.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90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902.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17.xml"/><Relationship Id="rId1" Type="http://schemas.openxmlformats.org/officeDocument/2006/relationships/vmlDrawing" Target="../drawings/vmlDrawing11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9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8.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9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8.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9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28.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9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8.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9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8.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9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8.xml"/><Relationship Id="rId4" Type="http://schemas.openxmlformats.org/officeDocument/2006/relationships/image" Target="../media/image40.jpeg"/></Relationships>
</file>

<file path=ppt/slideLayouts/_rels/slideLayout9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8.xml"/><Relationship Id="rId4" Type="http://schemas.openxmlformats.org/officeDocument/2006/relationships/image" Target="../media/image41.jpe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8.xml"/><Relationship Id="rId4" Type="http://schemas.openxmlformats.org/officeDocument/2006/relationships/image" Target="../media/image8.jpg"/></Relationships>
</file>

<file path=ppt/slideLayouts/_rels/slideLayout91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19.xml"/><Relationship Id="rId1" Type="http://schemas.openxmlformats.org/officeDocument/2006/relationships/vmlDrawing" Target="../drawings/vmlDrawing119.v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91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0.xml"/><Relationship Id="rId1" Type="http://schemas.openxmlformats.org/officeDocument/2006/relationships/vmlDrawing" Target="../drawings/vmlDrawing120.vml"/><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9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8.xml"/></Relationships>
</file>

<file path=ppt/slideLayouts/_rels/slideLayout91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9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8.xml"/></Relationships>
</file>

<file path=ppt/slideLayouts/_rels/slideLayout9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8.xml"/><Relationship Id="rId4" Type="http://schemas.openxmlformats.org/officeDocument/2006/relationships/image" Target="../media/image9.jpg"/></Relationships>
</file>

<file path=ppt/slideLayouts/_rels/slideLayout9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8.xml"/><Relationship Id="rId4" Type="http://schemas.openxmlformats.org/officeDocument/2006/relationships/image" Target="../media/image10.jpg"/></Relationships>
</file>

<file path=ppt/slideLayouts/_rels/slideLayout9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8.xml"/><Relationship Id="rId4" Type="http://schemas.openxmlformats.org/officeDocument/2006/relationships/image" Target="../media/image42.jpeg"/></Relationships>
</file>

<file path=ppt/slideLayouts/_rels/slideLayout9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8.xml"/><Relationship Id="rId4" Type="http://schemas.openxmlformats.org/officeDocument/2006/relationships/image" Target="../media/image43.jpe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8.xml"/><Relationship Id="rId4" Type="http://schemas.openxmlformats.org/officeDocument/2006/relationships/image" Target="../media/image44.jpeg"/></Relationships>
</file>

<file path=ppt/slideLayouts/_rels/slideLayout9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8.xml"/></Relationships>
</file>

<file path=ppt/slideLayouts/_rels/slideLayout9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8.xml"/></Relationships>
</file>

<file path=ppt/slideLayouts/_rels/slideLayout9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92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92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92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92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92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92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0.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1.xml"/><Relationship Id="rId1" Type="http://schemas.openxmlformats.org/officeDocument/2006/relationships/vmlDrawing" Target="../drawings/vmlDrawing121.vml"/><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93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2.xml"/><Relationship Id="rId1" Type="http://schemas.openxmlformats.org/officeDocument/2006/relationships/vmlDrawing" Target="../drawings/vmlDrawing122.vml"/><Relationship Id="rId5" Type="http://schemas.openxmlformats.org/officeDocument/2006/relationships/image" Target="../media/image15.emf"/><Relationship Id="rId4" Type="http://schemas.openxmlformats.org/officeDocument/2006/relationships/oleObject" Target="../embeddings/oleObject122.bin"/></Relationships>
</file>

<file path=ppt/slideLayouts/_rels/slideLayout93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3.xml"/><Relationship Id="rId1" Type="http://schemas.openxmlformats.org/officeDocument/2006/relationships/vmlDrawing" Target="../drawings/vmlDrawing123.vml"/><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933.xml.rels><?xml version="1.0" encoding="UTF-8" standalone="yes"?>
<Relationships xmlns="http://schemas.openxmlformats.org/package/2006/relationships"><Relationship Id="rId3" Type="http://schemas.openxmlformats.org/officeDocument/2006/relationships/slideMaster" Target="../slideMasters/slideMaster28.xml"/><Relationship Id="rId7" Type="http://schemas.openxmlformats.org/officeDocument/2006/relationships/image" Target="../media/image3.png"/><Relationship Id="rId2" Type="http://schemas.openxmlformats.org/officeDocument/2006/relationships/tags" Target="../tags/tag124.xml"/><Relationship Id="rId1" Type="http://schemas.openxmlformats.org/officeDocument/2006/relationships/vmlDrawing" Target="../drawings/vmlDrawing12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9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8.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935.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5.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93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6.xml"/><Relationship Id="rId1" Type="http://schemas.openxmlformats.org/officeDocument/2006/relationships/vmlDrawing" Target="../drawings/vmlDrawing12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9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938.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7.xml"/><Relationship Id="rId1" Type="http://schemas.openxmlformats.org/officeDocument/2006/relationships/vmlDrawing" Target="../drawings/vmlDrawing127.vml"/><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9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9.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9.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9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29.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9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9.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9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9.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9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9.xml"/><Relationship Id="rId4" Type="http://schemas.openxmlformats.org/officeDocument/2006/relationships/image" Target="../media/image40.jpeg"/></Relationships>
</file>

<file path=ppt/slideLayouts/_rels/slideLayout9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9.xml"/><Relationship Id="rId4" Type="http://schemas.openxmlformats.org/officeDocument/2006/relationships/image" Target="../media/image41.jpeg"/></Relationships>
</file>

<file path=ppt/slideLayouts/_rels/slideLayout9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9.xml"/><Relationship Id="rId4" Type="http://schemas.openxmlformats.org/officeDocument/2006/relationships/image" Target="../media/image8.jpg"/></Relationships>
</file>

<file path=ppt/slideLayouts/_rels/slideLayout947.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29.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94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0.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9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9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9.xml"/></Relationships>
</file>

<file path=ppt/slideLayouts/_rels/slideLayout9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9.xml"/><Relationship Id="rId4" Type="http://schemas.openxmlformats.org/officeDocument/2006/relationships/image" Target="../media/image9.jpg"/></Relationships>
</file>

<file path=ppt/slideLayouts/_rels/slideLayout9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9.xml"/><Relationship Id="rId4" Type="http://schemas.openxmlformats.org/officeDocument/2006/relationships/image" Target="../media/image10.jpg"/></Relationships>
</file>

<file path=ppt/slideLayouts/_rels/slideLayout9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9.xml"/><Relationship Id="rId4" Type="http://schemas.openxmlformats.org/officeDocument/2006/relationships/image" Target="../media/image42.jpeg"/></Relationships>
</file>

<file path=ppt/slideLayouts/_rels/slideLayout9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9.xml"/><Relationship Id="rId4" Type="http://schemas.openxmlformats.org/officeDocument/2006/relationships/image" Target="../media/image43.jpeg"/></Relationships>
</file>

<file path=ppt/slideLayouts/_rels/slideLayout9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9.xml"/><Relationship Id="rId4" Type="http://schemas.openxmlformats.org/officeDocument/2006/relationships/image" Target="../media/image44.jpeg"/></Relationships>
</file>

<file path=ppt/slideLayouts/_rels/slideLayout9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9.xml"/></Relationships>
</file>

<file path=ppt/slideLayouts/_rels/slideLayout9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9.xml"/></Relationships>
</file>

<file path=ppt/slideLayouts/_rels/slideLayout95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96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96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96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96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96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966.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1.xml"/><Relationship Id="rId1" Type="http://schemas.openxmlformats.org/officeDocument/2006/relationships/vmlDrawing" Target="../drawings/vmlDrawing131.vml"/><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967.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2.xml"/><Relationship Id="rId1" Type="http://schemas.openxmlformats.org/officeDocument/2006/relationships/vmlDrawing" Target="../drawings/vmlDrawing132.vml"/><Relationship Id="rId5" Type="http://schemas.openxmlformats.org/officeDocument/2006/relationships/image" Target="../media/image15.emf"/><Relationship Id="rId4" Type="http://schemas.openxmlformats.org/officeDocument/2006/relationships/oleObject" Target="../embeddings/oleObject132.bin"/></Relationships>
</file>

<file path=ppt/slideLayouts/_rels/slideLayout96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3.xml"/><Relationship Id="rId1" Type="http://schemas.openxmlformats.org/officeDocument/2006/relationships/vmlDrawing" Target="../drawings/vmlDrawing133.v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969.xml.rels><?xml version="1.0" encoding="UTF-8" standalone="yes"?>
<Relationships xmlns="http://schemas.openxmlformats.org/package/2006/relationships"><Relationship Id="rId3" Type="http://schemas.openxmlformats.org/officeDocument/2006/relationships/slideMaster" Target="../slideMasters/slideMaster29.xml"/><Relationship Id="rId7" Type="http://schemas.openxmlformats.org/officeDocument/2006/relationships/image" Target="../media/image3.png"/><Relationship Id="rId2" Type="http://schemas.openxmlformats.org/officeDocument/2006/relationships/tags" Target="../tags/tag134.xml"/><Relationship Id="rId1" Type="http://schemas.openxmlformats.org/officeDocument/2006/relationships/vmlDrawing" Target="../drawings/vmlDrawing13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29.xml"/><Relationship Id="rId6" Type="http://schemas.openxmlformats.org/officeDocument/2006/relationships/image" Target="../media/image14.wmf"/><Relationship Id="rId5" Type="http://schemas.openxmlformats.org/officeDocument/2006/relationships/image" Target="../media/image5.png"/><Relationship Id="rId4" Type="http://schemas.openxmlformats.org/officeDocument/2006/relationships/image" Target="../media/image3.png"/></Relationships>
</file>

<file path=ppt/slideLayouts/_rels/slideLayout971.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5.xml"/><Relationship Id="rId1" Type="http://schemas.openxmlformats.org/officeDocument/2006/relationships/vmlDrawing" Target="../drawings/vmlDrawing13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97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6.xml"/><Relationship Id="rId1" Type="http://schemas.openxmlformats.org/officeDocument/2006/relationships/vmlDrawing" Target="../drawings/vmlDrawing136.vml"/><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97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7.xml"/><Relationship Id="rId1" Type="http://schemas.openxmlformats.org/officeDocument/2006/relationships/vmlDrawing" Target="../drawings/vmlDrawing137.vml"/><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97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8.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975.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image" Target="../media/image4.jpg"/><Relationship Id="rId1" Type="http://schemas.openxmlformats.org/officeDocument/2006/relationships/slideMaster" Target="../slideMasters/slideMaster30.xml"/><Relationship Id="rId6" Type="http://schemas.openxmlformats.org/officeDocument/2006/relationships/image" Target="../media/image14.wmf"/><Relationship Id="rId11" Type="http://schemas.openxmlformats.org/officeDocument/2006/relationships/image" Target="../media/image36.PNG"/><Relationship Id="rId5" Type="http://schemas.openxmlformats.org/officeDocument/2006/relationships/image" Target="../media/image5.png"/><Relationship Id="rId10" Type="http://schemas.openxmlformats.org/officeDocument/2006/relationships/image" Target="../media/image35.png"/><Relationship Id="rId4" Type="http://schemas.openxmlformats.org/officeDocument/2006/relationships/image" Target="../media/image3.png"/><Relationship Id="rId9" Type="http://schemas.openxmlformats.org/officeDocument/2006/relationships/image" Target="../media/image34.png"/></Relationships>
</file>

<file path=ppt/slideLayouts/_rels/slideLayout97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97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97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97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0.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139.vml"/><Relationship Id="rId6" Type="http://schemas.openxmlformats.org/officeDocument/2006/relationships/image" Target="../media/image1.emf"/><Relationship Id="rId5" Type="http://schemas.openxmlformats.org/officeDocument/2006/relationships/oleObject" Target="../embeddings/oleObject139.bin"/><Relationship Id="rId4" Type="http://schemas.openxmlformats.org/officeDocument/2006/relationships/slideMaster" Target="../slideMasters/slideMaster30.xml"/></Relationships>
</file>

<file path=ppt/slideLayouts/_rels/slideLayout981.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vmlDrawing" Target="../drawings/vmlDrawing140.vml"/><Relationship Id="rId6" Type="http://schemas.openxmlformats.org/officeDocument/2006/relationships/image" Target="../media/image45.emf"/><Relationship Id="rId5" Type="http://schemas.openxmlformats.org/officeDocument/2006/relationships/oleObject" Target="../embeddings/oleObject140.bin"/><Relationship Id="rId4" Type="http://schemas.openxmlformats.org/officeDocument/2006/relationships/slideMaster" Target="../slideMasters/slideMaster30.xml"/></Relationships>
</file>

<file path=ppt/slideLayouts/_rels/slideLayout982.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vmlDrawing" Target="../drawings/vmlDrawing141.vml"/><Relationship Id="rId6" Type="http://schemas.openxmlformats.org/officeDocument/2006/relationships/image" Target="../media/image1.emf"/><Relationship Id="rId5" Type="http://schemas.openxmlformats.org/officeDocument/2006/relationships/oleObject" Target="../embeddings/oleObject141.bin"/><Relationship Id="rId4" Type="http://schemas.openxmlformats.org/officeDocument/2006/relationships/slideMaster" Target="../slideMasters/slideMaster30.xml"/></Relationships>
</file>

<file path=ppt/slideLayouts/_rels/slideLayout9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98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0.xml"/></Relationships>
</file>

<file path=ppt/slideLayouts/_rels/slideLayout985.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6.xml"/><Relationship Id="rId1" Type="http://schemas.openxmlformats.org/officeDocument/2006/relationships/vmlDrawing" Target="../drawings/vmlDrawing142.vml"/><Relationship Id="rId6" Type="http://schemas.openxmlformats.org/officeDocument/2006/relationships/image" Target="../media/image15.emf"/><Relationship Id="rId5" Type="http://schemas.openxmlformats.org/officeDocument/2006/relationships/oleObject" Target="../embeddings/oleObject142.bin"/><Relationship Id="rId4" Type="http://schemas.openxmlformats.org/officeDocument/2006/relationships/image" Target="../media/image47.jpeg"/></Relationships>
</file>

<file path=ppt/slideLayouts/_rels/slideLayout986.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7.xml"/><Relationship Id="rId1" Type="http://schemas.openxmlformats.org/officeDocument/2006/relationships/vmlDrawing" Target="../drawings/vmlDrawing143.vml"/><Relationship Id="rId6" Type="http://schemas.openxmlformats.org/officeDocument/2006/relationships/image" Target="../media/image15.emf"/><Relationship Id="rId5" Type="http://schemas.openxmlformats.org/officeDocument/2006/relationships/oleObject" Target="../embeddings/oleObject143.bin"/><Relationship Id="rId4" Type="http://schemas.openxmlformats.org/officeDocument/2006/relationships/image" Target="../media/image47.jpeg"/></Relationships>
</file>

<file path=ppt/slideLayouts/_rels/slideLayout98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8.xml"/><Relationship Id="rId1" Type="http://schemas.openxmlformats.org/officeDocument/2006/relationships/vmlDrawing" Target="../drawings/vmlDrawing144.vml"/><Relationship Id="rId6" Type="http://schemas.openxmlformats.org/officeDocument/2006/relationships/image" Target="../media/image48.wmf"/><Relationship Id="rId5" Type="http://schemas.openxmlformats.org/officeDocument/2006/relationships/image" Target="NULL"/><Relationship Id="rId4" Type="http://schemas.openxmlformats.org/officeDocument/2006/relationships/oleObject" Target="../embeddings/oleObject144.bin"/></Relationships>
</file>

<file path=ppt/slideLayouts/_rels/slideLayout988.xml.rels><?xml version="1.0" encoding="UTF-8" standalone="yes"?>
<Relationships xmlns="http://schemas.openxmlformats.org/package/2006/relationships"><Relationship Id="rId3" Type="http://schemas.openxmlformats.org/officeDocument/2006/relationships/tags" Target="../tags/tag150.xml"/><Relationship Id="rId7" Type="http://schemas.openxmlformats.org/officeDocument/2006/relationships/image" Target="../media/image48.wmf"/><Relationship Id="rId2" Type="http://schemas.openxmlformats.org/officeDocument/2006/relationships/tags" Target="../tags/tag149.xml"/><Relationship Id="rId1" Type="http://schemas.openxmlformats.org/officeDocument/2006/relationships/vmlDrawing" Target="../drawings/vmlDrawing145.vml"/><Relationship Id="rId6" Type="http://schemas.openxmlformats.org/officeDocument/2006/relationships/image" Target="../media/image49.emf"/><Relationship Id="rId5" Type="http://schemas.openxmlformats.org/officeDocument/2006/relationships/oleObject" Target="../embeddings/oleObject145.bin"/><Relationship Id="rId4" Type="http://schemas.openxmlformats.org/officeDocument/2006/relationships/slideMaster" Target="../slideMasters/slideMaster30.xml"/></Relationships>
</file>

<file path=ppt/slideLayouts/_rels/slideLayout989.xml.rels><?xml version="1.0" encoding="UTF-8" standalone="yes"?>
<Relationships xmlns="http://schemas.openxmlformats.org/package/2006/relationships"><Relationship Id="rId3" Type="http://schemas.openxmlformats.org/officeDocument/2006/relationships/tags" Target="../tags/tag152.xml"/><Relationship Id="rId7" Type="http://schemas.openxmlformats.org/officeDocument/2006/relationships/image" Target="../media/image48.wmf"/><Relationship Id="rId2" Type="http://schemas.openxmlformats.org/officeDocument/2006/relationships/tags" Target="../tags/tag151.xml"/><Relationship Id="rId1" Type="http://schemas.openxmlformats.org/officeDocument/2006/relationships/vmlDrawing" Target="../drawings/vmlDrawing146.vml"/><Relationship Id="rId6" Type="http://schemas.openxmlformats.org/officeDocument/2006/relationships/image" Target="../media/image49.emf"/><Relationship Id="rId5" Type="http://schemas.openxmlformats.org/officeDocument/2006/relationships/oleObject" Target="../embeddings/oleObject146.bin"/><Relationship Id="rId4" Type="http://schemas.openxmlformats.org/officeDocument/2006/relationships/slideMaster" Target="../slideMasters/slideMaster3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0.xml.rels><?xml version="1.0" encoding="UTF-8" standalone="yes"?>
<Relationships xmlns="http://schemas.openxmlformats.org/package/2006/relationships"><Relationship Id="rId3" Type="http://schemas.openxmlformats.org/officeDocument/2006/relationships/tags" Target="../tags/tag154.xml"/><Relationship Id="rId7" Type="http://schemas.openxmlformats.org/officeDocument/2006/relationships/image" Target="../media/image48.wmf"/><Relationship Id="rId2" Type="http://schemas.openxmlformats.org/officeDocument/2006/relationships/tags" Target="../tags/tag153.xml"/><Relationship Id="rId1" Type="http://schemas.openxmlformats.org/officeDocument/2006/relationships/vmlDrawing" Target="../drawings/vmlDrawing147.vml"/><Relationship Id="rId6" Type="http://schemas.openxmlformats.org/officeDocument/2006/relationships/image" Target="../media/image49.emf"/><Relationship Id="rId5" Type="http://schemas.openxmlformats.org/officeDocument/2006/relationships/oleObject" Target="../embeddings/oleObject147.bin"/><Relationship Id="rId4" Type="http://schemas.openxmlformats.org/officeDocument/2006/relationships/slideMaster" Target="../slideMasters/slideMaster30.xml"/></Relationships>
</file>

<file path=ppt/slideLayouts/_rels/slideLayout991.xml.rels><?xml version="1.0" encoding="UTF-8" standalone="yes"?>
<Relationships xmlns="http://schemas.openxmlformats.org/package/2006/relationships"><Relationship Id="rId3" Type="http://schemas.openxmlformats.org/officeDocument/2006/relationships/tags" Target="../tags/tag156.xml"/><Relationship Id="rId7" Type="http://schemas.openxmlformats.org/officeDocument/2006/relationships/image" Target="../media/image48.wmf"/><Relationship Id="rId2" Type="http://schemas.openxmlformats.org/officeDocument/2006/relationships/tags" Target="../tags/tag155.xml"/><Relationship Id="rId1" Type="http://schemas.openxmlformats.org/officeDocument/2006/relationships/vmlDrawing" Target="../drawings/vmlDrawing148.vml"/><Relationship Id="rId6" Type="http://schemas.openxmlformats.org/officeDocument/2006/relationships/image" Target="../media/image49.emf"/><Relationship Id="rId5" Type="http://schemas.openxmlformats.org/officeDocument/2006/relationships/oleObject" Target="../embeddings/oleObject148.bin"/><Relationship Id="rId4" Type="http://schemas.openxmlformats.org/officeDocument/2006/relationships/slideMaster" Target="../slideMasters/slideMaster30.xml"/></Relationships>
</file>

<file path=ppt/slideLayouts/_rels/slideLayout992.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7.xml"/><Relationship Id="rId1" Type="http://schemas.openxmlformats.org/officeDocument/2006/relationships/vmlDrawing" Target="../drawings/vmlDrawing149.vml"/><Relationship Id="rId5" Type="http://schemas.openxmlformats.org/officeDocument/2006/relationships/image" Target="../media/image1.emf"/><Relationship Id="rId4" Type="http://schemas.openxmlformats.org/officeDocument/2006/relationships/oleObject" Target="../embeddings/oleObject149.bin"/></Relationships>
</file>

<file path=ppt/slideLayouts/_rels/slideLayout993.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image" Target="../media/image4.jpg"/><Relationship Id="rId1" Type="http://schemas.openxmlformats.org/officeDocument/2006/relationships/slideMaster" Target="../slideMasters/slideMaster31.xml"/><Relationship Id="rId6" Type="http://schemas.openxmlformats.org/officeDocument/2006/relationships/image" Target="../media/image14.wmf"/><Relationship Id="rId11" Type="http://schemas.openxmlformats.org/officeDocument/2006/relationships/image" Target="../media/image36.PNG"/><Relationship Id="rId5" Type="http://schemas.openxmlformats.org/officeDocument/2006/relationships/image" Target="../media/image5.png"/><Relationship Id="rId10" Type="http://schemas.openxmlformats.org/officeDocument/2006/relationships/image" Target="../media/image35.png"/><Relationship Id="rId4" Type="http://schemas.openxmlformats.org/officeDocument/2006/relationships/image" Target="../media/image3.png"/><Relationship Id="rId9" Type="http://schemas.openxmlformats.org/officeDocument/2006/relationships/image" Target="../media/image34.png"/></Relationships>
</file>

<file path=ppt/slideLayouts/_rels/slideLayout99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99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99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8.xml"/><Relationship Id="rId1" Type="http://schemas.openxmlformats.org/officeDocument/2006/relationships/vmlDrawing" Target="../drawings/vmlDrawing150.vml"/><Relationship Id="rId5" Type="http://schemas.openxmlformats.org/officeDocument/2006/relationships/image" Target="../media/image45.emf"/><Relationship Id="rId4" Type="http://schemas.openxmlformats.org/officeDocument/2006/relationships/oleObject" Target="../embeddings/oleObject150.bin"/></Relationships>
</file>

<file path=ppt/slideLayouts/_rels/slideLayout997.xml.rels><?xml version="1.0" encoding="UTF-8" standalone="yes"?>
<Relationships xmlns="http://schemas.openxmlformats.org/package/2006/relationships"><Relationship Id="rId3" Type="http://schemas.openxmlformats.org/officeDocument/2006/relationships/slideMaster" Target="../slideMasters/slideMaster32.xml"/><Relationship Id="rId7" Type="http://schemas.openxmlformats.org/officeDocument/2006/relationships/image" Target="../media/image50.png"/><Relationship Id="rId2" Type="http://schemas.openxmlformats.org/officeDocument/2006/relationships/tags" Target="../tags/tag161.xml"/><Relationship Id="rId1" Type="http://schemas.openxmlformats.org/officeDocument/2006/relationships/vmlDrawing" Target="../drawings/vmlDrawing152.vml"/><Relationship Id="rId6" Type="http://schemas.openxmlformats.org/officeDocument/2006/relationships/image" Target="../media/image1.emf"/><Relationship Id="rId5" Type="http://schemas.openxmlformats.org/officeDocument/2006/relationships/oleObject" Target="../embeddings/oleObject152.bin"/><Relationship Id="rId4" Type="http://schemas.openxmlformats.org/officeDocument/2006/relationships/image" Target="../media/image4.jpg"/></Relationships>
</file>

<file path=ppt/slideLayouts/_rels/slideLayout998.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vmlDrawing" Target="../drawings/vmlDrawing153.vml"/><Relationship Id="rId6" Type="http://schemas.openxmlformats.org/officeDocument/2006/relationships/image" Target="../media/image1.emf"/><Relationship Id="rId5" Type="http://schemas.openxmlformats.org/officeDocument/2006/relationships/oleObject" Target="../embeddings/oleObject153.bin"/><Relationship Id="rId4" Type="http://schemas.openxmlformats.org/officeDocument/2006/relationships/slideMaster" Target="../slideMasters/slideMaster32.xml"/></Relationships>
</file>

<file path=ppt/slideLayouts/_rels/slideLayout999.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vmlDrawing" Target="../drawings/vmlDrawing154.vml"/><Relationship Id="rId6" Type="http://schemas.openxmlformats.org/officeDocument/2006/relationships/image" Target="../media/image1.emf"/><Relationship Id="rId5" Type="http://schemas.openxmlformats.org/officeDocument/2006/relationships/oleObject" Target="../embeddings/oleObject154.bin"/><Relationship Id="rId4" Type="http://schemas.openxmlformats.org/officeDocument/2006/relationships/slideMaster" Target="../slideMasters/slideMaster3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3/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en-GB" dirty="0"/>
              <a:t>Referent’s name: </a:t>
            </a:r>
            <a:r>
              <a:rPr lang="en-GB" noProof="0" dirty="0" err="1"/>
              <a:t>CorpoS</a:t>
            </a:r>
            <a:r>
              <a:rPr lang="en-GB" noProof="0" dirty="0"/>
              <a:t> </a:t>
            </a:r>
            <a:r>
              <a:rPr lang="en-GB" dirty="0"/>
              <a:t>(Body) 35 pt. Presentation title</a:t>
            </a:r>
            <a:br>
              <a:rPr lang="en-GB" dirty="0"/>
            </a:br>
            <a:r>
              <a:rPr lang="en-GB" dirty="0"/>
              <a:t>in two lines of text, dd. </a:t>
            </a:r>
            <a:r>
              <a:rPr lang="en-GB" dirty="0" err="1"/>
              <a:t>mmmm</a:t>
            </a:r>
            <a:r>
              <a:rPr lang="en-GB" dirty="0"/>
              <a:t> </a:t>
            </a:r>
            <a:r>
              <a:rPr lang="en-GB" dirty="0" err="1"/>
              <a:t>yyyy</a:t>
            </a:r>
            <a:endParaRPr lang="en-GB"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501475556"/>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line two line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60622016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109444292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100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7" y="1587"/>
          <a:ext cx="1587" cy="1588"/>
        </p:xfrm>
        <a:graphic>
          <a:graphicData uri="http://schemas.openxmlformats.org/presentationml/2006/ole">
            <mc:AlternateContent xmlns:mc="http://schemas.openxmlformats.org/markup-compatibility/2006">
              <mc:Choice xmlns:v="urn:schemas-microsoft-com:vml" Requires="v">
                <p:oleObj spid="_x0000_s216163" name="think-cell Folie" r:id="rId5" imgW="425" imgH="426" progId="TCLayout.ActiveDocument.1">
                  <p:embed/>
                </p:oleObj>
              </mc:Choice>
              <mc:Fallback>
                <p:oleObj name="think-cell Folie" r:id="rId5" imgW="425" imgH="426" progId="TCLayout.ActiveDocument.1">
                  <p:embed/>
                  <p:pic>
                    <p:nvPicPr>
                      <p:cNvPr id="0" name=""/>
                      <p:cNvPicPr/>
                      <p:nvPr/>
                    </p:nvPicPr>
                    <p:blipFill>
                      <a:blip r:embed="rId6"/>
                      <a:stretch>
                        <a:fillRect/>
                      </a:stretch>
                    </p:blipFill>
                    <p:spPr>
                      <a:xfrm>
                        <a:off x="1587" y="1587"/>
                        <a:ext cx="1587"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8415">
              <a:lnSpc>
                <a:spcPts val="3998"/>
              </a:lnSpc>
              <a:spcBef>
                <a:spcPct val="0"/>
              </a:spcBef>
              <a:spcAft>
                <a:spcPct val="0"/>
              </a:spcAft>
            </a:pPr>
            <a:endParaRPr lang="en-GB" sz="3498" dirty="0">
              <a:solidFill>
                <a:prstClr val="white"/>
              </a:solidFill>
              <a:sym typeface="CorpoS" pitchFamily="2" charset="0"/>
            </a:endParaRPr>
          </a:p>
        </p:txBody>
      </p:sp>
      <p:sp>
        <p:nvSpPr>
          <p:cNvPr id="2" name="Titel 1"/>
          <p:cNvSpPr>
            <a:spLocks noGrp="1"/>
          </p:cNvSpPr>
          <p:nvPr>
            <p:ph type="title"/>
          </p:nvPr>
        </p:nvSpPr>
        <p:spPr/>
        <p:txBody>
          <a:body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Inhaltsplatzhalter 2"/>
          <p:cNvSpPr>
            <a:spLocks noGrp="1"/>
          </p:cNvSpPr>
          <p:nvPr>
            <p:ph idx="1"/>
          </p:nvPr>
        </p:nvSpPr>
        <p:spPr/>
        <p:txBody>
          <a:body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4" name="Fußzeilenplatzhalter 3"/>
          <p:cNvSpPr>
            <a:spLocks noGrp="1"/>
          </p:cNvSpPr>
          <p:nvPr>
            <p:ph type="ftr" sz="quarter" idx="10"/>
          </p:nvPr>
        </p:nvSpPr>
        <p:spPr/>
        <p:txBody>
          <a:bodyPr/>
          <a:lstStyle/>
          <a:p>
            <a:r>
              <a:rPr lang="en-US" smtClean="0">
                <a:solidFill>
                  <a:prstClr val="black"/>
                </a:solidFill>
              </a:rPr>
              <a:t>Sustainability | Theme status report - Milestone 2 | 08.02.2019 | </a:t>
            </a:r>
            <a:endParaRPr lang="en-GB" dirty="0">
              <a:solidFill>
                <a:prstClr val="black"/>
              </a:solidFill>
            </a:endParaRPr>
          </a:p>
        </p:txBody>
      </p:sp>
      <p:sp>
        <p:nvSpPr>
          <p:cNvPr id="5" name="Foliennummernplatzhalter 4"/>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2753897529"/>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7" y="1587"/>
          <a:ext cx="1587" cy="1588"/>
        </p:xfrm>
        <a:graphic>
          <a:graphicData uri="http://schemas.openxmlformats.org/presentationml/2006/ole">
            <mc:AlternateContent xmlns:mc="http://schemas.openxmlformats.org/markup-compatibility/2006">
              <mc:Choice xmlns:v="urn:schemas-microsoft-com:vml" Requires="v">
                <p:oleObj spid="_x0000_s218211"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7" y="1587"/>
                        <a:ext cx="1587" cy="1588"/>
                      </a:xfrm>
                      <a:prstGeom prst="rect">
                        <a:avLst/>
                      </a:prstGeom>
                    </p:spPr>
                  </p:pic>
                </p:oleObj>
              </mc:Fallback>
            </mc:AlternateContent>
          </a:graphicData>
        </a:graphic>
      </p:graphicFrame>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err="1"/>
              <a:t>CorpoS</a:t>
            </a:r>
            <a:r>
              <a:rPr lang="en-GB" noProof="0" dirty="0"/>
              <a:t>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92469119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1002.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7" y="1587"/>
          <a:ext cx="1587" cy="1588"/>
        </p:xfrm>
        <a:graphic>
          <a:graphicData uri="http://schemas.openxmlformats.org/presentationml/2006/ole">
            <mc:AlternateContent xmlns:mc="http://schemas.openxmlformats.org/markup-compatibility/2006">
              <mc:Choice xmlns:v="urn:schemas-microsoft-com:vml" Requires="v">
                <p:oleObj spid="_x0000_s219235"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7" y="1587"/>
                        <a:ext cx="1587" cy="1588"/>
                      </a:xfrm>
                      <a:prstGeom prst="rect">
                        <a:avLst/>
                      </a:prstGeom>
                    </p:spPr>
                  </p:pic>
                </p:oleObj>
              </mc:Fallback>
            </mc:AlternateContent>
          </a:graphicData>
        </a:graphic>
      </p:graphicFrame>
      <p:sp>
        <p:nvSpPr>
          <p:cNvPr id="5" name="Rechteck 4"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088415">
              <a:lnSpc>
                <a:spcPts val="3998"/>
              </a:lnSpc>
              <a:spcBef>
                <a:spcPct val="0"/>
              </a:spcBef>
              <a:spcAft>
                <a:spcPct val="0"/>
              </a:spcAft>
            </a:pPr>
            <a:endParaRPr lang="en-GB" sz="3498" dirty="0">
              <a:solidFill>
                <a:prstClr val="white"/>
              </a:solidFill>
              <a:sym typeface="CorpoS" pitchFamily="2" charset="0"/>
            </a:endParaRPr>
          </a:p>
        </p:txBody>
      </p:sp>
      <p:sp>
        <p:nvSpPr>
          <p:cNvPr id="2" name="Title 1"/>
          <p:cNvSpPr>
            <a:spLocks noGrp="1"/>
          </p:cNvSpPr>
          <p:nvPr>
            <p:ph type="title" hasCustomPrompt="1"/>
          </p:nvPr>
        </p:nvSpPr>
        <p:spPr/>
        <p:txBody>
          <a:bodyPr/>
          <a:lstStyle>
            <a:lvl1pPr>
              <a:defRPr/>
            </a:lvl1pPr>
          </a:lstStyle>
          <a:p>
            <a:r>
              <a:rPr lang="en-GB" noProof="0" dirty="0"/>
              <a:t>Headline for Agenda in </a:t>
            </a:r>
            <a:r>
              <a:rPr lang="en-GB" noProof="0" dirty="0" err="1"/>
              <a:t>CorpoS</a:t>
            </a:r>
            <a:r>
              <a:rPr lang="en-GB" noProof="0" dirty="0"/>
              <a:t> (Body) 35 pt. </a:t>
            </a:r>
            <a:br>
              <a:rPr lang="en-GB" noProof="0" dirty="0"/>
            </a:br>
            <a:r>
              <a:rPr lang="en-GB" noProof="0" dirty="0"/>
              <a:t>one or two lines</a:t>
            </a:r>
          </a:p>
        </p:txBody>
      </p:sp>
      <p:sp>
        <p:nvSpPr>
          <p:cNvPr id="3" name="Footer Placeholder 2"/>
          <p:cNvSpPr>
            <a:spLocks noGrp="1"/>
          </p:cNvSpPr>
          <p:nvPr>
            <p:ph type="ftr" sz="quarter" idx="10"/>
          </p:nvPr>
        </p:nvSpPr>
        <p:spPr/>
        <p:txBody>
          <a:bodyPr/>
          <a:lstStyle/>
          <a:p>
            <a:r>
              <a:rPr lang="en-US" smtClean="0">
                <a:solidFill>
                  <a:prstClr val="black"/>
                </a:solidFill>
              </a:rPr>
              <a:t>Sustainability | Theme status report - Milestone 2 | 08.02.2019 | </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noProof="0" dirty="0"/>
              <a:t>Insert Agenda point</a:t>
            </a:r>
          </a:p>
          <a:p>
            <a:pPr lvl="1"/>
            <a:r>
              <a:rPr lang="en-GB" noProof="0" dirty="0"/>
              <a:t>Second level </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70610984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1003.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22025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6" cy="1587"/>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088415">
              <a:lnSpc>
                <a:spcPts val="3998"/>
              </a:lnSpc>
              <a:spcBef>
                <a:spcPct val="0"/>
              </a:spcBef>
              <a:spcAft>
                <a:spcPct val="0"/>
              </a:spcAft>
            </a:pPr>
            <a:endParaRPr lang="en-GB" sz="3498" dirty="0">
              <a:solidFill>
                <a:prstClr val="white"/>
              </a:solidFill>
              <a:sym typeface="CorpoS" pitchFamily="2" charset="0"/>
            </a:endParaRPr>
          </a:p>
        </p:txBody>
      </p:sp>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p>
        </p:txBody>
      </p:sp>
      <p:sp>
        <p:nvSpPr>
          <p:cNvPr id="3" name="Footer Placeholder 2"/>
          <p:cNvSpPr>
            <a:spLocks noGrp="1"/>
          </p:cNvSpPr>
          <p:nvPr>
            <p:ph type="ftr" sz="quarter" idx="10"/>
          </p:nvPr>
        </p:nvSpPr>
        <p:spPr/>
        <p:txBody>
          <a:bodyPr/>
          <a:lstStyle/>
          <a:p>
            <a:r>
              <a:rPr lang="en-US" smtClean="0">
                <a:solidFill>
                  <a:prstClr val="black"/>
                </a:solidFill>
              </a:rPr>
              <a:t>Sustainability | Theme status report - Milestone 2 | 08.02.2019 | </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208676529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100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7" y="1587"/>
          <a:ext cx="1587" cy="1588"/>
        </p:xfrm>
        <a:graphic>
          <a:graphicData uri="http://schemas.openxmlformats.org/presentationml/2006/ole">
            <mc:AlternateContent xmlns:mc="http://schemas.openxmlformats.org/markup-compatibility/2006">
              <mc:Choice xmlns:v="urn:schemas-microsoft-com:vml" Requires="v">
                <p:oleObj spid="_x0000_s221283" name="think-cell Folie" r:id="rId5" imgW="425" imgH="426" progId="TCLayout.ActiveDocument.1">
                  <p:embed/>
                </p:oleObj>
              </mc:Choice>
              <mc:Fallback>
                <p:oleObj name="think-cell Folie" r:id="rId5" imgW="425" imgH="426" progId="TCLayout.ActiveDocument.1">
                  <p:embed/>
                  <p:pic>
                    <p:nvPicPr>
                      <p:cNvPr id="0" name=""/>
                      <p:cNvPicPr/>
                      <p:nvPr/>
                    </p:nvPicPr>
                    <p:blipFill>
                      <a:blip r:embed="rId6"/>
                      <a:stretch>
                        <a:fillRect/>
                      </a:stretch>
                    </p:blipFill>
                    <p:spPr>
                      <a:xfrm>
                        <a:off x="1587" y="1587"/>
                        <a:ext cx="1587"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8415">
              <a:lnSpc>
                <a:spcPts val="3998"/>
              </a:lnSpc>
              <a:spcBef>
                <a:spcPct val="0"/>
              </a:spcBef>
              <a:spcAft>
                <a:spcPct val="0"/>
              </a:spcAft>
            </a:pPr>
            <a:endParaRPr lang="en-GB" sz="3498" dirty="0">
              <a:solidFill>
                <a:prstClr val="white"/>
              </a:solidFill>
              <a:sym typeface="CorpoS" pitchFamily="2" charset="0"/>
            </a:endParaRPr>
          </a:p>
        </p:txBody>
      </p:sp>
      <p:sp>
        <p:nvSpPr>
          <p:cNvPr id="2" name="Titel 1"/>
          <p:cNvSpPr>
            <a:spLocks noGrp="1"/>
          </p:cNvSpPr>
          <p:nvPr>
            <p:ph type="title"/>
          </p:nvPr>
        </p:nvSpPr>
        <p:spPr/>
        <p:txBody>
          <a:body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Inhaltsplatzhalter 2"/>
          <p:cNvSpPr>
            <a:spLocks noGrp="1"/>
          </p:cNvSpPr>
          <p:nvPr>
            <p:ph idx="1"/>
          </p:nvPr>
        </p:nvSpPr>
        <p:spPr/>
        <p:txBody>
          <a:body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4" name="Fußzeilenplatzhalter 3"/>
          <p:cNvSpPr>
            <a:spLocks noGrp="1"/>
          </p:cNvSpPr>
          <p:nvPr>
            <p:ph type="ftr" sz="quarter" idx="10"/>
          </p:nvPr>
        </p:nvSpPr>
        <p:spPr/>
        <p:txBody>
          <a:bodyPr/>
          <a:lstStyle/>
          <a:p>
            <a:r>
              <a:rPr lang="en-US" smtClean="0">
                <a:solidFill>
                  <a:prstClr val="black"/>
                </a:solidFill>
              </a:rPr>
              <a:t>Sustainability | Theme status report - Milestone 2 | 08.02.2019 | </a:t>
            </a:r>
            <a:endParaRPr lang="en-GB" dirty="0">
              <a:solidFill>
                <a:prstClr val="black"/>
              </a:solidFill>
            </a:endParaRPr>
          </a:p>
        </p:txBody>
      </p:sp>
      <p:sp>
        <p:nvSpPr>
          <p:cNvPr id="5" name="Foliennummernplatzhalter 4"/>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764648672"/>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Sustainability | Theme status report - Milestone 2 | 08.02.2019 | </a:t>
            </a:r>
            <a:endParaRPr lang="en-GB" dirty="0" smtClean="0">
              <a:solidFill>
                <a:prstClr val="black"/>
              </a:solidFill>
            </a:endParaRPr>
          </a:p>
        </p:txBody>
      </p:sp>
      <p:sp>
        <p:nvSpPr>
          <p:cNvPr id="5" name="Foliennummernplatzhalter 5"/>
          <p:cNvSpPr>
            <a:spLocks noGrp="1"/>
          </p:cNvSpPr>
          <p:nvPr>
            <p:ph type="sldNum" sz="quarter" idx="4"/>
          </p:nvPr>
        </p:nvSpPr>
        <p:spPr>
          <a:xfrm>
            <a:off x="11036804" y="6564880"/>
            <a:ext cx="523974"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algn="r"/>
            <a:r>
              <a:rPr lang="en-GB" dirty="0" smtClean="0">
                <a:solidFill>
                  <a:prstClr val="black"/>
                </a:solidFill>
              </a:rPr>
              <a:t> </a:t>
            </a:r>
            <a:fld id="{52531704-8F80-415D-BD2B-6B9991AE822F}" type="slidenum">
              <a:rPr lang="en-GB" smtClean="0">
                <a:solidFill>
                  <a:prstClr val="black"/>
                </a:solidFill>
              </a:rPr>
              <a:pPr algn="r"/>
              <a:t>‹#›</a:t>
            </a:fld>
            <a:endParaRPr lang="en-GB" dirty="0">
              <a:solidFill>
                <a:prstClr val="black"/>
              </a:solidFill>
            </a:endParaRPr>
          </a:p>
        </p:txBody>
      </p:sp>
    </p:spTree>
    <p:extLst>
      <p:ext uri="{BB962C8B-B14F-4D97-AF65-F5344CB8AC3E}">
        <p14:creationId xmlns:p14="http://schemas.microsoft.com/office/powerpoint/2010/main" val="10611895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006.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7" y="1587"/>
          <a:ext cx="1587" cy="1588"/>
        </p:xfrm>
        <a:graphic>
          <a:graphicData uri="http://schemas.openxmlformats.org/presentationml/2006/ole">
            <mc:AlternateContent xmlns:mc="http://schemas.openxmlformats.org/markup-compatibility/2006">
              <mc:Choice xmlns:v="urn:schemas-microsoft-com:vml" Requires="v">
                <p:oleObj spid="_x0000_s223331"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7" y="1587"/>
                        <a:ext cx="1587" cy="1588"/>
                      </a:xfrm>
                      <a:prstGeom prst="rect">
                        <a:avLst/>
                      </a:prstGeom>
                    </p:spPr>
                  </p:pic>
                </p:oleObj>
              </mc:Fallback>
            </mc:AlternateContent>
          </a:graphicData>
        </a:graphic>
      </p:graphicFrame>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err="1"/>
              <a:t>CorpoS</a:t>
            </a:r>
            <a:r>
              <a:rPr lang="en-GB" noProof="0" dirty="0"/>
              <a:t>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423088859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1007.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7" y="1587"/>
          <a:ext cx="1587" cy="1588"/>
        </p:xfrm>
        <a:graphic>
          <a:graphicData uri="http://schemas.openxmlformats.org/presentationml/2006/ole">
            <mc:AlternateContent xmlns:mc="http://schemas.openxmlformats.org/markup-compatibility/2006">
              <mc:Choice xmlns:v="urn:schemas-microsoft-com:vml" Requires="v">
                <p:oleObj spid="_x0000_s224355"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7" y="1587"/>
                        <a:ext cx="1587" cy="1588"/>
                      </a:xfrm>
                      <a:prstGeom prst="rect">
                        <a:avLst/>
                      </a:prstGeom>
                    </p:spPr>
                  </p:pic>
                </p:oleObj>
              </mc:Fallback>
            </mc:AlternateContent>
          </a:graphicData>
        </a:graphic>
      </p:graphicFrame>
      <p:sp>
        <p:nvSpPr>
          <p:cNvPr id="5" name="Rechteck 4"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088415">
              <a:lnSpc>
                <a:spcPts val="3998"/>
              </a:lnSpc>
              <a:spcBef>
                <a:spcPct val="0"/>
              </a:spcBef>
              <a:spcAft>
                <a:spcPct val="0"/>
              </a:spcAft>
            </a:pPr>
            <a:endParaRPr lang="en-GB" sz="3498" dirty="0">
              <a:solidFill>
                <a:prstClr val="white"/>
              </a:solidFill>
              <a:sym typeface="CorpoS" pitchFamily="2" charset="0"/>
            </a:endParaRPr>
          </a:p>
        </p:txBody>
      </p:sp>
      <p:sp>
        <p:nvSpPr>
          <p:cNvPr id="2" name="Title 1"/>
          <p:cNvSpPr>
            <a:spLocks noGrp="1"/>
          </p:cNvSpPr>
          <p:nvPr>
            <p:ph type="title" hasCustomPrompt="1"/>
          </p:nvPr>
        </p:nvSpPr>
        <p:spPr/>
        <p:txBody>
          <a:bodyPr/>
          <a:lstStyle>
            <a:lvl1pPr>
              <a:defRPr/>
            </a:lvl1pPr>
          </a:lstStyle>
          <a:p>
            <a:r>
              <a:rPr lang="en-GB" noProof="0" dirty="0"/>
              <a:t>Headline for Agenda in </a:t>
            </a:r>
            <a:r>
              <a:rPr lang="en-GB" noProof="0" dirty="0" err="1"/>
              <a:t>CorpoS</a:t>
            </a:r>
            <a:r>
              <a:rPr lang="en-GB" noProof="0" dirty="0"/>
              <a:t> (Body) 35 pt. </a:t>
            </a:r>
            <a:br>
              <a:rPr lang="en-GB" noProof="0" dirty="0"/>
            </a:br>
            <a:r>
              <a:rPr lang="en-GB" noProof="0" dirty="0"/>
              <a:t>one or two lines</a:t>
            </a:r>
          </a:p>
        </p:txBody>
      </p:sp>
      <p:sp>
        <p:nvSpPr>
          <p:cNvPr id="3" name="Footer Placeholder 2"/>
          <p:cNvSpPr>
            <a:spLocks noGrp="1"/>
          </p:cNvSpPr>
          <p:nvPr>
            <p:ph type="ftr" sz="quarter" idx="10"/>
          </p:nvPr>
        </p:nvSpPr>
        <p:spPr/>
        <p:txBody>
          <a:bodyPr/>
          <a:lstStyle/>
          <a:p>
            <a:r>
              <a:rPr lang="en-US" smtClean="0">
                <a:solidFill>
                  <a:prstClr val="black"/>
                </a:solidFill>
              </a:rPr>
              <a:t>Sustainability | Theme status report - Milestone 2 | 08.02.2019 | </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noProof="0" dirty="0"/>
              <a:t>Insert Agenda point</a:t>
            </a:r>
          </a:p>
          <a:p>
            <a:pPr lvl="1"/>
            <a:r>
              <a:rPr lang="en-GB" noProof="0" dirty="0"/>
              <a:t>Second level </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203985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1008.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2253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6" cy="1587"/>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088415">
              <a:lnSpc>
                <a:spcPts val="3998"/>
              </a:lnSpc>
              <a:spcBef>
                <a:spcPct val="0"/>
              </a:spcBef>
              <a:spcAft>
                <a:spcPct val="0"/>
              </a:spcAft>
            </a:pPr>
            <a:endParaRPr lang="en-GB" sz="3498" dirty="0">
              <a:solidFill>
                <a:prstClr val="white"/>
              </a:solidFill>
              <a:sym typeface="CorpoS" pitchFamily="2" charset="0"/>
            </a:endParaRPr>
          </a:p>
        </p:txBody>
      </p:sp>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p>
        </p:txBody>
      </p:sp>
      <p:sp>
        <p:nvSpPr>
          <p:cNvPr id="3" name="Footer Placeholder 2"/>
          <p:cNvSpPr>
            <a:spLocks noGrp="1"/>
          </p:cNvSpPr>
          <p:nvPr>
            <p:ph type="ftr" sz="quarter" idx="10"/>
          </p:nvPr>
        </p:nvSpPr>
        <p:spPr/>
        <p:txBody>
          <a:bodyPr/>
          <a:lstStyle/>
          <a:p>
            <a:r>
              <a:rPr lang="en-US" smtClean="0">
                <a:solidFill>
                  <a:prstClr val="black"/>
                </a:solidFill>
              </a:rPr>
              <a:t>Sustainability | Theme status report - Milestone 2 | 08.02.2019 | </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270772221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100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7" y="1587"/>
          <a:ext cx="1587" cy="1588"/>
        </p:xfrm>
        <a:graphic>
          <a:graphicData uri="http://schemas.openxmlformats.org/presentationml/2006/ole">
            <mc:AlternateContent xmlns:mc="http://schemas.openxmlformats.org/markup-compatibility/2006">
              <mc:Choice xmlns:v="urn:schemas-microsoft-com:vml" Requires="v">
                <p:oleObj spid="_x0000_s226403" name="think-cell Folie" r:id="rId5" imgW="425" imgH="426" progId="TCLayout.ActiveDocument.1">
                  <p:embed/>
                </p:oleObj>
              </mc:Choice>
              <mc:Fallback>
                <p:oleObj name="think-cell Folie" r:id="rId5" imgW="425" imgH="426" progId="TCLayout.ActiveDocument.1">
                  <p:embed/>
                  <p:pic>
                    <p:nvPicPr>
                      <p:cNvPr id="0" name=""/>
                      <p:cNvPicPr/>
                      <p:nvPr/>
                    </p:nvPicPr>
                    <p:blipFill>
                      <a:blip r:embed="rId6"/>
                      <a:stretch>
                        <a:fillRect/>
                      </a:stretch>
                    </p:blipFill>
                    <p:spPr>
                      <a:xfrm>
                        <a:off x="1587" y="1587"/>
                        <a:ext cx="1587"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8415">
              <a:lnSpc>
                <a:spcPts val="3998"/>
              </a:lnSpc>
              <a:spcBef>
                <a:spcPct val="0"/>
              </a:spcBef>
              <a:spcAft>
                <a:spcPct val="0"/>
              </a:spcAft>
            </a:pPr>
            <a:endParaRPr lang="en-GB" sz="3498" dirty="0">
              <a:solidFill>
                <a:prstClr val="white"/>
              </a:solidFill>
              <a:sym typeface="CorpoS" pitchFamily="2" charset="0"/>
            </a:endParaRPr>
          </a:p>
        </p:txBody>
      </p:sp>
      <p:sp>
        <p:nvSpPr>
          <p:cNvPr id="2" name="Titel 1"/>
          <p:cNvSpPr>
            <a:spLocks noGrp="1"/>
          </p:cNvSpPr>
          <p:nvPr>
            <p:ph type="title"/>
          </p:nvPr>
        </p:nvSpPr>
        <p:spPr/>
        <p:txBody>
          <a:body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Inhaltsplatzhalter 2"/>
          <p:cNvSpPr>
            <a:spLocks noGrp="1"/>
          </p:cNvSpPr>
          <p:nvPr>
            <p:ph idx="1"/>
          </p:nvPr>
        </p:nvSpPr>
        <p:spPr/>
        <p:txBody>
          <a:body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4" name="Fußzeilenplatzhalter 3"/>
          <p:cNvSpPr>
            <a:spLocks noGrp="1"/>
          </p:cNvSpPr>
          <p:nvPr>
            <p:ph type="ftr" sz="quarter" idx="10"/>
          </p:nvPr>
        </p:nvSpPr>
        <p:spPr/>
        <p:txBody>
          <a:bodyPr/>
          <a:lstStyle/>
          <a:p>
            <a:r>
              <a:rPr lang="en-US" smtClean="0">
                <a:solidFill>
                  <a:prstClr val="black"/>
                </a:solidFill>
              </a:rPr>
              <a:t>Sustainability | Theme status report - Milestone 2 | 08.02.2019 | </a:t>
            </a:r>
            <a:endParaRPr lang="en-GB" dirty="0">
              <a:solidFill>
                <a:prstClr val="black"/>
              </a:solidFill>
            </a:endParaRPr>
          </a:p>
        </p:txBody>
      </p:sp>
      <p:sp>
        <p:nvSpPr>
          <p:cNvPr id="5" name="Foliennummernplatzhalter 4"/>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411245483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Agenda with brushin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 name="Title 1"/>
          <p:cNvSpPr>
            <a:spLocks noGrp="1"/>
          </p:cNvSpPr>
          <p:nvPr>
            <p:ph type="title" hasCustomPrompt="1"/>
          </p:nvPr>
        </p:nvSpPr>
        <p:spPr>
          <a:xfrm>
            <a:off x="628323" y="288859"/>
            <a:ext cx="10932455" cy="1148857"/>
          </a:xfrm>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7" y="1504603"/>
            <a:ext cx="10931023" cy="3386305"/>
          </a:xfrm>
          <a:custGeom>
            <a:avLst/>
            <a:gdLst>
              <a:gd name="connsiteX0" fmla="*/ 0 w 10936081"/>
              <a:gd name="connsiteY0" fmla="*/ 0 h 3384000"/>
              <a:gd name="connsiteX1" fmla="*/ 10936081 w 10936081"/>
              <a:gd name="connsiteY1" fmla="*/ 0 h 3384000"/>
              <a:gd name="connsiteX2" fmla="*/ 10936081 w 10936081"/>
              <a:gd name="connsiteY2" fmla="*/ 3384000 h 3384000"/>
              <a:gd name="connsiteX3" fmla="*/ 0 w 10936081"/>
              <a:gd name="connsiteY3" fmla="*/ 3384000 h 3384000"/>
              <a:gd name="connsiteX4" fmla="*/ 0 w 10936081"/>
              <a:gd name="connsiteY4" fmla="*/ 0 h 3384000"/>
              <a:gd name="connsiteX0" fmla="*/ 0 w 10936081"/>
              <a:gd name="connsiteY0" fmla="*/ 0 h 3387089"/>
              <a:gd name="connsiteX1" fmla="*/ 10936081 w 10936081"/>
              <a:gd name="connsiteY1" fmla="*/ 0 h 3387089"/>
              <a:gd name="connsiteX2" fmla="*/ 10936081 w 10936081"/>
              <a:gd name="connsiteY2" fmla="*/ 3384000 h 3387089"/>
              <a:gd name="connsiteX3" fmla="*/ 2006076 w 10936081"/>
              <a:gd name="connsiteY3" fmla="*/ 3387089 h 3387089"/>
              <a:gd name="connsiteX4" fmla="*/ 0 w 10936081"/>
              <a:gd name="connsiteY4" fmla="*/ 3384000 h 3387089"/>
              <a:gd name="connsiteX5" fmla="*/ 0 w 10936081"/>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10936081 w 10936716"/>
              <a:gd name="connsiteY3" fmla="*/ 3384000 h 3387089"/>
              <a:gd name="connsiteX4" fmla="*/ 2006076 w 10936716"/>
              <a:gd name="connsiteY4" fmla="*/ 3387089 h 3387089"/>
              <a:gd name="connsiteX5" fmla="*/ 0 w 10936716"/>
              <a:gd name="connsiteY5" fmla="*/ 3384000 h 3387089"/>
              <a:gd name="connsiteX6" fmla="*/ 0 w 10936716"/>
              <a:gd name="connsiteY6"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3387089">
                <a:moveTo>
                  <a:pt x="0" y="0"/>
                </a:moveTo>
                <a:lnTo>
                  <a:pt x="10936081" y="0"/>
                </a:lnTo>
                <a:cubicBezTo>
                  <a:pt x="10936293" y="852170"/>
                  <a:pt x="10936504" y="1704339"/>
                  <a:pt x="10936716" y="2556509"/>
                </a:cubicBezTo>
                <a:lnTo>
                  <a:pt x="2006076" y="3387089"/>
                </a:lnTo>
                <a:lnTo>
                  <a:pt x="0" y="3384000"/>
                </a:lnTo>
                <a:lnTo>
                  <a:pt x="0" y="0"/>
                </a:lnTo>
                <a:close/>
              </a:path>
            </a:pathLst>
          </a:custGeo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21692008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1010.xml><?xml version="1.0" encoding="utf-8"?>
<p:sldLayout xmlns:a="http://schemas.openxmlformats.org/drawingml/2006/main" xmlns:r="http://schemas.openxmlformats.org/officeDocument/2006/relationships" xmlns:p="http://schemas.openxmlformats.org/presentationml/2006/main" showMasterSp="0" preserve="1" userDrawn="1">
  <p:cSld name="1. Titel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1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1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20" name="Hinweise links"/>
            <p:cNvGrpSpPr/>
            <p:nvPr userDrawn="1"/>
          </p:nvGrpSpPr>
          <p:grpSpPr>
            <a:xfrm>
              <a:off x="-2088000" y="0"/>
              <a:ext cx="1980000" cy="3528000"/>
              <a:chOff x="-2088000" y="0"/>
              <a:chExt cx="1980000" cy="3528000"/>
            </a:xfrm>
          </p:grpSpPr>
          <p:sp>
            <p:nvSpPr>
              <p:cNvPr id="2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22" name="Listenebenen"/>
              <p:cNvGrpSpPr/>
              <p:nvPr userDrawn="1"/>
            </p:nvGrpSpPr>
            <p:grpSpPr>
              <a:xfrm>
                <a:off x="-1692000" y="2232000"/>
                <a:ext cx="1548000" cy="792000"/>
                <a:chOff x="-1692000" y="2160000"/>
                <a:chExt cx="1548000" cy="792000"/>
              </a:xfrm>
            </p:grpSpPr>
            <p:sp>
              <p:nvSpPr>
                <p:cNvPr id="2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2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25"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26"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de-DE" dirty="0" smtClean="0"/>
              <a:t>Name des Vortragenden: </a:t>
            </a:r>
            <a:r>
              <a:rPr lang="de-DE" noProof="0" dirty="0" smtClean="0"/>
              <a:t>CorpoS </a:t>
            </a:r>
            <a:r>
              <a:rPr lang="de-DE" dirty="0" smtClean="0"/>
              <a:t>(Textkörper) 35 pt.</a:t>
            </a:r>
            <a:br>
              <a:rPr lang="de-DE" dirty="0" smtClean="0"/>
            </a:br>
            <a:r>
              <a:rPr lang="de-DE" dirty="0" smtClean="0"/>
              <a:t>Präsentationstitel in zwei Zeilen Text, </a:t>
            </a:r>
            <a:r>
              <a:rPr lang="de-DE" dirty="0" err="1" smtClean="0"/>
              <a:t>dd</a:t>
            </a:r>
            <a:r>
              <a:rPr lang="de-DE" dirty="0" smtClean="0"/>
              <a:t>. </a:t>
            </a:r>
            <a:r>
              <a:rPr lang="de-DE" dirty="0" err="1" smtClean="0"/>
              <a:t>mmmm</a:t>
            </a:r>
            <a:r>
              <a:rPr lang="de-DE" dirty="0" smtClean="0"/>
              <a:t> </a:t>
            </a:r>
            <a:r>
              <a:rPr lang="de-DE" dirty="0" err="1" smtClean="0"/>
              <a:t>yyyy</a:t>
            </a:r>
            <a:endParaRPr lang="de-DE"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4"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312758184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873">
          <p15:clr>
            <a:srgbClr val="FBAE40"/>
          </p15:clr>
        </p15:guide>
      </p15:sldGuideLst>
    </p:ext>
  </p:extLst>
</p:sldLayout>
</file>

<file path=ppt/slideLayouts/slideLayout1011.xml><?xml version="1.0" encoding="utf-8"?>
<p:sldLayout xmlns:a="http://schemas.openxmlformats.org/drawingml/2006/main" xmlns:r="http://schemas.openxmlformats.org/officeDocument/2006/relationships" xmlns:p="http://schemas.openxmlformats.org/presentationml/2006/main" showMasterSp="0" preserve="1" userDrawn="1">
  <p:cSld name="2. Titel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1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1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20" name="Hinweise links"/>
            <p:cNvGrpSpPr/>
            <p:nvPr userDrawn="1"/>
          </p:nvGrpSpPr>
          <p:grpSpPr>
            <a:xfrm>
              <a:off x="-2088000" y="0"/>
              <a:ext cx="1980000" cy="3528000"/>
              <a:chOff x="-2088000" y="0"/>
              <a:chExt cx="1980000" cy="3528000"/>
            </a:xfrm>
          </p:grpSpPr>
          <p:sp>
            <p:nvSpPr>
              <p:cNvPr id="2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22" name="Listenebenen"/>
              <p:cNvGrpSpPr/>
              <p:nvPr userDrawn="1"/>
            </p:nvGrpSpPr>
            <p:grpSpPr>
              <a:xfrm>
                <a:off x="-1692000" y="2232000"/>
                <a:ext cx="1548000" cy="792000"/>
                <a:chOff x="-1692000" y="2160000"/>
                <a:chExt cx="1548000" cy="792000"/>
              </a:xfrm>
            </p:grpSpPr>
            <p:sp>
              <p:nvSpPr>
                <p:cNvPr id="2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2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25"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26"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4608438"/>
            <a:ext cx="10932181" cy="1538527"/>
          </a:xfrm>
        </p:spPr>
        <p:txBody>
          <a:bodyPr wrap="square" anchor="b" anchorCtr="0">
            <a:spAutoFit/>
          </a:bodyPr>
          <a:lstStyle>
            <a:lvl1pPr>
              <a:defRPr/>
            </a:lvl1pPr>
          </a:lstStyle>
          <a:p>
            <a:r>
              <a:rPr lang="de-DE" dirty="0" smtClean="0"/>
              <a:t>Name des Vortragenden: </a:t>
            </a:r>
            <a:r>
              <a:rPr lang="de-DE" noProof="0" dirty="0" smtClean="0"/>
              <a:t>CorpoS </a:t>
            </a:r>
            <a:r>
              <a:rPr lang="de-DE" dirty="0" smtClean="0"/>
              <a:t>(Textkörper) 35 pt.</a:t>
            </a:r>
            <a:br>
              <a:rPr lang="de-DE" dirty="0" smtClean="0"/>
            </a:br>
            <a:r>
              <a:rPr lang="de-DE" dirty="0" smtClean="0"/>
              <a:t>Präsentationstitel in zwei oder mehreren </a:t>
            </a:r>
            <a:br>
              <a:rPr lang="de-DE" dirty="0" smtClean="0"/>
            </a:br>
            <a:r>
              <a:rPr lang="de-DE" dirty="0" smtClean="0"/>
              <a:t>Zeilen Text, </a:t>
            </a:r>
            <a:r>
              <a:rPr lang="de-DE" dirty="0" err="1" smtClean="0"/>
              <a:t>dd</a:t>
            </a:r>
            <a:r>
              <a:rPr lang="de-DE" dirty="0" smtClean="0"/>
              <a:t>. </a:t>
            </a:r>
            <a:r>
              <a:rPr lang="de-DE" dirty="0" err="1" smtClean="0"/>
              <a:t>mmmm</a:t>
            </a:r>
            <a:r>
              <a:rPr lang="de-DE" dirty="0" smtClean="0"/>
              <a:t> </a:t>
            </a:r>
            <a:r>
              <a:rPr lang="de-DE" dirty="0" err="1" smtClean="0"/>
              <a:t>yyyy</a:t>
            </a:r>
            <a:endParaRPr lang="de-DE"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4"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20164233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3873">
          <p15:clr>
            <a:srgbClr val="FBAE40"/>
          </p15:clr>
        </p15:guide>
      </p15:sldGuideLst>
    </p:ext>
  </p:extLst>
</p:sldLayout>
</file>

<file path=ppt/slideLayouts/slideLayout1012.xml><?xml version="1.0" encoding="utf-8"?>
<p:sldLayout xmlns:a="http://schemas.openxmlformats.org/drawingml/2006/main" xmlns:r="http://schemas.openxmlformats.org/officeDocument/2006/relationships" xmlns:p="http://schemas.openxmlformats.org/presentationml/2006/main" showMasterSp="0" preserve="1" userDrawn="1">
  <p:cSld name="3. Titel Bi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2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26"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27"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
        <p:nvSpPr>
          <p:cNvPr id="16"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de-DE" dirty="0" smtClean="0"/>
              <a:t>Name des Vortragenden: CorpoS (Textkörper) 35 pt.</a:t>
            </a:r>
            <a:br>
              <a:rPr lang="de-DE" dirty="0" smtClean="0"/>
            </a:br>
            <a:r>
              <a:rPr lang="de-DE" dirty="0" smtClean="0"/>
              <a:t>Präsentationstitel in zwei oder drei </a:t>
            </a:r>
            <a:br>
              <a:rPr lang="de-DE" dirty="0" smtClean="0"/>
            </a:br>
            <a:r>
              <a:rPr lang="de-DE" dirty="0" smtClean="0"/>
              <a:t>Zeilen Text, </a:t>
            </a:r>
            <a:r>
              <a:rPr lang="de-DE" dirty="0" err="1" smtClean="0"/>
              <a:t>dd</a:t>
            </a:r>
            <a:r>
              <a:rPr lang="de-DE" dirty="0" smtClean="0"/>
              <a:t>. </a:t>
            </a:r>
            <a:r>
              <a:rPr lang="de-DE" dirty="0" err="1" smtClean="0"/>
              <a:t>mmmm</a:t>
            </a:r>
            <a:r>
              <a:rPr lang="de-DE" dirty="0" smtClean="0"/>
              <a:t> </a:t>
            </a:r>
            <a:r>
              <a:rPr lang="de-DE" dirty="0" err="1" smtClean="0"/>
              <a:t>yyyy</a:t>
            </a:r>
            <a:endParaRPr lang="de-DE" dirty="0"/>
          </a:p>
        </p:txBody>
      </p:sp>
      <p:pic>
        <p:nvPicPr>
          <p:cNvPr id="15"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251066998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289">
          <p15:clr>
            <a:srgbClr val="FBAE40"/>
          </p15:clr>
        </p15:guide>
      </p15:sldGuideLst>
    </p:ext>
  </p:extLst>
</p:sldLayout>
</file>

<file path=ppt/slideLayouts/slideLayout1013.xml><?xml version="1.0" encoding="utf-8"?>
<p:sldLayout xmlns:a="http://schemas.openxmlformats.org/drawingml/2006/main" xmlns:r="http://schemas.openxmlformats.org/officeDocument/2006/relationships" xmlns:p="http://schemas.openxmlformats.org/presentationml/2006/main" showMasterSp="0" preserve="1" userDrawn="1">
  <p:cSld name="4. Titel Bi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2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26"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27"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
        <p:nvSpPr>
          <p:cNvPr id="16" name="Titel 1"/>
          <p:cNvSpPr>
            <a:spLocks noGrp="1"/>
          </p:cNvSpPr>
          <p:nvPr>
            <p:ph type="ctrTitle" hasCustomPrompt="1"/>
          </p:nvPr>
        </p:nvSpPr>
        <p:spPr>
          <a:xfrm>
            <a:off x="628323" y="2044433"/>
            <a:ext cx="7232233" cy="648964"/>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de-DE" dirty="0" smtClean="0"/>
              <a:t>Headline der Präsentation</a:t>
            </a:r>
            <a:endParaRPr lang="de-DE" dirty="0"/>
          </a:p>
        </p:txBody>
      </p:sp>
      <p:pic>
        <p:nvPicPr>
          <p:cNvPr id="15"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43351391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288">
          <p15:clr>
            <a:srgbClr val="FBAE40"/>
          </p15:clr>
        </p15:guide>
      </p15:sldGuideLst>
    </p:ext>
  </p:extLst>
</p:sldLayout>
</file>

<file path=ppt/slideLayouts/slideLayout1014.xml><?xml version="1.0" encoding="utf-8"?>
<p:sldLayout xmlns:a="http://schemas.openxmlformats.org/drawingml/2006/main" xmlns:r="http://schemas.openxmlformats.org/officeDocument/2006/relationships" xmlns:p="http://schemas.openxmlformats.org/presentationml/2006/main" showMasterSp="0" preserve="1" userDrawn="1">
  <p:cSld name="Kapiteltrennfolie">
    <p:bg>
      <p:bgRef idx="1001">
        <a:schemeClr val="bg1"/>
      </p:bgRef>
    </p:bg>
    <p:spTree>
      <p:nvGrpSpPr>
        <p:cNvPr id="1" name=""/>
        <p:cNvGrpSpPr/>
        <p:nvPr/>
      </p:nvGrpSpPr>
      <p:grpSpPr>
        <a:xfrm>
          <a:off x="0" y="0"/>
          <a:ext cx="0" cy="0"/>
          <a:chOff x="0" y="0"/>
          <a:chExt cx="0" cy="0"/>
        </a:xfrm>
      </p:grpSpPr>
      <p:grpSp>
        <p:nvGrpSpPr>
          <p:cNvPr id="26" name="Regieanweisungen"/>
          <p:cNvGrpSpPr/>
          <p:nvPr userDrawn="1"/>
        </p:nvGrpSpPr>
        <p:grpSpPr>
          <a:xfrm>
            <a:off x="-2086913" y="-467892"/>
            <a:ext cx="13647691" cy="7792196"/>
            <a:chOff x="-2088000" y="-468000"/>
            <a:chExt cx="13654799" cy="7794000"/>
          </a:xfrm>
        </p:grpSpPr>
        <p:sp>
          <p:nvSpPr>
            <p:cNvPr id="2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29" name="Hinweise links"/>
            <p:cNvGrpSpPr/>
            <p:nvPr userDrawn="1"/>
          </p:nvGrpSpPr>
          <p:grpSpPr>
            <a:xfrm>
              <a:off x="-2088000" y="0"/>
              <a:ext cx="1980000" cy="3528000"/>
              <a:chOff x="-2088000" y="0"/>
              <a:chExt cx="1980000" cy="3528000"/>
            </a:xfrm>
          </p:grpSpPr>
          <p:sp>
            <p:nvSpPr>
              <p:cNvPr id="30"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34"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1" y="0"/>
            <a:ext cx="12190451" cy="6487838"/>
          </a:xfrm>
          <a:prstGeom prst="rect">
            <a:avLst/>
          </a:prstGeom>
        </p:spPr>
      </p:pic>
      <p:sp>
        <p:nvSpPr>
          <p:cNvPr id="3" name="Title 2"/>
          <p:cNvSpPr>
            <a:spLocks noGrp="1"/>
          </p:cNvSpPr>
          <p:nvPr>
            <p:ph type="title" hasCustomPrompt="1"/>
          </p:nvPr>
        </p:nvSpPr>
        <p:spPr>
          <a:xfrm>
            <a:off x="628323" y="288859"/>
            <a:ext cx="10932455" cy="1025684"/>
          </a:xfrm>
        </p:spPr>
        <p:txBody>
          <a:bodyPr wrap="square">
            <a:spAutoFit/>
          </a:bodyPr>
          <a:lstStyle>
            <a:lvl1pPr>
              <a:defRPr baseline="0">
                <a:solidFill>
                  <a:schemeClr val="bg1"/>
                </a:solidFill>
              </a:defRPr>
            </a:lvl1pPr>
          </a:lstStyle>
          <a:p>
            <a:r>
              <a:rPr lang="de-DE" dirty="0" smtClean="0"/>
              <a:t>Bilder Folie, Headline </a:t>
            </a:r>
            <a:r>
              <a:rPr lang="de-DE" noProof="0" dirty="0" smtClean="0"/>
              <a:t>CorpoS </a:t>
            </a:r>
            <a:r>
              <a:rPr lang="de-DE" dirty="0" smtClean="0"/>
              <a:t>(Textkörper) 35 pt. </a:t>
            </a:r>
            <a:br>
              <a:rPr lang="de-DE" dirty="0" smtClean="0"/>
            </a:br>
            <a:r>
              <a:rPr lang="de-DE" dirty="0" smtClean="0"/>
              <a:t>in zwei oder mehr Zeilen</a:t>
            </a:r>
            <a:endParaRPr lang="de-DE" dirty="0"/>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2" name="Fußzeilenplatzhalter 1"/>
          <p:cNvSpPr>
            <a:spLocks noGrp="1"/>
          </p:cNvSpPr>
          <p:nvPr>
            <p:ph type="ftr" sz="quarter" idx="14"/>
          </p:nvPr>
        </p:nvSpPr>
        <p:spPr/>
        <p:txBody>
          <a:bodyPr/>
          <a:lstStyle/>
          <a:p>
            <a:r>
              <a:rPr lang="de-DE" dirty="0" smtClean="0">
                <a:solidFill>
                  <a:prstClr val="black"/>
                </a:solidFill>
              </a:rPr>
              <a:t>Titel der Präsentation / Abteilung / Datum /</a:t>
            </a:r>
          </a:p>
        </p:txBody>
      </p:sp>
      <p:sp>
        <p:nvSpPr>
          <p:cNvPr id="4" name="Foliennummernplatzhalter 3"/>
          <p:cNvSpPr>
            <a:spLocks noGrp="1"/>
          </p:cNvSpPr>
          <p:nvPr>
            <p:ph type="sldNum" sz="quarter" idx="15"/>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275004679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1015.xml><?xml version="1.0" encoding="utf-8"?>
<p:sldLayout xmlns:a="http://schemas.openxmlformats.org/drawingml/2006/main" xmlns:r="http://schemas.openxmlformats.org/officeDocument/2006/relationships" xmlns:p="http://schemas.openxmlformats.org/presentationml/2006/main" showMasterSp="0" preserve="1" userDrawn="1">
  <p:cSld name="Text/ Bild Bürstung">
    <p:bg>
      <p:bgRef idx="1001">
        <a:schemeClr val="bg1"/>
      </p:bgRef>
    </p:bg>
    <p:spTree>
      <p:nvGrpSpPr>
        <p:cNvPr id="1" name=""/>
        <p:cNvGrpSpPr/>
        <p:nvPr/>
      </p:nvGrpSpPr>
      <p:grpSpPr>
        <a:xfrm>
          <a:off x="0" y="0"/>
          <a:ext cx="0" cy="0"/>
          <a:chOff x="0" y="0"/>
          <a:chExt cx="0" cy="0"/>
        </a:xfrm>
      </p:grpSpPr>
      <p:grpSp>
        <p:nvGrpSpPr>
          <p:cNvPr id="26" name="Regieanweisungen"/>
          <p:cNvGrpSpPr/>
          <p:nvPr userDrawn="1"/>
        </p:nvGrpSpPr>
        <p:grpSpPr>
          <a:xfrm>
            <a:off x="-2086913" y="-467892"/>
            <a:ext cx="13647691" cy="7792196"/>
            <a:chOff x="-2088000" y="-468000"/>
            <a:chExt cx="13654799" cy="7794000"/>
          </a:xfrm>
        </p:grpSpPr>
        <p:sp>
          <p:nvSpPr>
            <p:cNvPr id="2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29" name="Hinweise links"/>
            <p:cNvGrpSpPr/>
            <p:nvPr userDrawn="1"/>
          </p:nvGrpSpPr>
          <p:grpSpPr>
            <a:xfrm>
              <a:off x="-2088000" y="0"/>
              <a:ext cx="1980000" cy="3528000"/>
              <a:chOff x="-2088000" y="0"/>
              <a:chExt cx="1980000" cy="3528000"/>
            </a:xfrm>
          </p:grpSpPr>
          <p:sp>
            <p:nvSpPr>
              <p:cNvPr id="30"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34"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a:extLst>
              <a:ext uri="{28A0092B-C50C-407E-A947-70E740481C1C}">
                <a14:useLocalDpi xmlns:a14="http://schemas.microsoft.com/office/drawing/2010/main" val="0"/>
              </a:ext>
            </a:extLst>
          </a:blip>
          <a:srcRect b="5375"/>
          <a:stretch/>
        </p:blipFill>
        <p:spPr bwMode="white">
          <a:xfrm>
            <a:off x="0" y="-1"/>
            <a:ext cx="12190451" cy="6487839"/>
          </a:xfrm>
          <a:prstGeom prst="rect">
            <a:avLst/>
          </a:prstGeom>
        </p:spPr>
      </p:pic>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2" name="Fußzeilenplatzhalter 1"/>
          <p:cNvSpPr>
            <a:spLocks noGrp="1"/>
          </p:cNvSpPr>
          <p:nvPr>
            <p:ph type="ftr" sz="quarter" idx="14"/>
          </p:nvPr>
        </p:nvSpPr>
        <p:spPr/>
        <p:txBody>
          <a:bodyPr/>
          <a:lstStyle/>
          <a:p>
            <a:r>
              <a:rPr lang="de-DE" dirty="0" smtClean="0">
                <a:solidFill>
                  <a:prstClr val="black"/>
                </a:solidFill>
              </a:rPr>
              <a:t>Titel der Präsentation / Abteilung / Datum /</a:t>
            </a:r>
          </a:p>
        </p:txBody>
      </p:sp>
      <p:sp>
        <p:nvSpPr>
          <p:cNvPr id="4" name="Foliennummernplatzhalter 3"/>
          <p:cNvSpPr>
            <a:spLocks noGrp="1"/>
          </p:cNvSpPr>
          <p:nvPr>
            <p:ph type="sldNum" sz="quarter" idx="15"/>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Title 2"/>
          <p:cNvSpPr>
            <a:spLocks noGrp="1"/>
          </p:cNvSpPr>
          <p:nvPr>
            <p:ph type="title" hasCustomPrompt="1"/>
          </p:nvPr>
        </p:nvSpPr>
        <p:spPr>
          <a:xfrm>
            <a:off x="630116" y="288857"/>
            <a:ext cx="10930662" cy="1151733"/>
          </a:xfrm>
          <a:custGeom>
            <a:avLst/>
            <a:gdLst>
              <a:gd name="connsiteX0" fmla="*/ 0 w 10936355"/>
              <a:gd name="connsiteY0" fmla="*/ 0 h 1152000"/>
              <a:gd name="connsiteX1" fmla="*/ 10936355 w 10936355"/>
              <a:gd name="connsiteY1" fmla="*/ 0 h 1152000"/>
              <a:gd name="connsiteX2" fmla="*/ 10936355 w 10936355"/>
              <a:gd name="connsiteY2" fmla="*/ 1152000 h 1152000"/>
              <a:gd name="connsiteX3" fmla="*/ 0 w 10936355"/>
              <a:gd name="connsiteY3" fmla="*/ 1152000 h 1152000"/>
              <a:gd name="connsiteX4" fmla="*/ 0 w 10936355"/>
              <a:gd name="connsiteY4"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4948164 w 10936355"/>
              <a:gd name="connsiteY4" fmla="*/ 1147990 h 1152000"/>
              <a:gd name="connsiteX5" fmla="*/ 0 w 10936355"/>
              <a:gd name="connsiteY5" fmla="*/ 1152000 h 1152000"/>
              <a:gd name="connsiteX6" fmla="*/ 0 w 10936355"/>
              <a:gd name="connsiteY6"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355" h="1152000">
                <a:moveTo>
                  <a:pt x="0" y="0"/>
                </a:moveTo>
                <a:lnTo>
                  <a:pt x="10936355" y="0"/>
                </a:lnTo>
                <a:cubicBezTo>
                  <a:pt x="10935205" y="231775"/>
                  <a:pt x="10934056" y="463551"/>
                  <a:pt x="10932906" y="695326"/>
                </a:cubicBezTo>
                <a:lnTo>
                  <a:pt x="4948164" y="1147990"/>
                </a:lnTo>
                <a:lnTo>
                  <a:pt x="0" y="1152000"/>
                </a:lnTo>
                <a:lnTo>
                  <a:pt x="0" y="0"/>
                </a:lnTo>
                <a:close/>
              </a:path>
            </a:pathLst>
          </a:custGeom>
        </p:spPr>
        <p:txBody>
          <a:bodyPr/>
          <a:lstStyle>
            <a:lvl1pPr>
              <a:defRPr baseline="0">
                <a:solidFill>
                  <a:schemeClr val="bg1"/>
                </a:solidFill>
              </a:defRPr>
            </a:lvl1pPr>
          </a:lstStyle>
          <a:p>
            <a:r>
              <a:rPr lang="de-DE" dirty="0" smtClean="0"/>
              <a:t>Bilder Folie, Headline CorpoS (Textkörper) 35 pt. </a:t>
            </a:r>
            <a:br>
              <a:rPr lang="de-DE" dirty="0" smtClean="0"/>
            </a:br>
            <a:r>
              <a:rPr lang="de-DE" dirty="0" smtClean="0"/>
              <a:t>in zwei Zeilen</a:t>
            </a:r>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212768854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1016.xml><?xml version="1.0" encoding="utf-8"?>
<p:sldLayout xmlns:a="http://schemas.openxmlformats.org/drawingml/2006/main" xmlns:r="http://schemas.openxmlformats.org/officeDocument/2006/relationships" xmlns:p="http://schemas.openxmlformats.org/presentationml/2006/main" showMasterSp="0" preserve="1" userDrawn="1">
  <p:cSld name="Agendafolie mit Bürstung">
    <p:spTree>
      <p:nvGrpSpPr>
        <p:cNvPr id="1" name=""/>
        <p:cNvGrpSpPr/>
        <p:nvPr/>
      </p:nvGrpSpPr>
      <p:grpSpPr>
        <a:xfrm>
          <a:off x="0" y="0"/>
          <a:ext cx="0" cy="0"/>
          <a:chOff x="0" y="0"/>
          <a:chExt cx="0" cy="0"/>
        </a:xfrm>
      </p:grpSpPr>
      <p:pic>
        <p:nvPicPr>
          <p:cNvPr id="32" name="Buerstung U_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 name="Title 1"/>
          <p:cNvSpPr>
            <a:spLocks noGrp="1"/>
          </p:cNvSpPr>
          <p:nvPr>
            <p:ph type="title" hasCustomPrompt="1"/>
          </p:nvPr>
        </p:nvSpPr>
        <p:spPr>
          <a:xfrm>
            <a:off x="628323" y="288859"/>
            <a:ext cx="10932455" cy="1148857"/>
          </a:xfrm>
        </p:spPr>
        <p:txBody>
          <a:bodyPr/>
          <a:lstStyle>
            <a:lvl1pPr>
              <a:defRPr/>
            </a:lvl1pPr>
          </a:lstStyle>
          <a:p>
            <a:r>
              <a:rPr lang="de-DE" noProof="0" dirty="0" smtClean="0"/>
              <a:t>Headline für Agenda in CorpoS (Textkörper) 35 pt. </a:t>
            </a:r>
            <a:br>
              <a:rPr lang="de-DE" noProof="0" dirty="0" smtClean="0"/>
            </a:br>
            <a:r>
              <a:rPr lang="de-DE" noProof="0" dirty="0" smtClean="0"/>
              <a:t>in ein oder zwei Zeilen</a:t>
            </a:r>
            <a:endParaRPr lang="de-DE" dirty="0"/>
          </a:p>
        </p:txBody>
      </p:sp>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29"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5" name="Fußzeilenplatzhalter 4"/>
          <p:cNvSpPr>
            <a:spLocks noGrp="1"/>
          </p:cNvSpPr>
          <p:nvPr>
            <p:ph type="ftr" sz="quarter" idx="13"/>
          </p:nvPr>
        </p:nvSpPr>
        <p:spPr/>
        <p:txBody>
          <a:bodyPr/>
          <a:lstStyle/>
          <a:p>
            <a:r>
              <a:rPr lang="de-DE" dirty="0" smtClean="0">
                <a:solidFill>
                  <a:prstClr val="black"/>
                </a:solidFill>
              </a:rPr>
              <a:t>Titel der Präsentation / Abteilung / Datum /</a:t>
            </a:r>
          </a:p>
        </p:txBody>
      </p:sp>
      <p:sp>
        <p:nvSpPr>
          <p:cNvPr id="7" name="Foliennummernplatzhalter 6"/>
          <p:cNvSpPr>
            <a:spLocks noGrp="1"/>
          </p:cNvSpPr>
          <p:nvPr>
            <p:ph type="sldNum" sz="quarter" idx="14"/>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Text Placeholder 5"/>
          <p:cNvSpPr>
            <a:spLocks noGrp="1"/>
          </p:cNvSpPr>
          <p:nvPr>
            <p:ph type="body" sz="quarter" idx="12" hasCustomPrompt="1"/>
          </p:nvPr>
        </p:nvSpPr>
        <p:spPr>
          <a:xfrm>
            <a:off x="630117" y="1504603"/>
            <a:ext cx="10931023" cy="3386305"/>
          </a:xfrm>
          <a:custGeom>
            <a:avLst/>
            <a:gdLst>
              <a:gd name="connsiteX0" fmla="*/ 0 w 10936081"/>
              <a:gd name="connsiteY0" fmla="*/ 0 h 3384000"/>
              <a:gd name="connsiteX1" fmla="*/ 10936081 w 10936081"/>
              <a:gd name="connsiteY1" fmla="*/ 0 h 3384000"/>
              <a:gd name="connsiteX2" fmla="*/ 10936081 w 10936081"/>
              <a:gd name="connsiteY2" fmla="*/ 3384000 h 3384000"/>
              <a:gd name="connsiteX3" fmla="*/ 0 w 10936081"/>
              <a:gd name="connsiteY3" fmla="*/ 3384000 h 3384000"/>
              <a:gd name="connsiteX4" fmla="*/ 0 w 10936081"/>
              <a:gd name="connsiteY4" fmla="*/ 0 h 3384000"/>
              <a:gd name="connsiteX0" fmla="*/ 0 w 10936081"/>
              <a:gd name="connsiteY0" fmla="*/ 0 h 3387089"/>
              <a:gd name="connsiteX1" fmla="*/ 10936081 w 10936081"/>
              <a:gd name="connsiteY1" fmla="*/ 0 h 3387089"/>
              <a:gd name="connsiteX2" fmla="*/ 10936081 w 10936081"/>
              <a:gd name="connsiteY2" fmla="*/ 3384000 h 3387089"/>
              <a:gd name="connsiteX3" fmla="*/ 2006076 w 10936081"/>
              <a:gd name="connsiteY3" fmla="*/ 3387089 h 3387089"/>
              <a:gd name="connsiteX4" fmla="*/ 0 w 10936081"/>
              <a:gd name="connsiteY4" fmla="*/ 3384000 h 3387089"/>
              <a:gd name="connsiteX5" fmla="*/ 0 w 10936081"/>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10936081 w 10936716"/>
              <a:gd name="connsiteY3" fmla="*/ 3384000 h 3387089"/>
              <a:gd name="connsiteX4" fmla="*/ 2006076 w 10936716"/>
              <a:gd name="connsiteY4" fmla="*/ 3387089 h 3387089"/>
              <a:gd name="connsiteX5" fmla="*/ 0 w 10936716"/>
              <a:gd name="connsiteY5" fmla="*/ 3384000 h 3387089"/>
              <a:gd name="connsiteX6" fmla="*/ 0 w 10936716"/>
              <a:gd name="connsiteY6"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3387089">
                <a:moveTo>
                  <a:pt x="0" y="0"/>
                </a:moveTo>
                <a:lnTo>
                  <a:pt x="10936081" y="0"/>
                </a:lnTo>
                <a:cubicBezTo>
                  <a:pt x="10936293" y="852170"/>
                  <a:pt x="10936504" y="1704339"/>
                  <a:pt x="10936716" y="2556509"/>
                </a:cubicBezTo>
                <a:lnTo>
                  <a:pt x="2006076" y="3387089"/>
                </a:lnTo>
                <a:lnTo>
                  <a:pt x="0" y="3384000"/>
                </a:lnTo>
                <a:lnTo>
                  <a:pt x="0" y="0"/>
                </a:lnTo>
                <a:close/>
              </a:path>
            </a:pathLst>
          </a:custGeo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smtClean="0"/>
              <a:t>Agenda Punkt einfügen</a:t>
            </a:r>
          </a:p>
          <a:p>
            <a:pPr lvl="1"/>
            <a:r>
              <a:rPr lang="de-DE" dirty="0" smtClean="0"/>
              <a:t>Zweite Ebene</a:t>
            </a:r>
          </a:p>
          <a:p>
            <a:pPr lvl="2"/>
            <a:r>
              <a:rPr lang="de-DE" dirty="0" smtClean="0"/>
              <a:t>Dritte Ebene </a:t>
            </a:r>
          </a:p>
          <a:p>
            <a:pPr lvl="3"/>
            <a:r>
              <a:rPr lang="de-DE" dirty="0" smtClean="0"/>
              <a:t>Vierte Ebene </a:t>
            </a:r>
          </a:p>
          <a:p>
            <a:pPr lvl="4"/>
            <a:r>
              <a:rPr lang="de-DE" dirty="0" smtClean="0"/>
              <a:t>Fünfte Ebene </a:t>
            </a:r>
          </a:p>
          <a:p>
            <a:pPr lvl="5"/>
            <a:r>
              <a:rPr lang="de-DE" dirty="0" smtClean="0"/>
              <a:t>Sechste Ebene </a:t>
            </a:r>
          </a:p>
          <a:p>
            <a:pPr lvl="6"/>
            <a:r>
              <a:rPr lang="de-DE" dirty="0" smtClean="0"/>
              <a:t>Siebte Ebene </a:t>
            </a:r>
          </a:p>
          <a:p>
            <a:pPr lvl="7"/>
            <a:r>
              <a:rPr lang="de-DE" dirty="0" smtClean="0"/>
              <a:t>Achte</a:t>
            </a:r>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413072775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1017.xml><?xml version="1.0" encoding="utf-8"?>
<p:sldLayout xmlns:a="http://schemas.openxmlformats.org/drawingml/2006/main" xmlns:r="http://schemas.openxmlformats.org/officeDocument/2006/relationships" xmlns:p="http://schemas.openxmlformats.org/presentationml/2006/main" preserve="1" userDrawn="1">
  <p:cSld name="Agendafolie ohne Bürstu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de-DE" noProof="0" dirty="0" smtClean="0"/>
              <a:t>Headline für Agenda in CorpoS (Textkörper) 35 pt. </a:t>
            </a:r>
            <a:br>
              <a:rPr lang="de-DE" noProof="0" dirty="0" smtClean="0"/>
            </a:br>
            <a:r>
              <a:rPr lang="de-DE" noProof="0" dirty="0" smtClean="0"/>
              <a:t>in ein oder zwei Zeilen</a:t>
            </a:r>
            <a:endParaRPr lang="de-DE" dirty="0"/>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baseline="0">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smtClean="0"/>
              <a:t>Agenda Punkt einfügen</a:t>
            </a:r>
          </a:p>
          <a:p>
            <a:pPr lvl="1"/>
            <a:r>
              <a:rPr lang="de-DE" dirty="0" smtClean="0"/>
              <a:t>Zweite Ebene</a:t>
            </a:r>
          </a:p>
          <a:p>
            <a:pPr lvl="2"/>
            <a:r>
              <a:rPr lang="de-DE" dirty="0" smtClean="0"/>
              <a:t>Dritte Ebene </a:t>
            </a:r>
          </a:p>
          <a:p>
            <a:pPr lvl="3"/>
            <a:r>
              <a:rPr lang="de-DE" dirty="0" smtClean="0"/>
              <a:t>Vierte Ebene </a:t>
            </a:r>
          </a:p>
          <a:p>
            <a:pPr lvl="4"/>
            <a:r>
              <a:rPr lang="de-DE" dirty="0" smtClean="0"/>
              <a:t>Fünfte Ebene </a:t>
            </a:r>
          </a:p>
          <a:p>
            <a:pPr lvl="5"/>
            <a:r>
              <a:rPr lang="de-DE" dirty="0" smtClean="0"/>
              <a:t>Sechste Ebene </a:t>
            </a:r>
          </a:p>
          <a:p>
            <a:pPr lvl="6"/>
            <a:r>
              <a:rPr lang="de-DE" dirty="0" smtClean="0"/>
              <a:t>Siebte Ebene </a:t>
            </a:r>
          </a:p>
          <a:p>
            <a:pPr lvl="7"/>
            <a:r>
              <a:rPr lang="de-DE" dirty="0" smtClean="0"/>
              <a:t>Achte Ebene </a:t>
            </a:r>
          </a:p>
          <a:p>
            <a:pPr lvl="8"/>
            <a:r>
              <a:rPr lang="de-DE" dirty="0" smtClean="0"/>
              <a:t>Neunte Ebene </a:t>
            </a:r>
          </a:p>
        </p:txBody>
      </p:sp>
      <p:sp>
        <p:nvSpPr>
          <p:cNvPr id="5" name="Fußzeilenplatzhalter 4"/>
          <p:cNvSpPr>
            <a:spLocks noGrp="1"/>
          </p:cNvSpPr>
          <p:nvPr>
            <p:ph type="ftr" sz="quarter" idx="13"/>
          </p:nvPr>
        </p:nvSpPr>
        <p:spPr/>
        <p:txBody>
          <a:bodyPr/>
          <a:lstStyle/>
          <a:p>
            <a:r>
              <a:rPr lang="de-DE" dirty="0" smtClean="0">
                <a:solidFill>
                  <a:prstClr val="black"/>
                </a:solidFill>
              </a:rPr>
              <a:t>Titel der Präsentation / Abteilung / Datum /</a:t>
            </a:r>
          </a:p>
        </p:txBody>
      </p:sp>
      <p:sp>
        <p:nvSpPr>
          <p:cNvPr id="7" name="Foliennummernplatzhalter 6"/>
          <p:cNvSpPr>
            <a:spLocks noGrp="1"/>
          </p:cNvSpPr>
          <p:nvPr>
            <p:ph type="sldNum" sz="quarter" idx="14"/>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65375999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1018.xml><?xml version="1.0" encoding="utf-8"?>
<p:sldLayout xmlns:a="http://schemas.openxmlformats.org/drawingml/2006/main" xmlns:r="http://schemas.openxmlformats.org/officeDocument/2006/relationships" xmlns:p="http://schemas.openxmlformats.org/presentationml/2006/main" preserve="1" userDrawn="1">
  <p:cSld name="Text/ Inhalt/ Ü 2 Zeile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DE" noProof="0" dirty="0" smtClean="0"/>
              <a:t>Headline in CorpoS (Textkörper) 35 pt.</a:t>
            </a:r>
            <a:br>
              <a:rPr lang="de-DE" noProof="0" dirty="0" smtClean="0"/>
            </a:br>
            <a:r>
              <a:rPr lang="de-DE" noProof="0" dirty="0" smtClean="0"/>
              <a:t>über zwei Zeilen</a:t>
            </a:r>
            <a:endParaRPr lang="de-DE" dirty="0"/>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dirty="0" smtClean="0"/>
              <a:t>Text oder Inhalt einfügen in </a:t>
            </a:r>
            <a:r>
              <a:rPr lang="de-DE" noProof="0" dirty="0" smtClean="0"/>
              <a:t>CorpoS (Body) 24 pt. (Hervorhebungen in fett) </a:t>
            </a:r>
            <a:r>
              <a:rPr lang="de-DE" dirty="0" smtClean="0"/>
              <a:t>// für Zusammenfassung oder kurzes Highlight: Start // Absatz // Listenebene erhöhen</a:t>
            </a:r>
          </a:p>
          <a:p>
            <a:pPr lvl="1"/>
            <a:r>
              <a:rPr lang="de-DE" dirty="0" smtClean="0"/>
              <a:t>Zweite Ebene (Zusammenfassung oder kurzes Highlight)</a:t>
            </a:r>
          </a:p>
          <a:p>
            <a:pPr lvl="2"/>
            <a:r>
              <a:rPr lang="de-DE" dirty="0" smtClean="0"/>
              <a:t>Dritte Ebene </a:t>
            </a:r>
          </a:p>
          <a:p>
            <a:pPr lvl="3"/>
            <a:r>
              <a:rPr lang="de-DE" dirty="0" smtClean="0"/>
              <a:t>Vierte Ebene </a:t>
            </a:r>
          </a:p>
          <a:p>
            <a:pPr lvl="4"/>
            <a:r>
              <a:rPr lang="de-DE" dirty="0" smtClean="0"/>
              <a:t>Fünfte Ebene </a:t>
            </a:r>
          </a:p>
          <a:p>
            <a:pPr lvl="5"/>
            <a:r>
              <a:rPr lang="de-DE" dirty="0" smtClean="0"/>
              <a:t>Sechste Ebene </a:t>
            </a:r>
          </a:p>
          <a:p>
            <a:pPr lvl="6"/>
            <a:r>
              <a:rPr lang="de-DE" dirty="0" smtClean="0"/>
              <a:t>Siebte Ebene </a:t>
            </a:r>
          </a:p>
          <a:p>
            <a:pPr lvl="7"/>
            <a:r>
              <a:rPr lang="de-DE" dirty="0" smtClean="0"/>
              <a:t>Achte Ebene </a:t>
            </a:r>
          </a:p>
          <a:p>
            <a:pPr lvl="8"/>
            <a:r>
              <a:rPr lang="de-DE" dirty="0" smtClean="0"/>
              <a:t>Neunte Ebene </a:t>
            </a:r>
          </a:p>
        </p:txBody>
      </p:sp>
      <p:sp>
        <p:nvSpPr>
          <p:cNvPr id="5" name="Fußzeilenplatzhalter 4"/>
          <p:cNvSpPr>
            <a:spLocks noGrp="1"/>
          </p:cNvSpPr>
          <p:nvPr>
            <p:ph type="ftr" sz="quarter" idx="13"/>
          </p:nvPr>
        </p:nvSpPr>
        <p:spPr/>
        <p:txBody>
          <a:bodyPr/>
          <a:lstStyle/>
          <a:p>
            <a:r>
              <a:rPr lang="de-DE" dirty="0" smtClean="0">
                <a:solidFill>
                  <a:prstClr val="black"/>
                </a:solidFill>
              </a:rPr>
              <a:t>Titel der Präsentation / Abteilung / Datum /</a:t>
            </a:r>
          </a:p>
        </p:txBody>
      </p:sp>
      <p:sp>
        <p:nvSpPr>
          <p:cNvPr id="7" name="Foliennummernplatzhalter 6"/>
          <p:cNvSpPr>
            <a:spLocks noGrp="1"/>
          </p:cNvSpPr>
          <p:nvPr>
            <p:ph type="sldNum" sz="quarter" idx="14"/>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97483209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1019.xml><?xml version="1.0" encoding="utf-8"?>
<p:sldLayout xmlns:a="http://schemas.openxmlformats.org/drawingml/2006/main" xmlns:r="http://schemas.openxmlformats.org/officeDocument/2006/relationships" xmlns:p="http://schemas.openxmlformats.org/presentationml/2006/main" showMasterSp="0" preserve="1" userDrawn="1">
  <p:cSld name="Text/ Bild/ Ü 2 Zeile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DE" noProof="0" dirty="0" smtClean="0"/>
              <a:t>Headline in CorpoS (Textkörper) 35 pt.</a:t>
            </a:r>
            <a:br>
              <a:rPr lang="de-DE" noProof="0" dirty="0" smtClean="0"/>
            </a:br>
            <a:r>
              <a:rPr lang="de-DE" noProof="0" dirty="0" smtClean="0"/>
              <a:t>über zwei Zeilen</a:t>
            </a:r>
            <a:endParaRPr lang="de-DE" dirty="0"/>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noProof="0" dirty="0" smtClean="0"/>
              <a:t>Insert </a:t>
            </a:r>
            <a:r>
              <a:rPr lang="de-DE" noProof="0" dirty="0" err="1" smtClean="0"/>
              <a:t>content</a:t>
            </a:r>
            <a:r>
              <a:rPr lang="de-DE" noProof="0" dirty="0" smtClean="0"/>
              <a:t> </a:t>
            </a:r>
            <a:r>
              <a:rPr lang="de-DE" noProof="0" dirty="0" err="1" smtClean="0"/>
              <a:t>or</a:t>
            </a:r>
            <a:r>
              <a:rPr lang="de-DE" noProof="0" dirty="0" smtClean="0"/>
              <a:t> </a:t>
            </a:r>
            <a:r>
              <a:rPr lang="de-DE" noProof="0" dirty="0" err="1" smtClean="0"/>
              <a:t>text</a:t>
            </a:r>
            <a:r>
              <a:rPr lang="de-DE" noProof="0" dirty="0" smtClean="0"/>
              <a:t> in </a:t>
            </a:r>
            <a:r>
              <a:rPr lang="de-DE" noProof="0" dirty="0" err="1" smtClean="0"/>
              <a:t>Corpo</a:t>
            </a:r>
            <a:r>
              <a:rPr lang="de-DE" noProof="0" dirty="0" smtClean="0"/>
              <a:t> S (Body) 24 pt. (Mark-</a:t>
            </a:r>
            <a:r>
              <a:rPr lang="de-DE" noProof="0" dirty="0" err="1" smtClean="0"/>
              <a:t>ups</a:t>
            </a:r>
            <a:r>
              <a:rPr lang="de-DE" noProof="0" dirty="0" smtClean="0"/>
              <a:t> in </a:t>
            </a:r>
            <a:r>
              <a:rPr lang="de-DE" noProof="0" dirty="0" err="1" smtClean="0"/>
              <a:t>Bold</a:t>
            </a:r>
            <a:r>
              <a:rPr lang="de-DE" noProof="0" dirty="0" smtClean="0"/>
              <a:t>) // </a:t>
            </a:r>
            <a:r>
              <a:rPr lang="de-DE" noProof="0" dirty="0" err="1" smtClean="0"/>
              <a:t>for</a:t>
            </a:r>
            <a:r>
              <a:rPr lang="de-DE" noProof="0" dirty="0" smtClean="0"/>
              <a:t> </a:t>
            </a:r>
            <a:r>
              <a:rPr lang="de-DE" noProof="0" dirty="0" err="1" smtClean="0"/>
              <a:t>conclusion</a:t>
            </a:r>
            <a:r>
              <a:rPr lang="de-DE" noProof="0" dirty="0" smtClean="0"/>
              <a:t>, </a:t>
            </a:r>
            <a:r>
              <a:rPr lang="de-DE" noProof="0" dirty="0" err="1" smtClean="0"/>
              <a:t>summary</a:t>
            </a:r>
            <a:r>
              <a:rPr lang="de-DE" noProof="0" dirty="0" smtClean="0"/>
              <a:t> </a:t>
            </a:r>
            <a:r>
              <a:rPr lang="de-DE" noProof="0" dirty="0" err="1" smtClean="0"/>
              <a:t>or</a:t>
            </a:r>
            <a:r>
              <a:rPr lang="de-DE" noProof="0" dirty="0" smtClean="0"/>
              <a:t> </a:t>
            </a:r>
            <a:r>
              <a:rPr lang="de-DE" noProof="0" dirty="0" err="1" smtClean="0"/>
              <a:t>short</a:t>
            </a:r>
            <a:r>
              <a:rPr lang="de-DE" noProof="0" dirty="0" smtClean="0"/>
              <a:t> </a:t>
            </a:r>
            <a:r>
              <a:rPr lang="de-DE" noProof="0" dirty="0" err="1" smtClean="0"/>
              <a:t>highlight</a:t>
            </a:r>
            <a:r>
              <a:rPr lang="de-DE" noProof="0" dirty="0" smtClean="0"/>
              <a:t>: Home // Paragraph// </a:t>
            </a:r>
            <a:r>
              <a:rPr lang="de-DE" noProof="0" dirty="0" err="1" smtClean="0"/>
              <a:t>Increase</a:t>
            </a:r>
            <a:r>
              <a:rPr lang="de-DE" noProof="0" dirty="0" smtClean="0"/>
              <a:t> List Level</a:t>
            </a:r>
          </a:p>
          <a:p>
            <a:pPr lvl="1"/>
            <a:r>
              <a:rPr lang="de-DE" noProof="0" dirty="0" smtClean="0"/>
              <a:t>Second </a:t>
            </a:r>
            <a:r>
              <a:rPr lang="de-DE" noProof="0" dirty="0" err="1" smtClean="0"/>
              <a:t>level</a:t>
            </a:r>
            <a:r>
              <a:rPr lang="de-DE" noProof="0" dirty="0" smtClean="0"/>
              <a:t> (</a:t>
            </a:r>
            <a:r>
              <a:rPr lang="de-DE" noProof="0" dirty="0" err="1" smtClean="0"/>
              <a:t>Conclusion</a:t>
            </a:r>
            <a:r>
              <a:rPr lang="de-DE" noProof="0" dirty="0" smtClean="0"/>
              <a:t>, </a:t>
            </a:r>
            <a:r>
              <a:rPr lang="de-DE" noProof="0" dirty="0" err="1" smtClean="0"/>
              <a:t>summary</a:t>
            </a:r>
            <a:r>
              <a:rPr lang="de-DE" noProof="0" dirty="0" smtClean="0"/>
              <a:t> </a:t>
            </a:r>
            <a:r>
              <a:rPr lang="de-DE" noProof="0" dirty="0" err="1" smtClean="0"/>
              <a:t>or</a:t>
            </a:r>
            <a:r>
              <a:rPr lang="de-DE" noProof="0" dirty="0" smtClean="0"/>
              <a:t> </a:t>
            </a:r>
            <a:r>
              <a:rPr lang="de-DE" noProof="0" dirty="0" err="1" smtClean="0"/>
              <a:t>short</a:t>
            </a:r>
            <a:r>
              <a:rPr lang="de-DE" noProof="0" dirty="0" smtClean="0"/>
              <a:t> </a:t>
            </a:r>
            <a:r>
              <a:rPr lang="de-DE" noProof="0" dirty="0" err="1" smtClean="0"/>
              <a:t>highlight</a:t>
            </a:r>
            <a:r>
              <a:rPr lang="de-DE" noProof="0" dirty="0" smtClean="0"/>
              <a:t>)</a:t>
            </a:r>
          </a:p>
          <a:p>
            <a:pPr lvl="2"/>
            <a:r>
              <a:rPr lang="de-DE" noProof="0" dirty="0" smtClean="0"/>
              <a:t>Third </a:t>
            </a:r>
            <a:r>
              <a:rPr lang="de-DE" noProof="0" dirty="0" err="1" smtClean="0"/>
              <a:t>level</a:t>
            </a:r>
            <a:endParaRPr lang="de-DE" noProof="0" dirty="0" smtClean="0"/>
          </a:p>
          <a:p>
            <a:pPr lvl="3"/>
            <a:r>
              <a:rPr lang="de-DE" noProof="0" dirty="0" err="1" smtClean="0"/>
              <a:t>Fourth</a:t>
            </a:r>
            <a:r>
              <a:rPr lang="de-DE" noProof="0" dirty="0" smtClean="0"/>
              <a:t> </a:t>
            </a:r>
            <a:r>
              <a:rPr lang="de-DE" noProof="0" dirty="0" err="1" smtClean="0"/>
              <a:t>level</a:t>
            </a:r>
            <a:endParaRPr lang="de-DE" noProof="0" dirty="0" smtClean="0"/>
          </a:p>
          <a:p>
            <a:pPr lvl="4"/>
            <a:r>
              <a:rPr lang="de-DE" noProof="0" dirty="0" err="1" smtClean="0"/>
              <a:t>Fifth</a:t>
            </a:r>
            <a:r>
              <a:rPr lang="de-DE" noProof="0" dirty="0" smtClean="0"/>
              <a:t> </a:t>
            </a:r>
            <a:r>
              <a:rPr lang="de-DE" noProof="0" dirty="0" err="1" smtClean="0"/>
              <a:t>level</a:t>
            </a:r>
            <a:endParaRPr lang="de-DE" noProof="0" dirty="0" smtClean="0"/>
          </a:p>
          <a:p>
            <a:pPr lvl="5"/>
            <a:r>
              <a:rPr lang="de-DE" noProof="0" dirty="0" err="1" smtClean="0"/>
              <a:t>Sixth</a:t>
            </a:r>
            <a:r>
              <a:rPr lang="de-DE" noProof="0" dirty="0" smtClean="0"/>
              <a:t> </a:t>
            </a:r>
            <a:r>
              <a:rPr lang="de-DE" noProof="0" dirty="0" err="1" smtClean="0"/>
              <a:t>level</a:t>
            </a:r>
            <a:endParaRPr lang="de-DE" noProof="0" dirty="0" smtClean="0"/>
          </a:p>
          <a:p>
            <a:pPr lvl="6"/>
            <a:r>
              <a:rPr lang="de-DE" noProof="0" dirty="0" smtClean="0"/>
              <a:t>Sevens </a:t>
            </a:r>
            <a:r>
              <a:rPr lang="de-DE" noProof="0" dirty="0" err="1" smtClean="0"/>
              <a:t>level</a:t>
            </a:r>
            <a:endParaRPr lang="de-DE" noProof="0" dirty="0" smtClean="0"/>
          </a:p>
          <a:p>
            <a:pPr lvl="7"/>
            <a:r>
              <a:rPr lang="de-DE" noProof="0" dirty="0" err="1" smtClean="0"/>
              <a:t>Eight</a:t>
            </a:r>
            <a:r>
              <a:rPr lang="de-DE" noProof="0" dirty="0" smtClean="0"/>
              <a:t> </a:t>
            </a:r>
            <a:r>
              <a:rPr lang="de-DE" noProof="0" dirty="0" err="1" smtClean="0"/>
              <a:t>level</a:t>
            </a:r>
            <a:endParaRPr lang="de-DE" noProof="0" dirty="0" smtClean="0"/>
          </a:p>
          <a:p>
            <a:pPr lvl="8"/>
            <a:r>
              <a:rPr lang="de-DE" noProof="0" dirty="0" err="1" smtClean="0"/>
              <a:t>Ninth</a:t>
            </a:r>
            <a:r>
              <a:rPr lang="de-DE" noProof="0" dirty="0" smtClean="0"/>
              <a:t> </a:t>
            </a:r>
            <a:r>
              <a:rPr lang="de-DE" noProof="0" dirty="0" err="1" smtClean="0"/>
              <a:t>level</a:t>
            </a:r>
            <a:endParaRPr lang="de-DE" noProof="0" dirty="0" smtClean="0"/>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31" name="Hinweise links"/>
            <p:cNvGrpSpPr/>
            <p:nvPr userDrawn="1"/>
          </p:nvGrpSpPr>
          <p:grpSpPr>
            <a:xfrm>
              <a:off x="-2088000" y="0"/>
              <a:ext cx="1980000" cy="3528000"/>
              <a:chOff x="-2088000" y="0"/>
              <a:chExt cx="1980000" cy="3528000"/>
            </a:xfrm>
          </p:grpSpPr>
          <p:sp>
            <p:nvSpPr>
              <p:cNvPr id="3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33" name="Listenebenen"/>
              <p:cNvGrpSpPr/>
              <p:nvPr userDrawn="1"/>
            </p:nvGrpSpPr>
            <p:grpSpPr>
              <a:xfrm>
                <a:off x="-1692000" y="2232000"/>
                <a:ext cx="1548000" cy="792000"/>
                <a:chOff x="-1692000" y="2160000"/>
                <a:chExt cx="1548000" cy="792000"/>
              </a:xfrm>
            </p:grpSpPr>
            <p:sp>
              <p:nvSpPr>
                <p:cNvPr id="3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3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36"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7"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5" name="Fußzeilenplatzhalter 4"/>
          <p:cNvSpPr>
            <a:spLocks noGrp="1"/>
          </p:cNvSpPr>
          <p:nvPr>
            <p:ph type="ftr" sz="quarter" idx="14"/>
          </p:nvPr>
        </p:nvSpPr>
        <p:spPr/>
        <p:txBody>
          <a:bodyPr/>
          <a:lstStyle/>
          <a:p>
            <a:r>
              <a:rPr lang="de-DE" dirty="0" smtClean="0">
                <a:solidFill>
                  <a:prstClr val="black"/>
                </a:solidFill>
              </a:rPr>
              <a:t>Titel der Präsentation / Abteilung / Datum /</a:t>
            </a:r>
          </a:p>
        </p:txBody>
      </p:sp>
      <p:sp>
        <p:nvSpPr>
          <p:cNvPr id="8" name="Foliennummernplatzhalter 7"/>
          <p:cNvSpPr>
            <a:spLocks noGrp="1"/>
          </p:cNvSpPr>
          <p:nvPr>
            <p:ph type="sldNum" sz="quarter" idx="15"/>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151527699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6677"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26320497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userDrawn="1">
  <p:cSld name="Text/ Inhalt/ Ü 1 Zeile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smtClean="0"/>
              <a:t>Headline in CorpoS (Textkörper) 35 pt.</a:t>
            </a:r>
            <a:endParaRPr lang="de-DE" dirty="0"/>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de-DE" dirty="0" smtClean="0"/>
              <a:t>Text oder Inhalt einfügen in </a:t>
            </a:r>
            <a:r>
              <a:rPr lang="de-DE" noProof="0" dirty="0" smtClean="0"/>
              <a:t>CorpoS (Body) 24 pt. (Hervorhebungen in fett) </a:t>
            </a:r>
            <a:r>
              <a:rPr lang="de-DE" dirty="0" smtClean="0"/>
              <a:t>// für Zusammenfassung oder kurzes Highlight: Start // Absatz // Listenebene erhöhen</a:t>
            </a:r>
          </a:p>
          <a:p>
            <a:pPr lvl="1"/>
            <a:r>
              <a:rPr lang="de-DE" dirty="0" smtClean="0"/>
              <a:t>Zweite Ebene (Zusammenfassung oder kurzes Highlight)</a:t>
            </a:r>
          </a:p>
          <a:p>
            <a:pPr lvl="2"/>
            <a:r>
              <a:rPr lang="de-DE" dirty="0" smtClean="0"/>
              <a:t>Dritte Ebene </a:t>
            </a:r>
          </a:p>
          <a:p>
            <a:pPr lvl="3"/>
            <a:r>
              <a:rPr lang="de-DE" dirty="0" smtClean="0"/>
              <a:t>Vierte Ebene </a:t>
            </a:r>
          </a:p>
          <a:p>
            <a:pPr lvl="4"/>
            <a:r>
              <a:rPr lang="de-DE" dirty="0" smtClean="0"/>
              <a:t>Fünfte Ebene </a:t>
            </a:r>
          </a:p>
          <a:p>
            <a:pPr lvl="5"/>
            <a:r>
              <a:rPr lang="de-DE" dirty="0" smtClean="0"/>
              <a:t>Sechste Ebene </a:t>
            </a:r>
          </a:p>
          <a:p>
            <a:pPr lvl="6"/>
            <a:r>
              <a:rPr lang="de-DE" dirty="0" smtClean="0"/>
              <a:t>Siebte Ebene </a:t>
            </a:r>
          </a:p>
          <a:p>
            <a:pPr lvl="7"/>
            <a:r>
              <a:rPr lang="de-DE" dirty="0" smtClean="0"/>
              <a:t>Achte Ebene </a:t>
            </a:r>
          </a:p>
          <a:p>
            <a:pPr lvl="8"/>
            <a:r>
              <a:rPr lang="de-DE" dirty="0" smtClean="0"/>
              <a:t>Neunte Ebene </a:t>
            </a:r>
          </a:p>
        </p:txBody>
      </p:sp>
      <p:sp>
        <p:nvSpPr>
          <p:cNvPr id="5" name="Fußzeilenplatzhalter 4"/>
          <p:cNvSpPr>
            <a:spLocks noGrp="1"/>
          </p:cNvSpPr>
          <p:nvPr>
            <p:ph type="ftr" sz="quarter" idx="13"/>
          </p:nvPr>
        </p:nvSpPr>
        <p:spPr/>
        <p:txBody>
          <a:bodyPr/>
          <a:lstStyle/>
          <a:p>
            <a:r>
              <a:rPr lang="de-DE" dirty="0" smtClean="0">
                <a:solidFill>
                  <a:prstClr val="black"/>
                </a:solidFill>
              </a:rPr>
              <a:t>Titel der Präsentation / Abteilung / Datum /</a:t>
            </a:r>
          </a:p>
        </p:txBody>
      </p:sp>
      <p:sp>
        <p:nvSpPr>
          <p:cNvPr id="7" name="Foliennummernplatzhalter 6"/>
          <p:cNvSpPr>
            <a:spLocks noGrp="1"/>
          </p:cNvSpPr>
          <p:nvPr>
            <p:ph type="sldNum" sz="quarter" idx="14"/>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6541534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1021.xml><?xml version="1.0" encoding="utf-8"?>
<p:sldLayout xmlns:a="http://schemas.openxmlformats.org/drawingml/2006/main" xmlns:r="http://schemas.openxmlformats.org/officeDocument/2006/relationships" xmlns:p="http://schemas.openxmlformats.org/presentationml/2006/main" showMasterSp="0" preserve="1" userDrawn="1">
  <p:cSld name="Text/ Bild/ Ü 1 Zeile ">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2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3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31" name="Hinweise links"/>
            <p:cNvGrpSpPr/>
            <p:nvPr userDrawn="1"/>
          </p:nvGrpSpPr>
          <p:grpSpPr>
            <a:xfrm>
              <a:off x="-2088000" y="0"/>
              <a:ext cx="1980000" cy="3528000"/>
              <a:chOff x="-2088000" y="0"/>
              <a:chExt cx="1980000" cy="3528000"/>
            </a:xfrm>
          </p:grpSpPr>
          <p:sp>
            <p:nvSpPr>
              <p:cNvPr id="3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33" name="Listenebenen"/>
              <p:cNvGrpSpPr/>
              <p:nvPr userDrawn="1"/>
            </p:nvGrpSpPr>
            <p:grpSpPr>
              <a:xfrm>
                <a:off x="-1692000" y="2232000"/>
                <a:ext cx="1548000" cy="792000"/>
                <a:chOff x="-1692000" y="2160000"/>
                <a:chExt cx="1548000" cy="792000"/>
              </a:xfrm>
            </p:grpSpPr>
            <p:sp>
              <p:nvSpPr>
                <p:cNvPr id="3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3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36"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7"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a:xfrm>
            <a:off x="629671" y="285982"/>
            <a:ext cx="10931106" cy="683842"/>
          </a:xfrm>
        </p:spPr>
        <p:txBody>
          <a:bodyPr/>
          <a:lstStyle/>
          <a:p>
            <a:r>
              <a:rPr lang="de-DE" noProof="0" dirty="0" smtClean="0"/>
              <a:t>Headline in CorpoS (Textkörper) 35 pt.</a:t>
            </a:r>
            <a:endParaRPr lang="de-DE" dirty="0"/>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5" name="Fußzeilenplatzhalter 4"/>
          <p:cNvSpPr>
            <a:spLocks noGrp="1"/>
          </p:cNvSpPr>
          <p:nvPr>
            <p:ph type="ftr" sz="quarter" idx="14"/>
          </p:nvPr>
        </p:nvSpPr>
        <p:spPr/>
        <p:txBody>
          <a:bodyPr/>
          <a:lstStyle/>
          <a:p>
            <a:r>
              <a:rPr lang="de-DE" dirty="0" smtClean="0">
                <a:solidFill>
                  <a:prstClr val="black"/>
                </a:solidFill>
              </a:rPr>
              <a:t>Titel der Präsentation / Abteilung / Datum /</a:t>
            </a:r>
          </a:p>
        </p:txBody>
      </p:sp>
      <p:sp>
        <p:nvSpPr>
          <p:cNvPr id="6" name="Foliennummernplatzhalter 5"/>
          <p:cNvSpPr>
            <a:spLocks noGrp="1"/>
          </p:cNvSpPr>
          <p:nvPr>
            <p:ph type="sldNum" sz="quarter" idx="15"/>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238408908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1022.xml><?xml version="1.0" encoding="utf-8"?>
<p:sldLayout xmlns:a="http://schemas.openxmlformats.org/drawingml/2006/main" xmlns:r="http://schemas.openxmlformats.org/officeDocument/2006/relationships" xmlns:p="http://schemas.openxmlformats.org/presentationml/2006/main" showMasterSp="0" preserve="1" userDrawn="1">
  <p:cSld name="1. Bürstung/ Bild 2-spaltig">
    <p:bg>
      <p:bgRef idx="1001">
        <a:schemeClr val="bg1"/>
      </p:bgRef>
    </p:bg>
    <p:spTree>
      <p:nvGrpSpPr>
        <p:cNvPr id="1" name=""/>
        <p:cNvGrpSpPr/>
        <p:nvPr/>
      </p:nvGrpSpPr>
      <p:grpSpPr>
        <a:xfrm>
          <a:off x="0" y="0"/>
          <a:ext cx="0" cy="0"/>
          <a:chOff x="0" y="0"/>
          <a:chExt cx="0" cy="0"/>
        </a:xfrm>
      </p:grpSpPr>
      <p:grpSp>
        <p:nvGrpSpPr>
          <p:cNvPr id="25" name="Regieanweisungen"/>
          <p:cNvGrpSpPr/>
          <p:nvPr userDrawn="1"/>
        </p:nvGrpSpPr>
        <p:grpSpPr>
          <a:xfrm>
            <a:off x="-2086913" y="-467892"/>
            <a:ext cx="13647691" cy="7792196"/>
            <a:chOff x="-2088000" y="-468000"/>
            <a:chExt cx="13654799" cy="7794000"/>
          </a:xfrm>
        </p:grpSpPr>
        <p:sp>
          <p:nvSpPr>
            <p:cNvPr id="2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2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33"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de-DE" dirty="0" smtClean="0"/>
              <a:t>Bilder Folie, Headline </a:t>
            </a:r>
            <a:r>
              <a:rPr lang="de-DE" noProof="0" dirty="0" smtClean="0"/>
              <a:t>CorpoS </a:t>
            </a:r>
            <a:r>
              <a:rPr lang="de-DE" dirty="0" smtClean="0"/>
              <a:t>(Textkörper) 35 pt. </a:t>
            </a:r>
            <a:br>
              <a:rPr lang="de-DE" dirty="0" smtClean="0"/>
            </a:br>
            <a:r>
              <a:rPr lang="de-DE" dirty="0" smtClean="0"/>
              <a:t>in zwei oder mehr Zeilen</a:t>
            </a:r>
            <a:endParaRPr lang="de-DE" dirty="0"/>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5" name="Fußzeilenplatzhalter 4"/>
          <p:cNvSpPr>
            <a:spLocks noGrp="1"/>
          </p:cNvSpPr>
          <p:nvPr>
            <p:ph type="ftr" sz="quarter" idx="14"/>
          </p:nvPr>
        </p:nvSpPr>
        <p:spPr/>
        <p:txBody>
          <a:bodyPr/>
          <a:lstStyle/>
          <a:p>
            <a:r>
              <a:rPr lang="de-DE" dirty="0" smtClean="0">
                <a:solidFill>
                  <a:prstClr val="black"/>
                </a:solidFill>
              </a:rPr>
              <a:t>Titel der Präsentation / Abteilung / Datum /</a:t>
            </a:r>
          </a:p>
        </p:txBody>
      </p:sp>
      <p:sp>
        <p:nvSpPr>
          <p:cNvPr id="6" name="Foliennummernplatzhalter 5"/>
          <p:cNvSpPr>
            <a:spLocks noGrp="1"/>
          </p:cNvSpPr>
          <p:nvPr>
            <p:ph type="sldNum" sz="quarter" idx="15"/>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124369507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1023.xml><?xml version="1.0" encoding="utf-8"?>
<p:sldLayout xmlns:a="http://schemas.openxmlformats.org/drawingml/2006/main" xmlns:r="http://schemas.openxmlformats.org/officeDocument/2006/relationships" xmlns:p="http://schemas.openxmlformats.org/presentationml/2006/main" showMasterSp="0" preserve="1" userDrawn="1">
  <p:cSld name="2. Bürstung/ Bild 2-spaltig">
    <p:bg>
      <p:bgRef idx="1001">
        <a:schemeClr val="bg1"/>
      </p:bgRef>
    </p:bg>
    <p:spTree>
      <p:nvGrpSpPr>
        <p:cNvPr id="1" name=""/>
        <p:cNvGrpSpPr/>
        <p:nvPr/>
      </p:nvGrpSpPr>
      <p:grpSpPr>
        <a:xfrm>
          <a:off x="0" y="0"/>
          <a:ext cx="0" cy="0"/>
          <a:chOff x="0" y="0"/>
          <a:chExt cx="0" cy="0"/>
        </a:xfrm>
      </p:grpSpPr>
      <p:grpSp>
        <p:nvGrpSpPr>
          <p:cNvPr id="24" name="Regieanweisungen"/>
          <p:cNvGrpSpPr/>
          <p:nvPr userDrawn="1"/>
        </p:nvGrpSpPr>
        <p:grpSpPr>
          <a:xfrm>
            <a:off x="-2086913" y="-467892"/>
            <a:ext cx="13647691" cy="7792196"/>
            <a:chOff x="-2088000" y="-468000"/>
            <a:chExt cx="13654799" cy="7794000"/>
          </a:xfrm>
        </p:grpSpPr>
        <p:sp>
          <p:nvSpPr>
            <p:cNvPr id="2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2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29" name="Listenebenen"/>
              <p:cNvGrpSpPr/>
              <p:nvPr userDrawn="1"/>
            </p:nvGrpSpPr>
            <p:grpSpPr>
              <a:xfrm>
                <a:off x="-1692000" y="2232000"/>
                <a:ext cx="1548000" cy="792000"/>
                <a:chOff x="-1692000" y="2160000"/>
                <a:chExt cx="1548000" cy="792000"/>
              </a:xfrm>
            </p:grpSpPr>
            <p:sp>
              <p:nvSpPr>
                <p:cNvPr id="30"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31"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32"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3"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5" name="Fußzeilenplatzhalter 4"/>
          <p:cNvSpPr>
            <a:spLocks noGrp="1"/>
          </p:cNvSpPr>
          <p:nvPr>
            <p:ph type="ftr" sz="quarter" idx="14"/>
          </p:nvPr>
        </p:nvSpPr>
        <p:spPr/>
        <p:txBody>
          <a:bodyPr/>
          <a:lstStyle/>
          <a:p>
            <a:r>
              <a:rPr lang="de-DE" dirty="0" smtClean="0">
                <a:solidFill>
                  <a:prstClr val="black"/>
                </a:solidFill>
              </a:rPr>
              <a:t>Titel der Präsentation / Abteilung / Datum /</a:t>
            </a:r>
          </a:p>
        </p:txBody>
      </p:sp>
      <p:sp>
        <p:nvSpPr>
          <p:cNvPr id="6" name="Foliennummernplatzhalter 5"/>
          <p:cNvSpPr>
            <a:spLocks noGrp="1"/>
          </p:cNvSpPr>
          <p:nvPr>
            <p:ph type="sldNum" sz="quarter" idx="15"/>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20" name="Title 2"/>
          <p:cNvSpPr>
            <a:spLocks noGrp="1"/>
          </p:cNvSpPr>
          <p:nvPr>
            <p:ph type="title" hasCustomPrompt="1"/>
          </p:nvPr>
        </p:nvSpPr>
        <p:spPr>
          <a:xfrm>
            <a:off x="630117" y="288858"/>
            <a:ext cx="10931023" cy="1115742"/>
          </a:xfrm>
          <a:custGeom>
            <a:avLst/>
            <a:gdLst>
              <a:gd name="connsiteX0" fmla="*/ 0 w 10936355"/>
              <a:gd name="connsiteY0" fmla="*/ 0 h 1116000"/>
              <a:gd name="connsiteX1" fmla="*/ 10936355 w 10936355"/>
              <a:gd name="connsiteY1" fmla="*/ 0 h 1116000"/>
              <a:gd name="connsiteX2" fmla="*/ 10936355 w 10936355"/>
              <a:gd name="connsiteY2" fmla="*/ 1116000 h 1116000"/>
              <a:gd name="connsiteX3" fmla="*/ 0 w 10936355"/>
              <a:gd name="connsiteY3" fmla="*/ 1116000 h 1116000"/>
              <a:gd name="connsiteX4" fmla="*/ 0 w 10936355"/>
              <a:gd name="connsiteY4" fmla="*/ 0 h 1116000"/>
              <a:gd name="connsiteX0" fmla="*/ 0 w 10936355"/>
              <a:gd name="connsiteY0" fmla="*/ 0 h 1116000"/>
              <a:gd name="connsiteX1" fmla="*/ 10936355 w 10936355"/>
              <a:gd name="connsiteY1" fmla="*/ 0 h 1116000"/>
              <a:gd name="connsiteX2" fmla="*/ 10936355 w 10936355"/>
              <a:gd name="connsiteY2" fmla="*/ 1116000 h 1116000"/>
              <a:gd name="connsiteX3" fmla="*/ 5793216 w 10936355"/>
              <a:gd name="connsiteY3" fmla="*/ 1113155 h 1116000"/>
              <a:gd name="connsiteX4" fmla="*/ 0 w 10936355"/>
              <a:gd name="connsiteY4" fmla="*/ 1116000 h 1116000"/>
              <a:gd name="connsiteX5" fmla="*/ 0 w 10936355"/>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10936355 w 10936716"/>
              <a:gd name="connsiteY3" fmla="*/ 1116000 h 1116000"/>
              <a:gd name="connsiteX4" fmla="*/ 5793216 w 10936716"/>
              <a:gd name="connsiteY4" fmla="*/ 1113155 h 1116000"/>
              <a:gd name="connsiteX5" fmla="*/ 0 w 10936716"/>
              <a:gd name="connsiteY5" fmla="*/ 1116000 h 1116000"/>
              <a:gd name="connsiteX6" fmla="*/ 0 w 10936716"/>
              <a:gd name="connsiteY6"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1116000">
                <a:moveTo>
                  <a:pt x="0" y="0"/>
                </a:moveTo>
                <a:lnTo>
                  <a:pt x="10936355" y="0"/>
                </a:lnTo>
                <a:cubicBezTo>
                  <a:pt x="10936475" y="226272"/>
                  <a:pt x="10936596" y="452543"/>
                  <a:pt x="10936716" y="678815"/>
                </a:cubicBezTo>
                <a:lnTo>
                  <a:pt x="5793216" y="1113155"/>
                </a:lnTo>
                <a:lnTo>
                  <a:pt x="0" y="1116000"/>
                </a:lnTo>
                <a:lnTo>
                  <a:pt x="0" y="0"/>
                </a:lnTo>
                <a:close/>
              </a:path>
            </a:pathLst>
          </a:custGeom>
        </p:spPr>
        <p:txBody>
          <a:bodyPr/>
          <a:lstStyle>
            <a:lvl1pPr>
              <a:defRPr>
                <a:solidFill>
                  <a:schemeClr val="bg1"/>
                </a:solidFill>
              </a:defRPr>
            </a:lvl1pPr>
          </a:lstStyle>
          <a:p>
            <a:r>
              <a:rPr lang="de-DE" dirty="0" smtClean="0"/>
              <a:t>Bilder Folie, Headline CorpoS (Textkörper) 35 pt. </a:t>
            </a:r>
            <a:br>
              <a:rPr lang="de-DE" dirty="0" smtClean="0"/>
            </a:br>
            <a:r>
              <a:rPr lang="de-DE" dirty="0" smtClean="0"/>
              <a:t>in zwei Zeilen</a:t>
            </a:r>
          </a:p>
        </p:txBody>
      </p:sp>
      <p:sp>
        <p:nvSpPr>
          <p:cNvPr id="19"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306400400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1024.xml><?xml version="1.0" encoding="utf-8"?>
<p:sldLayout xmlns:a="http://schemas.openxmlformats.org/drawingml/2006/main" xmlns:r="http://schemas.openxmlformats.org/officeDocument/2006/relationships" xmlns:p="http://schemas.openxmlformats.org/presentationml/2006/main" showMasterSp="0" preserve="1" userDrawn="1">
  <p:cSld name="3. Bürstung/ Bild 2-spaltig">
    <p:bg>
      <p:bgRef idx="1001">
        <a:schemeClr val="bg1"/>
      </p:bgRef>
    </p:bg>
    <p:spTree>
      <p:nvGrpSpPr>
        <p:cNvPr id="1" name=""/>
        <p:cNvGrpSpPr/>
        <p:nvPr/>
      </p:nvGrpSpPr>
      <p:grpSpPr>
        <a:xfrm>
          <a:off x="0" y="0"/>
          <a:ext cx="0" cy="0"/>
          <a:chOff x="0" y="0"/>
          <a:chExt cx="0" cy="0"/>
        </a:xfrm>
      </p:grpSpPr>
      <p:grpSp>
        <p:nvGrpSpPr>
          <p:cNvPr id="24" name="Regieanweisungen"/>
          <p:cNvGrpSpPr/>
          <p:nvPr userDrawn="1"/>
        </p:nvGrpSpPr>
        <p:grpSpPr>
          <a:xfrm>
            <a:off x="-2086913" y="-467892"/>
            <a:ext cx="13647691" cy="7792196"/>
            <a:chOff x="-2088000" y="-468000"/>
            <a:chExt cx="13654799" cy="7794000"/>
          </a:xfrm>
        </p:grpSpPr>
        <p:sp>
          <p:nvSpPr>
            <p:cNvPr id="2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2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29" name="Listenebenen"/>
              <p:cNvGrpSpPr/>
              <p:nvPr userDrawn="1"/>
            </p:nvGrpSpPr>
            <p:grpSpPr>
              <a:xfrm>
                <a:off x="-1692000" y="2232000"/>
                <a:ext cx="1548000" cy="792000"/>
                <a:chOff x="-1692000" y="2160000"/>
                <a:chExt cx="1548000" cy="792000"/>
              </a:xfrm>
            </p:grpSpPr>
            <p:sp>
              <p:nvSpPr>
                <p:cNvPr id="30"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31"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32"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3"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2" name="Fußzeilenplatzhalter 1"/>
          <p:cNvSpPr>
            <a:spLocks noGrp="1"/>
          </p:cNvSpPr>
          <p:nvPr>
            <p:ph type="ftr" sz="quarter" idx="15"/>
          </p:nvPr>
        </p:nvSpPr>
        <p:spPr/>
        <p:txBody>
          <a:bodyPr/>
          <a:lstStyle/>
          <a:p>
            <a:r>
              <a:rPr lang="de-DE" dirty="0" smtClean="0">
                <a:solidFill>
                  <a:prstClr val="black"/>
                </a:solidFill>
              </a:rPr>
              <a:t>Titel der Präsentation / Abteilung / Datum /</a:t>
            </a:r>
          </a:p>
        </p:txBody>
      </p:sp>
      <p:sp>
        <p:nvSpPr>
          <p:cNvPr id="4" name="Foliennummernplatzhalter 3"/>
          <p:cNvSpPr>
            <a:spLocks noGrp="1"/>
          </p:cNvSpPr>
          <p:nvPr>
            <p:ph type="sldNum" sz="quarter" idx="16"/>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69361295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1025.xml><?xml version="1.0" encoding="utf-8"?>
<p:sldLayout xmlns:a="http://schemas.openxmlformats.org/drawingml/2006/main" xmlns:r="http://schemas.openxmlformats.org/officeDocument/2006/relationships" xmlns:p="http://schemas.openxmlformats.org/presentationml/2006/main" showMasterSp="0" preserve="1" userDrawn="1">
  <p:cSld name="4. Bürstung/ Bild 2-spaltig">
    <p:bg>
      <p:bgRef idx="1001">
        <a:schemeClr val="bg1"/>
      </p:bgRef>
    </p:bg>
    <p:spTree>
      <p:nvGrpSpPr>
        <p:cNvPr id="1" name=""/>
        <p:cNvGrpSpPr/>
        <p:nvPr/>
      </p:nvGrpSpPr>
      <p:grpSpPr>
        <a:xfrm>
          <a:off x="0" y="0"/>
          <a:ext cx="0" cy="0"/>
          <a:chOff x="0" y="0"/>
          <a:chExt cx="0" cy="0"/>
        </a:xfrm>
      </p:grpSpPr>
      <p:grpSp>
        <p:nvGrpSpPr>
          <p:cNvPr id="27" name="Regieanweisungen"/>
          <p:cNvGrpSpPr/>
          <p:nvPr userDrawn="1"/>
        </p:nvGrpSpPr>
        <p:grpSpPr>
          <a:xfrm>
            <a:off x="-2086913" y="-467892"/>
            <a:ext cx="13647691" cy="7792196"/>
            <a:chOff x="-2088000" y="-468000"/>
            <a:chExt cx="13654799" cy="7794000"/>
          </a:xfrm>
        </p:grpSpPr>
        <p:sp>
          <p:nvSpPr>
            <p:cNvPr id="2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2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30"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smtClean="0"/>
              <a:t>Text oder Inhalt einfügen in </a:t>
            </a:r>
            <a:r>
              <a:rPr lang="de-DE" noProof="0" dirty="0" smtClean="0"/>
              <a:t>CorpoS (Body) 24 pt. (Hervorhebungen in fett) </a:t>
            </a:r>
            <a:r>
              <a:rPr lang="de-DE" dirty="0" smtClean="0"/>
              <a:t>// für Zusammenfassung oder kurzes Highlight: Start // Absatz // Listenebene erhöhen</a:t>
            </a:r>
          </a:p>
          <a:p>
            <a:pPr lvl="1"/>
            <a:r>
              <a:rPr lang="de-DE" dirty="0" smtClean="0"/>
              <a:t>Zweite Ebene</a:t>
            </a:r>
          </a:p>
        </p:txBody>
      </p:sp>
      <p:sp>
        <p:nvSpPr>
          <p:cNvPr id="2" name="Fußzeilenplatzhalter 1"/>
          <p:cNvSpPr>
            <a:spLocks noGrp="1"/>
          </p:cNvSpPr>
          <p:nvPr>
            <p:ph type="ftr" sz="quarter" idx="16"/>
          </p:nvPr>
        </p:nvSpPr>
        <p:spPr/>
        <p:txBody>
          <a:bodyPr/>
          <a:lstStyle/>
          <a:p>
            <a:r>
              <a:rPr lang="de-DE" dirty="0" smtClean="0">
                <a:solidFill>
                  <a:prstClr val="black"/>
                </a:solidFill>
              </a:rPr>
              <a:t>Titel der Präsentation / Abteilung / Datum /</a:t>
            </a:r>
          </a:p>
        </p:txBody>
      </p:sp>
      <p:sp>
        <p:nvSpPr>
          <p:cNvPr id="5" name="Foliennummernplatzhalter 4"/>
          <p:cNvSpPr>
            <a:spLocks noGrp="1"/>
          </p:cNvSpPr>
          <p:nvPr>
            <p:ph type="sldNum" sz="quarter" idx="17"/>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42763921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1026.xml><?xml version="1.0" encoding="utf-8"?>
<p:sldLayout xmlns:a="http://schemas.openxmlformats.org/drawingml/2006/main" xmlns:r="http://schemas.openxmlformats.org/officeDocument/2006/relationships" xmlns:p="http://schemas.openxmlformats.org/presentationml/2006/main" showMasterSp="0" preserve="1" userDrawn="1">
  <p:cSld name="5. Bürstung/ Bild 3-spaltig">
    <p:bg>
      <p:bgRef idx="1001">
        <a:schemeClr val="bg1"/>
      </p:bgRef>
    </p:bg>
    <p:spTree>
      <p:nvGrpSpPr>
        <p:cNvPr id="1" name=""/>
        <p:cNvGrpSpPr/>
        <p:nvPr/>
      </p:nvGrpSpPr>
      <p:grpSpPr>
        <a:xfrm>
          <a:off x="0" y="0"/>
          <a:ext cx="0" cy="0"/>
          <a:chOff x="0" y="0"/>
          <a:chExt cx="0" cy="0"/>
        </a:xfrm>
      </p:grpSpPr>
      <p:grpSp>
        <p:nvGrpSpPr>
          <p:cNvPr id="26" name="Regieanweisungen"/>
          <p:cNvGrpSpPr/>
          <p:nvPr userDrawn="1"/>
        </p:nvGrpSpPr>
        <p:grpSpPr>
          <a:xfrm>
            <a:off x="-2086913" y="-467892"/>
            <a:ext cx="13647691" cy="7792196"/>
            <a:chOff x="-2088000" y="-468000"/>
            <a:chExt cx="13654799" cy="7794000"/>
          </a:xfrm>
        </p:grpSpPr>
        <p:sp>
          <p:nvSpPr>
            <p:cNvPr id="2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29" name="Hinweise links"/>
            <p:cNvGrpSpPr/>
            <p:nvPr userDrawn="1"/>
          </p:nvGrpSpPr>
          <p:grpSpPr>
            <a:xfrm>
              <a:off x="-2088000" y="0"/>
              <a:ext cx="1980000" cy="3528000"/>
              <a:chOff x="-2088000" y="0"/>
              <a:chExt cx="1980000" cy="3528000"/>
            </a:xfrm>
          </p:grpSpPr>
          <p:sp>
            <p:nvSpPr>
              <p:cNvPr id="30"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34"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smtClean="0"/>
              <a:t>Text oder Inhalt einfügen in </a:t>
            </a:r>
            <a:r>
              <a:rPr lang="de-DE" noProof="0" dirty="0" smtClean="0"/>
              <a:t>CorpoS (Body) 24 pt. (Hervorhebungen in fett) </a:t>
            </a:r>
            <a:r>
              <a:rPr lang="de-DE" dirty="0" smtClean="0"/>
              <a:t>// für Zusammenfassung oder kurzes Highlight: Start // Absatz // Listenebene erhöhen</a:t>
            </a:r>
          </a:p>
          <a:p>
            <a:pPr lvl="1"/>
            <a:r>
              <a:rPr lang="de-DE" dirty="0" smtClean="0"/>
              <a:t>Zweite Ebene </a:t>
            </a:r>
          </a:p>
          <a:p>
            <a:pPr lvl="2"/>
            <a:r>
              <a:rPr lang="de-DE" dirty="0" smtClean="0"/>
              <a:t>Dritte Ebene </a:t>
            </a:r>
          </a:p>
          <a:p>
            <a:pPr lvl="3"/>
            <a:r>
              <a:rPr lang="de-DE" dirty="0" smtClean="0"/>
              <a:t>Vierte Ebene </a:t>
            </a:r>
          </a:p>
          <a:p>
            <a:pPr lvl="4"/>
            <a:r>
              <a:rPr lang="de-DE" dirty="0" smtClean="0"/>
              <a:t>Fünfte Ebene </a:t>
            </a:r>
          </a:p>
        </p:txBody>
      </p:sp>
      <p:sp>
        <p:nvSpPr>
          <p:cNvPr id="3" name="Fußzeilenplatzhalter 2"/>
          <p:cNvSpPr>
            <a:spLocks noGrp="1"/>
          </p:cNvSpPr>
          <p:nvPr>
            <p:ph type="ftr" sz="quarter" idx="16"/>
          </p:nvPr>
        </p:nvSpPr>
        <p:spPr/>
        <p:txBody>
          <a:bodyPr/>
          <a:lstStyle/>
          <a:p>
            <a:r>
              <a:rPr lang="de-DE" dirty="0" smtClean="0">
                <a:solidFill>
                  <a:prstClr val="black"/>
                </a:solidFill>
              </a:rPr>
              <a:t>Titel der Präsentation / Abteilung / Datum /</a:t>
            </a:r>
          </a:p>
        </p:txBody>
      </p:sp>
      <p:sp>
        <p:nvSpPr>
          <p:cNvPr id="6" name="Foliennummernplatzhalter 5"/>
          <p:cNvSpPr>
            <a:spLocks noGrp="1"/>
          </p:cNvSpPr>
          <p:nvPr>
            <p:ph type="sldNum" sz="quarter" idx="17"/>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176793881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1027.xml><?xml version="1.0" encoding="utf-8"?>
<p:sldLayout xmlns:a="http://schemas.openxmlformats.org/drawingml/2006/main" xmlns:r="http://schemas.openxmlformats.org/officeDocument/2006/relationships" xmlns:p="http://schemas.openxmlformats.org/presentationml/2006/main" showMasterSp="0" preserve="1" userDrawn="1">
  <p:cSld name="Vollbild">
    <p:bg>
      <p:bgRef idx="1001">
        <a:schemeClr val="bg1"/>
      </p:bgRef>
    </p:bg>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2" name="Fußzeilenplatzhalter 1"/>
          <p:cNvSpPr>
            <a:spLocks noGrp="1"/>
          </p:cNvSpPr>
          <p:nvPr>
            <p:ph type="ftr" sz="quarter" idx="14"/>
          </p:nvPr>
        </p:nvSpPr>
        <p:spPr/>
        <p:txBody>
          <a:bodyPr/>
          <a:lstStyle/>
          <a:p>
            <a:r>
              <a:rPr lang="de-DE" dirty="0" smtClean="0">
                <a:solidFill>
                  <a:prstClr val="black"/>
                </a:solidFill>
              </a:rPr>
              <a:t>Titel der Präsentation / Abteilung / Datum /</a:t>
            </a:r>
          </a:p>
        </p:txBody>
      </p:sp>
      <p:sp>
        <p:nvSpPr>
          <p:cNvPr id="3" name="Foliennummernplatzhalter 2"/>
          <p:cNvSpPr>
            <a:spLocks noGrp="1"/>
          </p:cNvSpPr>
          <p:nvPr>
            <p:ph type="sldNum" sz="quarter" idx="15"/>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263775865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28.xml><?xml version="1.0" encoding="utf-8"?>
<p:sldLayout xmlns:a="http://schemas.openxmlformats.org/drawingml/2006/main" xmlns:r="http://schemas.openxmlformats.org/officeDocument/2006/relationships" xmlns:p="http://schemas.openxmlformats.org/presentationml/2006/main" showMasterSp="0" preserve="1" userDrawn="1">
  <p:cSld name="Vollbild/ 2-spaltig">
    <p:bg>
      <p:bgRef idx="1001">
        <a:schemeClr val="bg1"/>
      </p:bgRef>
    </p:bg>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Fußzeilenplatzhalter 1"/>
          <p:cNvSpPr>
            <a:spLocks noGrp="1"/>
          </p:cNvSpPr>
          <p:nvPr>
            <p:ph type="ftr" sz="quarter" idx="14"/>
          </p:nvPr>
        </p:nvSpPr>
        <p:spPr/>
        <p:txBody>
          <a:bodyPr/>
          <a:lstStyle/>
          <a:p>
            <a:r>
              <a:rPr lang="de-DE" dirty="0" smtClean="0">
                <a:solidFill>
                  <a:prstClr val="black"/>
                </a:solidFill>
              </a:rPr>
              <a:t>Titel der Präsentation / Abteilung / Datum /</a:t>
            </a:r>
          </a:p>
        </p:txBody>
      </p:sp>
      <p:sp>
        <p:nvSpPr>
          <p:cNvPr id="3" name="Foliennummernplatzhalter 2"/>
          <p:cNvSpPr>
            <a:spLocks noGrp="1"/>
          </p:cNvSpPr>
          <p:nvPr>
            <p:ph type="sldNum" sz="quarter" idx="15"/>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6" name="Picture Placeholder 3"/>
          <p:cNvSpPr>
            <a:spLocks noGrp="1"/>
          </p:cNvSpPr>
          <p:nvPr>
            <p:ph type="pic" sz="quarter" idx="13" hasCustomPrompt="1"/>
          </p:nvPr>
        </p:nvSpPr>
        <p:spPr bwMode="gray">
          <a:xfrm>
            <a:off x="0" y="0"/>
            <a:ext cx="6059905" cy="6486611"/>
          </a:xfrm>
          <a:prstGeom prst="rect">
            <a:avLst/>
          </a:pr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7" name="Picture Placeholder 3"/>
          <p:cNvSpPr>
            <a:spLocks noGrp="1"/>
          </p:cNvSpPr>
          <p:nvPr>
            <p:ph type="pic" sz="quarter" idx="16" hasCustomPrompt="1"/>
          </p:nvPr>
        </p:nvSpPr>
        <p:spPr bwMode="gray">
          <a:xfrm>
            <a:off x="6132096" y="0"/>
            <a:ext cx="6059905" cy="6486611"/>
          </a:xfrm>
          <a:prstGeom prst="rect">
            <a:avLst/>
          </a:pr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57135509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29.xml><?xml version="1.0" encoding="utf-8"?>
<p:sldLayout xmlns:a="http://schemas.openxmlformats.org/drawingml/2006/main" xmlns:r="http://schemas.openxmlformats.org/officeDocument/2006/relationships" xmlns:p="http://schemas.openxmlformats.org/presentationml/2006/main" showMasterSp="0" preserve="1" userDrawn="1">
  <p:cSld name="Vollbild/ 4 Bilder">
    <p:bg>
      <p:bgRef idx="1001">
        <a:schemeClr val="bg1"/>
      </p:bgRef>
    </p:bg>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Fußzeilenplatzhalter 1"/>
          <p:cNvSpPr>
            <a:spLocks noGrp="1"/>
          </p:cNvSpPr>
          <p:nvPr>
            <p:ph type="ftr" sz="quarter" idx="14"/>
          </p:nvPr>
        </p:nvSpPr>
        <p:spPr/>
        <p:txBody>
          <a:bodyPr/>
          <a:lstStyle/>
          <a:p>
            <a:r>
              <a:rPr lang="de-DE" dirty="0" smtClean="0">
                <a:solidFill>
                  <a:prstClr val="black"/>
                </a:solidFill>
              </a:rPr>
              <a:t>Titel der Präsentation / Abteilung / Datum /</a:t>
            </a:r>
          </a:p>
        </p:txBody>
      </p:sp>
      <p:sp>
        <p:nvSpPr>
          <p:cNvPr id="3" name="Foliennummernplatzhalter 2"/>
          <p:cNvSpPr>
            <a:spLocks noGrp="1"/>
          </p:cNvSpPr>
          <p:nvPr>
            <p:ph type="sldNum" sz="quarter" idx="15"/>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6" name="Picture Placeholder 3"/>
          <p:cNvSpPr>
            <a:spLocks noGrp="1"/>
          </p:cNvSpPr>
          <p:nvPr>
            <p:ph type="pic" sz="quarter" idx="13" hasCustomPrompt="1"/>
          </p:nvPr>
        </p:nvSpPr>
        <p:spPr bwMode="gray">
          <a:xfrm>
            <a:off x="0" y="3279297"/>
            <a:ext cx="6059905" cy="3207314"/>
          </a:xfrm>
          <a:prstGeom prst="rect">
            <a:avLst/>
          </a:pr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7" name="Picture Placeholder 3"/>
          <p:cNvSpPr>
            <a:spLocks noGrp="1"/>
          </p:cNvSpPr>
          <p:nvPr>
            <p:ph type="pic" sz="quarter" idx="16" hasCustomPrompt="1"/>
          </p:nvPr>
        </p:nvSpPr>
        <p:spPr bwMode="gray">
          <a:xfrm>
            <a:off x="6132096" y="3279297"/>
            <a:ext cx="6059905" cy="3207314"/>
          </a:xfrm>
          <a:prstGeom prst="rect">
            <a:avLst/>
          </a:pr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8" name="Picture Placeholder 3"/>
          <p:cNvSpPr>
            <a:spLocks noGrp="1"/>
          </p:cNvSpPr>
          <p:nvPr>
            <p:ph type="pic" sz="quarter" idx="17" hasCustomPrompt="1"/>
          </p:nvPr>
        </p:nvSpPr>
        <p:spPr bwMode="gray">
          <a:xfrm>
            <a:off x="0" y="1"/>
            <a:ext cx="6059905" cy="3207314"/>
          </a:xfrm>
          <a:prstGeom prst="rect">
            <a:avLst/>
          </a:pr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9" name="Picture Placeholder 3"/>
          <p:cNvSpPr>
            <a:spLocks noGrp="1"/>
          </p:cNvSpPr>
          <p:nvPr>
            <p:ph type="pic" sz="quarter" idx="18" hasCustomPrompt="1"/>
          </p:nvPr>
        </p:nvSpPr>
        <p:spPr bwMode="gray">
          <a:xfrm>
            <a:off x="6132096" y="1"/>
            <a:ext cx="6059905" cy="3207314"/>
          </a:xfrm>
          <a:prstGeom prst="rect">
            <a:avLst/>
          </a:pr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3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156276509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Full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1567171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30.xml><?xml version="1.0" encoding="utf-8"?>
<p:sldLayout xmlns:a="http://schemas.openxmlformats.org/drawingml/2006/main" xmlns:r="http://schemas.openxmlformats.org/officeDocument/2006/relationships" xmlns:p="http://schemas.openxmlformats.org/presentationml/2006/main" showMasterSp="0" preserve="1" userDrawn="1">
  <p:cSld name="Vollbild/ 3-spaltig">
    <p:bg>
      <p:bgRef idx="1001">
        <a:schemeClr val="bg1"/>
      </p:bgRef>
    </p:bg>
    <p:spTree>
      <p:nvGrpSpPr>
        <p:cNvPr id="1" name=""/>
        <p:cNvGrpSpPr/>
        <p:nvPr/>
      </p:nvGrpSpPr>
      <p:grpSpPr>
        <a:xfrm>
          <a:off x="0" y="0"/>
          <a:ext cx="0" cy="0"/>
          <a:chOff x="0" y="0"/>
          <a:chExt cx="0" cy="0"/>
        </a:xfrm>
      </p:grpSpPr>
      <p:grpSp>
        <p:nvGrpSpPr>
          <p:cNvPr id="25" name="Regieanweisungen"/>
          <p:cNvGrpSpPr/>
          <p:nvPr userDrawn="1"/>
        </p:nvGrpSpPr>
        <p:grpSpPr>
          <a:xfrm>
            <a:off x="-2086913" y="-467892"/>
            <a:ext cx="13647691" cy="7792196"/>
            <a:chOff x="-2088000" y="-468000"/>
            <a:chExt cx="13654799" cy="7794000"/>
          </a:xfrm>
        </p:grpSpPr>
        <p:sp>
          <p:nvSpPr>
            <p:cNvPr id="2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2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33"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6" name="Picture Placeholder 3"/>
          <p:cNvSpPr>
            <a:spLocks noGrp="1"/>
          </p:cNvSpPr>
          <p:nvPr>
            <p:ph type="pic" sz="quarter" idx="14" hasCustomPrompt="1"/>
          </p:nvPr>
        </p:nvSpPr>
        <p:spPr bwMode="gray">
          <a:xfrm>
            <a:off x="3913531" y="0"/>
            <a:ext cx="4199925" cy="6486611"/>
          </a:xfrm>
          <a:prstGeom prst="rect">
            <a:avLst/>
          </a:pr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2" name="Fußzeilenplatzhalter 1"/>
          <p:cNvSpPr>
            <a:spLocks noGrp="1"/>
          </p:cNvSpPr>
          <p:nvPr>
            <p:ph type="ftr" sz="quarter" idx="16"/>
          </p:nvPr>
        </p:nvSpPr>
        <p:spPr/>
        <p:txBody>
          <a:bodyPr/>
          <a:lstStyle/>
          <a:p>
            <a:r>
              <a:rPr lang="de-DE" dirty="0" smtClean="0">
                <a:solidFill>
                  <a:prstClr val="black"/>
                </a:solidFill>
              </a:rPr>
              <a:t>Titel der Präsentation / Abteilung / Datum /</a:t>
            </a:r>
          </a:p>
        </p:txBody>
      </p:sp>
      <p:sp>
        <p:nvSpPr>
          <p:cNvPr id="3" name="Foliennummernplatzhalter 2"/>
          <p:cNvSpPr>
            <a:spLocks noGrp="1"/>
          </p:cNvSpPr>
          <p:nvPr>
            <p:ph type="sldNum" sz="quarter" idx="17"/>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71288655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1031.xml><?xml version="1.0" encoding="utf-8"?>
<p:sldLayout xmlns:a="http://schemas.openxmlformats.org/drawingml/2006/main" xmlns:r="http://schemas.openxmlformats.org/officeDocument/2006/relationships" xmlns:p="http://schemas.openxmlformats.org/presentationml/2006/main" showMasterSp="0" preserve="1" userDrawn="1">
  <p:cSld name="Vollbild/ 6 Bilder">
    <p:bg>
      <p:bgRef idx="1001">
        <a:schemeClr val="bg1"/>
      </p:bgRef>
    </p:bg>
    <p:spTree>
      <p:nvGrpSpPr>
        <p:cNvPr id="1" name=""/>
        <p:cNvGrpSpPr/>
        <p:nvPr/>
      </p:nvGrpSpPr>
      <p:grpSpPr>
        <a:xfrm>
          <a:off x="0" y="0"/>
          <a:ext cx="0" cy="0"/>
          <a:chOff x="0" y="0"/>
          <a:chExt cx="0" cy="0"/>
        </a:xfrm>
      </p:grpSpPr>
      <p:grpSp>
        <p:nvGrpSpPr>
          <p:cNvPr id="25" name="Regieanweisungen"/>
          <p:cNvGrpSpPr/>
          <p:nvPr userDrawn="1"/>
        </p:nvGrpSpPr>
        <p:grpSpPr>
          <a:xfrm>
            <a:off x="-2086913" y="-467892"/>
            <a:ext cx="13647691" cy="7792196"/>
            <a:chOff x="-2088000" y="-468000"/>
            <a:chExt cx="13654799" cy="7794000"/>
          </a:xfrm>
        </p:grpSpPr>
        <p:sp>
          <p:nvSpPr>
            <p:cNvPr id="2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2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33"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Fußzeilenplatzhalter 1"/>
          <p:cNvSpPr>
            <a:spLocks noGrp="1"/>
          </p:cNvSpPr>
          <p:nvPr>
            <p:ph type="ftr" sz="quarter" idx="16"/>
          </p:nvPr>
        </p:nvSpPr>
        <p:spPr/>
        <p:txBody>
          <a:bodyPr/>
          <a:lstStyle/>
          <a:p>
            <a:r>
              <a:rPr lang="de-DE" dirty="0" smtClean="0">
                <a:solidFill>
                  <a:prstClr val="black"/>
                </a:solidFill>
              </a:rPr>
              <a:t>Titel der Präsentation / Abteilung / Datum /</a:t>
            </a:r>
          </a:p>
        </p:txBody>
      </p:sp>
      <p:sp>
        <p:nvSpPr>
          <p:cNvPr id="3" name="Foliennummernplatzhalter 2"/>
          <p:cNvSpPr>
            <a:spLocks noGrp="1"/>
          </p:cNvSpPr>
          <p:nvPr>
            <p:ph type="sldNum" sz="quarter" idx="17"/>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35" name="Picture Placeholder 3"/>
          <p:cNvSpPr>
            <a:spLocks noGrp="1"/>
          </p:cNvSpPr>
          <p:nvPr>
            <p:ph type="pic" sz="quarter" idx="13" hasCustomPrompt="1"/>
          </p:nvPr>
        </p:nvSpPr>
        <p:spPr bwMode="gray">
          <a:xfrm>
            <a:off x="1" y="3279297"/>
            <a:ext cx="3841337"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de-DE" noProof="0" dirty="0" smtClean="0"/>
              <a:t>Bild einfügen</a:t>
            </a:r>
            <a:endParaRPr lang="de-DE" noProof="0" dirty="0"/>
          </a:p>
        </p:txBody>
      </p:sp>
      <p:sp>
        <p:nvSpPr>
          <p:cNvPr id="36" name="Picture Placeholder 3"/>
          <p:cNvSpPr>
            <a:spLocks noGrp="1"/>
          </p:cNvSpPr>
          <p:nvPr>
            <p:ph type="pic" sz="quarter" idx="14" hasCustomPrompt="1"/>
          </p:nvPr>
        </p:nvSpPr>
        <p:spPr bwMode="gray">
          <a:xfrm>
            <a:off x="3913531" y="3279297"/>
            <a:ext cx="4199925"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de-DE" noProof="0" dirty="0" smtClean="0"/>
              <a:t>Bild einfügen</a:t>
            </a:r>
            <a:endParaRPr lang="de-DE" noProof="0" dirty="0"/>
          </a:p>
        </p:txBody>
      </p:sp>
      <p:sp>
        <p:nvSpPr>
          <p:cNvPr id="37" name="Picture Placeholder 3"/>
          <p:cNvSpPr>
            <a:spLocks noGrp="1"/>
          </p:cNvSpPr>
          <p:nvPr>
            <p:ph type="pic" sz="quarter" idx="15" hasCustomPrompt="1"/>
          </p:nvPr>
        </p:nvSpPr>
        <p:spPr bwMode="gray">
          <a:xfrm>
            <a:off x="8185649" y="3279297"/>
            <a:ext cx="4006350" cy="3207314"/>
          </a:xfrm>
          <a:prstGeom prst="rect">
            <a:avLst/>
          </a:prstGeom>
          <a:solidFill>
            <a:srgbClr val="CFCFCF"/>
          </a:solidFill>
        </p:spPr>
        <p:txBody>
          <a:bodyPr/>
          <a:lstStyle>
            <a:lvl1pPr marL="0" marR="0" indent="0" algn="ctr" defTabSz="1088415" rtl="0" eaLnBrk="1" fontAlgn="auto" latinLnBrk="0" hangingPunct="1">
              <a:lnSpc>
                <a:spcPct val="100000"/>
              </a:lnSpc>
              <a:spcBef>
                <a:spcPts val="0"/>
              </a:spcBef>
              <a:spcAft>
                <a:spcPts val="0"/>
              </a:spcAft>
              <a:buClrTx/>
              <a:buSzPct val="80000"/>
              <a:buFont typeface="Arial" panose="020B0604020202020204" pitchFamily="34" charset="0"/>
              <a:buNone/>
              <a:tabLst/>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de-DE" noProof="0" dirty="0" smtClean="0"/>
              <a:t>Bild einfügen</a:t>
            </a:r>
          </a:p>
        </p:txBody>
      </p:sp>
      <p:sp>
        <p:nvSpPr>
          <p:cNvPr id="38" name="Picture Placeholder 3"/>
          <p:cNvSpPr>
            <a:spLocks noGrp="1"/>
          </p:cNvSpPr>
          <p:nvPr>
            <p:ph type="pic" sz="quarter" idx="18" hasCustomPrompt="1"/>
          </p:nvPr>
        </p:nvSpPr>
        <p:spPr bwMode="gray">
          <a:xfrm>
            <a:off x="0" y="1"/>
            <a:ext cx="3841337"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de-DE" noProof="0" dirty="0" smtClean="0"/>
              <a:t>Bild einfügen</a:t>
            </a:r>
            <a:endParaRPr lang="de-DE" noProof="0" dirty="0"/>
          </a:p>
        </p:txBody>
      </p:sp>
      <p:sp>
        <p:nvSpPr>
          <p:cNvPr id="39" name="Picture Placeholder 3"/>
          <p:cNvSpPr>
            <a:spLocks noGrp="1"/>
          </p:cNvSpPr>
          <p:nvPr>
            <p:ph type="pic" sz="quarter" idx="19" hasCustomPrompt="1"/>
          </p:nvPr>
        </p:nvSpPr>
        <p:spPr bwMode="gray">
          <a:xfrm>
            <a:off x="8185650" y="1"/>
            <a:ext cx="4006350" cy="3207314"/>
          </a:xfrm>
          <a:prstGeom prst="rect">
            <a:avLst/>
          </a:prstGeom>
          <a:solidFill>
            <a:srgbClr val="CFCFCF"/>
          </a:solidFill>
        </p:spPr>
        <p:txBody>
          <a:bodyPr/>
          <a:lstStyle>
            <a:lvl1pPr marL="0" marR="0" indent="0" algn="ctr" defTabSz="1088415" rtl="0" eaLnBrk="1" fontAlgn="auto" latinLnBrk="0" hangingPunct="1">
              <a:lnSpc>
                <a:spcPct val="100000"/>
              </a:lnSpc>
              <a:spcBef>
                <a:spcPts val="0"/>
              </a:spcBef>
              <a:spcAft>
                <a:spcPts val="0"/>
              </a:spcAft>
              <a:buClrTx/>
              <a:buSzPct val="80000"/>
              <a:buFont typeface="Arial" panose="020B0604020202020204" pitchFamily="34" charset="0"/>
              <a:buNone/>
              <a:tabLst/>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de-DE" noProof="0" dirty="0" smtClean="0"/>
              <a:t>Bild einfügen</a:t>
            </a:r>
            <a:endParaRPr lang="en-GB" noProof="0" dirty="0"/>
          </a:p>
        </p:txBody>
      </p:sp>
      <p:sp>
        <p:nvSpPr>
          <p:cNvPr id="40" name="Picture Placeholder 3"/>
          <p:cNvSpPr>
            <a:spLocks noGrp="1"/>
          </p:cNvSpPr>
          <p:nvPr>
            <p:ph type="pic" sz="quarter" idx="20" hasCustomPrompt="1"/>
          </p:nvPr>
        </p:nvSpPr>
        <p:spPr bwMode="gray">
          <a:xfrm>
            <a:off x="3913531" y="1"/>
            <a:ext cx="4199925"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de-DE" noProof="0" dirty="0" smtClean="0"/>
              <a:t>Bild einfügen</a:t>
            </a:r>
            <a:endParaRPr lang="de-DE" noProof="0" dirty="0"/>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25616395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1032.xml><?xml version="1.0" encoding="utf-8"?>
<p:sldLayout xmlns:a="http://schemas.openxmlformats.org/drawingml/2006/main" xmlns:r="http://schemas.openxmlformats.org/officeDocument/2006/relationships" xmlns:p="http://schemas.openxmlformats.org/presentationml/2006/main" preserve="1" userDrawn="1">
  <p:cSld name="Text/ 3 Bil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smtClean="0"/>
              <a:t>Headline in CorpoS (Textkörper) 35 pt.</a:t>
            </a:r>
            <a:endParaRPr lang="de-DE" dirty="0"/>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de-DE" dirty="0" smtClean="0"/>
              <a:t>Text einfügen </a:t>
            </a:r>
            <a:r>
              <a:rPr lang="de-DE" noProof="0" dirty="0" smtClean="0"/>
              <a:t>(Hervorhebungen in fett) </a:t>
            </a:r>
            <a:r>
              <a:rPr lang="de-DE" dirty="0" smtClean="0"/>
              <a:t>// für Zusammenfassung: Listenebene erhöhen</a:t>
            </a:r>
          </a:p>
          <a:p>
            <a:pPr lvl="1"/>
            <a:r>
              <a:rPr lang="de-DE" dirty="0" smtClean="0"/>
              <a:t>Zweite Ebene (Zusammenfassung oder kurzes Highlight)</a:t>
            </a:r>
          </a:p>
        </p:txBody>
      </p:sp>
      <p:sp>
        <p:nvSpPr>
          <p:cNvPr id="9" name="Text Placeholder 7"/>
          <p:cNvSpPr>
            <a:spLocks noGrp="1"/>
          </p:cNvSpPr>
          <p:nvPr>
            <p:ph type="body" sz="quarter" idx="13" hasCustomPrompt="1"/>
          </p:nvPr>
        </p:nvSpPr>
        <p:spPr>
          <a:xfrm>
            <a:off x="6096000" y="4966850"/>
            <a:ext cx="5464504" cy="1414434"/>
          </a:xfrm>
        </p:spPr>
        <p:txBody>
          <a:bodyPr/>
          <a:lstStyle>
            <a:lvl1pPr>
              <a:defRPr/>
            </a:lvl1pPr>
            <a:lvl2pPr>
              <a:defRPr/>
            </a:lvl2pPr>
          </a:lstStyle>
          <a:p>
            <a:pPr lvl="0"/>
            <a:r>
              <a:rPr lang="de-DE" dirty="0" smtClean="0"/>
              <a:t>Text einfügen </a:t>
            </a:r>
            <a:r>
              <a:rPr lang="de-DE" noProof="0" dirty="0" smtClean="0"/>
              <a:t>(Hervorhebungen in fett) </a:t>
            </a:r>
            <a:r>
              <a:rPr lang="de-DE" dirty="0" smtClean="0"/>
              <a:t>// für Zusammenfassung: Listenebene erhöhen</a:t>
            </a:r>
          </a:p>
          <a:p>
            <a:pPr lvl="1"/>
            <a:r>
              <a:rPr lang="de-DE" dirty="0" smtClean="0"/>
              <a:t>Zweite Ebene (Zusammenfassung oder kurzes Highlight)</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5" name="Fußzeilenplatzhalter 4"/>
          <p:cNvSpPr>
            <a:spLocks noGrp="1"/>
          </p:cNvSpPr>
          <p:nvPr>
            <p:ph type="ftr" sz="quarter" idx="17"/>
          </p:nvPr>
        </p:nvSpPr>
        <p:spPr/>
        <p:txBody>
          <a:bodyPr/>
          <a:lstStyle/>
          <a:p>
            <a:r>
              <a:rPr lang="de-DE" dirty="0" smtClean="0">
                <a:solidFill>
                  <a:prstClr val="black"/>
                </a:solidFill>
              </a:rPr>
              <a:t>Titel der Präsentation / Abteilung / Datum /</a:t>
            </a:r>
          </a:p>
        </p:txBody>
      </p:sp>
      <p:sp>
        <p:nvSpPr>
          <p:cNvPr id="6" name="Foliennummernplatzhalter 5"/>
          <p:cNvSpPr>
            <a:spLocks noGrp="1"/>
          </p:cNvSpPr>
          <p:nvPr>
            <p:ph type="sldNum" sz="quarter" idx="18"/>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20626597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1033.xml><?xml version="1.0" encoding="utf-8"?>
<p:sldLayout xmlns:a="http://schemas.openxmlformats.org/drawingml/2006/main" xmlns:r="http://schemas.openxmlformats.org/officeDocument/2006/relationships" xmlns:p="http://schemas.openxmlformats.org/presentationml/2006/main" preserve="1" userDrawn="1">
  <p:cSld name="Text/ 3 Bilder/ 2-spalti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smtClean="0"/>
              <a:t>Headline in CorpoS (Textkörper) 35 pt.</a:t>
            </a:r>
            <a:endParaRPr lang="de-DE" dirty="0"/>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de-DE" dirty="0" smtClean="0"/>
              <a:t>Text einfügen in </a:t>
            </a:r>
            <a:r>
              <a:rPr lang="de-DE" noProof="0" dirty="0" smtClean="0"/>
              <a:t>CorpoS (Body) 24 pt. (Hervorhebungen in fett) </a:t>
            </a:r>
            <a:r>
              <a:rPr lang="de-DE" dirty="0" smtClean="0"/>
              <a:t>// für Zusammenfassung oder kurzes Highlight: Start // Absatz // Listenebene erhöhen</a:t>
            </a:r>
          </a:p>
          <a:p>
            <a:pPr lvl="1"/>
            <a:r>
              <a:rPr lang="de-DE" dirty="0" smtClean="0"/>
              <a:t>Zweite Ebene (Zusammenfassung oder kurzes Highlight)</a:t>
            </a:r>
          </a:p>
          <a:p>
            <a:pPr lvl="2"/>
            <a:r>
              <a:rPr lang="de-DE" dirty="0" smtClean="0"/>
              <a:t>Dritte Ebene </a:t>
            </a:r>
          </a:p>
          <a:p>
            <a:pPr lvl="3"/>
            <a:r>
              <a:rPr lang="de-DE" dirty="0" smtClean="0"/>
              <a:t>Vierte Ebene </a:t>
            </a:r>
          </a:p>
          <a:p>
            <a:pPr lvl="4"/>
            <a:r>
              <a:rPr lang="de-DE" dirty="0" smtClean="0"/>
              <a:t>Fünfte Ebene </a:t>
            </a:r>
          </a:p>
          <a:p>
            <a:pPr lvl="5"/>
            <a:r>
              <a:rPr lang="de-DE" dirty="0" smtClean="0"/>
              <a:t>Sechste Ebene </a:t>
            </a:r>
          </a:p>
          <a:p>
            <a:pPr lvl="6"/>
            <a:r>
              <a:rPr lang="de-DE" dirty="0" smtClean="0"/>
              <a:t>Siebte Ebene </a:t>
            </a:r>
          </a:p>
          <a:p>
            <a:pPr lvl="7"/>
            <a:r>
              <a:rPr lang="de-DE" dirty="0" smtClean="0"/>
              <a:t>Achte Ebene </a:t>
            </a:r>
          </a:p>
          <a:p>
            <a:pPr lvl="8"/>
            <a:r>
              <a:rPr lang="de-DE" dirty="0" smtClean="0"/>
              <a:t>Neunte Ebene </a:t>
            </a:r>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5" name="Fußzeilenplatzhalter 4"/>
          <p:cNvSpPr>
            <a:spLocks noGrp="1"/>
          </p:cNvSpPr>
          <p:nvPr>
            <p:ph type="ftr" sz="quarter" idx="17"/>
          </p:nvPr>
        </p:nvSpPr>
        <p:spPr/>
        <p:txBody>
          <a:bodyPr/>
          <a:lstStyle/>
          <a:p>
            <a:r>
              <a:rPr lang="de-DE" dirty="0" smtClean="0">
                <a:solidFill>
                  <a:prstClr val="black"/>
                </a:solidFill>
              </a:rPr>
              <a:t>Titel der Präsentation / Abteilung / Datum /</a:t>
            </a:r>
          </a:p>
        </p:txBody>
      </p:sp>
      <p:sp>
        <p:nvSpPr>
          <p:cNvPr id="6" name="Foliennummernplatzhalter 5"/>
          <p:cNvSpPr>
            <a:spLocks noGrp="1"/>
          </p:cNvSpPr>
          <p:nvPr>
            <p:ph type="sldNum" sz="quarter" idx="18"/>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35091287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1034.xml><?xml version="1.0" encoding="utf-8"?>
<p:sldLayout xmlns:a="http://schemas.openxmlformats.org/drawingml/2006/main" xmlns:r="http://schemas.openxmlformats.org/officeDocument/2006/relationships" xmlns:p="http://schemas.openxmlformats.org/presentationml/2006/main" preserve="1" userDrawn="1">
  <p:cSld name="Inhalt/ 2-spalti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smtClean="0"/>
              <a:t>Headline in CorpoS (Textkörper) 35 pt.</a:t>
            </a:r>
            <a:br>
              <a:rPr lang="de-DE" noProof="0" dirty="0" smtClean="0"/>
            </a:br>
            <a:r>
              <a:rPr lang="de-DE" noProof="0" dirty="0" smtClean="0"/>
              <a:t>über zwei Zeilen</a:t>
            </a:r>
            <a:endParaRPr lang="de-DE" dirty="0"/>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de-DE" dirty="0" smtClean="0"/>
              <a:t>Text oder Inhalt einfügen in </a:t>
            </a:r>
            <a:r>
              <a:rPr lang="de-DE" noProof="0" dirty="0" smtClean="0"/>
              <a:t>CorpoS (Body) 24 pt. (Hervorhebungen in fett) </a:t>
            </a:r>
            <a:r>
              <a:rPr lang="de-DE" dirty="0" smtClean="0"/>
              <a:t>// für Zusammenfassung oder kurzes Highlight: Start // Absatz // Listenebene erhöhen</a:t>
            </a:r>
          </a:p>
          <a:p>
            <a:pPr lvl="1"/>
            <a:r>
              <a:rPr lang="de-DE" dirty="0" smtClean="0"/>
              <a:t>Zweite Ebene (Zusammenfassung oder kurzes Highlight)</a:t>
            </a:r>
          </a:p>
          <a:p>
            <a:pPr lvl="2"/>
            <a:r>
              <a:rPr lang="de-DE" dirty="0" smtClean="0"/>
              <a:t>Dritte Ebene</a:t>
            </a:r>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smtClean="0"/>
              <a:t>Headline einfügen</a:t>
            </a:r>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smtClean="0"/>
              <a:t>Headline einfügen</a:t>
            </a:r>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de-DE" dirty="0" smtClean="0"/>
              <a:t>Text oder Inhalt einfügen in </a:t>
            </a:r>
            <a:r>
              <a:rPr lang="de-DE" noProof="0" dirty="0" smtClean="0"/>
              <a:t>CorpoS (Body) 24 pt. (Hervorhebungen in fett) </a:t>
            </a:r>
            <a:r>
              <a:rPr lang="de-DE" dirty="0" smtClean="0"/>
              <a:t>// für Zusammenfassung oder kurzes Highlight: Start // Absatz // Listenebene erhöhen</a:t>
            </a:r>
          </a:p>
          <a:p>
            <a:pPr lvl="1"/>
            <a:r>
              <a:rPr lang="de-DE" dirty="0" smtClean="0"/>
              <a:t>Zweite Ebene (Zusammenfassung oder kurzes Highlight)</a:t>
            </a:r>
          </a:p>
          <a:p>
            <a:pPr lvl="2"/>
            <a:r>
              <a:rPr lang="de-DE" dirty="0" smtClean="0"/>
              <a:t>Dritte Ebene</a:t>
            </a:r>
          </a:p>
        </p:txBody>
      </p:sp>
      <p:sp>
        <p:nvSpPr>
          <p:cNvPr id="5" name="Fußzeilenplatzhalter 4"/>
          <p:cNvSpPr>
            <a:spLocks noGrp="1"/>
          </p:cNvSpPr>
          <p:nvPr>
            <p:ph type="ftr" sz="quarter" idx="16"/>
          </p:nvPr>
        </p:nvSpPr>
        <p:spPr/>
        <p:txBody>
          <a:bodyPr/>
          <a:lstStyle/>
          <a:p>
            <a:r>
              <a:rPr lang="de-DE" dirty="0" smtClean="0">
                <a:solidFill>
                  <a:prstClr val="black"/>
                </a:solidFill>
              </a:rPr>
              <a:t>Titel der Präsentation / Abteilung / Datum /</a:t>
            </a:r>
          </a:p>
        </p:txBody>
      </p:sp>
      <p:sp>
        <p:nvSpPr>
          <p:cNvPr id="12" name="Foliennummernplatzhalter 11"/>
          <p:cNvSpPr>
            <a:spLocks noGrp="1"/>
          </p:cNvSpPr>
          <p:nvPr>
            <p:ph type="sldNum" sz="quarter" idx="17"/>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3842353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Tabelle/ 4-spaltig">
    <p:spTree>
      <p:nvGrpSpPr>
        <p:cNvPr id="1" name=""/>
        <p:cNvGrpSpPr/>
        <p:nvPr/>
      </p:nvGrpSpPr>
      <p:grpSpPr>
        <a:xfrm>
          <a:off x="0" y="0"/>
          <a:ext cx="0" cy="0"/>
          <a:chOff x="0" y="0"/>
          <a:chExt cx="0" cy="0"/>
        </a:xfrm>
      </p:grpSpPr>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smtClean="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smtClean="0"/>
              <a:t>XXg</a:t>
            </a:r>
            <a:endParaRPr lang="de-DE" dirty="0" smtClean="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smtClean="0"/>
              <a:t>X,Xl</a:t>
            </a:r>
            <a:endParaRPr lang="de-DE" dirty="0" smtClean="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smtClean="0"/>
              <a:t>Text einfügen</a:t>
            </a:r>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smtClean="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smtClean="0"/>
              <a:t>XXg</a:t>
            </a:r>
            <a:endParaRPr lang="de-DE" dirty="0" smtClean="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smtClean="0"/>
              <a:t>X,Xl</a:t>
            </a:r>
            <a:endParaRPr lang="de-DE" dirty="0" smtClean="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smtClean="0"/>
              <a:t>Text einfügen</a:t>
            </a:r>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smtClean="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smtClean="0"/>
              <a:t>XXg</a:t>
            </a:r>
            <a:endParaRPr lang="de-DE" dirty="0" smtClean="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smtClean="0"/>
              <a:t>X,Xl</a:t>
            </a:r>
            <a:endParaRPr lang="de-DE" dirty="0" smtClean="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smtClean="0"/>
              <a:t>Text einfügen</a:t>
            </a:r>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smtClean="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smtClean="0"/>
              <a:t>XXg</a:t>
            </a:r>
            <a:endParaRPr lang="de-DE" dirty="0" smtClean="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smtClean="0"/>
              <a:t>X,Xl</a:t>
            </a:r>
            <a:endParaRPr lang="de-DE" dirty="0" smtClean="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smtClean="0"/>
              <a:t>Text einfügen</a:t>
            </a:r>
          </a:p>
        </p:txBody>
      </p:sp>
      <p:sp>
        <p:nvSpPr>
          <p:cNvPr id="47" name="Title 1"/>
          <p:cNvSpPr>
            <a:spLocks noGrp="1"/>
          </p:cNvSpPr>
          <p:nvPr>
            <p:ph type="title" hasCustomPrompt="1"/>
          </p:nvPr>
        </p:nvSpPr>
        <p:spPr>
          <a:xfrm>
            <a:off x="629671" y="285982"/>
            <a:ext cx="10931106" cy="683842"/>
          </a:xfrm>
        </p:spPr>
        <p:txBody>
          <a:bodyPr/>
          <a:lstStyle/>
          <a:p>
            <a:r>
              <a:rPr lang="de-DE" noProof="0" dirty="0" smtClean="0"/>
              <a:t>Headline in CorpoS (Textkörper) 35 pt.</a:t>
            </a:r>
            <a:endParaRPr lang="de-DE" dirty="0"/>
          </a:p>
        </p:txBody>
      </p:sp>
      <p:sp>
        <p:nvSpPr>
          <p:cNvPr id="2" name="Fußzeilenplatzhalter 1"/>
          <p:cNvSpPr>
            <a:spLocks noGrp="1"/>
          </p:cNvSpPr>
          <p:nvPr>
            <p:ph type="ftr" sz="quarter" idx="43"/>
          </p:nvPr>
        </p:nvSpPr>
        <p:spPr/>
        <p:txBody>
          <a:bodyPr/>
          <a:lstStyle/>
          <a:p>
            <a:r>
              <a:rPr lang="de-DE" dirty="0" smtClean="0">
                <a:solidFill>
                  <a:prstClr val="black"/>
                </a:solidFill>
              </a:rPr>
              <a:t>Titel der Präsentation / Abteilung / Datum /</a:t>
            </a:r>
          </a:p>
        </p:txBody>
      </p:sp>
      <p:sp>
        <p:nvSpPr>
          <p:cNvPr id="8" name="Foliennummernplatzhalter 7"/>
          <p:cNvSpPr>
            <a:spLocks noGrp="1"/>
          </p:cNvSpPr>
          <p:nvPr>
            <p:ph type="sldNum" sz="quarter" idx="44"/>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79428305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ohne Inhalt / Ü 1 Zei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smtClean="0"/>
              <a:t>Headline in CorpoS (Textkörper) 35 pt.</a:t>
            </a:r>
            <a:br>
              <a:rPr lang="de-DE" noProof="0" dirty="0" smtClean="0"/>
            </a:br>
            <a:r>
              <a:rPr lang="de-DE" noProof="0" dirty="0" smtClean="0"/>
              <a:t>über zwei Zeilen</a:t>
            </a:r>
            <a:endParaRPr lang="de-DE" dirty="0"/>
          </a:p>
        </p:txBody>
      </p:sp>
      <p:sp>
        <p:nvSpPr>
          <p:cNvPr id="5" name="Fußzeilenplatzhalter 4"/>
          <p:cNvSpPr>
            <a:spLocks noGrp="1"/>
          </p:cNvSpPr>
          <p:nvPr>
            <p:ph type="ftr" sz="quarter" idx="10"/>
          </p:nvPr>
        </p:nvSpPr>
        <p:spPr/>
        <p:txBody>
          <a:bodyPr/>
          <a:lstStyle/>
          <a:p>
            <a:r>
              <a:rPr lang="de-DE" dirty="0" smtClean="0">
                <a:solidFill>
                  <a:prstClr val="black"/>
                </a:solidFill>
              </a:rPr>
              <a:t>Titel der Präsentation / Abteilung / Datum /</a:t>
            </a:r>
          </a:p>
        </p:txBody>
      </p:sp>
      <p:sp>
        <p:nvSpPr>
          <p:cNvPr id="6" name="Foliennummernplatzhalter 5"/>
          <p:cNvSpPr>
            <a:spLocks noGrp="1"/>
          </p:cNvSpPr>
          <p:nvPr>
            <p:ph type="sldNum" sz="quarter" idx="11"/>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37865649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ohne Inhalt / Ü 2 Zeile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smtClean="0"/>
              <a:t>Headline in CorpoS (Textkörper) 35 pt.</a:t>
            </a:r>
            <a:endParaRPr lang="de-DE" dirty="0"/>
          </a:p>
        </p:txBody>
      </p:sp>
      <p:sp>
        <p:nvSpPr>
          <p:cNvPr id="5" name="Fußzeilenplatzhalter 4"/>
          <p:cNvSpPr>
            <a:spLocks noGrp="1"/>
          </p:cNvSpPr>
          <p:nvPr>
            <p:ph type="ftr" sz="quarter" idx="10"/>
          </p:nvPr>
        </p:nvSpPr>
        <p:spPr/>
        <p:txBody>
          <a:bodyPr/>
          <a:lstStyle/>
          <a:p>
            <a:r>
              <a:rPr lang="de-DE" dirty="0" smtClean="0">
                <a:solidFill>
                  <a:prstClr val="black"/>
                </a:solidFill>
              </a:rPr>
              <a:t>Titel der Präsentation / Abteilung / Datum /</a:t>
            </a:r>
          </a:p>
        </p:txBody>
      </p:sp>
      <p:sp>
        <p:nvSpPr>
          <p:cNvPr id="6" name="Foliennummernplatzhalter 5"/>
          <p:cNvSpPr>
            <a:spLocks noGrp="1"/>
          </p:cNvSpPr>
          <p:nvPr>
            <p:ph type="sldNum" sz="quarter" idx="11"/>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60390435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1038.xml><?xml version="1.0" encoding="utf-8"?>
<p:sldLayout xmlns:a="http://schemas.openxmlformats.org/drawingml/2006/main" xmlns:r="http://schemas.openxmlformats.org/officeDocument/2006/relationships" xmlns:p="http://schemas.openxmlformats.org/presentationml/2006/main" showMasterSp="0" preserve="1" userDrawn="1">
  <p:cSld name="1. Title text">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smtClean="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smtClean="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Increase</a:t>
                  </a:r>
                </a:p>
                <a:p>
                  <a:pPr algn="r">
                    <a:defRPr/>
                  </a:pPr>
                  <a:r>
                    <a:rPr lang="en-GB" sz="999" dirty="0" smtClean="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Decrease </a:t>
                  </a:r>
                </a:p>
                <a:p>
                  <a:pPr algn="r">
                    <a:defRPr/>
                  </a:pPr>
                  <a:r>
                    <a:rPr lang="en-GB" sz="999" dirty="0" smtClean="0">
                      <a:solidFill>
                        <a:srgbClr val="444444"/>
                      </a:solidFill>
                    </a:rPr>
                    <a:t>List Level</a:t>
                  </a:r>
                </a:p>
              </p:txBody>
            </p:sp>
            <p:pic>
              <p:nvPicPr>
                <p:cNvPr id="33" name="Listenebene erhöhe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en-GB" dirty="0" smtClean="0"/>
              <a:t>Referent’s name: </a:t>
            </a:r>
            <a:r>
              <a:rPr lang="en-GB" noProof="0" dirty="0" smtClean="0"/>
              <a:t>CorpoS </a:t>
            </a:r>
            <a:r>
              <a:rPr lang="en-GB" dirty="0" smtClean="0"/>
              <a:t>(Body) 35 pt. Presentation title</a:t>
            </a:r>
            <a:br>
              <a:rPr lang="en-GB" dirty="0" smtClean="0"/>
            </a:br>
            <a:r>
              <a:rPr lang="en-GB" dirty="0" smtClean="0"/>
              <a:t>in two lines of text, dd. </a:t>
            </a:r>
            <a:r>
              <a:rPr lang="en-GB" dirty="0" err="1" smtClean="0"/>
              <a:t>mmmm</a:t>
            </a:r>
            <a:r>
              <a:rPr lang="en-GB" dirty="0" smtClean="0"/>
              <a:t> </a:t>
            </a:r>
            <a:r>
              <a:rPr lang="en-GB" dirty="0" err="1" smtClean="0"/>
              <a:t>yyyy</a:t>
            </a:r>
            <a:endParaRPr lang="en-GB"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236723089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873">
          <p15:clr>
            <a:srgbClr val="FBAE40"/>
          </p15:clr>
        </p15:guide>
      </p15:sldGuideLst>
    </p:ext>
  </p:extLst>
</p:sldLayout>
</file>

<file path=ppt/slideLayouts/slideLayout1039.xml><?xml version="1.0" encoding="utf-8"?>
<p:sldLayout xmlns:a="http://schemas.openxmlformats.org/drawingml/2006/main" xmlns:r="http://schemas.openxmlformats.org/officeDocument/2006/relationships" xmlns:p="http://schemas.openxmlformats.org/presentationml/2006/main" showMasterSp="0" preserve="1" userDrawn="1">
  <p:cSld name="2. Title text">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smtClean="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smtClean="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Increase</a:t>
                  </a:r>
                </a:p>
                <a:p>
                  <a:pPr algn="r">
                    <a:defRPr/>
                  </a:pPr>
                  <a:r>
                    <a:rPr lang="en-GB" sz="999" dirty="0" smtClean="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Decrease </a:t>
                  </a:r>
                </a:p>
                <a:p>
                  <a:pPr algn="r">
                    <a:defRPr/>
                  </a:pPr>
                  <a:r>
                    <a:rPr lang="en-GB" sz="999" dirty="0" smtClean="0">
                      <a:solidFill>
                        <a:srgbClr val="444444"/>
                      </a:solidFill>
                    </a:rPr>
                    <a:t>List Level</a:t>
                  </a:r>
                </a:p>
              </p:txBody>
            </p:sp>
            <p:pic>
              <p:nvPicPr>
                <p:cNvPr id="33" name="Listenebene erhöhe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a:lvl1pPr>
          </a:lstStyle>
          <a:p>
            <a:r>
              <a:rPr lang="en-GB" dirty="0" smtClean="0"/>
              <a:t>Referent’s name: </a:t>
            </a:r>
            <a:r>
              <a:rPr lang="en-GB" noProof="0" dirty="0" smtClean="0"/>
              <a:t>CorpoS </a:t>
            </a:r>
            <a:r>
              <a:rPr lang="en-GB" dirty="0" smtClean="0"/>
              <a:t>(Body) 35 pt. Presentation title</a:t>
            </a:r>
            <a:br>
              <a:rPr lang="en-GB" dirty="0" smtClean="0"/>
            </a:br>
            <a:r>
              <a:rPr lang="en-GB" dirty="0" smtClean="0"/>
              <a:t>in two or more lines of text, dd. </a:t>
            </a:r>
            <a:r>
              <a:rPr lang="en-GB" dirty="0" err="1" smtClean="0"/>
              <a:t>mmmm</a:t>
            </a:r>
            <a:r>
              <a:rPr lang="en-GB" dirty="0" smtClean="0"/>
              <a:t> </a:t>
            </a:r>
            <a:r>
              <a:rPr lang="en-GB" dirty="0" err="1" smtClean="0"/>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132811192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3873">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44641774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1040.xml><?xml version="1.0" encoding="utf-8"?>
<p:sldLayout xmlns:a="http://schemas.openxmlformats.org/drawingml/2006/main" xmlns:r="http://schemas.openxmlformats.org/officeDocument/2006/relationships" xmlns:p="http://schemas.openxmlformats.org/presentationml/2006/main" showMasterSp="0" preserve="1" userDrawn="1">
  <p:cSld name="3. Title imag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smtClean="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smtClean="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Increase</a:t>
                  </a:r>
                </a:p>
                <a:p>
                  <a:pPr algn="r">
                    <a:defRPr/>
                  </a:pPr>
                  <a:r>
                    <a:rPr lang="en-GB" sz="999" dirty="0" smtClean="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Decrease </a:t>
                  </a:r>
                </a:p>
                <a:p>
                  <a:pPr algn="r">
                    <a:defRPr/>
                  </a:pPr>
                  <a:r>
                    <a:rPr lang="en-GB" sz="999" dirty="0" smtClean="0">
                      <a:solidFill>
                        <a:srgbClr val="444444"/>
                      </a:solidFill>
                    </a:rPr>
                    <a:t>List Level</a:t>
                  </a:r>
                </a:p>
              </p:txBody>
            </p:sp>
            <p:pic>
              <p:nvPicPr>
                <p:cNvPr id="34" name="Listenebene erhöhe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smtClean="0"/>
              <a:t>Referent’s name: </a:t>
            </a:r>
            <a:r>
              <a:rPr lang="en-GB" noProof="0" dirty="0" smtClean="0"/>
              <a:t>CorpoS </a:t>
            </a:r>
            <a:r>
              <a:rPr lang="en-GB" dirty="0" smtClean="0"/>
              <a:t>(Body) 35 pt.</a:t>
            </a:r>
            <a:br>
              <a:rPr lang="en-GB" dirty="0" smtClean="0"/>
            </a:br>
            <a:r>
              <a:rPr lang="en-GB" dirty="0" smtClean="0"/>
              <a:t>Presentation title in two or three </a:t>
            </a:r>
            <a:br>
              <a:rPr lang="en-GB" dirty="0" smtClean="0"/>
            </a:br>
            <a:r>
              <a:rPr lang="en-GB" dirty="0" smtClean="0"/>
              <a:t>lines of text, dd. </a:t>
            </a:r>
            <a:r>
              <a:rPr lang="en-GB" dirty="0" err="1" smtClean="0"/>
              <a:t>mmmm</a:t>
            </a:r>
            <a:r>
              <a:rPr lang="en-GB" dirty="0" smtClean="0"/>
              <a:t> </a:t>
            </a:r>
            <a:r>
              <a:rPr lang="en-GB" dirty="0" err="1" smtClean="0"/>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289335871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289">
          <p15:clr>
            <a:srgbClr val="FBAE40"/>
          </p15:clr>
        </p15:guide>
      </p15:sldGuideLst>
    </p:ext>
  </p:extLst>
</p:sldLayout>
</file>

<file path=ppt/slideLayouts/slideLayout1041.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smtClean="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smtClean="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Increase</a:t>
                  </a:r>
                </a:p>
                <a:p>
                  <a:pPr algn="r">
                    <a:defRPr/>
                  </a:pPr>
                  <a:r>
                    <a:rPr lang="en-GB" sz="999" dirty="0" smtClean="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Decrease </a:t>
                  </a:r>
                </a:p>
                <a:p>
                  <a:pPr algn="r">
                    <a:defRPr/>
                  </a:pPr>
                  <a:r>
                    <a:rPr lang="en-GB" sz="999" dirty="0" smtClean="0">
                      <a:solidFill>
                        <a:srgbClr val="444444"/>
                      </a:solidFill>
                    </a:rPr>
                    <a:t>List Level</a:t>
                  </a:r>
                </a:p>
              </p:txBody>
            </p:sp>
            <p:pic>
              <p:nvPicPr>
                <p:cNvPr id="34" name="Listenebene erhöhe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 name="Titel 1"/>
          <p:cNvSpPr>
            <a:spLocks noGrp="1"/>
          </p:cNvSpPr>
          <p:nvPr>
            <p:ph type="ctrTitle" hasCustomPrompt="1"/>
          </p:nvPr>
        </p:nvSpPr>
        <p:spPr>
          <a:xfrm>
            <a:off x="628323" y="2044433"/>
            <a:ext cx="7232233" cy="648964"/>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en-GB" dirty="0" smtClean="0"/>
              <a:t>Headline for presentation</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371711506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288">
          <p15:clr>
            <a:srgbClr val="FBAE40"/>
          </p15:clr>
        </p15:guide>
      </p15:sldGuideLst>
    </p:ext>
  </p:extLst>
</p:sldLayout>
</file>

<file path=ppt/slideLayouts/slideLayout1042.xml><?xml version="1.0" encoding="utf-8"?>
<p:sldLayout xmlns:a="http://schemas.openxmlformats.org/drawingml/2006/main" xmlns:r="http://schemas.openxmlformats.org/officeDocument/2006/relationships" xmlns:p="http://schemas.openxmlformats.org/presentationml/2006/main" showMasterSp="0" preserve="1" userDrawn="1">
  <p:cSld name="Section chart">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smtClean="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smtClean="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Increase</a:t>
                  </a:r>
                </a:p>
                <a:p>
                  <a:pPr algn="r">
                    <a:defRPr/>
                  </a:pPr>
                  <a:r>
                    <a:rPr lang="en-GB" sz="999" dirty="0" smtClean="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Decrease </a:t>
                  </a:r>
                </a:p>
                <a:p>
                  <a:pPr algn="r">
                    <a:defRPr/>
                  </a:pPr>
                  <a:r>
                    <a:rPr lang="en-GB" sz="999" dirty="0" smtClean="0">
                      <a:solidFill>
                        <a:srgbClr val="444444"/>
                      </a:solidFill>
                    </a:rPr>
                    <a:t>List Level</a:t>
                  </a:r>
                </a:p>
              </p:txBody>
            </p:sp>
            <p:pic>
              <p:nvPicPr>
                <p:cNvPr id="38" name="Listenebene erhöh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bwMode="white">
          <a:xfrm>
            <a:off x="-1" y="0"/>
            <a:ext cx="12190451" cy="6487838"/>
          </a:xfrm>
          <a:prstGeom prst="rect">
            <a:avLst/>
          </a:prstGeom>
        </p:spPr>
      </p:pic>
      <p:sp>
        <p:nvSpPr>
          <p:cNvPr id="3" name="Title 2"/>
          <p:cNvSpPr>
            <a:spLocks noGrp="1"/>
          </p:cNvSpPr>
          <p:nvPr>
            <p:ph type="title" hasCustomPrompt="1"/>
          </p:nvPr>
        </p:nvSpPr>
        <p:spPr>
          <a:xfrm>
            <a:off x="628323" y="288859"/>
            <a:ext cx="10932455" cy="1025684"/>
          </a:xfrm>
        </p:spPr>
        <p:txBody>
          <a:bodyPr wrap="square">
            <a:spAutoFit/>
          </a:bodyPr>
          <a:lstStyle>
            <a:lvl1pPr>
              <a:defRPr>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or more lines of text</a:t>
            </a:r>
            <a:endParaRPr lang="en-GB" dirty="0"/>
          </a:p>
        </p:txBody>
      </p:sp>
      <p:sp>
        <p:nvSpPr>
          <p:cNvPr id="11" name="Footer Placeholder 10"/>
          <p:cNvSpPr>
            <a:spLocks noGrp="1"/>
          </p:cNvSpPr>
          <p:nvPr>
            <p:ph type="ftr" sz="quarter" idx="11"/>
          </p:nvPr>
        </p:nvSpPr>
        <p:spPr/>
        <p:txBody>
          <a:bodyPr/>
          <a:lstStyle/>
          <a:p>
            <a:r>
              <a:rPr lang="en-GB" smtClean="0">
                <a:solidFill>
                  <a:prstClr val="black"/>
                </a:solidFill>
              </a:rPr>
              <a:t>DFS Deep Dive - </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263802395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1043.xml><?xml version="1.0" encoding="utf-8"?>
<p:sldLayout xmlns:a="http://schemas.openxmlformats.org/drawingml/2006/main" xmlns:r="http://schemas.openxmlformats.org/officeDocument/2006/relationships" xmlns:p="http://schemas.openxmlformats.org/presentationml/2006/main" showMasterSp="0" preserve="1" userDrawn="1">
  <p:cSld name="Text/ image brushing">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smtClean="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smtClean="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Increase</a:t>
                  </a:r>
                </a:p>
                <a:p>
                  <a:pPr algn="r">
                    <a:defRPr/>
                  </a:pPr>
                  <a:r>
                    <a:rPr lang="en-GB" sz="999" dirty="0" smtClean="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Decrease </a:t>
                  </a:r>
                </a:p>
                <a:p>
                  <a:pPr algn="r">
                    <a:defRPr/>
                  </a:pPr>
                  <a:r>
                    <a:rPr lang="en-GB" sz="999" dirty="0" smtClean="0">
                      <a:solidFill>
                        <a:srgbClr val="444444"/>
                      </a:solidFill>
                    </a:rPr>
                    <a:t>List Level</a:t>
                  </a:r>
                </a:p>
              </p:txBody>
            </p:sp>
            <p:pic>
              <p:nvPicPr>
                <p:cNvPr id="38" name="Listenebene erhöh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bwMode="white">
          <a:xfrm>
            <a:off x="0" y="-1"/>
            <a:ext cx="12190451" cy="6487839"/>
          </a:xfrm>
          <a:prstGeom prst="rect">
            <a:avLst/>
          </a:prstGeom>
        </p:spPr>
      </p:pic>
      <p:sp>
        <p:nvSpPr>
          <p:cNvPr id="3" name="Title 2"/>
          <p:cNvSpPr>
            <a:spLocks noGrp="1"/>
          </p:cNvSpPr>
          <p:nvPr>
            <p:ph type="title" hasCustomPrompt="1"/>
          </p:nvPr>
        </p:nvSpPr>
        <p:spPr>
          <a:xfrm>
            <a:off x="630116" y="288857"/>
            <a:ext cx="10930662" cy="1151733"/>
          </a:xfrm>
          <a:custGeom>
            <a:avLst/>
            <a:gdLst>
              <a:gd name="connsiteX0" fmla="*/ 0 w 10936355"/>
              <a:gd name="connsiteY0" fmla="*/ 0 h 1152000"/>
              <a:gd name="connsiteX1" fmla="*/ 10936355 w 10936355"/>
              <a:gd name="connsiteY1" fmla="*/ 0 h 1152000"/>
              <a:gd name="connsiteX2" fmla="*/ 10936355 w 10936355"/>
              <a:gd name="connsiteY2" fmla="*/ 1152000 h 1152000"/>
              <a:gd name="connsiteX3" fmla="*/ 0 w 10936355"/>
              <a:gd name="connsiteY3" fmla="*/ 1152000 h 1152000"/>
              <a:gd name="connsiteX4" fmla="*/ 0 w 10936355"/>
              <a:gd name="connsiteY4"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4948164 w 10936355"/>
              <a:gd name="connsiteY4" fmla="*/ 1147990 h 1152000"/>
              <a:gd name="connsiteX5" fmla="*/ 0 w 10936355"/>
              <a:gd name="connsiteY5" fmla="*/ 1152000 h 1152000"/>
              <a:gd name="connsiteX6" fmla="*/ 0 w 10936355"/>
              <a:gd name="connsiteY6"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355" h="1152000">
                <a:moveTo>
                  <a:pt x="0" y="0"/>
                </a:moveTo>
                <a:lnTo>
                  <a:pt x="10936355" y="0"/>
                </a:lnTo>
                <a:cubicBezTo>
                  <a:pt x="10935205" y="231775"/>
                  <a:pt x="10934056" y="463551"/>
                  <a:pt x="10932906" y="695326"/>
                </a:cubicBezTo>
                <a:lnTo>
                  <a:pt x="4948164" y="1147990"/>
                </a:lnTo>
                <a:lnTo>
                  <a:pt x="0" y="1152000"/>
                </a:lnTo>
                <a:lnTo>
                  <a:pt x="0" y="0"/>
                </a:lnTo>
                <a:close/>
              </a:path>
            </a:pathLst>
          </a:custGeom>
        </p:spPr>
        <p:txBody>
          <a:bodyPr/>
          <a:lstStyle>
            <a:lvl1pPr>
              <a:defRPr baseline="0">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lines of text</a:t>
            </a:r>
            <a:endParaRPr lang="en-GB" dirty="0"/>
          </a:p>
        </p:txBody>
      </p:sp>
      <p:sp>
        <p:nvSpPr>
          <p:cNvPr id="11" name="Footer Placeholder 10"/>
          <p:cNvSpPr>
            <a:spLocks noGrp="1"/>
          </p:cNvSpPr>
          <p:nvPr>
            <p:ph type="ftr" sz="quarter" idx="11"/>
          </p:nvPr>
        </p:nvSpPr>
        <p:spPr/>
        <p:txBody>
          <a:bodyPr/>
          <a:lstStyle/>
          <a:p>
            <a:r>
              <a:rPr lang="en-GB" smtClean="0">
                <a:solidFill>
                  <a:prstClr val="black"/>
                </a:solidFill>
              </a:rPr>
              <a:t>DFS Deep Dive - </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249731327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1044.xml><?xml version="1.0" encoding="utf-8"?>
<p:sldLayout xmlns:a="http://schemas.openxmlformats.org/drawingml/2006/main" xmlns:r="http://schemas.openxmlformats.org/officeDocument/2006/relationships" xmlns:p="http://schemas.openxmlformats.org/presentationml/2006/main" showMasterSp="0" preserve="1" userDrawn="1">
  <p:cSld name="Agenda with brushin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smtClean="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smtClean="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Increase</a:t>
                  </a:r>
                </a:p>
                <a:p>
                  <a:pPr algn="r">
                    <a:defRPr/>
                  </a:pPr>
                  <a:r>
                    <a:rPr lang="en-GB" sz="999" dirty="0" smtClean="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Decrease </a:t>
                  </a:r>
                </a:p>
                <a:p>
                  <a:pPr algn="r">
                    <a:defRPr/>
                  </a:pPr>
                  <a:r>
                    <a:rPr lang="en-GB" sz="999" dirty="0" smtClean="0">
                      <a:solidFill>
                        <a:srgbClr val="444444"/>
                      </a:solidFill>
                    </a:rPr>
                    <a:t>List Level</a:t>
                  </a:r>
                </a:p>
              </p:txBody>
            </p:sp>
            <p:pic>
              <p:nvPicPr>
                <p:cNvPr id="38" name="Listenebene erhöh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 name="Title 1"/>
          <p:cNvSpPr>
            <a:spLocks noGrp="1"/>
          </p:cNvSpPr>
          <p:nvPr>
            <p:ph type="title" hasCustomPrompt="1"/>
          </p:nvPr>
        </p:nvSpPr>
        <p:spPr>
          <a:xfrm>
            <a:off x="628323" y="288859"/>
            <a:ext cx="10932455" cy="1148857"/>
          </a:xfrm>
        </p:spPr>
        <p:txBody>
          <a:bodyPr/>
          <a:lstStyle>
            <a:lvl1pPr>
              <a:defRPr/>
            </a:lvl1pPr>
          </a:lstStyle>
          <a:p>
            <a:r>
              <a:rPr lang="en-GB" noProof="0" dirty="0" smtClean="0"/>
              <a:t>Headline for Agenda in CorpoS (Body) 35 pt. </a:t>
            </a:r>
            <a:br>
              <a:rPr lang="en-GB" noProof="0" dirty="0" smtClean="0"/>
            </a:br>
            <a:r>
              <a:rPr lang="en-GB" noProof="0" dirty="0" smtClean="0"/>
              <a:t>one or two lines</a:t>
            </a:r>
            <a:endParaRPr lang="en-GB" dirty="0"/>
          </a:p>
        </p:txBody>
      </p:sp>
      <p:sp>
        <p:nvSpPr>
          <p:cNvPr id="3" name="Footer Placeholder 2"/>
          <p:cNvSpPr>
            <a:spLocks noGrp="1"/>
          </p:cNvSpPr>
          <p:nvPr>
            <p:ph type="ftr" sz="quarter" idx="10"/>
          </p:nvPr>
        </p:nvSpPr>
        <p:spPr/>
        <p:txBody>
          <a:bodyPr/>
          <a:lstStyle/>
          <a:p>
            <a:r>
              <a:rPr lang="en-GB" smtClean="0">
                <a:solidFill>
                  <a:prstClr val="black"/>
                </a:solidFill>
              </a:rPr>
              <a:t>DFS Deep Dive - </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7" y="1504603"/>
            <a:ext cx="10931023" cy="3386305"/>
          </a:xfrm>
          <a:custGeom>
            <a:avLst/>
            <a:gdLst>
              <a:gd name="connsiteX0" fmla="*/ 0 w 10936081"/>
              <a:gd name="connsiteY0" fmla="*/ 0 h 3384000"/>
              <a:gd name="connsiteX1" fmla="*/ 10936081 w 10936081"/>
              <a:gd name="connsiteY1" fmla="*/ 0 h 3384000"/>
              <a:gd name="connsiteX2" fmla="*/ 10936081 w 10936081"/>
              <a:gd name="connsiteY2" fmla="*/ 3384000 h 3384000"/>
              <a:gd name="connsiteX3" fmla="*/ 0 w 10936081"/>
              <a:gd name="connsiteY3" fmla="*/ 3384000 h 3384000"/>
              <a:gd name="connsiteX4" fmla="*/ 0 w 10936081"/>
              <a:gd name="connsiteY4" fmla="*/ 0 h 3384000"/>
              <a:gd name="connsiteX0" fmla="*/ 0 w 10936081"/>
              <a:gd name="connsiteY0" fmla="*/ 0 h 3387089"/>
              <a:gd name="connsiteX1" fmla="*/ 10936081 w 10936081"/>
              <a:gd name="connsiteY1" fmla="*/ 0 h 3387089"/>
              <a:gd name="connsiteX2" fmla="*/ 10936081 w 10936081"/>
              <a:gd name="connsiteY2" fmla="*/ 3384000 h 3387089"/>
              <a:gd name="connsiteX3" fmla="*/ 2006076 w 10936081"/>
              <a:gd name="connsiteY3" fmla="*/ 3387089 h 3387089"/>
              <a:gd name="connsiteX4" fmla="*/ 0 w 10936081"/>
              <a:gd name="connsiteY4" fmla="*/ 3384000 h 3387089"/>
              <a:gd name="connsiteX5" fmla="*/ 0 w 10936081"/>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10936081 w 10936716"/>
              <a:gd name="connsiteY3" fmla="*/ 3384000 h 3387089"/>
              <a:gd name="connsiteX4" fmla="*/ 2006076 w 10936716"/>
              <a:gd name="connsiteY4" fmla="*/ 3387089 h 3387089"/>
              <a:gd name="connsiteX5" fmla="*/ 0 w 10936716"/>
              <a:gd name="connsiteY5" fmla="*/ 3384000 h 3387089"/>
              <a:gd name="connsiteX6" fmla="*/ 0 w 10936716"/>
              <a:gd name="connsiteY6"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3387089">
                <a:moveTo>
                  <a:pt x="0" y="0"/>
                </a:moveTo>
                <a:lnTo>
                  <a:pt x="10936081" y="0"/>
                </a:lnTo>
                <a:cubicBezTo>
                  <a:pt x="10936293" y="852170"/>
                  <a:pt x="10936504" y="1704339"/>
                  <a:pt x="10936716" y="2556509"/>
                </a:cubicBezTo>
                <a:lnTo>
                  <a:pt x="2006076" y="3387089"/>
                </a:lnTo>
                <a:lnTo>
                  <a:pt x="0" y="3384000"/>
                </a:lnTo>
                <a:lnTo>
                  <a:pt x="0" y="0"/>
                </a:lnTo>
                <a:close/>
              </a:path>
            </a:pathLst>
          </a:custGeo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smtClean="0"/>
              <a:t>Insert Agenda point</a:t>
            </a:r>
          </a:p>
          <a:p>
            <a:pPr lvl="1"/>
            <a:r>
              <a:rPr lang="en-GB" dirty="0" smtClean="0"/>
              <a:t>Second level </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392376250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1045.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smtClean="0"/>
              <a:t>Headline for Agenda in CorpoS (Body) 35 pt. </a:t>
            </a:r>
            <a:br>
              <a:rPr lang="en-GB" noProof="0" dirty="0" smtClean="0"/>
            </a:br>
            <a:r>
              <a:rPr lang="en-GB" noProof="0" dirty="0" smtClean="0"/>
              <a:t>one or two lines</a:t>
            </a:r>
            <a:endParaRPr lang="en-GB" dirty="0"/>
          </a:p>
        </p:txBody>
      </p:sp>
      <p:sp>
        <p:nvSpPr>
          <p:cNvPr id="3" name="Footer Placeholder 2"/>
          <p:cNvSpPr>
            <a:spLocks noGrp="1"/>
          </p:cNvSpPr>
          <p:nvPr>
            <p:ph type="ftr" sz="quarter" idx="10"/>
          </p:nvPr>
        </p:nvSpPr>
        <p:spPr/>
        <p:txBody>
          <a:bodyPr/>
          <a:lstStyle/>
          <a:p>
            <a:r>
              <a:rPr lang="en-GB" smtClean="0">
                <a:solidFill>
                  <a:prstClr val="black"/>
                </a:solidFill>
              </a:rPr>
              <a:t>DFS Deep Dive - </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smtClean="0"/>
              <a:t>Insert Agenda point</a:t>
            </a:r>
          </a:p>
          <a:p>
            <a:pPr lvl="1"/>
            <a:r>
              <a:rPr lang="en-GB" dirty="0" smtClean="0"/>
              <a:t>Second level </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a:p>
            <a:pPr lvl="8"/>
            <a:r>
              <a:rPr lang="en-GB" dirty="0" smtClean="0"/>
              <a:t>Ninth level</a:t>
            </a:r>
          </a:p>
        </p:txBody>
      </p:sp>
    </p:spTree>
    <p:extLst>
      <p:ext uri="{BB962C8B-B14F-4D97-AF65-F5344CB8AC3E}">
        <p14:creationId xmlns:p14="http://schemas.microsoft.com/office/powerpoint/2010/main" val="224224450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1046.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p:txBody>
          <a:bodyPr/>
          <a:lstStyle/>
          <a:p>
            <a:r>
              <a:rPr lang="en-GB" smtClean="0">
                <a:solidFill>
                  <a:prstClr val="black"/>
                </a:solidFill>
              </a:rPr>
              <a:t>DFS Deep Dive - </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smtClean="0"/>
              <a:t>Insert content or text in CorpoS (Body) 24 pt. (Mark-ups in Bold) // for conclusion, summary or short highlight: Home // Paragraph// Increase List Level</a:t>
            </a:r>
          </a:p>
          <a:p>
            <a:pPr lvl="1"/>
            <a:r>
              <a:rPr lang="en-GB" noProof="0" dirty="0" smtClean="0"/>
              <a:t>Second level (Conclusion, summary or short highlight)</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s level</a:t>
            </a:r>
          </a:p>
          <a:p>
            <a:pPr lvl="7"/>
            <a:r>
              <a:rPr lang="en-GB" noProof="0" dirty="0" smtClean="0"/>
              <a:t>Eight level</a:t>
            </a:r>
          </a:p>
          <a:p>
            <a:pPr lvl="8"/>
            <a:r>
              <a:rPr lang="en-GB" noProof="0" dirty="0" smtClean="0"/>
              <a:t>Ninth level</a:t>
            </a:r>
          </a:p>
        </p:txBody>
      </p:sp>
    </p:spTree>
    <p:extLst>
      <p:ext uri="{BB962C8B-B14F-4D97-AF65-F5344CB8AC3E}">
        <p14:creationId xmlns:p14="http://schemas.microsoft.com/office/powerpoint/2010/main" val="367951228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1047.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2 lines">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smtClean="0">
                  <a:solidFill>
                    <a:srgbClr val="444444"/>
                  </a:solidFill>
                </a:rPr>
                <a:t>Show guides via menu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smtClean="0">
                  <a:solidFill>
                    <a:srgbClr val="444444"/>
                  </a:solidFill>
                </a:rPr>
                <a:t>Adjust footer (per slide or for several/all slides) via menu bar: Insert // Text // Header &amp; Footer</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Increase</a:t>
                  </a:r>
                </a:p>
                <a:p>
                  <a:pPr algn="r">
                    <a:defRPr/>
                  </a:pPr>
                  <a:r>
                    <a:rPr lang="en-GB" sz="999" dirty="0" smtClean="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Decrease </a:t>
                  </a:r>
                </a:p>
                <a:p>
                  <a:pPr algn="r">
                    <a:defRPr/>
                  </a:pPr>
                  <a:r>
                    <a:rPr lang="en-GB" sz="999" dirty="0" smtClean="0">
                      <a:solidFill>
                        <a:srgbClr val="444444"/>
                      </a:solidFill>
                    </a:rPr>
                    <a:t>List Level</a:t>
                  </a:r>
                </a:p>
              </p:txBody>
            </p:sp>
            <p:pic>
              <p:nvPicPr>
                <p:cNvPr id="29" name="Listenebene erhöh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p:txBody>
          <a:bodyPr/>
          <a:lstStyle>
            <a:lvl1pPr>
              <a:defRPr/>
            </a:lvl1p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p:txBody>
          <a:bodyPr/>
          <a:lstStyle/>
          <a:p>
            <a:r>
              <a:rPr lang="en-GB" smtClean="0">
                <a:solidFill>
                  <a:prstClr val="black"/>
                </a:solidFill>
              </a:rPr>
              <a:t>DFS Deep Dive - </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smtClean="0"/>
              <a:t>Insert content or text in </a:t>
            </a:r>
            <a:r>
              <a:rPr lang="en-GB" noProof="0" dirty="0" err="1" smtClean="0"/>
              <a:t>Corpo</a:t>
            </a:r>
            <a:r>
              <a:rPr lang="en-GB" noProof="0" dirty="0" smtClean="0"/>
              <a:t> S (Body) 24 pt. (Mark-ups in Bold) // for conclusion, summary or short highlight: Home // Paragraph// Increase List Level</a:t>
            </a:r>
          </a:p>
          <a:p>
            <a:pPr lvl="1"/>
            <a:r>
              <a:rPr lang="en-GB" noProof="0" dirty="0" smtClean="0"/>
              <a:t>Second level (Conclusion, summary or short highlight)</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s level</a:t>
            </a:r>
          </a:p>
          <a:p>
            <a:pPr lvl="7"/>
            <a:r>
              <a:rPr lang="en-GB" noProof="0" dirty="0" smtClean="0"/>
              <a:t>Eight level</a:t>
            </a:r>
          </a:p>
          <a:p>
            <a:pPr lvl="8"/>
            <a:r>
              <a:rPr lang="en-GB" noProof="0" dirty="0" smtClean="0"/>
              <a:t>Ninth level</a:t>
            </a:r>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202034717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1048.xml><?xml version="1.0" encoding="utf-8"?>
<p:sldLayout xmlns:a="http://schemas.openxmlformats.org/drawingml/2006/main" xmlns:r="http://schemas.openxmlformats.org/officeDocument/2006/relationships" xmlns:p="http://schemas.openxmlformats.org/presentationml/2006/main" preserve="1" userDrawn="1">
  <p:cSld name="Text/ content/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p:txBody>
          <a:bodyPr/>
          <a:lstStyle/>
          <a:p>
            <a:r>
              <a:rPr lang="en-GB" smtClean="0">
                <a:solidFill>
                  <a:prstClr val="black"/>
                </a:solidFill>
              </a:rPr>
              <a:t>DFS Deep Dive - </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en-GB" noProof="0" dirty="0" smtClean="0"/>
              <a:t>Insert content or text in CorpoS (Body) 24 pt. (Mark-ups in Bold) // for conclusion, summary or short highlight: Home // Paragraph// Increase List Level</a:t>
            </a:r>
          </a:p>
          <a:p>
            <a:pPr lvl="1"/>
            <a:r>
              <a:rPr lang="en-GB" noProof="0" dirty="0" smtClean="0"/>
              <a:t>Second level (Conclusion, summary or short highlight)</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s level</a:t>
            </a:r>
          </a:p>
          <a:p>
            <a:pPr lvl="7"/>
            <a:r>
              <a:rPr lang="en-GB" noProof="0" dirty="0" smtClean="0"/>
              <a:t>Eight level</a:t>
            </a:r>
          </a:p>
          <a:p>
            <a:pPr lvl="8"/>
            <a:r>
              <a:rPr lang="en-GB" noProof="0" dirty="0" smtClean="0"/>
              <a:t>Ninth level</a:t>
            </a:r>
          </a:p>
        </p:txBody>
      </p:sp>
    </p:spTree>
    <p:extLst>
      <p:ext uri="{BB962C8B-B14F-4D97-AF65-F5344CB8AC3E}">
        <p14:creationId xmlns:p14="http://schemas.microsoft.com/office/powerpoint/2010/main" val="294283638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1049.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1 line">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smtClean="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smtClean="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Increase</a:t>
                  </a:r>
                </a:p>
                <a:p>
                  <a:pPr algn="r">
                    <a:defRPr/>
                  </a:pPr>
                  <a:r>
                    <a:rPr lang="en-GB" sz="999" dirty="0" smtClean="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Decrease </a:t>
                  </a:r>
                </a:p>
                <a:p>
                  <a:pPr algn="r">
                    <a:defRPr/>
                  </a:pPr>
                  <a:r>
                    <a:rPr lang="en-GB" sz="999" dirty="0" smtClean="0">
                      <a:solidFill>
                        <a:srgbClr val="444444"/>
                      </a:solidFill>
                    </a:rPr>
                    <a:t>List Level</a:t>
                  </a:r>
                </a:p>
              </p:txBody>
            </p:sp>
            <p:pic>
              <p:nvPicPr>
                <p:cNvPr id="27" name="Listenebene erhöh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a:xfrm>
            <a:off x="629671" y="285982"/>
            <a:ext cx="10931106" cy="683842"/>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p:txBody>
          <a:bodyPr/>
          <a:lstStyle/>
          <a:p>
            <a:r>
              <a:rPr lang="en-GB" smtClean="0">
                <a:solidFill>
                  <a:prstClr val="black"/>
                </a:solidFill>
              </a:rPr>
              <a:t>DFS Deep Dive - </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414304860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2_Text/ image/ Headline 1 lin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770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78" y="285982"/>
            <a:ext cx="10931106" cy="683842"/>
          </a:xfrm>
        </p:spPr>
        <p:txBody>
          <a:bodyPr/>
          <a:lstStyle/>
          <a:p>
            <a:r>
              <a:rPr lang="en-US" noProof="0" dirty="0"/>
              <a:t>Headline in </a:t>
            </a:r>
            <a:r>
              <a:rPr lang="en-US" noProof="0" dirty="0" err="1"/>
              <a:t>CorpoS</a:t>
            </a:r>
            <a:r>
              <a:rPr lang="en-US" noProof="0" dirty="0"/>
              <a:t> (Body) 35 pt.</a:t>
            </a:r>
            <a:endParaRPr lang="en-US" dirty="0"/>
          </a:p>
        </p:txBody>
      </p:sp>
      <p:sp>
        <p:nvSpPr>
          <p:cNvPr id="3" name="Footer Placeholder 2"/>
          <p:cNvSpPr>
            <a:spLocks noGrp="1"/>
          </p:cNvSpPr>
          <p:nvPr>
            <p:ph type="ftr" sz="quarter" idx="10"/>
          </p:nvPr>
        </p:nvSpPr>
        <p:spPr/>
        <p:txBody>
          <a:bodyPr/>
          <a:lstStyle/>
          <a:p>
            <a:r>
              <a:rPr lang="en-US" dirty="0">
                <a:solidFill>
                  <a:prstClr val="black"/>
                </a:solidFill>
              </a:rPr>
              <a:t>DFS BoM Meeting | January 2017 | </a:t>
            </a:r>
          </a:p>
        </p:txBody>
      </p:sp>
      <p:sp>
        <p:nvSpPr>
          <p:cNvPr id="4" name="Slide Number Placeholder 3"/>
          <p:cNvSpPr>
            <a:spLocks noGrp="1"/>
          </p:cNvSpPr>
          <p:nvPr>
            <p:ph type="sldNum" sz="quarter" idx="11"/>
          </p:nvPr>
        </p:nvSpPr>
        <p:spPr/>
        <p:txBody>
          <a:bodyPr/>
          <a:lstStyle/>
          <a:p>
            <a:r>
              <a:rPr lang="en-US" dirty="0">
                <a:solidFill>
                  <a:prstClr val="black"/>
                </a:solidFill>
              </a:rPr>
              <a:t>Page </a:t>
            </a:r>
            <a:fld id="{52531704-8F80-415D-BD2B-6B9991AE822F}" type="slidenum">
              <a:rPr lang="en-US" smtClean="0">
                <a:solidFill>
                  <a:prstClr val="black"/>
                </a:solidFill>
              </a:rPr>
              <a:pPr/>
              <a:t>‹#›</a:t>
            </a:fld>
            <a:endParaRPr lang="en-US" dirty="0">
              <a:solidFill>
                <a:prstClr val="black"/>
              </a:solidFill>
            </a:endParaRPr>
          </a:p>
        </p:txBody>
      </p:sp>
      <p:sp>
        <p:nvSpPr>
          <p:cNvPr id="17"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7417">
              <a:defRPr/>
            </a:pPr>
            <a:r>
              <a:rPr lang="en-US" sz="1199" dirty="0">
                <a:solidFill>
                  <a:prstClr val="black"/>
                </a:solidFill>
                <a:cs typeface="Daimler CS"/>
              </a:rPr>
              <a:t>Daimler Mobility Services GmbH</a:t>
            </a:r>
          </a:p>
        </p:txBody>
      </p:sp>
      <p:cxnSp>
        <p:nvCxnSpPr>
          <p:cNvPr id="16"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Tree>
    <p:extLst>
      <p:ext uri="{BB962C8B-B14F-4D97-AF65-F5344CB8AC3E}">
        <p14:creationId xmlns:p14="http://schemas.microsoft.com/office/powerpoint/2010/main" val="81487894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1050.xml><?xml version="1.0" encoding="utf-8"?>
<p:sldLayout xmlns:a="http://schemas.openxmlformats.org/drawingml/2006/main" xmlns:r="http://schemas.openxmlformats.org/officeDocument/2006/relationships" xmlns:p="http://schemas.openxmlformats.org/presentationml/2006/main" showMasterSp="0" preserve="1" userDrawn="1">
  <p:cSld name="1.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smtClean="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smtClean="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Increase</a:t>
                  </a:r>
                </a:p>
                <a:p>
                  <a:pPr algn="r">
                    <a:defRPr/>
                  </a:pPr>
                  <a:r>
                    <a:rPr lang="en-GB" sz="999" dirty="0" smtClean="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Decrease </a:t>
                  </a:r>
                </a:p>
                <a:p>
                  <a:pPr algn="r">
                    <a:defRPr/>
                  </a:pPr>
                  <a:r>
                    <a:rPr lang="en-GB" sz="999" dirty="0" smtClean="0">
                      <a:solidFill>
                        <a:srgbClr val="444444"/>
                      </a:solidFill>
                    </a:rPr>
                    <a:t>List Level</a:t>
                  </a:r>
                </a:p>
              </p:txBody>
            </p:sp>
            <p:pic>
              <p:nvPicPr>
                <p:cNvPr id="38" name="Listenebene erhöh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or more lines of text</a:t>
            </a:r>
            <a:endParaRPr lang="en-GB" dirty="0"/>
          </a:p>
        </p:txBody>
      </p:sp>
      <p:sp>
        <p:nvSpPr>
          <p:cNvPr id="11" name="Footer Placeholder 10"/>
          <p:cNvSpPr>
            <a:spLocks noGrp="1"/>
          </p:cNvSpPr>
          <p:nvPr>
            <p:ph type="ftr" sz="quarter" idx="11"/>
          </p:nvPr>
        </p:nvSpPr>
        <p:spPr/>
        <p:txBody>
          <a:bodyPr/>
          <a:lstStyle/>
          <a:p>
            <a:r>
              <a:rPr lang="en-GB" smtClean="0">
                <a:solidFill>
                  <a:prstClr val="black"/>
                </a:solidFill>
              </a:rPr>
              <a:t>DFS Deep Dive - </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288553850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1051.xml><?xml version="1.0" encoding="utf-8"?>
<p:sldLayout xmlns:a="http://schemas.openxmlformats.org/drawingml/2006/main" xmlns:r="http://schemas.openxmlformats.org/officeDocument/2006/relationships" xmlns:p="http://schemas.openxmlformats.org/presentationml/2006/main" showMasterSp="0" preserve="1" userDrawn="1">
  <p:cSld name="2.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smtClean="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smtClean="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Increase</a:t>
                  </a:r>
                </a:p>
                <a:p>
                  <a:pPr algn="r">
                    <a:defRPr/>
                  </a:pPr>
                  <a:r>
                    <a:rPr lang="en-GB" sz="999" dirty="0" smtClean="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Decrease </a:t>
                  </a:r>
                </a:p>
                <a:p>
                  <a:pPr algn="r">
                    <a:defRPr/>
                  </a:pPr>
                  <a:r>
                    <a:rPr lang="en-GB" sz="999" dirty="0" smtClean="0">
                      <a:solidFill>
                        <a:srgbClr val="444444"/>
                      </a:solidFill>
                    </a:rPr>
                    <a:t>List Level</a:t>
                  </a:r>
                </a:p>
              </p:txBody>
            </p:sp>
            <p:pic>
              <p:nvPicPr>
                <p:cNvPr id="38" name="Listenebene erhöh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 name="Title 2"/>
          <p:cNvSpPr>
            <a:spLocks noGrp="1"/>
          </p:cNvSpPr>
          <p:nvPr>
            <p:ph type="title" hasCustomPrompt="1"/>
          </p:nvPr>
        </p:nvSpPr>
        <p:spPr>
          <a:xfrm>
            <a:off x="630117" y="288858"/>
            <a:ext cx="10931023" cy="1115742"/>
          </a:xfrm>
          <a:custGeom>
            <a:avLst/>
            <a:gdLst>
              <a:gd name="connsiteX0" fmla="*/ 0 w 10936355"/>
              <a:gd name="connsiteY0" fmla="*/ 0 h 1116000"/>
              <a:gd name="connsiteX1" fmla="*/ 10936355 w 10936355"/>
              <a:gd name="connsiteY1" fmla="*/ 0 h 1116000"/>
              <a:gd name="connsiteX2" fmla="*/ 10936355 w 10936355"/>
              <a:gd name="connsiteY2" fmla="*/ 1116000 h 1116000"/>
              <a:gd name="connsiteX3" fmla="*/ 0 w 10936355"/>
              <a:gd name="connsiteY3" fmla="*/ 1116000 h 1116000"/>
              <a:gd name="connsiteX4" fmla="*/ 0 w 10936355"/>
              <a:gd name="connsiteY4" fmla="*/ 0 h 1116000"/>
              <a:gd name="connsiteX0" fmla="*/ 0 w 10936355"/>
              <a:gd name="connsiteY0" fmla="*/ 0 h 1116000"/>
              <a:gd name="connsiteX1" fmla="*/ 10936355 w 10936355"/>
              <a:gd name="connsiteY1" fmla="*/ 0 h 1116000"/>
              <a:gd name="connsiteX2" fmla="*/ 10936355 w 10936355"/>
              <a:gd name="connsiteY2" fmla="*/ 1116000 h 1116000"/>
              <a:gd name="connsiteX3" fmla="*/ 5793216 w 10936355"/>
              <a:gd name="connsiteY3" fmla="*/ 1113155 h 1116000"/>
              <a:gd name="connsiteX4" fmla="*/ 0 w 10936355"/>
              <a:gd name="connsiteY4" fmla="*/ 1116000 h 1116000"/>
              <a:gd name="connsiteX5" fmla="*/ 0 w 10936355"/>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10936355 w 10936716"/>
              <a:gd name="connsiteY3" fmla="*/ 1116000 h 1116000"/>
              <a:gd name="connsiteX4" fmla="*/ 5793216 w 10936716"/>
              <a:gd name="connsiteY4" fmla="*/ 1113155 h 1116000"/>
              <a:gd name="connsiteX5" fmla="*/ 0 w 10936716"/>
              <a:gd name="connsiteY5" fmla="*/ 1116000 h 1116000"/>
              <a:gd name="connsiteX6" fmla="*/ 0 w 10936716"/>
              <a:gd name="connsiteY6"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1116000">
                <a:moveTo>
                  <a:pt x="0" y="0"/>
                </a:moveTo>
                <a:lnTo>
                  <a:pt x="10936355" y="0"/>
                </a:lnTo>
                <a:cubicBezTo>
                  <a:pt x="10936475" y="226272"/>
                  <a:pt x="10936596" y="452543"/>
                  <a:pt x="10936716" y="678815"/>
                </a:cubicBezTo>
                <a:lnTo>
                  <a:pt x="5793216" y="1113155"/>
                </a:lnTo>
                <a:lnTo>
                  <a:pt x="0" y="1116000"/>
                </a:lnTo>
                <a:lnTo>
                  <a:pt x="0" y="0"/>
                </a:lnTo>
                <a:close/>
              </a:path>
            </a:pathLst>
          </a:custGeom>
        </p:spPr>
        <p:txBody>
          <a:bodyPr/>
          <a:lstStyle>
            <a:lvl1pPr>
              <a:defRPr>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lines of text</a:t>
            </a:r>
            <a:endParaRPr lang="en-GB" dirty="0"/>
          </a:p>
        </p:txBody>
      </p:sp>
      <p:sp>
        <p:nvSpPr>
          <p:cNvPr id="11" name="Footer Placeholder 10"/>
          <p:cNvSpPr>
            <a:spLocks noGrp="1"/>
          </p:cNvSpPr>
          <p:nvPr>
            <p:ph type="ftr" sz="quarter" idx="11"/>
          </p:nvPr>
        </p:nvSpPr>
        <p:spPr/>
        <p:txBody>
          <a:bodyPr/>
          <a:lstStyle/>
          <a:p>
            <a:r>
              <a:rPr lang="en-GB" smtClean="0">
                <a:solidFill>
                  <a:prstClr val="black"/>
                </a:solidFill>
              </a:rPr>
              <a:t>DFS Deep Dive - </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218114920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1052.xml><?xml version="1.0" encoding="utf-8"?>
<p:sldLayout xmlns:a="http://schemas.openxmlformats.org/drawingml/2006/main" xmlns:r="http://schemas.openxmlformats.org/officeDocument/2006/relationships" xmlns:p="http://schemas.openxmlformats.org/presentationml/2006/main" showMasterSp="0" preserve="1" userDrawn="1">
  <p:cSld name="3. Brushing/ image 2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smtClean="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smtClean="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Increase</a:t>
                  </a:r>
                </a:p>
                <a:p>
                  <a:pPr algn="r">
                    <a:defRPr/>
                  </a:pPr>
                  <a:r>
                    <a:rPr lang="en-GB" sz="999" dirty="0" smtClean="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Decrease </a:t>
                  </a:r>
                </a:p>
                <a:p>
                  <a:pPr algn="r">
                    <a:defRPr/>
                  </a:pPr>
                  <a:r>
                    <a:rPr lang="en-GB" sz="999" dirty="0" smtClean="0">
                      <a:solidFill>
                        <a:srgbClr val="444444"/>
                      </a:solidFill>
                    </a:rPr>
                    <a:t>List Level</a:t>
                  </a:r>
                </a:p>
              </p:txBody>
            </p:sp>
            <p:pic>
              <p:nvPicPr>
                <p:cNvPr id="38" name="Listenebene erhöh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bwMode="white">
          <a:xfrm>
            <a:off x="0" y="0"/>
            <a:ext cx="12190451" cy="6487838"/>
          </a:xfrm>
          <a:prstGeom prst="rect">
            <a:avLst/>
          </a:prstGeom>
        </p:spPr>
      </p:pic>
      <p:sp>
        <p:nvSpPr>
          <p:cNvPr id="11" name="Footer Placeholder 10"/>
          <p:cNvSpPr>
            <a:spLocks noGrp="1"/>
          </p:cNvSpPr>
          <p:nvPr>
            <p:ph type="ftr" sz="quarter" idx="11"/>
          </p:nvPr>
        </p:nvSpPr>
        <p:spPr/>
        <p:txBody>
          <a:bodyPr/>
          <a:lstStyle/>
          <a:p>
            <a:r>
              <a:rPr lang="en-GB" smtClean="0">
                <a:solidFill>
                  <a:prstClr val="black"/>
                </a:solidFill>
              </a:rPr>
              <a:t>DFS Deep Dive - </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205180237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1053.xml><?xml version="1.0" encoding="utf-8"?>
<p:sldLayout xmlns:a="http://schemas.openxmlformats.org/drawingml/2006/main" xmlns:r="http://schemas.openxmlformats.org/officeDocument/2006/relationships" xmlns:p="http://schemas.openxmlformats.org/presentationml/2006/main" showMasterSp="0" preserve="1" userDrawn="1">
  <p:cSld name="4.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smtClean="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smtClean="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Increase</a:t>
                  </a:r>
                </a:p>
                <a:p>
                  <a:pPr algn="r">
                    <a:defRPr/>
                  </a:pPr>
                  <a:r>
                    <a:rPr lang="en-GB" sz="999" dirty="0" smtClean="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Decrease </a:t>
                  </a:r>
                </a:p>
                <a:p>
                  <a:pPr algn="r">
                    <a:defRPr/>
                  </a:pPr>
                  <a:r>
                    <a:rPr lang="en-GB" sz="999" dirty="0" smtClean="0">
                      <a:solidFill>
                        <a:srgbClr val="444444"/>
                      </a:solidFill>
                    </a:rPr>
                    <a:t>List Level</a:t>
                  </a:r>
                </a:p>
              </p:txBody>
            </p:sp>
            <p:pic>
              <p:nvPicPr>
                <p:cNvPr id="38" name="Listenebene erhöh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Footer Placeholder 10"/>
          <p:cNvSpPr>
            <a:spLocks noGrp="1"/>
          </p:cNvSpPr>
          <p:nvPr>
            <p:ph type="ftr" sz="quarter" idx="11"/>
          </p:nvPr>
        </p:nvSpPr>
        <p:spPr/>
        <p:txBody>
          <a:bodyPr/>
          <a:lstStyle/>
          <a:p>
            <a:r>
              <a:rPr lang="en-GB" smtClean="0">
                <a:solidFill>
                  <a:prstClr val="black"/>
                </a:solidFill>
              </a:rPr>
              <a:t>DFS Deep Dive - </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smtClean="0"/>
              <a:t>Insert text in </a:t>
            </a:r>
            <a:r>
              <a:rPr lang="en-GB" noProof="0" dirty="0" smtClean="0"/>
              <a:t>CorpoS (Body) 24 pt. (Mark-ups in Bold) </a:t>
            </a:r>
            <a:r>
              <a:rPr lang="en-GB" dirty="0" smtClean="0"/>
              <a:t>// for Body text: Home // Paragraph// Increase List Level</a:t>
            </a:r>
          </a:p>
          <a:p>
            <a:pPr lvl="1"/>
            <a:r>
              <a:rPr lang="en-GB" dirty="0" smtClean="0"/>
              <a:t>Second level (Body text)</a:t>
            </a:r>
          </a:p>
        </p:txBody>
      </p:sp>
      <p:sp>
        <p:nvSpPr>
          <p:cNvPr id="2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391512235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1054.xml><?xml version="1.0" encoding="utf-8"?>
<p:sldLayout xmlns:a="http://schemas.openxmlformats.org/drawingml/2006/main" xmlns:r="http://schemas.openxmlformats.org/officeDocument/2006/relationships" xmlns:p="http://schemas.openxmlformats.org/presentationml/2006/main" showMasterSp="0" preserve="1" userDrawn="1">
  <p:cSld name="5. Brushing/ image 3 columns">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3"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smtClean="0">
                  <a:solidFill>
                    <a:srgbClr val="444444"/>
                  </a:solidFill>
                </a:rPr>
                <a:t>Show guides via menu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smtClean="0">
                  <a:solidFill>
                    <a:srgbClr val="444444"/>
                  </a:solidFill>
                </a:rPr>
                <a:t>Adjust footer (per slide or for several/all slides) via menu bar: Insert // Text // Header &amp; Footer</a:t>
              </a: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Increase</a:t>
                  </a:r>
                </a:p>
                <a:p>
                  <a:pPr algn="r">
                    <a:defRPr/>
                  </a:pPr>
                  <a:r>
                    <a:rPr lang="en-GB" sz="999" dirty="0" smtClean="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Decrease </a:t>
                  </a:r>
                </a:p>
                <a:p>
                  <a:pPr algn="r">
                    <a:defRPr/>
                  </a:pPr>
                  <a:r>
                    <a:rPr lang="en-GB" sz="999" dirty="0" smtClean="0">
                      <a:solidFill>
                        <a:srgbClr val="444444"/>
                      </a:solidFill>
                    </a:rPr>
                    <a:t>List Level</a:t>
                  </a:r>
                </a:p>
              </p:txBody>
            </p:sp>
            <p:pic>
              <p:nvPicPr>
                <p:cNvPr id="39" name="Listenebene erhöh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Footer Placeholder 10"/>
          <p:cNvSpPr>
            <a:spLocks noGrp="1"/>
          </p:cNvSpPr>
          <p:nvPr>
            <p:ph type="ftr" sz="quarter" idx="11"/>
          </p:nvPr>
        </p:nvSpPr>
        <p:spPr/>
        <p:txBody>
          <a:bodyPr/>
          <a:lstStyle/>
          <a:p>
            <a:r>
              <a:rPr lang="en-GB" smtClean="0">
                <a:solidFill>
                  <a:prstClr val="black"/>
                </a:solidFill>
              </a:rPr>
              <a:t>DFS Deep Dive - </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smtClean="0"/>
              <a:t>Insert text in </a:t>
            </a:r>
            <a:r>
              <a:rPr lang="en-GB" noProof="0" dirty="0" smtClean="0"/>
              <a:t>CorpoS (Body) 24 pt. (Mark-ups in Bold) </a:t>
            </a:r>
            <a:r>
              <a:rPr lang="en-GB" dirty="0" smtClean="0"/>
              <a:t>// for Body text: Home // Paragraph// Increase List Level</a:t>
            </a:r>
          </a:p>
          <a:p>
            <a:pPr lvl="1"/>
            <a:r>
              <a:rPr lang="en-GB" dirty="0" smtClean="0"/>
              <a:t>Second level (Body text)</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143717277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1055.xml><?xml version="1.0" encoding="utf-8"?>
<p:sldLayout xmlns:a="http://schemas.openxmlformats.org/drawingml/2006/main" xmlns:r="http://schemas.openxmlformats.org/officeDocument/2006/relationships" xmlns:p="http://schemas.openxmlformats.org/presentationml/2006/main" showMasterSp="0" preserve="1" userDrawn="1">
  <p:cSld name="Full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smtClean="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smtClean="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Increase</a:t>
                  </a:r>
                </a:p>
                <a:p>
                  <a:pPr algn="r">
                    <a:defRPr/>
                  </a:pPr>
                  <a:r>
                    <a:rPr lang="en-GB" sz="999" dirty="0" smtClean="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Decrease </a:t>
                  </a:r>
                </a:p>
                <a:p>
                  <a:pPr algn="r">
                    <a:defRPr/>
                  </a:pPr>
                  <a:r>
                    <a:rPr lang="en-GB" sz="999" dirty="0" smtClean="0">
                      <a:solidFill>
                        <a:srgbClr val="444444"/>
                      </a:solidFill>
                    </a:rPr>
                    <a:t>List Level</a:t>
                  </a:r>
                </a:p>
              </p:txBody>
            </p:sp>
            <p:pic>
              <p:nvPicPr>
                <p:cNvPr id="35" name="Listenebene erhöh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GB" smtClean="0">
                <a:solidFill>
                  <a:prstClr val="black"/>
                </a:solidFill>
              </a:rPr>
              <a:t>DFS Deep Dive - </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144869778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56.xml><?xml version="1.0" encoding="utf-8"?>
<p:sldLayout xmlns:a="http://schemas.openxmlformats.org/drawingml/2006/main" xmlns:r="http://schemas.openxmlformats.org/officeDocument/2006/relationships" xmlns:p="http://schemas.openxmlformats.org/presentationml/2006/main" showMasterSp="0" preserve="1" userDrawn="1">
  <p:cSld name="Full image/ 2 columns">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smtClean="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smtClean="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Increase</a:t>
                  </a:r>
                </a:p>
                <a:p>
                  <a:pPr algn="r">
                    <a:defRPr/>
                  </a:pPr>
                  <a:r>
                    <a:rPr lang="en-GB" sz="999" dirty="0" smtClean="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Decrease </a:t>
                  </a:r>
                </a:p>
                <a:p>
                  <a:pPr algn="r">
                    <a:defRPr/>
                  </a:pPr>
                  <a:r>
                    <a:rPr lang="en-GB" sz="999" dirty="0" smtClean="0">
                      <a:solidFill>
                        <a:srgbClr val="444444"/>
                      </a:solidFill>
                    </a:rPr>
                    <a:t>List Level</a:t>
                  </a:r>
                </a:p>
              </p:txBody>
            </p:sp>
            <p:pic>
              <p:nvPicPr>
                <p:cNvPr id="35" name="Listenebene erhöh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GB" smtClean="0">
                <a:solidFill>
                  <a:prstClr val="black"/>
                </a:solidFill>
              </a:rPr>
              <a:t>DFS Deep Dive - </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6059905" cy="6486611"/>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2" name="Picture Placeholder 3"/>
          <p:cNvSpPr>
            <a:spLocks noGrp="1"/>
          </p:cNvSpPr>
          <p:nvPr>
            <p:ph type="pic" sz="quarter" idx="14" hasCustomPrompt="1"/>
          </p:nvPr>
        </p:nvSpPr>
        <p:spPr bwMode="gray">
          <a:xfrm>
            <a:off x="6132096" y="0"/>
            <a:ext cx="6059905" cy="6486611"/>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258907352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57.xml><?xml version="1.0" encoding="utf-8"?>
<p:sldLayout xmlns:a="http://schemas.openxmlformats.org/drawingml/2006/main" xmlns:r="http://schemas.openxmlformats.org/officeDocument/2006/relationships" xmlns:p="http://schemas.openxmlformats.org/presentationml/2006/main" showMasterSp="0" preserve="1" userDrawn="1">
  <p:cSld name="Full image/ 4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smtClean="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smtClean="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Increase</a:t>
                  </a:r>
                </a:p>
                <a:p>
                  <a:pPr algn="r">
                    <a:defRPr/>
                  </a:pPr>
                  <a:r>
                    <a:rPr lang="en-GB" sz="999" dirty="0" smtClean="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Decrease </a:t>
                  </a:r>
                </a:p>
                <a:p>
                  <a:pPr algn="r">
                    <a:defRPr/>
                  </a:pPr>
                  <a:r>
                    <a:rPr lang="en-GB" sz="999" dirty="0" smtClean="0">
                      <a:solidFill>
                        <a:srgbClr val="444444"/>
                      </a:solidFill>
                    </a:rPr>
                    <a:t>List Level</a:t>
                  </a:r>
                </a:p>
              </p:txBody>
            </p:sp>
            <p:pic>
              <p:nvPicPr>
                <p:cNvPr id="35" name="Listenebene erhöh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GB" smtClean="0">
                <a:solidFill>
                  <a:prstClr val="black"/>
                </a:solidFill>
              </a:rPr>
              <a:t>DFS Deep Dive - </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3279297"/>
            <a:ext cx="6059905"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2" name="Picture Placeholder 3"/>
          <p:cNvSpPr>
            <a:spLocks noGrp="1"/>
          </p:cNvSpPr>
          <p:nvPr>
            <p:ph type="pic" sz="quarter" idx="14" hasCustomPrompt="1"/>
          </p:nvPr>
        </p:nvSpPr>
        <p:spPr bwMode="gray">
          <a:xfrm>
            <a:off x="6132096" y="3279297"/>
            <a:ext cx="6059905"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1" name="Picture Placeholder 3"/>
          <p:cNvSpPr>
            <a:spLocks noGrp="1"/>
          </p:cNvSpPr>
          <p:nvPr>
            <p:ph type="pic" sz="quarter" idx="15" hasCustomPrompt="1"/>
          </p:nvPr>
        </p:nvSpPr>
        <p:spPr bwMode="gray">
          <a:xfrm>
            <a:off x="0" y="1"/>
            <a:ext cx="6059905"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3" name="Picture Placeholder 3"/>
          <p:cNvSpPr>
            <a:spLocks noGrp="1"/>
          </p:cNvSpPr>
          <p:nvPr>
            <p:ph type="pic" sz="quarter" idx="16" hasCustomPrompt="1"/>
          </p:nvPr>
        </p:nvSpPr>
        <p:spPr bwMode="gray">
          <a:xfrm>
            <a:off x="6132096" y="1"/>
            <a:ext cx="6059905"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369001432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58.xml><?xml version="1.0" encoding="utf-8"?>
<p:sldLayout xmlns:a="http://schemas.openxmlformats.org/drawingml/2006/main" xmlns:r="http://schemas.openxmlformats.org/officeDocument/2006/relationships" xmlns:p="http://schemas.openxmlformats.org/presentationml/2006/main" showMasterSp="0" preserve="1" userDrawn="1">
  <p:cSld name="Full image/ 3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smtClean="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smtClean="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Increase</a:t>
                  </a:r>
                </a:p>
                <a:p>
                  <a:pPr algn="r">
                    <a:defRPr/>
                  </a:pPr>
                  <a:r>
                    <a:rPr lang="en-GB" sz="999" dirty="0" smtClean="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Decrease </a:t>
                  </a:r>
                </a:p>
                <a:p>
                  <a:pPr algn="r">
                    <a:defRPr/>
                  </a:pPr>
                  <a:r>
                    <a:rPr lang="en-GB" sz="999" dirty="0" smtClean="0">
                      <a:solidFill>
                        <a:srgbClr val="444444"/>
                      </a:solidFill>
                    </a:rPr>
                    <a:t>List Level</a:t>
                  </a:r>
                </a:p>
              </p:txBody>
            </p:sp>
            <p:pic>
              <p:nvPicPr>
                <p:cNvPr id="37" name="Listenebene erhöh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GB" smtClean="0">
                <a:solidFill>
                  <a:prstClr val="black"/>
                </a:solidFill>
              </a:rPr>
              <a:t>DFS Deep Dive - </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6" name="Picture Placeholder 3"/>
          <p:cNvSpPr>
            <a:spLocks noGrp="1"/>
          </p:cNvSpPr>
          <p:nvPr>
            <p:ph type="pic" sz="quarter" idx="14" hasCustomPrompt="1"/>
          </p:nvPr>
        </p:nvSpPr>
        <p:spPr bwMode="gray">
          <a:xfrm>
            <a:off x="3913531" y="0"/>
            <a:ext cx="4199925" cy="6486611"/>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364648803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1059.xml><?xml version="1.0" encoding="utf-8"?>
<p:sldLayout xmlns:a="http://schemas.openxmlformats.org/drawingml/2006/main" xmlns:r="http://schemas.openxmlformats.org/officeDocument/2006/relationships" xmlns:p="http://schemas.openxmlformats.org/presentationml/2006/main" showMasterSp="0" preserve="1" userDrawn="1">
  <p:cSld name="Full image/ 6 image">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smtClean="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smtClean="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Increase</a:t>
                  </a:r>
                </a:p>
                <a:p>
                  <a:pPr algn="r">
                    <a:defRPr/>
                  </a:pPr>
                  <a:r>
                    <a:rPr lang="en-GB" sz="999" dirty="0" smtClean="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Decrease </a:t>
                  </a:r>
                </a:p>
                <a:p>
                  <a:pPr algn="r">
                    <a:defRPr/>
                  </a:pPr>
                  <a:r>
                    <a:rPr lang="en-GB" sz="999" dirty="0" smtClean="0">
                      <a:solidFill>
                        <a:srgbClr val="444444"/>
                      </a:solidFill>
                    </a:rPr>
                    <a:t>List Level</a:t>
                  </a:r>
                </a:p>
              </p:txBody>
            </p:sp>
            <p:pic>
              <p:nvPicPr>
                <p:cNvPr id="37" name="Listenebene erhöh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GB" smtClean="0">
                <a:solidFill>
                  <a:prstClr val="black"/>
                </a:solidFill>
              </a:rPr>
              <a:t>DFS Deep Dive - </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3279297"/>
            <a:ext cx="3841337"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6" name="Picture Placeholder 3"/>
          <p:cNvSpPr>
            <a:spLocks noGrp="1"/>
          </p:cNvSpPr>
          <p:nvPr>
            <p:ph type="pic" sz="quarter" idx="14" hasCustomPrompt="1"/>
          </p:nvPr>
        </p:nvSpPr>
        <p:spPr bwMode="gray">
          <a:xfrm>
            <a:off x="3913531" y="3279297"/>
            <a:ext cx="4199925"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7" name="Picture Placeholder 3"/>
          <p:cNvSpPr>
            <a:spLocks noGrp="1"/>
          </p:cNvSpPr>
          <p:nvPr>
            <p:ph type="pic" sz="quarter" idx="15" hasCustomPrompt="1"/>
          </p:nvPr>
        </p:nvSpPr>
        <p:spPr bwMode="gray">
          <a:xfrm>
            <a:off x="8185649" y="3279297"/>
            <a:ext cx="4006350"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5" name="Picture Placeholder 3"/>
          <p:cNvSpPr>
            <a:spLocks noGrp="1"/>
          </p:cNvSpPr>
          <p:nvPr>
            <p:ph type="pic" sz="quarter" idx="16" hasCustomPrompt="1"/>
          </p:nvPr>
        </p:nvSpPr>
        <p:spPr bwMode="gray">
          <a:xfrm>
            <a:off x="0" y="1"/>
            <a:ext cx="3841337"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9" name="Picture Placeholder 3"/>
          <p:cNvSpPr>
            <a:spLocks noGrp="1"/>
          </p:cNvSpPr>
          <p:nvPr>
            <p:ph type="pic" sz="quarter" idx="17" hasCustomPrompt="1"/>
          </p:nvPr>
        </p:nvSpPr>
        <p:spPr bwMode="gray">
          <a:xfrm>
            <a:off x="8185650" y="1"/>
            <a:ext cx="4006350"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0" name="Picture Placeholder 3"/>
          <p:cNvSpPr>
            <a:spLocks noGrp="1"/>
          </p:cNvSpPr>
          <p:nvPr>
            <p:ph type="pic" sz="quarter" idx="18" hasCustomPrompt="1"/>
          </p:nvPr>
        </p:nvSpPr>
        <p:spPr bwMode="gray">
          <a:xfrm>
            <a:off x="3913531" y="1"/>
            <a:ext cx="4199925"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409949790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userDrawn="1">
  <p:cSld name="daimler blanco">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1872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75"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MS footprint | </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7" name="Daimler AG (Wortmarke)"/>
          <p:cNvSpPr>
            <a:spLocks noChangeArrowheads="1"/>
          </p:cNvSpPr>
          <p:nvPr userDrawn="1"/>
        </p:nvSpPr>
        <p:spPr bwMode="auto">
          <a:xfrm>
            <a:off x="629674" y="6564883"/>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7490">
              <a:defRPr/>
            </a:pPr>
            <a:r>
              <a:rPr lang="de-DE" sz="1199" dirty="0">
                <a:solidFill>
                  <a:prstClr val="black"/>
                </a:solidFill>
                <a:cs typeface="Daimler CS"/>
              </a:rPr>
              <a:t>Daimler Mobility Services GmbH</a:t>
            </a:r>
          </a:p>
        </p:txBody>
      </p:sp>
      <p:cxnSp>
        <p:nvCxnSpPr>
          <p:cNvPr id="16" name="Footerline"/>
          <p:cNvCxnSpPr/>
          <p:nvPr userDrawn="1"/>
        </p:nvCxnSpPr>
        <p:spPr bwMode="auto">
          <a:xfrm>
            <a:off x="629674"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Tree>
    <p:extLst>
      <p:ext uri="{BB962C8B-B14F-4D97-AF65-F5344CB8AC3E}">
        <p14:creationId xmlns:p14="http://schemas.microsoft.com/office/powerpoint/2010/main" val="345615098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66">
          <p15:clr>
            <a:srgbClr val="FBAE40"/>
          </p15:clr>
        </p15:guide>
        <p15:guide id="3" orient="horz" pos="754">
          <p15:clr>
            <a:srgbClr val="FBAE40"/>
          </p15:clr>
        </p15:guide>
        <p15:guide id="4" orient="horz" pos="845">
          <p15:clr>
            <a:srgbClr val="FBAE40"/>
          </p15:clr>
        </p15:guide>
      </p15:sldGuideLst>
    </p:ext>
  </p:extLst>
</p:sldLayout>
</file>

<file path=ppt/slideLayouts/slideLayout1060.xml><?xml version="1.0" encoding="utf-8"?>
<p:sldLayout xmlns:a="http://schemas.openxmlformats.org/drawingml/2006/main" xmlns:r="http://schemas.openxmlformats.org/officeDocument/2006/relationships" xmlns:p="http://schemas.openxmlformats.org/presentationml/2006/main" preserve="1" userDrawn="1">
  <p:cSld name="Text/ 3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p:txBody>
          <a:bodyPr/>
          <a:lstStyle/>
          <a:p>
            <a:r>
              <a:rPr lang="en-GB" smtClean="0">
                <a:solidFill>
                  <a:prstClr val="black"/>
                </a:solidFill>
              </a:rPr>
              <a:t>DFS Deep Dive - </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en-GB" dirty="0" smtClean="0"/>
              <a:t>Insert text </a:t>
            </a:r>
            <a:r>
              <a:rPr lang="en-GB" noProof="0" dirty="0" smtClean="0"/>
              <a:t>(Mark-ups in Bold) </a:t>
            </a:r>
            <a:r>
              <a:rPr lang="en-GB" dirty="0" smtClean="0"/>
              <a:t>// conclusion etc.: Increase List Level</a:t>
            </a:r>
          </a:p>
          <a:p>
            <a:pPr lvl="1"/>
            <a:r>
              <a:rPr lang="en-GB" dirty="0" smtClean="0"/>
              <a:t>Second level (Conclusion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en-GB" dirty="0" smtClean="0"/>
              <a:t>Insert text </a:t>
            </a:r>
            <a:r>
              <a:rPr lang="en-GB" noProof="0" dirty="0" smtClean="0"/>
              <a:t>(Mark-ups in Bold) </a:t>
            </a:r>
            <a:r>
              <a:rPr lang="en-GB" dirty="0" smtClean="0"/>
              <a:t>// conclusion etc.: Increase List Level</a:t>
            </a:r>
          </a:p>
          <a:p>
            <a:pPr lvl="1"/>
            <a:r>
              <a:rPr lang="en-GB" dirty="0" smtClean="0"/>
              <a:t>Second level (Conclusion etc.)</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209875333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1061.xml><?xml version="1.0" encoding="utf-8"?>
<p:sldLayout xmlns:a="http://schemas.openxmlformats.org/drawingml/2006/main" xmlns:r="http://schemas.openxmlformats.org/officeDocument/2006/relationships" xmlns:p="http://schemas.openxmlformats.org/presentationml/2006/main" preserve="1" userDrawn="1">
  <p:cSld name="Text/ 3 images/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p:txBody>
          <a:bodyPr/>
          <a:lstStyle/>
          <a:p>
            <a:r>
              <a:rPr lang="en-GB" smtClean="0">
                <a:solidFill>
                  <a:prstClr val="black"/>
                </a:solidFill>
              </a:rPr>
              <a:t>DFS Deep Dive - </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en-GB" dirty="0" smtClean="0"/>
              <a:t>Insert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105515499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1062.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p:txBody>
          <a:bodyPr/>
          <a:lstStyle/>
          <a:p>
            <a:r>
              <a:rPr lang="en-GB" smtClean="0">
                <a:solidFill>
                  <a:prstClr val="black"/>
                </a:solidFill>
              </a:rPr>
              <a:t>DFS Deep Dive - </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en-GB" dirty="0" smtClean="0"/>
              <a:t>Insert content or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smtClean="0"/>
              <a:t>Insert headline</a:t>
            </a:r>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smtClean="0"/>
              <a:t>Insert headline</a:t>
            </a:r>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en-GB" dirty="0" smtClean="0"/>
              <a:t>Insert content or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p:txBody>
      </p:sp>
    </p:spTree>
    <p:extLst>
      <p:ext uri="{BB962C8B-B14F-4D97-AF65-F5344CB8AC3E}">
        <p14:creationId xmlns:p14="http://schemas.microsoft.com/office/powerpoint/2010/main" val="340933928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1063.xml><?xml version="1.0" encoding="utf-8"?>
<p:sldLayout xmlns:a="http://schemas.openxmlformats.org/drawingml/2006/main" xmlns:r="http://schemas.openxmlformats.org/officeDocument/2006/relationships" xmlns:p="http://schemas.openxmlformats.org/presentationml/2006/main" preserve="1" userDrawn="1">
  <p:cSld name="Tablet/ 4 colum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GB" smtClean="0">
                <a:solidFill>
                  <a:prstClr val="black"/>
                </a:solidFill>
              </a:rPr>
              <a:t>DFS Deep Dive - </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smtClean="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smtClean="0"/>
              <a:t>XXg</a:t>
            </a:r>
            <a:endParaRPr lang="en-GB" dirty="0" smtClean="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smtClean="0"/>
              <a:t>X,Xl</a:t>
            </a:r>
            <a:endParaRPr lang="en-GB" dirty="0" smtClean="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smtClean="0"/>
              <a:t>Insert text</a:t>
            </a:r>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smtClean="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smtClean="0"/>
              <a:t>XXg</a:t>
            </a:r>
            <a:endParaRPr lang="en-GB" dirty="0" smtClean="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smtClean="0"/>
              <a:t>X,Xl</a:t>
            </a:r>
            <a:endParaRPr lang="en-GB" dirty="0" smtClean="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smtClean="0"/>
              <a:t>Insert text</a:t>
            </a:r>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smtClean="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smtClean="0"/>
              <a:t>XXg</a:t>
            </a:r>
            <a:endParaRPr lang="en-GB" dirty="0" smtClean="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smtClean="0"/>
              <a:t>X,Xl</a:t>
            </a:r>
            <a:endParaRPr lang="en-GB" dirty="0" smtClean="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smtClean="0"/>
              <a:t>Insert text</a:t>
            </a:r>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smtClean="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smtClean="0"/>
              <a:t>XXg</a:t>
            </a:r>
            <a:endParaRPr lang="en-GB" dirty="0" smtClean="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smtClean="0"/>
              <a:t>X,Xl</a:t>
            </a:r>
            <a:endParaRPr lang="en-GB" dirty="0" smtClean="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smtClean="0"/>
              <a:t>Insert text</a:t>
            </a:r>
          </a:p>
        </p:txBody>
      </p:sp>
      <p:sp>
        <p:nvSpPr>
          <p:cNvPr id="47" name="Title 1"/>
          <p:cNvSpPr>
            <a:spLocks noGrp="1"/>
          </p:cNvSpPr>
          <p:nvPr>
            <p:ph type="title" hasCustomPrompt="1"/>
          </p:nvPr>
        </p:nvSpPr>
        <p:spPr>
          <a:xfrm>
            <a:off x="629671" y="285982"/>
            <a:ext cx="10931106" cy="683842"/>
          </a:xfrm>
        </p:spPr>
        <p:txBody>
          <a:bodyPr/>
          <a:lstStyle/>
          <a:p>
            <a:r>
              <a:rPr lang="en-GB" noProof="0" dirty="0" smtClean="0"/>
              <a:t>Headline in CorpoS (Body) 35 pt.</a:t>
            </a:r>
            <a:endParaRPr lang="en-GB" dirty="0"/>
          </a:p>
        </p:txBody>
      </p:sp>
    </p:spTree>
    <p:extLst>
      <p:ext uri="{BB962C8B-B14F-4D97-AF65-F5344CB8AC3E}">
        <p14:creationId xmlns:p14="http://schemas.microsoft.com/office/powerpoint/2010/main" val="113886755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064.xml><?xml version="1.0" encoding="utf-8"?>
<p:sldLayout xmlns:a="http://schemas.openxmlformats.org/drawingml/2006/main" xmlns:r="http://schemas.openxmlformats.org/officeDocument/2006/relationships" xmlns:p="http://schemas.openxmlformats.org/presentationml/2006/main" preserve="1"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p:txBody>
          <a:bodyPr/>
          <a:lstStyle/>
          <a:p>
            <a:r>
              <a:rPr lang="en-GB" smtClean="0">
                <a:solidFill>
                  <a:prstClr val="black"/>
                </a:solidFill>
              </a:rPr>
              <a:t>DFS Deep Dive - </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468890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065.xml><?xml version="1.0" encoding="utf-8"?>
<p:sldLayout xmlns:a="http://schemas.openxmlformats.org/drawingml/2006/main" xmlns:r="http://schemas.openxmlformats.org/officeDocument/2006/relationships" xmlns:p="http://schemas.openxmlformats.org/presentationml/2006/main" preserve="1" userDrawn="1">
  <p:cSld name="Blank/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p:txBody>
          <a:bodyPr/>
          <a:lstStyle/>
          <a:p>
            <a:r>
              <a:rPr lang="en-GB" smtClean="0">
                <a:solidFill>
                  <a:prstClr val="black"/>
                </a:solidFill>
              </a:rPr>
              <a:t>DFS Deep Dive - </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368920280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1066.xml><?xml version="1.0" encoding="utf-8"?>
<p:sldLayout xmlns:a="http://schemas.openxmlformats.org/drawingml/2006/main" xmlns:r="http://schemas.openxmlformats.org/officeDocument/2006/relationships" xmlns:p="http://schemas.openxmlformats.org/presentationml/2006/main" showMasterSp="0" userDrawn="1">
  <p:cSld name="3. Bürstung/ Bild 2-spaltig">
    <p:bg>
      <p:bgRef idx="1001">
        <a:schemeClr val="bg1"/>
      </p:bgRef>
    </p:bg>
    <p:spTree>
      <p:nvGrpSpPr>
        <p:cNvPr id="1" name=""/>
        <p:cNvGrpSpPr/>
        <p:nvPr/>
      </p:nvGrpSpPr>
      <p:grpSpPr>
        <a:xfrm>
          <a:off x="0" y="0"/>
          <a:ext cx="0" cy="0"/>
          <a:chOff x="0" y="0"/>
          <a:chExt cx="0" cy="0"/>
        </a:xfrm>
      </p:grpSpPr>
      <p:grpSp>
        <p:nvGrpSpPr>
          <p:cNvPr id="24" name="Regieanweisungen"/>
          <p:cNvGrpSpPr/>
          <p:nvPr userDrawn="1"/>
        </p:nvGrpSpPr>
        <p:grpSpPr>
          <a:xfrm>
            <a:off x="-2086913" y="-467892"/>
            <a:ext cx="13647691" cy="7792196"/>
            <a:chOff x="-2088000" y="-468000"/>
            <a:chExt cx="13654799" cy="7794000"/>
          </a:xfrm>
        </p:grpSpPr>
        <p:sp>
          <p:nvSpPr>
            <p:cNvPr id="2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2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29" name="Listenebenen"/>
              <p:cNvGrpSpPr/>
              <p:nvPr userDrawn="1"/>
            </p:nvGrpSpPr>
            <p:grpSpPr>
              <a:xfrm>
                <a:off x="-1692000" y="2232000"/>
                <a:ext cx="1548000" cy="792000"/>
                <a:chOff x="-1692000" y="2160000"/>
                <a:chExt cx="1548000" cy="792000"/>
              </a:xfrm>
            </p:grpSpPr>
            <p:sp>
              <p:nvSpPr>
                <p:cNvPr id="30"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31"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32" name="Listenebene erhöh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33" name="Listenebene verring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bwMode="white">
          <a:xfrm>
            <a:off x="0" y="0"/>
            <a:ext cx="12190451" cy="6487838"/>
          </a:xfrm>
          <a:prstGeom prst="rect">
            <a:avLst/>
          </a:prstGeom>
        </p:spPr>
      </p:pic>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2" name="Fußzeilenplatzhalter 1"/>
          <p:cNvSpPr>
            <a:spLocks noGrp="1"/>
          </p:cNvSpPr>
          <p:nvPr>
            <p:ph type="ftr" sz="quarter" idx="15"/>
          </p:nvPr>
        </p:nvSpPr>
        <p:spPr/>
        <p:txBody>
          <a:bodyPr/>
          <a:lstStyle/>
          <a:p>
            <a:r>
              <a:rPr lang="de-DE" smtClean="0">
                <a:solidFill>
                  <a:prstClr val="black"/>
                </a:solidFill>
              </a:rPr>
              <a:t>DFS Deep Dive - </a:t>
            </a:r>
            <a:endParaRPr lang="de-DE" dirty="0" smtClean="0">
              <a:solidFill>
                <a:prstClr val="black"/>
              </a:solidFill>
            </a:endParaRPr>
          </a:p>
        </p:txBody>
      </p:sp>
      <p:sp>
        <p:nvSpPr>
          <p:cNvPr id="4" name="Foliennummernplatzhalter 3"/>
          <p:cNvSpPr>
            <a:spLocks noGrp="1"/>
          </p:cNvSpPr>
          <p:nvPr>
            <p:ph type="sldNum" sz="quarter" idx="16"/>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29585035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1067.xml><?xml version="1.0" encoding="utf-8"?>
<p:sldLayout xmlns:a="http://schemas.openxmlformats.org/drawingml/2006/main" xmlns:r="http://schemas.openxmlformats.org/officeDocument/2006/relationships" xmlns:p="http://schemas.openxmlformats.org/presentationml/2006/main" showMasterSp="0" userDrawn="1">
  <p:cSld name="4. Bürstung/ Bild 2-spaltig">
    <p:bg>
      <p:bgRef idx="1001">
        <a:schemeClr val="bg1"/>
      </p:bgRef>
    </p:bg>
    <p:spTree>
      <p:nvGrpSpPr>
        <p:cNvPr id="1" name=""/>
        <p:cNvGrpSpPr/>
        <p:nvPr/>
      </p:nvGrpSpPr>
      <p:grpSpPr>
        <a:xfrm>
          <a:off x="0" y="0"/>
          <a:ext cx="0" cy="0"/>
          <a:chOff x="0" y="0"/>
          <a:chExt cx="0" cy="0"/>
        </a:xfrm>
      </p:grpSpPr>
      <p:grpSp>
        <p:nvGrpSpPr>
          <p:cNvPr id="27" name="Regieanweisungen"/>
          <p:cNvGrpSpPr/>
          <p:nvPr userDrawn="1"/>
        </p:nvGrpSpPr>
        <p:grpSpPr>
          <a:xfrm>
            <a:off x="-2086913" y="-467892"/>
            <a:ext cx="13647691" cy="7792196"/>
            <a:chOff x="-2088000" y="-468000"/>
            <a:chExt cx="13654799" cy="7794000"/>
          </a:xfrm>
        </p:grpSpPr>
        <p:sp>
          <p:nvSpPr>
            <p:cNvPr id="2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2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30"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35" name="Listenebene erhöh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smtClean="0"/>
              <a:t>Text oder Inhalt einfügen in </a:t>
            </a:r>
            <a:r>
              <a:rPr lang="de-DE" noProof="0" dirty="0" smtClean="0"/>
              <a:t>CorpoS (Body) 24 pt. (Hervorhebungen in fett) </a:t>
            </a:r>
            <a:r>
              <a:rPr lang="de-DE" dirty="0" smtClean="0"/>
              <a:t>// für Zusammenfassung oder kurzes Highlight: Start // Absatz // Listenebene erhöhen</a:t>
            </a:r>
          </a:p>
          <a:p>
            <a:pPr lvl="1"/>
            <a:r>
              <a:rPr lang="de-DE" dirty="0" smtClean="0"/>
              <a:t>Zweite Ebene</a:t>
            </a:r>
          </a:p>
        </p:txBody>
      </p:sp>
      <p:sp>
        <p:nvSpPr>
          <p:cNvPr id="2" name="Fußzeilenplatzhalter 1"/>
          <p:cNvSpPr>
            <a:spLocks noGrp="1"/>
          </p:cNvSpPr>
          <p:nvPr>
            <p:ph type="ftr" sz="quarter" idx="16"/>
          </p:nvPr>
        </p:nvSpPr>
        <p:spPr/>
        <p:txBody>
          <a:bodyPr/>
          <a:lstStyle/>
          <a:p>
            <a:r>
              <a:rPr lang="de-DE" smtClean="0">
                <a:solidFill>
                  <a:prstClr val="black"/>
                </a:solidFill>
              </a:rPr>
              <a:t>DFS Deep Dive - </a:t>
            </a:r>
            <a:endParaRPr lang="de-DE" dirty="0" smtClean="0">
              <a:solidFill>
                <a:prstClr val="black"/>
              </a:solidFill>
            </a:endParaRPr>
          </a:p>
        </p:txBody>
      </p:sp>
      <p:sp>
        <p:nvSpPr>
          <p:cNvPr id="5" name="Foliennummernplatzhalter 4"/>
          <p:cNvSpPr>
            <a:spLocks noGrp="1"/>
          </p:cNvSpPr>
          <p:nvPr>
            <p:ph type="sldNum" sz="quarter" idx="17"/>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307900263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1068.xml><?xml version="1.0" encoding="utf-8"?>
<p:sldLayout xmlns:a="http://schemas.openxmlformats.org/drawingml/2006/main" xmlns:r="http://schemas.openxmlformats.org/officeDocument/2006/relationships" xmlns:p="http://schemas.openxmlformats.org/presentationml/2006/main" showMasterSp="0" userDrawn="1">
  <p:cSld name="Text/ Bild/ Ü 1 Zeile ">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2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3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31" name="Hinweise links"/>
            <p:cNvGrpSpPr/>
            <p:nvPr userDrawn="1"/>
          </p:nvGrpSpPr>
          <p:grpSpPr>
            <a:xfrm>
              <a:off x="-2088000" y="0"/>
              <a:ext cx="1980000" cy="3528000"/>
              <a:chOff x="-2088000" y="0"/>
              <a:chExt cx="1980000" cy="3528000"/>
            </a:xfrm>
          </p:grpSpPr>
          <p:sp>
            <p:nvSpPr>
              <p:cNvPr id="3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33" name="Listenebenen"/>
              <p:cNvGrpSpPr/>
              <p:nvPr userDrawn="1"/>
            </p:nvGrpSpPr>
            <p:grpSpPr>
              <a:xfrm>
                <a:off x="-1692000" y="2232000"/>
                <a:ext cx="1548000" cy="792000"/>
                <a:chOff x="-1692000" y="2160000"/>
                <a:chExt cx="1548000" cy="792000"/>
              </a:xfrm>
            </p:grpSpPr>
            <p:sp>
              <p:nvSpPr>
                <p:cNvPr id="3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3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36" name="Listenebene erhöh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37" name="Listenebene verring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a:xfrm>
            <a:off x="629671" y="285982"/>
            <a:ext cx="10931106" cy="683842"/>
          </a:xfrm>
        </p:spPr>
        <p:txBody>
          <a:bodyPr/>
          <a:lstStyle/>
          <a:p>
            <a:r>
              <a:rPr lang="de-DE" noProof="0" dirty="0" smtClean="0"/>
              <a:t>Headline in CorpoS (Textkörper) 35 pt.</a:t>
            </a:r>
            <a:endParaRPr lang="de-DE" dirty="0"/>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5" name="Fußzeilenplatzhalter 4"/>
          <p:cNvSpPr>
            <a:spLocks noGrp="1"/>
          </p:cNvSpPr>
          <p:nvPr>
            <p:ph type="ftr" sz="quarter" idx="14"/>
          </p:nvPr>
        </p:nvSpPr>
        <p:spPr/>
        <p:txBody>
          <a:bodyPr/>
          <a:lstStyle/>
          <a:p>
            <a:r>
              <a:rPr lang="de-DE" smtClean="0">
                <a:solidFill>
                  <a:prstClr val="black"/>
                </a:solidFill>
              </a:rPr>
              <a:t>DFS Deep Dive - </a:t>
            </a:r>
            <a:endParaRPr lang="de-DE" dirty="0" smtClean="0">
              <a:solidFill>
                <a:prstClr val="black"/>
              </a:solidFill>
            </a:endParaRPr>
          </a:p>
        </p:txBody>
      </p:sp>
      <p:sp>
        <p:nvSpPr>
          <p:cNvPr id="6" name="Foliennummernplatzhalter 5"/>
          <p:cNvSpPr>
            <a:spLocks noGrp="1"/>
          </p:cNvSpPr>
          <p:nvPr>
            <p:ph type="sldNum" sz="quarter" idx="15"/>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383030859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1069.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smtClean="0"/>
              <a:t>Headline for Agenda in </a:t>
            </a:r>
            <a:r>
              <a:rPr lang="en-GB" noProof="0" dirty="0" err="1" smtClean="0"/>
              <a:t>CorpoS</a:t>
            </a:r>
            <a:r>
              <a:rPr lang="en-GB" noProof="0" dirty="0" smtClean="0"/>
              <a:t> (Body) 35 pt. </a:t>
            </a:r>
            <a:br>
              <a:rPr lang="en-GB" noProof="0" dirty="0" smtClean="0"/>
            </a:br>
            <a:r>
              <a:rPr lang="en-GB" noProof="0" dirty="0" smtClean="0"/>
              <a:t>one or two lines</a:t>
            </a:r>
            <a:endParaRPr lang="en-GB" dirty="0"/>
          </a:p>
        </p:txBody>
      </p:sp>
      <p:sp>
        <p:nvSpPr>
          <p:cNvPr id="3" name="Footer Placeholder 2"/>
          <p:cNvSpPr>
            <a:spLocks noGrp="1"/>
          </p:cNvSpPr>
          <p:nvPr>
            <p:ph type="ftr" sz="quarter" idx="10"/>
          </p:nvPr>
        </p:nvSpPr>
        <p:spPr/>
        <p:txBody>
          <a:bodyPr/>
          <a:lstStyle/>
          <a:p>
            <a:r>
              <a:rPr lang="en-GB" smtClean="0">
                <a:solidFill>
                  <a:prstClr val="black"/>
                </a:solidFill>
              </a:rPr>
              <a:t>DFS Deep Dive - </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smtClean="0"/>
              <a:t>Insert Agenda point</a:t>
            </a:r>
          </a:p>
          <a:p>
            <a:pPr lvl="1"/>
            <a:r>
              <a:rPr lang="en-GB" dirty="0" smtClean="0"/>
              <a:t>Second level </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a:p>
            <a:pPr lvl="8"/>
            <a:r>
              <a:rPr lang="en-GB" dirty="0" smtClean="0"/>
              <a:t>Ninth level</a:t>
            </a:r>
          </a:p>
        </p:txBody>
      </p:sp>
    </p:spTree>
    <p:extLst>
      <p:ext uri="{BB962C8B-B14F-4D97-AF65-F5344CB8AC3E}">
        <p14:creationId xmlns:p14="http://schemas.microsoft.com/office/powerpoint/2010/main" val="272393493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daimler blanco">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1974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8" name="Foliennummernplatzhalter 3">
            <a:extLst>
              <a:ext uri="{FF2B5EF4-FFF2-40B4-BE49-F238E27FC236}">
                <a16:creationId xmlns:a16="http://schemas.microsoft.com/office/drawing/2014/main" id="{3E15A405-AB95-44E1-98C0-C8DC619077BB}"/>
              </a:ext>
            </a:extLst>
          </p:cNvPr>
          <p:cNvSpPr txBox="1">
            <a:spLocks/>
          </p:cNvSpPr>
          <p:nvPr userDrawn="1"/>
        </p:nvSpPr>
        <p:spPr>
          <a:xfrm>
            <a:off x="11442992" y="6506836"/>
            <a:ext cx="1155196" cy="215950"/>
          </a:xfrm>
          <a:prstGeom prst="rect">
            <a:avLst/>
          </a:prstGeom>
        </p:spPr>
        <p:txBody>
          <a:bodyPr vert="horz" lIns="0" tIns="0" rIns="0" bIns="0" rtlCol="0" anchor="t" anchorCtr="0"/>
          <a:lstStyle>
            <a:defPPr>
              <a:defRPr lang="de-DE"/>
            </a:defPPr>
            <a:lvl1pPr marL="0" indent="0" algn="l" defTabSz="1088959" rtl="0" eaLnBrk="1" latinLnBrk="0" hangingPunct="1">
              <a:spcBef>
                <a:spcPts val="0"/>
              </a:spcBef>
              <a:buFont typeface="Arial" panose="020B0604020202020204" pitchFamily="34" charset="0"/>
              <a:buNone/>
              <a:defRPr sz="1200" kern="1200">
                <a:solidFill>
                  <a:schemeClr val="tx1"/>
                </a:solidFill>
                <a:latin typeface="+mn-lt"/>
                <a:ea typeface="+mn-ea"/>
                <a:cs typeface="+mn-cs"/>
              </a:defRPr>
            </a:lvl1pPr>
            <a:lvl2pPr marL="0" indent="0" algn="l" defTabSz="1088959" rtl="0" eaLnBrk="1" latinLnBrk="0" hangingPunct="1">
              <a:spcBef>
                <a:spcPts val="0"/>
              </a:spcBef>
              <a:defRPr sz="1200" kern="1200">
                <a:solidFill>
                  <a:schemeClr val="tx1"/>
                </a:solidFill>
                <a:latin typeface="+mn-lt"/>
                <a:ea typeface="+mn-ea"/>
                <a:cs typeface="+mn-cs"/>
              </a:defRPr>
            </a:lvl2pPr>
            <a:lvl3pPr marL="0" indent="0" algn="l" defTabSz="1088959" rtl="0" eaLnBrk="1" latinLnBrk="0" hangingPunct="1">
              <a:spcBef>
                <a:spcPts val="0"/>
              </a:spcBef>
              <a:defRPr sz="1200" kern="1200">
                <a:solidFill>
                  <a:schemeClr val="tx1"/>
                </a:solidFill>
                <a:latin typeface="+mn-lt"/>
                <a:ea typeface="+mn-ea"/>
                <a:cs typeface="+mn-cs"/>
              </a:defRPr>
            </a:lvl3pPr>
            <a:lvl4pPr marL="0" indent="0" algn="l" defTabSz="1088959" rtl="0" eaLnBrk="1" latinLnBrk="0" hangingPunct="1">
              <a:spcBef>
                <a:spcPts val="0"/>
              </a:spcBef>
              <a:defRPr sz="1200" kern="1200">
                <a:solidFill>
                  <a:schemeClr val="tx1"/>
                </a:solidFill>
                <a:latin typeface="+mn-lt"/>
                <a:ea typeface="+mn-ea"/>
                <a:cs typeface="+mn-cs"/>
              </a:defRPr>
            </a:lvl4pPr>
            <a:lvl5pPr marL="0" indent="0" algn="l" defTabSz="1088959" rtl="0" eaLnBrk="1" latinLnBrk="0" hangingPunct="1">
              <a:spcBef>
                <a:spcPts val="0"/>
              </a:spcBef>
              <a:defRPr sz="1200" kern="1200">
                <a:solidFill>
                  <a:schemeClr val="tx1"/>
                </a:solidFill>
                <a:latin typeface="+mn-lt"/>
                <a:ea typeface="+mn-ea"/>
                <a:cs typeface="+mn-cs"/>
              </a:defRPr>
            </a:lvl5pPr>
            <a:lvl6pPr marL="0" indent="0" algn="l" defTabSz="1088959" rtl="0" eaLnBrk="1" latinLnBrk="0" hangingPunct="1">
              <a:spcBef>
                <a:spcPts val="0"/>
              </a:spcBef>
              <a:defRPr sz="1200" kern="1200">
                <a:solidFill>
                  <a:schemeClr val="tx1"/>
                </a:solidFill>
                <a:latin typeface="+mn-lt"/>
                <a:ea typeface="+mn-ea"/>
                <a:cs typeface="+mn-cs"/>
              </a:defRPr>
            </a:lvl6pPr>
            <a:lvl7pPr marL="0" indent="0" algn="l" defTabSz="1088959" rtl="0" eaLnBrk="1" latinLnBrk="0" hangingPunct="1">
              <a:spcBef>
                <a:spcPts val="0"/>
              </a:spcBef>
              <a:defRPr sz="1200" kern="1200">
                <a:solidFill>
                  <a:schemeClr val="tx1"/>
                </a:solidFill>
                <a:latin typeface="+mn-lt"/>
                <a:ea typeface="+mn-ea"/>
                <a:cs typeface="+mn-cs"/>
              </a:defRPr>
            </a:lvl7pPr>
            <a:lvl8pPr marL="0" indent="0" algn="l" defTabSz="1088959" rtl="0" eaLnBrk="1" latinLnBrk="0" hangingPunct="1">
              <a:spcBef>
                <a:spcPts val="0"/>
              </a:spcBef>
              <a:defRPr sz="1200" kern="1200">
                <a:solidFill>
                  <a:schemeClr val="tx1"/>
                </a:solidFill>
                <a:latin typeface="+mn-lt"/>
                <a:ea typeface="+mn-ea"/>
                <a:cs typeface="+mn-cs"/>
              </a:defRPr>
            </a:lvl8pPr>
            <a:lvl9pPr marL="0" indent="0" algn="l" defTabSz="1088959" rtl="0" eaLnBrk="1" latinLnBrk="0" hangingPunct="1">
              <a:spcBef>
                <a:spcPts val="0"/>
              </a:spcBef>
              <a:defRPr sz="1200" kern="1200">
                <a:solidFill>
                  <a:schemeClr val="tx1"/>
                </a:solidFill>
                <a:latin typeface="+mn-lt"/>
                <a:ea typeface="+mn-ea"/>
                <a:cs typeface="+mn-cs"/>
              </a:defRPr>
            </a:lvl9pPr>
          </a:lstStyle>
          <a:p>
            <a:r>
              <a:rPr lang="en-GB" sz="1199" b="1" dirty="0">
                <a:solidFill>
                  <a:prstClr val="black"/>
                </a:solidFill>
              </a:rPr>
              <a:t>PAGE </a:t>
            </a:r>
            <a:fld id="{52531704-8F80-415D-BD2B-6B9991AE822F}" type="slidenum">
              <a:rPr lang="en-GB" sz="1199" b="1" smtClean="0">
                <a:solidFill>
                  <a:prstClr val="black"/>
                </a:solidFill>
              </a:rPr>
              <a:pPr/>
              <a:t>‹#›</a:t>
            </a:fld>
            <a:endParaRPr lang="en-GB" sz="1199" b="1" dirty="0">
              <a:solidFill>
                <a:prstClr val="black"/>
              </a:solidFill>
            </a:endParaRPr>
          </a:p>
        </p:txBody>
      </p:sp>
    </p:spTree>
    <p:extLst>
      <p:ext uri="{BB962C8B-B14F-4D97-AF65-F5344CB8AC3E}">
        <p14:creationId xmlns:p14="http://schemas.microsoft.com/office/powerpoint/2010/main" val="377560833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66">
          <p15:clr>
            <a:srgbClr val="FBAE40"/>
          </p15:clr>
        </p15:guide>
        <p15:guide id="3" orient="horz" pos="754">
          <p15:clr>
            <a:srgbClr val="FBAE40"/>
          </p15:clr>
        </p15:guide>
        <p15:guide id="4" orient="horz" pos="845">
          <p15:clr>
            <a:srgbClr val="FBAE40"/>
          </p15:clr>
        </p15:guide>
      </p15:sldGuideLst>
    </p:ext>
  </p:extLst>
</p:sldLayout>
</file>

<file path=ppt/slideLayouts/slideLayout1070.xml><?xml version="1.0" encoding="utf-8"?>
<p:sldLayout xmlns:a="http://schemas.openxmlformats.org/drawingml/2006/main" xmlns:r="http://schemas.openxmlformats.org/officeDocument/2006/relationships" xmlns:p="http://schemas.openxmlformats.org/presentationml/2006/main" showMasterSp="0" userDrawn="1">
  <p:cSld name="1_Headline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smtClean="0"/>
              <a:t>Headline in </a:t>
            </a:r>
            <a:r>
              <a:rPr lang="en-GB" noProof="0" dirty="0" err="1" smtClean="0"/>
              <a:t>CorpoS</a:t>
            </a:r>
            <a:r>
              <a:rPr lang="en-GB" noProof="0" dirty="0" smtClean="0"/>
              <a:t> (Body) 35 pt.</a:t>
            </a:r>
            <a:endParaRPr lang="en-GB" dirty="0"/>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Fußzeilenplatzhalter 4"/>
          <p:cNvSpPr>
            <a:spLocks noGrp="1"/>
          </p:cNvSpPr>
          <p:nvPr>
            <p:ph type="ftr" sz="quarter" idx="3"/>
          </p:nvPr>
        </p:nvSpPr>
        <p:spPr>
          <a:xfrm>
            <a:off x="2878500" y="6564880"/>
            <a:ext cx="8039525"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r>
              <a:rPr lang="en-GB" smtClean="0">
                <a:solidFill>
                  <a:prstClr val="black"/>
                </a:solidFill>
              </a:rPr>
              <a:t>DFS Deep Dive - </a:t>
            </a:r>
            <a:endParaRPr lang="en-GB" dirty="0" smtClean="0">
              <a:solidFill>
                <a:prstClr val="black"/>
              </a:solidFill>
            </a:endParaRPr>
          </a:p>
        </p:txBody>
      </p:sp>
      <p:sp>
        <p:nvSpPr>
          <p:cNvPr id="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07180450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1071.xml><?xml version="1.0" encoding="utf-8"?>
<p:sldLayout xmlns:a="http://schemas.openxmlformats.org/drawingml/2006/main" xmlns:r="http://schemas.openxmlformats.org/officeDocument/2006/relationships" xmlns:p="http://schemas.openxmlformats.org/presentationml/2006/main" userDrawn="1">
  <p:cSld name="Headline two lines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smtClean="0"/>
              <a:t>Headline in </a:t>
            </a:r>
            <a:r>
              <a:rPr lang="en-GB" noProof="0" dirty="0" err="1" smtClean="0"/>
              <a:t>CorpoS</a:t>
            </a:r>
            <a:r>
              <a:rPr lang="en-GB" noProof="0" dirty="0" smtClean="0"/>
              <a:t>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p:txBody>
          <a:bodyPr/>
          <a:lstStyle/>
          <a:p>
            <a:r>
              <a:rPr lang="en-GB" smtClean="0">
                <a:solidFill>
                  <a:prstClr val="black"/>
                </a:solidFill>
              </a:rPr>
              <a:t>DFS Deep Dive - </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69715151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072.xml><?xml version="1.0" encoding="utf-8"?>
<p:sldLayout xmlns:a="http://schemas.openxmlformats.org/drawingml/2006/main" xmlns:r="http://schemas.openxmlformats.org/officeDocument/2006/relationships" xmlns:p="http://schemas.openxmlformats.org/presentationml/2006/main" userDrawn="1">
  <p:cSld name="1_Blank/ Headline 1 lin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232517" name="think-cell Folie" r:id="rId4" imgW="286" imgH="286" progId="TCLayout.ActiveDocument.1">
                  <p:embed/>
                </p:oleObj>
              </mc:Choice>
              <mc:Fallback>
                <p:oleObj name="think-cell Folie" r:id="rId4" imgW="286" imgH="28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noProof="0" dirty="0" smtClean="0"/>
              <a:t>Headline in </a:t>
            </a:r>
            <a:r>
              <a:rPr lang="en-US" noProof="0" dirty="0" err="1" smtClean="0"/>
              <a:t>CorpoS</a:t>
            </a:r>
            <a:r>
              <a:rPr lang="en-US" noProof="0" dirty="0" smtClean="0"/>
              <a:t> (Body) 35 pt.</a:t>
            </a:r>
            <a:br>
              <a:rPr lang="en-US" noProof="0" dirty="0" smtClean="0"/>
            </a:br>
            <a:r>
              <a:rPr lang="en-US" noProof="0" dirty="0" smtClean="0"/>
              <a:t>in two lines</a:t>
            </a:r>
            <a:endParaRPr lang="en-US" dirty="0"/>
          </a:p>
        </p:txBody>
      </p:sp>
      <p:sp>
        <p:nvSpPr>
          <p:cNvPr id="3" name="Footer Placeholder 2"/>
          <p:cNvSpPr>
            <a:spLocks noGrp="1"/>
          </p:cNvSpPr>
          <p:nvPr>
            <p:ph type="ftr" sz="quarter" idx="10"/>
          </p:nvPr>
        </p:nvSpPr>
        <p:spPr/>
        <p:txBody>
          <a:bodyPr/>
          <a:lstStyle/>
          <a:p>
            <a:r>
              <a:rPr lang="en-US" smtClean="0">
                <a:solidFill>
                  <a:prstClr val="black"/>
                </a:solidFill>
              </a:rPr>
              <a:t>DFS Deep Dive - </a:t>
            </a:r>
            <a:endParaRPr lang="en-US" dirty="0" smtClean="0">
              <a:solidFill>
                <a:prstClr val="black"/>
              </a:solidFill>
            </a:endParaRPr>
          </a:p>
        </p:txBody>
      </p:sp>
      <p:sp>
        <p:nvSpPr>
          <p:cNvPr id="4" name="Slide Number Placeholder 3"/>
          <p:cNvSpPr>
            <a:spLocks noGrp="1"/>
          </p:cNvSpPr>
          <p:nvPr>
            <p:ph type="sldNum" sz="quarter" idx="11"/>
          </p:nvPr>
        </p:nvSpPr>
        <p:spPr/>
        <p:txBody>
          <a:bodyPr/>
          <a:lstStyle/>
          <a:p>
            <a:r>
              <a:rPr lang="en-US" dirty="0" smtClean="0">
                <a:solidFill>
                  <a:prstClr val="black"/>
                </a:solidFill>
              </a:rPr>
              <a:t>Page </a:t>
            </a:r>
            <a:fld id="{52531704-8F80-415D-BD2B-6B9991AE822F}" type="slidenum">
              <a:rPr lang="en-US" smtClean="0">
                <a:solidFill>
                  <a:prstClr val="black"/>
                </a:solidFill>
              </a:rPr>
              <a:pPr/>
              <a:t>‹#›</a:t>
            </a:fld>
            <a:endParaRPr lang="en-US" dirty="0">
              <a:solidFill>
                <a:prstClr val="black"/>
              </a:solidFill>
            </a:endParaRPr>
          </a:p>
        </p:txBody>
      </p:sp>
      <p:sp>
        <p:nvSpPr>
          <p:cNvPr id="6" name="Inhaltsplatzhalter 5"/>
          <p:cNvSpPr>
            <a:spLocks noGrp="1"/>
          </p:cNvSpPr>
          <p:nvPr>
            <p:ph sz="quarter" idx="12"/>
          </p:nvPr>
        </p:nvSpPr>
        <p:spPr>
          <a:xfrm>
            <a:off x="8542651" y="6669131"/>
            <a:ext cx="913924" cy="914188"/>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Tree>
    <p:extLst>
      <p:ext uri="{BB962C8B-B14F-4D97-AF65-F5344CB8AC3E}">
        <p14:creationId xmlns:p14="http://schemas.microsoft.com/office/powerpoint/2010/main" val="253299476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073.xml><?xml version="1.0" encoding="utf-8"?>
<p:sldLayout xmlns:a="http://schemas.openxmlformats.org/drawingml/2006/main" xmlns:r="http://schemas.openxmlformats.org/officeDocument/2006/relationships" xmlns:p="http://schemas.openxmlformats.org/presentationml/2006/main" userDrawn="1">
  <p:cSld name="2_Blank/ Headline 1 lin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233541"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smtClean="0">
                <a:solidFill>
                  <a:prstClr val="black"/>
                </a:solidFill>
              </a:rPr>
              <a:t>DFS Deep Dive - </a:t>
            </a:r>
            <a:endParaRPr lang="de-DE" dirty="0">
              <a:solidFill>
                <a:prstClr val="black"/>
              </a:solidFill>
            </a:endParaRP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84374106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074.xml><?xml version="1.0" encoding="utf-8"?>
<p:sldLayout xmlns:a="http://schemas.openxmlformats.org/drawingml/2006/main" xmlns:r="http://schemas.openxmlformats.org/officeDocument/2006/relationships" xmlns:p="http://schemas.openxmlformats.org/presentationml/2006/main" userDrawn="1">
  <p:cSld name="Headline //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smtClean="0"/>
              <a:t>Headline zweizeilig in CorpoA (Überschriften) 30 pt. </a:t>
            </a:r>
            <a:br>
              <a:rPr lang="de-DE" dirty="0" smtClean="0"/>
            </a:br>
            <a:r>
              <a:rPr lang="de-DE" dirty="0" smtClean="0"/>
              <a:t>Lorem ipsum dolor sit amet.</a:t>
            </a:r>
            <a:endParaRPr lang="de-DE" dirty="0"/>
          </a:p>
        </p:txBody>
      </p:sp>
      <p:sp>
        <p:nvSpPr>
          <p:cNvPr id="8" name="Textplatzhalter 7"/>
          <p:cNvSpPr>
            <a:spLocks noGrp="1"/>
          </p:cNvSpPr>
          <p:nvPr>
            <p:ph type="body" sz="quarter" idx="13" hasCustomPrompt="1"/>
          </p:nvPr>
        </p:nvSpPr>
        <p:spPr>
          <a:xfrm>
            <a:off x="395081" y="151202"/>
            <a:ext cx="5505133" cy="220274"/>
          </a:xfrm>
        </p:spPr>
        <p:txBody>
          <a:bodyPr/>
          <a:lstStyle>
            <a:lvl1pPr marL="0" indent="0">
              <a:lnSpc>
                <a:spcPct val="100000"/>
              </a:lnSpc>
              <a:spcAft>
                <a:spcPts val="0"/>
              </a:spcAft>
              <a:buFont typeface="Arial" panose="020B0604020202020204" pitchFamily="34" charset="0"/>
              <a:buNone/>
              <a:defRPr sz="1198"/>
            </a:lvl1pPr>
            <a:lvl2pPr marL="0" indent="0">
              <a:lnSpc>
                <a:spcPct val="100000"/>
              </a:lnSpc>
              <a:spcAft>
                <a:spcPts val="0"/>
              </a:spcAft>
              <a:buNone/>
              <a:defRPr sz="1198"/>
            </a:lvl2pPr>
            <a:lvl3pPr marL="0" indent="0">
              <a:lnSpc>
                <a:spcPct val="100000"/>
              </a:lnSpc>
              <a:spcAft>
                <a:spcPts val="0"/>
              </a:spcAft>
              <a:buNone/>
              <a:defRPr sz="1198"/>
            </a:lvl3pPr>
            <a:lvl4pPr marL="0" indent="0">
              <a:lnSpc>
                <a:spcPct val="100000"/>
              </a:lnSpc>
              <a:spcAft>
                <a:spcPts val="0"/>
              </a:spcAft>
              <a:buNone/>
              <a:defRPr sz="1198"/>
            </a:lvl4pPr>
            <a:lvl5pPr marL="0" indent="0">
              <a:lnSpc>
                <a:spcPct val="100000"/>
              </a:lnSpc>
              <a:spcAft>
                <a:spcPts val="0"/>
              </a:spcAft>
              <a:buNone/>
              <a:defRPr sz="1198"/>
            </a:lvl5pPr>
            <a:lvl6pPr marL="0" indent="0">
              <a:lnSpc>
                <a:spcPct val="100000"/>
              </a:lnSpc>
              <a:spcAft>
                <a:spcPts val="0"/>
              </a:spcAft>
              <a:buNone/>
              <a:defRPr sz="1198"/>
            </a:lvl6pPr>
            <a:lvl7pPr marL="0" indent="0">
              <a:lnSpc>
                <a:spcPct val="100000"/>
              </a:lnSpc>
              <a:spcAft>
                <a:spcPts val="0"/>
              </a:spcAft>
              <a:buNone/>
              <a:defRPr sz="1198"/>
            </a:lvl7pPr>
            <a:lvl8pPr marL="0" indent="0">
              <a:lnSpc>
                <a:spcPct val="100000"/>
              </a:lnSpc>
              <a:spcAft>
                <a:spcPts val="0"/>
              </a:spcAft>
              <a:buNone/>
              <a:defRPr sz="1198"/>
            </a:lvl8pPr>
            <a:lvl9pPr marL="0" indent="0">
              <a:lnSpc>
                <a:spcPct val="100000"/>
              </a:lnSpc>
              <a:spcAft>
                <a:spcPts val="0"/>
              </a:spcAft>
              <a:buNone/>
              <a:defRPr sz="1198"/>
            </a:lvl9pPr>
          </a:lstStyle>
          <a:p>
            <a:pPr lvl="0"/>
            <a:r>
              <a:rPr lang="de-DE" dirty="0" smtClean="0"/>
              <a:t>Optionale Kapitelüberschrift</a:t>
            </a:r>
          </a:p>
        </p:txBody>
      </p:sp>
      <p:sp>
        <p:nvSpPr>
          <p:cNvPr id="7" name="Inhaltsplatzhalter 6"/>
          <p:cNvSpPr>
            <a:spLocks noGrp="1"/>
          </p:cNvSpPr>
          <p:nvPr>
            <p:ph sz="quarter" idx="14" hasCustomPrompt="1"/>
          </p:nvPr>
        </p:nvSpPr>
        <p:spPr>
          <a:xfrm>
            <a:off x="395084" y="1511301"/>
            <a:ext cx="11400249" cy="4914900"/>
          </a:xfrm>
        </p:spPr>
        <p:txBody>
          <a:bodyPr/>
          <a:lstStyle>
            <a:lvl1pPr>
              <a:defRPr/>
            </a:lvl1pPr>
          </a:lstStyle>
          <a:p>
            <a:pPr lvl="0"/>
            <a:r>
              <a:rPr lang="de-DE" dirty="0" smtClean="0"/>
              <a:t>Inhalt oder Text in </a:t>
            </a:r>
            <a:r>
              <a:rPr lang="en-US" dirty="0" smtClean="0"/>
              <a:t>CorpoS (</a:t>
            </a:r>
            <a:r>
              <a:rPr lang="de-DE" noProof="0" dirty="0" smtClean="0"/>
              <a:t>Textkörper</a:t>
            </a:r>
            <a:r>
              <a:rPr lang="en-US" dirty="0" smtClean="0"/>
              <a:t>) in 20 pt. </a:t>
            </a:r>
            <a:r>
              <a:rPr lang="de-DE" dirty="0" smtClean="0"/>
              <a:t>einfügen // für Aufzählungen: Start // Absatz // Listenebene erhöh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Sechste Ebene</a:t>
            </a:r>
          </a:p>
          <a:p>
            <a:pPr lvl="6"/>
            <a:r>
              <a:rPr lang="de-DE" dirty="0" smtClean="0"/>
              <a:t>Siebte Ebene</a:t>
            </a:r>
          </a:p>
          <a:p>
            <a:pPr lvl="7"/>
            <a:r>
              <a:rPr lang="de-DE" dirty="0" smtClean="0"/>
              <a:t>Achte Ebene</a:t>
            </a:r>
          </a:p>
          <a:p>
            <a:pPr lvl="8"/>
            <a:r>
              <a:rPr lang="de-DE" dirty="0" smtClean="0"/>
              <a:t>Neunte Ebene</a:t>
            </a:r>
          </a:p>
        </p:txBody>
      </p:sp>
      <p:sp>
        <p:nvSpPr>
          <p:cNvPr id="5" name="Fußzeilenplatzhalter 4"/>
          <p:cNvSpPr>
            <a:spLocks noGrp="1"/>
          </p:cNvSpPr>
          <p:nvPr>
            <p:ph type="ftr" sz="quarter" idx="15"/>
          </p:nvPr>
        </p:nvSpPr>
        <p:spPr/>
        <p:txBody>
          <a:bodyPr/>
          <a:lstStyle/>
          <a:p>
            <a:r>
              <a:rPr lang="de-DE" smtClean="0">
                <a:solidFill>
                  <a:prstClr val="black"/>
                </a:solidFill>
              </a:rPr>
              <a:t>DFS Deep Dive - </a:t>
            </a:r>
            <a:endParaRPr lang="de-DE" dirty="0">
              <a:solidFill>
                <a:prstClr val="black"/>
              </a:solidFill>
            </a:endParaRPr>
          </a:p>
        </p:txBody>
      </p:sp>
      <p:sp>
        <p:nvSpPr>
          <p:cNvPr id="6" name="Foliennummernplatzhalter 5"/>
          <p:cNvSpPr>
            <a:spLocks noGrp="1"/>
          </p:cNvSpPr>
          <p:nvPr>
            <p:ph type="sldNum" sz="quarter" idx="16"/>
          </p:nvPr>
        </p:nvSpPr>
        <p:spPr/>
        <p:txBody>
          <a:bodyPr/>
          <a:lstStyle/>
          <a:p>
            <a:fld id="{AD1D1349-391B-44DC-865F-5996B3E40F26}" type="slidenum">
              <a:rPr lang="de-DE" smtClean="0">
                <a:solidFill>
                  <a:prstClr val="black"/>
                </a:solidFill>
              </a:rPr>
              <a:pPr/>
              <a:t>‹#›</a:t>
            </a:fld>
            <a:endParaRPr lang="de-DE" dirty="0">
              <a:solidFill>
                <a:prstClr val="black"/>
              </a:solidFill>
            </a:endParaRPr>
          </a:p>
        </p:txBody>
      </p:sp>
      <p:sp>
        <p:nvSpPr>
          <p:cNvPr id="4" name="Textplatzhalter 3"/>
          <p:cNvSpPr>
            <a:spLocks noGrp="1"/>
          </p:cNvSpPr>
          <p:nvPr>
            <p:ph type="body" sz="quarter" idx="17" hasCustomPrompt="1"/>
          </p:nvPr>
        </p:nvSpPr>
        <p:spPr>
          <a:xfrm>
            <a:off x="6969570" y="1"/>
            <a:ext cx="935513"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dirty="0" smtClean="0"/>
              <a:t>                                             </a:t>
            </a:r>
          </a:p>
        </p:txBody>
      </p:sp>
      <p:sp>
        <p:nvSpPr>
          <p:cNvPr id="9" name="Textplatzhalter 3"/>
          <p:cNvSpPr>
            <a:spLocks noGrp="1"/>
          </p:cNvSpPr>
          <p:nvPr>
            <p:ph type="body" sz="quarter" idx="18" hasCustomPrompt="1"/>
          </p:nvPr>
        </p:nvSpPr>
        <p:spPr>
          <a:xfrm>
            <a:off x="7980643" y="1"/>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dirty="0" smtClean="0"/>
              <a:t>                                             </a:t>
            </a:r>
          </a:p>
        </p:txBody>
      </p:sp>
      <p:sp>
        <p:nvSpPr>
          <p:cNvPr id="10" name="Textplatzhalter 3"/>
          <p:cNvSpPr>
            <a:spLocks noGrp="1"/>
          </p:cNvSpPr>
          <p:nvPr>
            <p:ph type="body" sz="quarter" idx="19" hasCustomPrompt="1"/>
          </p:nvPr>
        </p:nvSpPr>
        <p:spPr>
          <a:xfrm>
            <a:off x="9923631" y="1"/>
            <a:ext cx="1871026"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dirty="0" smtClean="0"/>
              <a:t>                                             </a:t>
            </a:r>
          </a:p>
        </p:txBody>
      </p:sp>
    </p:spTree>
    <p:extLst>
      <p:ext uri="{BB962C8B-B14F-4D97-AF65-F5344CB8AC3E}">
        <p14:creationId xmlns:p14="http://schemas.microsoft.com/office/powerpoint/2010/main" val="3719581072"/>
      </p:ext>
    </p:extLst>
  </p:cSld>
  <p:clrMapOvr>
    <a:masterClrMapping/>
  </p:clrMapOvr>
  <p:timing>
    <p:tnLst>
      <p:par>
        <p:cTn id="1" dur="indefinite" restart="never" nodeType="tmRoot"/>
      </p:par>
    </p:tnLst>
  </p:timing>
</p:sldLayout>
</file>

<file path=ppt/slideLayouts/slideLayout1075.xml><?xml version="1.0" encoding="utf-8"?>
<p:sldLayout xmlns:a="http://schemas.openxmlformats.org/drawingml/2006/main" xmlns:r="http://schemas.openxmlformats.org/officeDocument/2006/relationships" xmlns:p="http://schemas.openxmlformats.org/presentationml/2006/main" userDrawn="1">
  <p:cSld name="Title Only ">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45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8415">
              <a:lnSpc>
                <a:spcPct val="90000"/>
              </a:lnSpc>
              <a:spcBef>
                <a:spcPct val="0"/>
              </a:spcBef>
              <a:spcAft>
                <a:spcPct val="0"/>
              </a:spcAft>
            </a:pPr>
            <a:endParaRPr lang="en-US" sz="3499" dirty="0">
              <a:solidFill>
                <a:prstClr val="white"/>
              </a:solidFill>
              <a:sym typeface="CorpoS" pitchFamily="2" charset="0"/>
            </a:endParaRPr>
          </a:p>
        </p:txBody>
      </p:sp>
      <p:sp>
        <p:nvSpPr>
          <p:cNvPr id="7" name="Copyright" hidden="1"/>
          <p:cNvSpPr txBox="1"/>
          <p:nvPr userDrawn="1"/>
        </p:nvSpPr>
        <p:spPr>
          <a:xfrm rot="16200000">
            <a:off x="9894760" y="3895344"/>
            <a:ext cx="4318256" cy="98745"/>
          </a:xfrm>
          <a:prstGeom prst="rect">
            <a:avLst/>
          </a:prstGeom>
          <a:noFill/>
        </p:spPr>
        <p:txBody>
          <a:bodyPr wrap="square" lIns="0" tIns="0" rIns="0" bIns="0" rtlCol="0" anchor="t">
            <a:noAutofit/>
          </a:bodyPr>
          <a:lstStyle/>
          <a:p>
            <a:pPr defTabSz="914126">
              <a:lnSpc>
                <a:spcPct val="90000"/>
              </a:lnSpc>
              <a:spcAft>
                <a:spcPts val="600"/>
              </a:spcAft>
            </a:pPr>
            <a:r>
              <a:rPr lang="en-US" sz="700" dirty="0">
                <a:solidFill>
                  <a:srgbClr val="FFFFFF">
                    <a:lumMod val="50000"/>
                  </a:srgbClr>
                </a:solidFill>
                <a:sym typeface="CorpoS" pitchFamily="2" charset="0"/>
              </a:rPr>
              <a:t>Copyright © 2017 by The Boston Consulting Group, Inc. All rights reserved.</a:t>
            </a:r>
          </a:p>
        </p:txBody>
      </p:sp>
      <p:sp>
        <p:nvSpPr>
          <p:cNvPr id="5" name="Title 4"/>
          <p:cNvSpPr>
            <a:spLocks noGrp="1"/>
          </p:cNvSpPr>
          <p:nvPr>
            <p:ph type="title" hasCustomPrompt="1"/>
          </p:nvPr>
        </p:nvSpPr>
        <p:spPr>
          <a:xfrm>
            <a:off x="630000" y="622800"/>
            <a:ext cx="10933200" cy="48474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99" b="0" i="0" u="none" kern="1200" spc="0">
                <a:solidFill>
                  <a:srgbClr val="000000"/>
                </a:solidFill>
                <a:latin typeface="CorpoS" pitchFamily="2" charset="0"/>
                <a:sym typeface="CorpoS" pitchFamily="2" charset="0"/>
              </a:defRPr>
            </a:lvl1pPr>
          </a:lstStyle>
          <a:p>
            <a:pPr lvl="0"/>
            <a:r>
              <a:rPr lang="en-US" dirty="0"/>
              <a:t>Click to add title</a:t>
            </a:r>
          </a:p>
        </p:txBody>
      </p:sp>
    </p:spTree>
    <p:extLst>
      <p:ext uri="{BB962C8B-B14F-4D97-AF65-F5344CB8AC3E}">
        <p14:creationId xmlns:p14="http://schemas.microsoft.com/office/powerpoint/2010/main" val="1603090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6.xml><?xml version="1.0" encoding="utf-8"?>
<p:sldLayout xmlns:a="http://schemas.openxmlformats.org/drawingml/2006/main" xmlns:r="http://schemas.openxmlformats.org/officeDocument/2006/relationships" xmlns:p="http://schemas.openxmlformats.org/presentationml/2006/main" showMasterSp="0" userDrawn="1">
  <p:cSld name="4_General">
    <p:bg>
      <p:bgPr>
        <a:blipFill dpi="0" rotWithShape="1">
          <a:blip r:embed="rId5">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91" y="1592"/>
          <a:ext cx="1586" cy="1587"/>
        </p:xfrm>
        <a:graphic>
          <a:graphicData uri="http://schemas.openxmlformats.org/presentationml/2006/ole">
            <mc:AlternateContent xmlns:mc="http://schemas.openxmlformats.org/markup-compatibility/2006">
              <mc:Choice xmlns:v="urn:schemas-microsoft-com:vml" Requires="v">
                <p:oleObj spid="_x0000_s235589" name="think-cell Folie" r:id="rId6" imgW="216" imgH="216" progId="TCLayout.ActiveDocument.1">
                  <p:embed/>
                </p:oleObj>
              </mc:Choice>
              <mc:Fallback>
                <p:oleObj name="think-cell Folie" r:id="rId6" imgW="216" imgH="216" progId="TCLayout.ActiveDocument.1">
                  <p:embed/>
                  <p:pic>
                    <p:nvPicPr>
                      <p:cNvPr id="0" name=""/>
                      <p:cNvPicPr/>
                      <p:nvPr/>
                    </p:nvPicPr>
                    <p:blipFill>
                      <a:blip r:embed="rId7"/>
                      <a:stretch>
                        <a:fillRect/>
                      </a:stretch>
                    </p:blipFill>
                    <p:spPr>
                      <a:xfrm>
                        <a:off x="1591" y="1592"/>
                        <a:ext cx="1586"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8415">
              <a:lnSpc>
                <a:spcPts val="3998"/>
              </a:lnSpc>
              <a:spcBef>
                <a:spcPct val="0"/>
              </a:spcBef>
              <a:spcAft>
                <a:spcPct val="0"/>
              </a:spcAft>
            </a:pPr>
            <a:endParaRPr lang="en-US" sz="2799" dirty="0">
              <a:solidFill>
                <a:prstClr val="white"/>
              </a:solidFill>
              <a:sym typeface="CorpoS" pitchFamily="2" charset="0"/>
            </a:endParaRPr>
          </a:p>
        </p:txBody>
      </p:sp>
      <p:sp>
        <p:nvSpPr>
          <p:cNvPr id="8" name="Rectangle 63"/>
          <p:cNvSpPr/>
          <p:nvPr userDrawn="1"/>
        </p:nvSpPr>
        <p:spPr>
          <a:xfrm>
            <a:off x="3174" y="-26583"/>
            <a:ext cx="12192000" cy="6851137"/>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318" indent="-342318" algn="ctr" defTabSz="1087109">
              <a:buFont typeface="Arial" panose="020B0604020202020204" pitchFamily="34" charset="0"/>
              <a:buChar char="•"/>
            </a:pPr>
            <a:endParaRPr lang="en-US" sz="2097" dirty="0">
              <a:solidFill>
                <a:prstClr val="white"/>
              </a:solidFill>
            </a:endParaRPr>
          </a:p>
        </p:txBody>
      </p:sp>
      <p:sp>
        <p:nvSpPr>
          <p:cNvPr id="2" name="Title 1"/>
          <p:cNvSpPr>
            <a:spLocks noGrp="1"/>
          </p:cNvSpPr>
          <p:nvPr>
            <p:ph type="title" hasCustomPrompt="1"/>
          </p:nvPr>
        </p:nvSpPr>
        <p:spPr>
          <a:xfrm>
            <a:off x="629691" y="330432"/>
            <a:ext cx="10931106" cy="683842"/>
          </a:xfrm>
        </p:spPr>
        <p:txBody>
          <a:bodyPr/>
          <a:lstStyle>
            <a:lvl1pPr>
              <a:defRPr sz="2799">
                <a:latin typeface="CorpoS" pitchFamily="2" charset="0"/>
              </a:defRPr>
            </a:lvl1pPr>
          </a:lstStyle>
          <a:p>
            <a:r>
              <a:rPr lang="en-US" noProof="0" dirty="0"/>
              <a:t>Headline in </a:t>
            </a:r>
            <a:r>
              <a:rPr lang="en-US" noProof="0" dirty="0" err="1"/>
              <a:t>CorpoS</a:t>
            </a:r>
            <a:r>
              <a:rPr lang="en-US" noProof="0" dirty="0"/>
              <a:t> (Body) 35 pt.</a:t>
            </a:r>
            <a:endParaRPr lang="en-US" dirty="0"/>
          </a:p>
        </p:txBody>
      </p:sp>
      <p:sp>
        <p:nvSpPr>
          <p:cNvPr id="10" name="Fußzeilenplatzhalter 1"/>
          <p:cNvSpPr>
            <a:spLocks noGrp="1"/>
          </p:cNvSpPr>
          <p:nvPr>
            <p:ph type="ftr" sz="quarter" idx="16"/>
          </p:nvPr>
        </p:nvSpPr>
        <p:spPr>
          <a:xfrm>
            <a:off x="2878500" y="6564880"/>
            <a:ext cx="8120970" cy="215950"/>
          </a:xfrm>
        </p:spPr>
        <p:txBody>
          <a:bodyPr/>
          <a:lstStyle/>
          <a:p>
            <a:r>
              <a:rPr lang="de-DE" smtClean="0">
                <a:solidFill>
                  <a:prstClr val="black"/>
                </a:solidFill>
              </a:rPr>
              <a:t>DFS Deep Dive - </a:t>
            </a:r>
            <a:endParaRPr lang="de-DE" dirty="0">
              <a:solidFill>
                <a:prstClr val="black"/>
              </a:solidFill>
            </a:endParaRPr>
          </a:p>
        </p:txBody>
      </p:sp>
      <p:sp>
        <p:nvSpPr>
          <p:cNvPr id="12" name="Foliennummernplatzhalter 4"/>
          <p:cNvSpPr>
            <a:spLocks noGrp="1"/>
          </p:cNvSpPr>
          <p:nvPr>
            <p:ph type="sldNum" sz="quarter" idx="17"/>
          </p:nvPr>
        </p:nvSpPr>
        <p:spPr>
          <a:xfrm>
            <a:off x="11036804" y="6564880"/>
            <a:ext cx="1155196" cy="215950"/>
          </a:xfrm>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87567829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1077.xml><?xml version="1.0" encoding="utf-8"?>
<p:sldLayout xmlns:a="http://schemas.openxmlformats.org/drawingml/2006/main" xmlns:r="http://schemas.openxmlformats.org/officeDocument/2006/relationships" xmlns:p="http://schemas.openxmlformats.org/presentationml/2006/main" userDrawn="1">
  <p:cSld name="Opsommin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2127" y="2119"/>
          <a:ext cx="2116" cy="2116"/>
        </p:xfrm>
        <a:graphic>
          <a:graphicData uri="http://schemas.openxmlformats.org/presentationml/2006/ole">
            <mc:AlternateContent xmlns:mc="http://schemas.openxmlformats.org/markup-compatibility/2006">
              <mc:Choice xmlns:v="urn:schemas-microsoft-com:vml" Requires="v">
                <p:oleObj spid="_x0000_s23661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2127" y="2119"/>
                        <a:ext cx="2116" cy="2116"/>
                      </a:xfrm>
                      <a:prstGeom prst="rect">
                        <a:avLst/>
                      </a:prstGeom>
                    </p:spPr>
                  </p:pic>
                </p:oleObj>
              </mc:Fallback>
            </mc:AlternateContent>
          </a:graphicData>
        </a:graphic>
      </p:graphicFrame>
      <p:sp>
        <p:nvSpPr>
          <p:cNvPr id="5" name="Rechteck 4" hidden="1"/>
          <p:cNvSpPr/>
          <p:nvPr userDrawn="1">
            <p:custDataLst>
              <p:tags r:id="rId3"/>
            </p:custDataLst>
          </p:nvPr>
        </p:nvSpPr>
        <p:spPr>
          <a:xfrm>
            <a:off x="1" y="1"/>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8415">
              <a:lnSpc>
                <a:spcPts val="3995"/>
              </a:lnSpc>
              <a:spcBef>
                <a:spcPct val="0"/>
              </a:spcBef>
              <a:spcAft>
                <a:spcPct val="0"/>
              </a:spcAft>
            </a:pPr>
            <a:endParaRPr lang="en-US" sz="3464" dirty="0">
              <a:solidFill>
                <a:prstClr val="white"/>
              </a:solidFill>
              <a:sym typeface="CorpoS" pitchFamily="2" charset="0"/>
            </a:endParaRPr>
          </a:p>
        </p:txBody>
      </p:sp>
      <p:sp>
        <p:nvSpPr>
          <p:cNvPr id="2" name="Titel 1"/>
          <p:cNvSpPr>
            <a:spLocks noGrp="1"/>
          </p:cNvSpPr>
          <p:nvPr>
            <p:ph type="title"/>
          </p:nvPr>
        </p:nvSpPr>
        <p:spPr>
          <a:xfrm>
            <a:off x="478991" y="329169"/>
            <a:ext cx="11088423" cy="515234"/>
          </a:xfrm>
          <a:prstGeom prst="rect">
            <a:avLst/>
          </a:prstGeom>
        </p:spPr>
        <p:txBody>
          <a:bodyPr anchor="t" anchorCtr="0">
            <a:noAutofit/>
          </a:bodyPr>
          <a:lstStyle>
            <a:lvl1pPr algn="l">
              <a:lnSpc>
                <a:spcPts val="3995"/>
              </a:lnSpc>
              <a:defRPr sz="3464" b="0">
                <a:solidFill>
                  <a:schemeClr val="tx1"/>
                </a:solidFill>
              </a:defRPr>
            </a:lvl1pPr>
          </a:lstStyle>
          <a:p>
            <a:r>
              <a:rPr lang="en-US" smtClean="0"/>
              <a:t>Click to edit Master title style</a:t>
            </a:r>
            <a:endParaRPr lang="nl-NL" dirty="0"/>
          </a:p>
        </p:txBody>
      </p:sp>
      <p:pic>
        <p:nvPicPr>
          <p:cNvPr id="3" name="Afbeelding 2" hidden="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jdelijke aanduiding voor tekst 10"/>
          <p:cNvSpPr>
            <a:spLocks noGrp="1"/>
          </p:cNvSpPr>
          <p:nvPr>
            <p:ph type="body" sz="quarter" idx="13"/>
          </p:nvPr>
        </p:nvSpPr>
        <p:spPr>
          <a:xfrm>
            <a:off x="826600" y="1028744"/>
            <a:ext cx="10320000" cy="5136572"/>
          </a:xfrm>
          <a:prstGeom prst="rect">
            <a:avLst/>
          </a:prstGeom>
        </p:spPr>
        <p:txBody>
          <a:bodyPr>
            <a:noAutofit/>
          </a:bodyPr>
          <a:lstStyle>
            <a:lvl1pPr marL="357042" indent="-357042">
              <a:lnSpc>
                <a:spcPts val="2398"/>
              </a:lnSpc>
              <a:buFont typeface="+mj-lt"/>
              <a:buAutoNum type="arabicPeriod"/>
              <a:defRPr sz="1598" b="1">
                <a:solidFill>
                  <a:schemeClr val="tx1"/>
                </a:solidFill>
              </a:defRPr>
            </a:lvl1pPr>
            <a:lvl2pPr marL="709859" indent="-380281">
              <a:lnSpc>
                <a:spcPts val="2398"/>
              </a:lnSpc>
              <a:defRPr sz="1598">
                <a:solidFill>
                  <a:schemeClr val="tx2"/>
                </a:solidFill>
              </a:defRPr>
            </a:lvl2pPr>
            <a:lvl3pPr marL="1073241" indent="-304226">
              <a:lnSpc>
                <a:spcPts val="2398"/>
              </a:lnSpc>
              <a:defRPr sz="1598">
                <a:solidFill>
                  <a:schemeClr val="tx2"/>
                </a:solidFill>
              </a:defRPr>
            </a:lvl3pPr>
            <a:lvl4pPr marL="1426059" indent="-304226">
              <a:lnSpc>
                <a:spcPts val="2398"/>
              </a:lnSpc>
              <a:defRPr sz="1598">
                <a:solidFill>
                  <a:schemeClr val="tx2"/>
                </a:solidFill>
              </a:defRPr>
            </a:lvl4pPr>
            <a:lvl5pPr marL="1789439" indent="-304226">
              <a:lnSpc>
                <a:spcPts val="2398"/>
              </a:lnSpc>
              <a:defRPr sz="1598">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dirty="0"/>
          </a:p>
        </p:txBody>
      </p:sp>
      <p:sp>
        <p:nvSpPr>
          <p:cNvPr id="6" name="Footer Placeholder 3"/>
          <p:cNvSpPr>
            <a:spLocks noGrp="1"/>
          </p:cNvSpPr>
          <p:nvPr>
            <p:ph type="ftr" sz="quarter" idx="11"/>
          </p:nvPr>
        </p:nvSpPr>
        <p:spPr>
          <a:xfrm>
            <a:off x="2878500" y="6564880"/>
            <a:ext cx="8120970" cy="215950"/>
          </a:xfrm>
        </p:spPr>
        <p:txBody>
          <a:bodyPr/>
          <a:lstStyle/>
          <a:p>
            <a:r>
              <a:rPr lang="en-US" smtClean="0">
                <a:solidFill>
                  <a:prstClr val="black"/>
                </a:solidFill>
              </a:rPr>
              <a:t>DFS Deep Dive - </a:t>
            </a:r>
            <a:endParaRPr lang="en-US" dirty="0" smtClean="0">
              <a:solidFill>
                <a:prstClr val="black"/>
              </a:solidFill>
            </a:endParaRPr>
          </a:p>
        </p:txBody>
      </p:sp>
      <p:sp>
        <p:nvSpPr>
          <p:cNvPr id="7" name="Slide Number Placeholder 4"/>
          <p:cNvSpPr>
            <a:spLocks noGrp="1"/>
          </p:cNvSpPr>
          <p:nvPr>
            <p:ph type="sldNum" sz="quarter" idx="14"/>
          </p:nvPr>
        </p:nvSpPr>
        <p:spPr>
          <a:xfrm>
            <a:off x="11036804" y="6564880"/>
            <a:ext cx="1155196" cy="215950"/>
          </a:xfrm>
        </p:spPr>
        <p:txBody>
          <a:bodyPr/>
          <a:lstStyle/>
          <a:p>
            <a:r>
              <a:rPr lang="en-US" dirty="0" smtClean="0">
                <a:solidFill>
                  <a:prstClr val="black"/>
                </a:solidFill>
              </a:rPr>
              <a:t>Page </a:t>
            </a:r>
            <a:fld id="{52531704-8F80-415D-BD2B-6B9991AE822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973272866"/>
      </p:ext>
    </p:extLst>
  </p:cSld>
  <p:clrMapOvr>
    <a:masterClrMapping/>
  </p:clrMapOvr>
  <p:timing>
    <p:tnLst>
      <p:par>
        <p:cTn id="1" dur="indefinite" restart="never" nodeType="tmRoot"/>
      </p:par>
    </p:tnLst>
  </p:timing>
</p:sldLayout>
</file>

<file path=ppt/slideLayouts/slideLayout107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spid="_x0000_s23763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91"/>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3" y="6405036"/>
            <a:ext cx="1482051" cy="153888"/>
          </a:xfrm>
          <a:prstGeom prst="rect">
            <a:avLst/>
          </a:prstGeom>
        </p:spPr>
        <p:txBody>
          <a:bodyPr/>
          <a:lstStyle>
            <a:lvl1pPr>
              <a:defRPr>
                <a:latin typeface="CorpoS" pitchFamily="2" charset="0"/>
                <a:sym typeface="CorpoS" pitchFamily="2" charset="0"/>
              </a:defRPr>
            </a:lvl1pPr>
          </a:lstStyle>
          <a:p>
            <a:pPr defTabSz="913760"/>
            <a:endParaRPr lang="en-US" sz="2099" dirty="0">
              <a:solidFill>
                <a:prstClr val="black"/>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defTabSz="913760">
              <a:lnSpc>
                <a:spcPct val="90000"/>
              </a:lnSpc>
              <a:spcAft>
                <a:spcPts val="600"/>
              </a:spcAft>
            </a:pPr>
            <a:r>
              <a:rPr lang="en-US" sz="699" dirty="0">
                <a:solidFill>
                  <a:prstClr val="white">
                    <a:lumMod val="50000"/>
                  </a:prstClr>
                </a:solidFill>
                <a:sym typeface="CorpoS" pitchFamily="2" charset="0"/>
              </a:rPr>
              <a:t>Copyright © 2017 by The Boston Consulting Group, Inc.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296" b="0" i="0" u="none" kern="1200" spc="0">
                <a:solidFill>
                  <a:schemeClr val="tx2">
                    <a:lumMod val="100000"/>
                  </a:schemeClr>
                </a:solidFill>
                <a:latin typeface="CorpoS" pitchFamily="2" charset="0"/>
                <a:sym typeface="CorpoS" pitchFamily="2" charset="0"/>
              </a:defRPr>
            </a:lvl1pPr>
          </a:lstStyle>
          <a:p>
            <a:pPr lvl="0"/>
            <a:r>
              <a:rPr lang="en-US" dirty="0" smtClean="0"/>
              <a:t>Click to add title</a:t>
            </a:r>
            <a:endParaRPr lang="en-US" dirty="0"/>
          </a:p>
        </p:txBody>
      </p:sp>
    </p:spTree>
    <p:extLst>
      <p:ext uri="{BB962C8B-B14F-4D97-AF65-F5344CB8AC3E}">
        <p14:creationId xmlns:p14="http://schemas.microsoft.com/office/powerpoint/2010/main" val="928148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079.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2" y="1122365"/>
            <a:ext cx="9144000" cy="2387600"/>
          </a:xfrm>
        </p:spPr>
        <p:txBody>
          <a:bodyPr anchor="b"/>
          <a:lstStyle>
            <a:lvl1pPr algn="ctr">
              <a:defRPr sz="5996"/>
            </a:lvl1pPr>
          </a:lstStyle>
          <a:p>
            <a:r>
              <a:rPr lang="de-DE"/>
              <a:t>Titelmasterformat durch Klicken bearbeiten</a:t>
            </a:r>
          </a:p>
        </p:txBody>
      </p:sp>
      <p:sp>
        <p:nvSpPr>
          <p:cNvPr id="3" name="Untertitel 2"/>
          <p:cNvSpPr>
            <a:spLocks noGrp="1"/>
          </p:cNvSpPr>
          <p:nvPr>
            <p:ph type="subTitle" idx="1"/>
          </p:nvPr>
        </p:nvSpPr>
        <p:spPr>
          <a:xfrm>
            <a:off x="1524002" y="3602038"/>
            <a:ext cx="9144000" cy="1655762"/>
          </a:xfrm>
        </p:spPr>
        <p:txBody>
          <a:bodyPr/>
          <a:lstStyle>
            <a:lvl1pPr marL="0" indent="0" algn="ctr">
              <a:buNone/>
              <a:defRPr sz="2398"/>
            </a:lvl1pPr>
            <a:lvl2pPr marL="456924" indent="0" algn="ctr">
              <a:buNone/>
              <a:defRPr sz="1998"/>
            </a:lvl2pPr>
            <a:lvl3pPr marL="913852" indent="0" algn="ctr">
              <a:buNone/>
              <a:defRPr sz="1798"/>
            </a:lvl3pPr>
            <a:lvl4pPr marL="1370776" indent="0" algn="ctr">
              <a:buNone/>
              <a:defRPr sz="1598"/>
            </a:lvl4pPr>
            <a:lvl5pPr marL="1827703" indent="0" algn="ctr">
              <a:buNone/>
              <a:defRPr sz="1598"/>
            </a:lvl5pPr>
            <a:lvl6pPr marL="2284628" indent="0" algn="ctr">
              <a:buNone/>
              <a:defRPr sz="1598"/>
            </a:lvl6pPr>
            <a:lvl7pPr marL="2741554" indent="0" algn="ctr">
              <a:buNone/>
              <a:defRPr sz="1598"/>
            </a:lvl7pPr>
            <a:lvl8pPr marL="3198479" indent="0" algn="ctr">
              <a:buNone/>
              <a:defRPr sz="1598"/>
            </a:lvl8pPr>
            <a:lvl9pPr marL="3655405" indent="0" algn="ctr">
              <a:buNone/>
              <a:defRPr sz="1598"/>
            </a:lvl9pPr>
          </a:lstStyle>
          <a:p>
            <a:r>
              <a:rPr lang="de-DE"/>
              <a:t>Formatvorlage des Untertitelmasters durch Klicken bearbeiten</a:t>
            </a:r>
          </a:p>
        </p:txBody>
      </p:sp>
      <p:sp>
        <p:nvSpPr>
          <p:cNvPr id="4" name="Datumsplatzhalter 3"/>
          <p:cNvSpPr>
            <a:spLocks noGrp="1"/>
          </p:cNvSpPr>
          <p:nvPr>
            <p:ph type="dt" sz="half" idx="10"/>
          </p:nvPr>
        </p:nvSpPr>
        <p:spPr>
          <a:xfrm>
            <a:off x="838200" y="6356350"/>
            <a:ext cx="2743200" cy="365125"/>
          </a:xfrm>
          <a:prstGeom prst="rect">
            <a:avLst/>
          </a:prstGeom>
        </p:spPr>
        <p:txBody>
          <a:bodyPr/>
          <a:lstStyle/>
          <a:p>
            <a:pPr defTabSz="1088089"/>
            <a:endParaRPr lang="de-DE" sz="2098">
              <a:solidFill>
                <a:prstClr val="black"/>
              </a:solidFill>
            </a:endParaRPr>
          </a:p>
        </p:txBody>
      </p:sp>
      <p:sp>
        <p:nvSpPr>
          <p:cNvPr id="5" name="Fußzeilenplatzhalter 4"/>
          <p:cNvSpPr>
            <a:spLocks noGrp="1"/>
          </p:cNvSpPr>
          <p:nvPr>
            <p:ph type="ftr" sz="quarter" idx="11"/>
          </p:nvPr>
        </p:nvSpPr>
        <p:spPr/>
        <p:txBody>
          <a:bodyPr/>
          <a:lstStyle/>
          <a:p>
            <a:r>
              <a:rPr lang="de-DE" smtClean="0">
                <a:solidFill>
                  <a:prstClr val="black"/>
                </a:solidFill>
              </a:rPr>
              <a:t>DFS Deep Dive - </a:t>
            </a:r>
            <a:endParaRPr lang="de-DE">
              <a:solidFill>
                <a:prstClr val="black"/>
              </a:solidFill>
            </a:endParaRPr>
          </a:p>
        </p:txBody>
      </p:sp>
      <p:sp>
        <p:nvSpPr>
          <p:cNvPr id="6" name="Foliennummernplatzhalter 5"/>
          <p:cNvSpPr>
            <a:spLocks noGrp="1"/>
          </p:cNvSpPr>
          <p:nvPr>
            <p:ph type="sldNum" sz="quarter" idx="12"/>
          </p:nvPr>
        </p:nvSpPr>
        <p:spPr/>
        <p:txBody>
          <a:bodyPr/>
          <a:lstStyle/>
          <a:p>
            <a:fld id="{5CCFAD59-62EE-4708-9BFF-236303ED110E}" type="slidenum">
              <a:rPr lang="de-DE" smtClean="0">
                <a:solidFill>
                  <a:prstClr val="black"/>
                </a:solidFill>
              </a:rPr>
              <a:pPr/>
              <a:t>‹#›</a:t>
            </a:fld>
            <a:endParaRPr lang="de-DE">
              <a:solidFill>
                <a:prstClr val="black"/>
              </a:solidFill>
            </a:endParaRPr>
          </a:p>
        </p:txBody>
      </p:sp>
    </p:spTree>
    <p:extLst>
      <p:ext uri="{BB962C8B-B14F-4D97-AF65-F5344CB8AC3E}">
        <p14:creationId xmlns:p14="http://schemas.microsoft.com/office/powerpoint/2010/main" val="356384293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8415"/>
            <a:fld id="{896ACB37-748C-4671-8EE1-05B98108112A}" type="datetimeFigureOut">
              <a:rPr lang="en-US" sz="2099" smtClean="0">
                <a:solidFill>
                  <a:prstClr val="black"/>
                </a:solidFill>
              </a:rPr>
              <a:pPr defTabSz="1088415"/>
              <a:t>4/26/2019</a:t>
            </a:fld>
            <a:endParaRPr lang="en-US" sz="2099">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DA579563-9695-402D-AD0C-D8B123AFC4F2}"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039539828"/>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a:xfrm>
            <a:off x="838201" y="6356350"/>
            <a:ext cx="2743200" cy="365125"/>
          </a:xfrm>
          <a:prstGeom prst="rect">
            <a:avLst/>
          </a:prstGeom>
        </p:spPr>
        <p:txBody>
          <a:bodyPr/>
          <a:lstStyle/>
          <a:p>
            <a:pPr defTabSz="1088415"/>
            <a:endParaRPr lang="de-DE" sz="2099">
              <a:solidFill>
                <a:prstClr val="black">
                  <a:tint val="75000"/>
                </a:prstClr>
              </a:solidFill>
            </a:endParaRPr>
          </a:p>
        </p:txBody>
      </p:sp>
      <p:sp>
        <p:nvSpPr>
          <p:cNvPr id="5" name="Fußzeilenplatzhalter 4"/>
          <p:cNvSpPr>
            <a:spLocks noGrp="1"/>
          </p:cNvSpPr>
          <p:nvPr>
            <p:ph type="ftr" sz="quarter" idx="11"/>
          </p:nvPr>
        </p:nvSpPr>
        <p:spPr/>
        <p:txBody>
          <a:bodyPr/>
          <a:lstStyle/>
          <a:p>
            <a:r>
              <a:rPr lang="en-US" smtClean="0">
                <a:solidFill>
                  <a:prstClr val="black">
                    <a:tint val="75000"/>
                  </a:prstClr>
                </a:solidFill>
              </a:rPr>
              <a:t>DFS Deep Dive - </a:t>
            </a:r>
            <a:endParaRPr lang="de-DE">
              <a:solidFill>
                <a:prstClr val="black">
                  <a:tint val="75000"/>
                </a:prstClr>
              </a:solidFill>
            </a:endParaRPr>
          </a:p>
        </p:txBody>
      </p:sp>
      <p:sp>
        <p:nvSpPr>
          <p:cNvPr id="6" name="Foliennummernplatzhalter 5"/>
          <p:cNvSpPr>
            <a:spLocks noGrp="1"/>
          </p:cNvSpPr>
          <p:nvPr>
            <p:ph type="sldNum" sz="quarter" idx="12"/>
          </p:nvPr>
        </p:nvSpPr>
        <p:spPr/>
        <p:txBody>
          <a:bodyPr/>
          <a:lstStyle/>
          <a:p>
            <a:fld id="{06FADCEF-5A38-4D95-B77E-52FBF43EC92A}"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545614262"/>
      </p:ext>
    </p:extLst>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userDrawn="1">
  <p:cSld name="2_Nur Head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90" y="1593"/>
          <a:ext cx="1587" cy="1587"/>
        </p:xfrm>
        <a:graphic>
          <a:graphicData uri="http://schemas.openxmlformats.org/presentationml/2006/ole">
            <mc:AlternateContent xmlns:mc="http://schemas.openxmlformats.org/markup-compatibility/2006">
              <mc:Choice xmlns:v="urn:schemas-microsoft-com:vml" Requires="v">
                <p:oleObj spid="_x0000_s23866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3"/>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2" y="4"/>
            <a:ext cx="158666" cy="158750"/>
          </a:xfrm>
          <a:prstGeom prst="rect">
            <a:avLst/>
          </a:prstGeom>
          <a:solidFill>
            <a:srgbClr val="263F6A"/>
          </a:solidFill>
          <a:ln w="9525">
            <a:solidFill>
              <a:srgbClr val="263F6A"/>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defTabSz="912536">
              <a:spcBef>
                <a:spcPct val="0"/>
              </a:spcBef>
              <a:spcAft>
                <a:spcPct val="0"/>
              </a:spcAft>
            </a:pPr>
            <a:endParaRPr lang="de-DE" sz="2996" dirty="0" err="1">
              <a:solidFill>
                <a:prstClr val="white"/>
              </a:solidFill>
              <a:latin typeface="CorpoA" pitchFamily="2" charset="0"/>
              <a:sym typeface="CorpoA" pitchFamily="2" charset="0"/>
            </a:endParaRPr>
          </a:p>
        </p:txBody>
      </p:sp>
      <p:sp>
        <p:nvSpPr>
          <p:cNvPr id="11" name="Titel 1"/>
          <p:cNvSpPr>
            <a:spLocks noGrp="1"/>
          </p:cNvSpPr>
          <p:nvPr>
            <p:ph type="title" hasCustomPrompt="1"/>
          </p:nvPr>
        </p:nvSpPr>
        <p:spPr>
          <a:xfrm>
            <a:off x="395291" y="368304"/>
            <a:ext cx="11406186"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2" name="Textplatzhalter 7"/>
          <p:cNvSpPr>
            <a:spLocks noGrp="1"/>
          </p:cNvSpPr>
          <p:nvPr>
            <p:ph type="body" sz="quarter" idx="13" hasCustomPrompt="1"/>
          </p:nvPr>
        </p:nvSpPr>
        <p:spPr>
          <a:xfrm>
            <a:off x="395292" y="151204"/>
            <a:ext cx="5508000" cy="220274"/>
          </a:xfrm>
          <a:prstGeom prst="rect">
            <a:avLst/>
          </a:prstGeom>
        </p:spPr>
        <p:txBody>
          <a:bodyPr/>
          <a:lstStyle>
            <a:lvl1pPr marL="0" indent="0">
              <a:lnSpc>
                <a:spcPct val="100000"/>
              </a:lnSpc>
              <a:spcAft>
                <a:spcPts val="0"/>
              </a:spcAft>
              <a:buFont typeface="Arial" panose="020B0604020202020204" pitchFamily="34" charset="0"/>
              <a:buNone/>
              <a:defRPr sz="1197"/>
            </a:lvl1pPr>
            <a:lvl2pPr marL="0" indent="0">
              <a:lnSpc>
                <a:spcPct val="100000"/>
              </a:lnSpc>
              <a:spcAft>
                <a:spcPts val="0"/>
              </a:spcAft>
              <a:buNone/>
              <a:defRPr sz="1197"/>
            </a:lvl2pPr>
            <a:lvl3pPr marL="0" indent="0">
              <a:lnSpc>
                <a:spcPct val="100000"/>
              </a:lnSpc>
              <a:spcAft>
                <a:spcPts val="0"/>
              </a:spcAft>
              <a:buNone/>
              <a:defRPr sz="1197"/>
            </a:lvl3pPr>
            <a:lvl4pPr marL="0" indent="0">
              <a:lnSpc>
                <a:spcPct val="100000"/>
              </a:lnSpc>
              <a:spcAft>
                <a:spcPts val="0"/>
              </a:spcAft>
              <a:buNone/>
              <a:defRPr sz="1197"/>
            </a:lvl4pPr>
            <a:lvl5pPr marL="0" indent="0">
              <a:lnSpc>
                <a:spcPct val="100000"/>
              </a:lnSpc>
              <a:spcAft>
                <a:spcPts val="0"/>
              </a:spcAft>
              <a:buNone/>
              <a:defRPr sz="1197"/>
            </a:lvl5pPr>
            <a:lvl6pPr marL="0" indent="0">
              <a:lnSpc>
                <a:spcPct val="100000"/>
              </a:lnSpc>
              <a:spcAft>
                <a:spcPts val="0"/>
              </a:spcAft>
              <a:buNone/>
              <a:defRPr sz="1197"/>
            </a:lvl6pPr>
            <a:lvl7pPr marL="0" indent="0">
              <a:lnSpc>
                <a:spcPct val="100000"/>
              </a:lnSpc>
              <a:spcAft>
                <a:spcPts val="0"/>
              </a:spcAft>
              <a:buNone/>
              <a:defRPr sz="1197"/>
            </a:lvl7pPr>
            <a:lvl8pPr marL="0" indent="0">
              <a:lnSpc>
                <a:spcPct val="100000"/>
              </a:lnSpc>
              <a:spcAft>
                <a:spcPts val="0"/>
              </a:spcAft>
              <a:buNone/>
              <a:defRPr sz="1197"/>
            </a:lvl8pPr>
            <a:lvl9pPr marL="0" indent="0">
              <a:lnSpc>
                <a:spcPct val="100000"/>
              </a:lnSpc>
              <a:spcAft>
                <a:spcPts val="0"/>
              </a:spcAft>
              <a:buNone/>
              <a:defRPr sz="1197"/>
            </a:lvl9pPr>
          </a:lstStyle>
          <a:p>
            <a:pPr lvl="0"/>
            <a:r>
              <a:rPr lang="de-DE" noProof="0" dirty="0" smtClean="0"/>
              <a:t>Optionale Kapitelüberschrift</a:t>
            </a:r>
          </a:p>
        </p:txBody>
      </p:sp>
      <p:sp>
        <p:nvSpPr>
          <p:cNvPr id="17" name="Textplatzhalter 3"/>
          <p:cNvSpPr>
            <a:spLocks noGrp="1"/>
          </p:cNvSpPr>
          <p:nvPr>
            <p:ph type="body" sz="quarter" idx="19" hasCustomPrompt="1"/>
          </p:nvPr>
        </p:nvSpPr>
        <p:spPr>
          <a:xfrm>
            <a:off x="9928801" y="4"/>
            <a:ext cx="1872001" cy="306000"/>
          </a:xfrm>
          <a:prstGeom prst="rect">
            <a:avLst/>
          </a:prstGeo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9" name="Fußzeilenplatzhalter 4"/>
          <p:cNvSpPr>
            <a:spLocks noGrp="1"/>
          </p:cNvSpPr>
          <p:nvPr>
            <p:ph type="ftr" sz="quarter" idx="3"/>
          </p:nvPr>
        </p:nvSpPr>
        <p:spPr>
          <a:xfrm>
            <a:off x="3146400" y="6552002"/>
            <a:ext cx="7848000" cy="306000"/>
          </a:xfrm>
          <a:prstGeom prst="rect">
            <a:avLst/>
          </a:prstGeom>
        </p:spPr>
        <p:txBody>
          <a:bodyPr vert="horz" lIns="0" tIns="0" rIns="0" bIns="0" rtlCol="0" anchor="ctr" anchorCtr="0">
            <a:noAutofit/>
          </a:bodyPr>
          <a:lstStyle>
            <a:lvl1pPr marL="0" indent="0" algn="r">
              <a:spcBef>
                <a:spcPts val="0"/>
              </a:spcBef>
              <a:buFont typeface="+mj-lt"/>
              <a:buNone/>
              <a:defRPr sz="999" b="0" i="0">
                <a:solidFill>
                  <a:schemeClr val="tx1"/>
                </a:solidFill>
                <a:latin typeface="+mn-lt"/>
              </a:defRPr>
            </a:lvl1pPr>
            <a:lvl2pPr marL="0" indent="0" algn="r">
              <a:spcBef>
                <a:spcPts val="0"/>
              </a:spcBef>
              <a:defRPr sz="999"/>
            </a:lvl2pPr>
            <a:lvl3pPr marL="0" indent="0" algn="r">
              <a:spcBef>
                <a:spcPts val="0"/>
              </a:spcBef>
              <a:defRPr sz="999"/>
            </a:lvl3pPr>
            <a:lvl4pPr marL="0" indent="0" algn="r">
              <a:spcBef>
                <a:spcPts val="0"/>
              </a:spcBef>
              <a:defRPr sz="999"/>
            </a:lvl4pPr>
            <a:lvl5pPr marL="0" indent="0" algn="r">
              <a:spcBef>
                <a:spcPts val="0"/>
              </a:spcBef>
              <a:defRPr sz="999"/>
            </a:lvl5pPr>
            <a:lvl6pPr marL="0" indent="0" algn="r">
              <a:spcBef>
                <a:spcPts val="0"/>
              </a:spcBef>
              <a:defRPr sz="999"/>
            </a:lvl6pPr>
            <a:lvl7pPr marL="0" indent="0" algn="r">
              <a:spcBef>
                <a:spcPts val="0"/>
              </a:spcBef>
              <a:defRPr sz="999"/>
            </a:lvl7pPr>
            <a:lvl8pPr marL="0" indent="0" algn="r">
              <a:spcBef>
                <a:spcPts val="0"/>
              </a:spcBef>
              <a:defRPr sz="999"/>
            </a:lvl8pPr>
            <a:lvl9pPr marL="0" indent="0" algn="r">
              <a:spcBef>
                <a:spcPts val="0"/>
              </a:spcBef>
              <a:defRPr sz="999"/>
            </a:lvl9pPr>
          </a:lstStyle>
          <a:p>
            <a:r>
              <a:rPr lang="en-US" smtClean="0">
                <a:solidFill>
                  <a:prstClr val="black"/>
                </a:solidFill>
              </a:rPr>
              <a:t>DFS Deep Dive - </a:t>
            </a:r>
            <a:endParaRPr lang="de-DE" dirty="0">
              <a:solidFill>
                <a:prstClr val="black"/>
              </a:solidFill>
            </a:endParaRPr>
          </a:p>
        </p:txBody>
      </p:sp>
      <p:sp>
        <p:nvSpPr>
          <p:cNvPr id="8" name="Foliennummernplatzhalter 5"/>
          <p:cNvSpPr>
            <a:spLocks noGrp="1"/>
          </p:cNvSpPr>
          <p:nvPr>
            <p:ph type="sldNum" sz="quarter" idx="16"/>
          </p:nvPr>
        </p:nvSpPr>
        <p:spPr>
          <a:xfrm>
            <a:off x="11499779" y="6552002"/>
            <a:ext cx="323999" cy="306000"/>
          </a:xfrm>
        </p:spPr>
        <p:txBody>
          <a:bodyPr/>
          <a:lstStyle/>
          <a:p>
            <a:fld id="{AD1D1349-391B-44DC-865F-5996B3E40F26}" type="slidenum">
              <a:rPr lang="de-DE" smtClean="0">
                <a:solidFill>
                  <a:srgbClr val="000000"/>
                </a:solidFill>
              </a:rPr>
              <a:pPr/>
              <a:t>‹#›</a:t>
            </a:fld>
            <a:endParaRPr lang="de-DE" dirty="0">
              <a:solidFill>
                <a:srgbClr val="000000"/>
              </a:solidFill>
            </a:endParaRPr>
          </a:p>
        </p:txBody>
      </p:sp>
    </p:spTree>
    <p:extLst>
      <p:ext uri="{BB962C8B-B14F-4D97-AF65-F5344CB8AC3E}">
        <p14:creationId xmlns:p14="http://schemas.microsoft.com/office/powerpoint/2010/main" val="1126336201"/>
      </p:ext>
    </p:extLst>
  </p:cSld>
  <p:clrMapOvr>
    <a:masterClrMapping/>
  </p:clrMapOvr>
  <p:timing>
    <p:tnLst>
      <p:par>
        <p:cTn id="1" dur="indefinite" restart="never" nodeType="tmRoot"/>
      </p:par>
    </p:tnLst>
  </p:timing>
</p:sldLayout>
</file>

<file path=ppt/slideLayouts/slideLayout108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spid="_x0000_s23968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91"/>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2"/>
            <a:ext cx="10933350" cy="470898"/>
          </a:xfrm>
        </p:spPr>
        <p:txBody>
          <a:bodyPr/>
          <a:lstStyle>
            <a:lvl1pPr>
              <a:defRPr sz="3397">
                <a:solidFill>
                  <a:srgbClr val="000000"/>
                </a:solidFill>
                <a:latin typeface="CorpoS" pitchFamily="2" charset="0"/>
                <a:sym typeface="CorpoS" pitchFamily="2" charset="0"/>
              </a:defRPr>
            </a:lvl1pPr>
          </a:lstStyle>
          <a:p>
            <a:r>
              <a:rPr lang="en-US" dirty="0" smtClean="0"/>
              <a:t>Click to add title</a:t>
            </a:r>
            <a:endParaRPr lang="en-US" dirty="0"/>
          </a:p>
        </p:txBody>
      </p:sp>
      <p:cxnSp>
        <p:nvCxnSpPr>
          <p:cNvPr id="11" name="Footerline"/>
          <p:cNvCxnSpPr/>
          <p:nvPr userDrawn="1"/>
        </p:nvCxnSpPr>
        <p:spPr bwMode="auto">
          <a:xfrm>
            <a:off x="630000" y="6489340"/>
            <a:ext cx="10933350"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3" name="Copyright" hidden="1"/>
          <p:cNvSpPr txBox="1">
            <a:spLocks/>
          </p:cNvSpPr>
          <p:nvPr userDrawn="1"/>
        </p:nvSpPr>
        <p:spPr>
          <a:xfrm rot="16200000">
            <a:off x="9894760" y="3895344"/>
            <a:ext cx="4318256" cy="98745"/>
          </a:xfrm>
          <a:prstGeom prst="rect">
            <a:avLst/>
          </a:prstGeom>
          <a:noFill/>
        </p:spPr>
        <p:txBody>
          <a:bodyPr wrap="square" lIns="0" tIns="0" rIns="0" bIns="0" rtlCol="0" anchor="t">
            <a:noAutofit/>
          </a:bodyPr>
          <a:lstStyle/>
          <a:p>
            <a:pPr defTabSz="1088415">
              <a:lnSpc>
                <a:spcPct val="90000"/>
              </a:lnSpc>
              <a:spcAft>
                <a:spcPts val="600"/>
              </a:spcAft>
            </a:pPr>
            <a:r>
              <a:rPr lang="en-US" sz="700" dirty="0">
                <a:solidFill>
                  <a:prstClr val="white">
                    <a:lumMod val="50000"/>
                  </a:prstClr>
                </a:solidFill>
                <a:sym typeface="CorpoS" pitchFamily="2" charset="0"/>
              </a:rPr>
              <a:t>Copyright © 2017 by The Boston Consulting Group, Inc. All rights reserved.</a:t>
            </a:r>
          </a:p>
        </p:txBody>
      </p:sp>
    </p:spTree>
    <p:extLst>
      <p:ext uri="{BB962C8B-B14F-4D97-AF65-F5344CB8AC3E}">
        <p14:creationId xmlns:p14="http://schemas.microsoft.com/office/powerpoint/2010/main" val="205799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320">
          <p15:clr>
            <a:srgbClr val="FBAE40"/>
          </p15:clr>
        </p15:guide>
      </p15:sldGuideLst>
    </p:ext>
  </p:extLst>
</p:sldLayout>
</file>

<file path=ppt/slideLayouts/slideLayout1083.xml><?xml version="1.0" encoding="utf-8"?>
<p:sldLayout xmlns:a="http://schemas.openxmlformats.org/drawingml/2006/main" xmlns:r="http://schemas.openxmlformats.org/officeDocument/2006/relationships" xmlns:p="http://schemas.openxmlformats.org/presentationml/2006/main" showMasterSp="0" preserve="1"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2"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075">
                <a:defRPr/>
              </a:pPr>
              <a:r>
                <a:rPr lang="en-GB" sz="1098"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075">
                <a:defRPr/>
              </a:pPr>
              <a:r>
                <a:rPr lang="en-GB" sz="1098"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8" dirty="0">
                    <a:solidFill>
                      <a:srgbClr val="444444"/>
                    </a:solidFill>
                  </a:rPr>
                  <a:t>Reset the slide back to its </a:t>
                </a:r>
              </a:p>
              <a:p>
                <a:pPr algn="r"/>
                <a:r>
                  <a:rPr lang="en-GB" sz="1098" dirty="0">
                    <a:solidFill>
                      <a:srgbClr val="444444"/>
                    </a:solidFill>
                  </a:rPr>
                  <a:t>original form via menu bar:</a:t>
                </a:r>
              </a:p>
              <a:p>
                <a:pPr algn="r"/>
                <a:r>
                  <a:rPr lang="en-GB" sz="1098" dirty="0">
                    <a:solidFill>
                      <a:srgbClr val="444444"/>
                    </a:solidFill>
                  </a:rPr>
                  <a:t>Home // Slides // Reset</a:t>
                </a:r>
              </a:p>
              <a:p>
                <a:pPr algn="r"/>
                <a:endParaRPr lang="en-GB" sz="1098" dirty="0">
                  <a:solidFill>
                    <a:srgbClr val="444444"/>
                  </a:solidFill>
                </a:endParaRPr>
              </a:p>
              <a:p>
                <a:pPr algn="r"/>
                <a:r>
                  <a:rPr lang="en-GB" sz="1098" dirty="0">
                    <a:solidFill>
                      <a:srgbClr val="444444"/>
                    </a:solidFill>
                  </a:rPr>
                  <a:t>Change the slide layout </a:t>
                </a:r>
              </a:p>
              <a:p>
                <a:pPr algn="r"/>
                <a:r>
                  <a:rPr lang="en-GB" sz="1098" dirty="0">
                    <a:solidFill>
                      <a:srgbClr val="444444"/>
                    </a:solidFill>
                  </a:rPr>
                  <a:t>via menu bar:</a:t>
                </a:r>
              </a:p>
              <a:p>
                <a:pPr algn="r"/>
                <a:r>
                  <a:rPr lang="en-GB" sz="1098" dirty="0">
                    <a:solidFill>
                      <a:srgbClr val="444444"/>
                    </a:solidFill>
                  </a:rPr>
                  <a:t>Home // Slides // Layout</a:t>
                </a:r>
              </a:p>
              <a:p>
                <a:pPr algn="r"/>
                <a:endParaRPr lang="en-GB" sz="1098" dirty="0">
                  <a:solidFill>
                    <a:srgbClr val="444444"/>
                  </a:solidFill>
                </a:endParaRPr>
              </a:p>
              <a:p>
                <a:pPr algn="r"/>
                <a:r>
                  <a:rPr lang="en-GB" sz="1098" dirty="0">
                    <a:solidFill>
                      <a:srgbClr val="444444"/>
                    </a:solidFill>
                  </a:rPr>
                  <a:t>Change the text level</a:t>
                </a:r>
              </a:p>
              <a:p>
                <a:pPr algn="r"/>
                <a:r>
                  <a:rPr lang="en-GB" sz="1098" dirty="0">
                    <a:solidFill>
                      <a:srgbClr val="444444"/>
                    </a:solidFill>
                  </a:rPr>
                  <a:t>via menu bar: </a:t>
                </a:r>
                <a:br>
                  <a:rPr lang="en-GB" sz="1098" dirty="0">
                    <a:solidFill>
                      <a:srgbClr val="444444"/>
                    </a:solidFill>
                  </a:rPr>
                </a:br>
                <a:r>
                  <a:rPr lang="en-GB" sz="1098" dirty="0">
                    <a:solidFill>
                      <a:srgbClr val="444444"/>
                    </a:solidFill>
                  </a:rPr>
                  <a:t>Home // Paragraph // Increase/</a:t>
                </a:r>
              </a:p>
              <a:p>
                <a:pPr algn="r"/>
                <a:r>
                  <a:rPr lang="en-GB" sz="1098"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4"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4" y="998931"/>
            <a:ext cx="3742051" cy="236996"/>
          </a:xfrm>
          <a:prstGeom prst="rect">
            <a:avLst/>
          </a:prstGeom>
        </p:spPr>
      </p:pic>
      <p:grpSp>
        <p:nvGrpSpPr>
          <p:cNvPr id="19" name="Gruppieren 18"/>
          <p:cNvGrpSpPr/>
          <p:nvPr userDrawn="1"/>
        </p:nvGrpSpPr>
        <p:grpSpPr>
          <a:xfrm>
            <a:off x="-2250855" y="3527183"/>
            <a:ext cx="2229361" cy="4638856"/>
            <a:chOff x="12221581" y="-62687"/>
            <a:chExt cx="2230522" cy="4639930"/>
          </a:xfrm>
        </p:grpSpPr>
        <p:sp>
          <p:nvSpPr>
            <p:cNvPr id="20" name="Rechteck 19"/>
            <p:cNvSpPr/>
            <p:nvPr userDrawn="1"/>
          </p:nvSpPr>
          <p:spPr>
            <a:xfrm>
              <a:off x="12266612" y="-62687"/>
              <a:ext cx="2185491" cy="1446550"/>
            </a:xfrm>
            <a:prstGeom prst="rect">
              <a:avLst/>
            </a:prstGeom>
          </p:spPr>
          <p:txBody>
            <a:bodyPr wrap="square">
              <a:spAutoFit/>
            </a:bodyPr>
            <a:lstStyle/>
            <a:p>
              <a:pPr algn="r" defTabSz="1088089"/>
              <a:r>
                <a:rPr lang="en-GB" sz="1098" b="1" dirty="0">
                  <a:solidFill>
                    <a:srgbClr val="444444"/>
                  </a:solidFill>
                </a:rPr>
                <a:t>Animation</a:t>
              </a:r>
            </a:p>
            <a:p>
              <a:pPr algn="r" defTabSz="1088089"/>
              <a:r>
                <a:rPr lang="en-GB" sz="1098" dirty="0">
                  <a:solidFill>
                    <a:srgbClr val="444444"/>
                  </a:solidFill>
                </a:rPr>
                <a:t>You can change animations via menu bar: animation.</a:t>
              </a:r>
            </a:p>
            <a:p>
              <a:pPr algn="r" defTabSz="1088089"/>
              <a:endParaRPr lang="en-GB" sz="1098" dirty="0">
                <a:solidFill>
                  <a:srgbClr val="444444"/>
                </a:solidFill>
              </a:endParaRPr>
            </a:p>
            <a:p>
              <a:pPr algn="r" defTabSz="1088089"/>
              <a:r>
                <a:rPr lang="en-GB" sz="1098" dirty="0">
                  <a:solidFill>
                    <a:srgbClr val="444444"/>
                  </a:solidFill>
                </a:rPr>
                <a:t>To remove the animation choose the menu bar animation and insert the animation pane by click on the following button.</a:t>
              </a:r>
            </a:p>
          </p:txBody>
        </p:sp>
        <p:pic>
          <p:nvPicPr>
            <p:cNvPr id="21" name="Grafik 2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2" name="Grafik 2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3" name="Rechteck 22"/>
            <p:cNvSpPr/>
            <p:nvPr userDrawn="1"/>
          </p:nvSpPr>
          <p:spPr>
            <a:xfrm>
              <a:off x="12221581" y="1896262"/>
              <a:ext cx="2185491" cy="938719"/>
            </a:xfrm>
            <a:prstGeom prst="rect">
              <a:avLst/>
            </a:prstGeom>
          </p:spPr>
          <p:txBody>
            <a:bodyPr wrap="square">
              <a:spAutoFit/>
            </a:bodyPr>
            <a:lstStyle/>
            <a:p>
              <a:pPr algn="r" defTabSz="1088089"/>
              <a:r>
                <a:rPr lang="en-GB" sz="1098" dirty="0">
                  <a:solidFill>
                    <a:srgbClr val="444444"/>
                  </a:solidFill>
                </a:rPr>
                <a:t>Within the window animation Pane you can choose the animated elements and by click on the blue arrow you can remove the animation.</a:t>
              </a:r>
            </a:p>
          </p:txBody>
        </p:sp>
      </p:grpSp>
      <p:grpSp>
        <p:nvGrpSpPr>
          <p:cNvPr id="24" name="Gruppieren 23"/>
          <p:cNvGrpSpPr/>
          <p:nvPr userDrawn="1"/>
        </p:nvGrpSpPr>
        <p:grpSpPr>
          <a:xfrm>
            <a:off x="12192002" y="-82363"/>
            <a:ext cx="2184353" cy="3786237"/>
            <a:chOff x="12266612" y="-62687"/>
            <a:chExt cx="2185491" cy="3787114"/>
          </a:xfrm>
        </p:grpSpPr>
        <p:sp>
          <p:nvSpPr>
            <p:cNvPr id="25" name="Rechteck 24"/>
            <p:cNvSpPr/>
            <p:nvPr userDrawn="1"/>
          </p:nvSpPr>
          <p:spPr>
            <a:xfrm>
              <a:off x="12266612" y="-62687"/>
              <a:ext cx="2185491" cy="769441"/>
            </a:xfrm>
            <a:prstGeom prst="rect">
              <a:avLst/>
            </a:prstGeom>
          </p:spPr>
          <p:txBody>
            <a:bodyPr wrap="square">
              <a:spAutoFit/>
            </a:bodyPr>
            <a:lstStyle/>
            <a:p>
              <a:pPr defTabSz="1088089"/>
              <a:r>
                <a:rPr lang="en-US" sz="1098" b="1" dirty="0">
                  <a:solidFill>
                    <a:srgbClr val="444444"/>
                  </a:solidFill>
                </a:rPr>
                <a:t>Change pictures</a:t>
              </a:r>
            </a:p>
            <a:p>
              <a:pPr defTabSz="1088089"/>
              <a:r>
                <a:rPr lang="en-US" sz="1098" dirty="0">
                  <a:solidFill>
                    <a:srgbClr val="444444"/>
                  </a:solidFill>
                </a:rPr>
                <a:t>Choose your desired picture, click right mouse button an choose change picture.</a:t>
              </a:r>
            </a:p>
          </p:txBody>
        </p:sp>
        <p:pic>
          <p:nvPicPr>
            <p:cNvPr id="26" name="Grafik 2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27" name="Gruppieren 26"/>
          <p:cNvGrpSpPr/>
          <p:nvPr userDrawn="1"/>
        </p:nvGrpSpPr>
        <p:grpSpPr>
          <a:xfrm>
            <a:off x="12192000" y="3909447"/>
            <a:ext cx="2383726" cy="3891078"/>
            <a:chOff x="12291863" y="5052225"/>
            <a:chExt cx="2384968" cy="3891979"/>
          </a:xfrm>
        </p:grpSpPr>
        <p:sp>
          <p:nvSpPr>
            <p:cNvPr id="36" name="Rechteck 35"/>
            <p:cNvSpPr/>
            <p:nvPr userDrawn="1"/>
          </p:nvSpPr>
          <p:spPr>
            <a:xfrm>
              <a:off x="12291863" y="5052225"/>
              <a:ext cx="2384968" cy="1107996"/>
            </a:xfrm>
            <a:prstGeom prst="rect">
              <a:avLst/>
            </a:prstGeom>
          </p:spPr>
          <p:txBody>
            <a:bodyPr wrap="square">
              <a:spAutoFit/>
            </a:bodyPr>
            <a:lstStyle/>
            <a:p>
              <a:pPr defTabSz="1088089"/>
              <a:r>
                <a:rPr lang="en-US" sz="1098" b="1" dirty="0">
                  <a:solidFill>
                    <a:srgbClr val="444444"/>
                  </a:solidFill>
                </a:rPr>
                <a:t>Align</a:t>
              </a:r>
            </a:p>
            <a:p>
              <a:pPr defTabSz="1088089"/>
              <a:r>
                <a:rPr lang="en-US" sz="1098" dirty="0">
                  <a:solidFill>
                    <a:srgbClr val="444444"/>
                  </a:solidFill>
                </a:rPr>
                <a:t>By using this tool you can align objects, pictures and text blocks with another:</a:t>
              </a:r>
            </a:p>
            <a:p>
              <a:pPr defTabSz="1088089"/>
              <a:r>
                <a:rPr lang="en-US" sz="1098" dirty="0">
                  <a:solidFill>
                    <a:srgbClr val="444444"/>
                  </a:solidFill>
                </a:rPr>
                <a:t>Choose desired objects // Format // Align</a:t>
              </a:r>
            </a:p>
          </p:txBody>
        </p:sp>
        <p:pic>
          <p:nvPicPr>
            <p:cNvPr id="37" name="Picture 2"/>
            <p:cNvPicPr>
              <a:picLocks noChangeAspect="1" noChangeArrowheads="1"/>
            </p:cNvPicPr>
            <p:nvPr userDrawn="1"/>
          </p:nvPicPr>
          <p:blipFill>
            <a:blip r:embed="rId10">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uppieren 37"/>
          <p:cNvGrpSpPr/>
          <p:nvPr userDrawn="1"/>
        </p:nvGrpSpPr>
        <p:grpSpPr>
          <a:xfrm>
            <a:off x="14575728" y="-67808"/>
            <a:ext cx="2184353" cy="5224601"/>
            <a:chOff x="14583318" y="4183"/>
            <a:chExt cx="2185491" cy="5225811"/>
          </a:xfrm>
        </p:grpSpPr>
        <p:sp>
          <p:nvSpPr>
            <p:cNvPr id="39" name="Rechteck 38"/>
            <p:cNvSpPr/>
            <p:nvPr userDrawn="1"/>
          </p:nvSpPr>
          <p:spPr>
            <a:xfrm>
              <a:off x="14583318" y="4183"/>
              <a:ext cx="2185491" cy="1107996"/>
            </a:xfrm>
            <a:prstGeom prst="rect">
              <a:avLst/>
            </a:prstGeom>
          </p:spPr>
          <p:txBody>
            <a:bodyPr wrap="square">
              <a:spAutoFit/>
            </a:bodyPr>
            <a:lstStyle/>
            <a:p>
              <a:pPr defTabSz="1088089">
                <a:defRPr/>
              </a:pPr>
              <a:r>
                <a:rPr lang="en-US" sz="1098" b="1" dirty="0">
                  <a:solidFill>
                    <a:srgbClr val="444444"/>
                  </a:solidFill>
                </a:rPr>
                <a:t>Crop pictures to shape</a:t>
              </a:r>
            </a:p>
            <a:p>
              <a:pPr defTabSz="1088089"/>
              <a:r>
                <a:rPr lang="en-US" sz="1098" dirty="0">
                  <a:solidFill>
                    <a:srgbClr val="444444"/>
                  </a:solidFill>
                </a:rPr>
                <a:t>To crop pictures in a circle in the first step they have to be square-shaped. </a:t>
              </a:r>
            </a:p>
            <a:p>
              <a:pPr defTabSz="1088089"/>
              <a:r>
                <a:rPr lang="en-US" sz="1098" dirty="0">
                  <a:solidFill>
                    <a:srgbClr val="444444"/>
                  </a:solidFill>
                </a:rPr>
                <a:t>Do this via menu bar:</a:t>
              </a:r>
            </a:p>
            <a:p>
              <a:pPr defTabSz="1088089"/>
              <a:r>
                <a:rPr lang="en-US" sz="1098" dirty="0">
                  <a:solidFill>
                    <a:srgbClr val="444444"/>
                  </a:solidFill>
                </a:rPr>
                <a:t>Picture Tool // Format // Crop</a:t>
              </a:r>
            </a:p>
          </p:txBody>
        </p:sp>
        <p:pic>
          <p:nvPicPr>
            <p:cNvPr id="40" name="Grafik 39"/>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1" name="Grafik 40"/>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2" name="Rechteck 41"/>
            <p:cNvSpPr/>
            <p:nvPr userDrawn="1"/>
          </p:nvSpPr>
          <p:spPr>
            <a:xfrm>
              <a:off x="14583318" y="2076199"/>
              <a:ext cx="2185491" cy="938719"/>
            </a:xfrm>
            <a:prstGeom prst="rect">
              <a:avLst/>
            </a:prstGeom>
          </p:spPr>
          <p:txBody>
            <a:bodyPr wrap="square">
              <a:spAutoFit/>
            </a:bodyPr>
            <a:lstStyle/>
            <a:p>
              <a:pPr defTabSz="1088089"/>
              <a:r>
                <a:rPr lang="en-US" sz="1098" dirty="0">
                  <a:solidFill>
                    <a:srgbClr val="444444"/>
                  </a:solidFill>
                </a:rPr>
                <a:t>Afterwards the picture can be cropped in a circle via following menu:</a:t>
              </a:r>
            </a:p>
            <a:p>
              <a:pPr defTabSz="1088089"/>
              <a:r>
                <a:rPr lang="en-US" sz="1098" dirty="0">
                  <a:solidFill>
                    <a:srgbClr val="444444"/>
                  </a:solidFill>
                </a:rPr>
                <a:t>Picture Tool // Format // Crop // Crop to Shape</a:t>
              </a:r>
            </a:p>
          </p:txBody>
        </p:sp>
        <p:pic>
          <p:nvPicPr>
            <p:cNvPr id="43" name="Grafik 4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12804383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289">
          <p15:clr>
            <a:srgbClr val="FBAE40"/>
          </p15:clr>
        </p15:guide>
      </p15:sldGuideLst>
    </p:ext>
  </p:extLst>
</p:sldLayout>
</file>

<file path=ppt/slideLayouts/slideLayout1084.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de-DE" smtClean="0">
                <a:solidFill>
                  <a:prstClr val="black"/>
                </a:solidFill>
              </a:rPr>
              <a:t>DFS Deep Dive - </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712" indent="-359712">
              <a:buSzPct val="100000"/>
              <a:buFont typeface="+mj-lt"/>
              <a:buAutoNum type="arabicPeriod"/>
              <a:defRPr>
                <a:solidFill>
                  <a:schemeClr val="tx1"/>
                </a:solidFill>
              </a:defRPr>
            </a:lvl1pPr>
            <a:lvl2pPr marL="359712" indent="-359712">
              <a:buFont typeface="+mj-lt"/>
              <a:buAutoNum type="arabicPeriod"/>
              <a:defRPr>
                <a:solidFill>
                  <a:schemeClr val="tx1"/>
                </a:solidFill>
              </a:defRPr>
            </a:lvl2pPr>
            <a:lvl3pPr marL="359712" indent="-359712">
              <a:buFont typeface="+mj-lt"/>
              <a:buAutoNum type="arabicPeriod"/>
              <a:defRPr>
                <a:solidFill>
                  <a:schemeClr val="tx1"/>
                </a:solidFill>
              </a:defRPr>
            </a:lvl3pPr>
            <a:lvl4pPr marL="359712" indent="-359712">
              <a:buFont typeface="+mj-lt"/>
              <a:buAutoNum type="arabicPeriod"/>
              <a:defRPr>
                <a:solidFill>
                  <a:schemeClr val="tx1"/>
                </a:solidFill>
              </a:defRPr>
            </a:lvl4pPr>
            <a:lvl5pPr marL="359712" indent="-359712">
              <a:buFont typeface="+mj-lt"/>
              <a:buAutoNum type="arabicPeriod"/>
              <a:defRPr>
                <a:solidFill>
                  <a:schemeClr val="tx1"/>
                </a:solidFill>
              </a:defRPr>
            </a:lvl5pPr>
            <a:lvl6pPr marL="359712" indent="-359712">
              <a:buFont typeface="+mj-lt"/>
              <a:buAutoNum type="arabicPeriod"/>
              <a:defRPr>
                <a:solidFill>
                  <a:schemeClr val="tx1"/>
                </a:solidFill>
              </a:defRPr>
            </a:lvl6pPr>
            <a:lvl7pPr marL="359712" indent="-359712">
              <a:buFont typeface="+mj-lt"/>
              <a:buAutoNum type="arabicPeriod"/>
              <a:defRPr>
                <a:solidFill>
                  <a:schemeClr val="tx1"/>
                </a:solidFill>
              </a:defRPr>
            </a:lvl7pPr>
            <a:lvl8pPr marL="359712" indent="-359712">
              <a:buFont typeface="+mj-lt"/>
              <a:buAutoNum type="arabicPeriod"/>
              <a:defRPr>
                <a:solidFill>
                  <a:schemeClr val="tx1"/>
                </a:solidFill>
              </a:defRPr>
            </a:lvl8pPr>
            <a:lvl9pPr marL="359712" indent="-359712">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1530256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1085.xml><?xml version="1.0" encoding="utf-8"?>
<p:sldLayout xmlns:a="http://schemas.openxmlformats.org/drawingml/2006/main" xmlns:r="http://schemas.openxmlformats.org/officeDocument/2006/relationships" xmlns:p="http://schemas.openxmlformats.org/presentationml/2006/main" preserve="1"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de-DE" smtClean="0">
                <a:solidFill>
                  <a:prstClr val="black"/>
                </a:solidFill>
              </a:rPr>
              <a:t>DFS Deep Dive - </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49382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086.xml><?xml version="1.0" encoding="utf-8"?>
<p:sldLayout xmlns:a="http://schemas.openxmlformats.org/drawingml/2006/main" xmlns:r="http://schemas.openxmlformats.org/officeDocument/2006/relationships" xmlns:p="http://schemas.openxmlformats.org/presentationml/2006/main" preserve="1" userDrawn="1">
  <p:cSld name="Blank/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de-DE" smtClean="0">
                <a:solidFill>
                  <a:prstClr val="black"/>
                </a:solidFill>
              </a:rPr>
              <a:t>DFS Deep Dive - </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3176719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1087.xml><?xml version="1.0" encoding="utf-8"?>
<p:sldLayout xmlns:a="http://schemas.openxmlformats.org/drawingml/2006/main" xmlns:r="http://schemas.openxmlformats.org/officeDocument/2006/relationships" xmlns:p="http://schemas.openxmlformats.org/presentationml/2006/main" userDrawn="1">
  <p:cSld name="Headline two lines // Conten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240709"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90" y="1590"/>
                        <a:ext cx="1586" cy="1587"/>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8089">
              <a:lnSpc>
                <a:spcPct val="80000"/>
              </a:lnSpc>
              <a:spcBef>
                <a:spcPct val="0"/>
              </a:spcBef>
              <a:spcAft>
                <a:spcPct val="0"/>
              </a:spcAft>
            </a:pPr>
            <a:endParaRPr lang="en-GB" sz="3597" b="1" dirty="0">
              <a:solidFill>
                <a:prstClr val="white"/>
              </a:solidFill>
              <a:latin typeface="CorporateS-Regular"/>
              <a:sym typeface="CorporateS-Regular"/>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p:nvPr>
        </p:nvSpPr>
        <p:spPr>
          <a:xfrm>
            <a:off x="626739" y="1520472"/>
            <a:ext cx="10938528" cy="48598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Title 1"/>
          <p:cNvSpPr>
            <a:spLocks noGrp="1"/>
          </p:cNvSpPr>
          <p:nvPr>
            <p:ph type="title" hasCustomPrompt="1"/>
          </p:nvPr>
        </p:nvSpPr>
        <p:spPr>
          <a:xfrm>
            <a:off x="626737" y="298260"/>
            <a:ext cx="10939888" cy="934945"/>
          </a:xfrm>
        </p:spPr>
        <p:txBody>
          <a:bodyPr/>
          <a:lstStyle>
            <a:lvl1pPr>
              <a:defRPr/>
            </a:lvl1pPr>
          </a:lstStyle>
          <a:p>
            <a:r>
              <a:rPr lang="en-GB" noProof="0" dirty="0"/>
              <a:t>Headline in </a:t>
            </a:r>
            <a:r>
              <a:rPr lang="en-GB" noProof="0" dirty="0" err="1"/>
              <a:t>CorpoS</a:t>
            </a:r>
            <a:r>
              <a:rPr lang="en-GB" noProof="0" dirty="0"/>
              <a:t> (Body) 35 pt. </a:t>
            </a:r>
            <a:br>
              <a:rPr lang="en-GB" noProof="0" dirty="0"/>
            </a:br>
            <a:r>
              <a:rPr lang="en-GB" noProof="0" dirty="0"/>
              <a:t>one or two lines</a:t>
            </a:r>
            <a:endParaRPr lang="en-GB" dirty="0"/>
          </a:p>
        </p:txBody>
      </p:sp>
    </p:spTree>
    <p:extLst>
      <p:ext uri="{BB962C8B-B14F-4D97-AF65-F5344CB8AC3E}">
        <p14:creationId xmlns:p14="http://schemas.microsoft.com/office/powerpoint/2010/main" val="28172689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1088.xml><?xml version="1.0" encoding="utf-8"?>
<p:sldLayout xmlns:a="http://schemas.openxmlformats.org/drawingml/2006/main" xmlns:r="http://schemas.openxmlformats.org/officeDocument/2006/relationships" xmlns:p="http://schemas.openxmlformats.org/presentationml/2006/main" userDrawn="1">
  <p:cSld name="Title Only ">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24173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90"/>
                        <a:ext cx="1587" cy="1587"/>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8089">
              <a:lnSpc>
                <a:spcPct val="90000"/>
              </a:lnSpc>
              <a:spcBef>
                <a:spcPct val="0"/>
              </a:spcBef>
              <a:spcAft>
                <a:spcPct val="0"/>
              </a:spcAft>
            </a:pPr>
            <a:endParaRPr lang="en-US" sz="3498" dirty="0">
              <a:solidFill>
                <a:prstClr val="white"/>
              </a:solidFill>
              <a:sym typeface="CorpoS" pitchFamily="2" charset="0"/>
            </a:endParaRPr>
          </a:p>
        </p:txBody>
      </p:sp>
      <p:sp>
        <p:nvSpPr>
          <p:cNvPr id="7" name="Copyright" hidden="1"/>
          <p:cNvSpPr txBox="1"/>
          <p:nvPr userDrawn="1"/>
        </p:nvSpPr>
        <p:spPr>
          <a:xfrm rot="16200000">
            <a:off x="9894760" y="3895344"/>
            <a:ext cx="4318256" cy="98745"/>
          </a:xfrm>
          <a:prstGeom prst="rect">
            <a:avLst/>
          </a:prstGeom>
          <a:noFill/>
        </p:spPr>
        <p:txBody>
          <a:bodyPr wrap="square" lIns="0" tIns="0" rIns="0" bIns="0" rtlCol="0" anchor="t">
            <a:noAutofit/>
          </a:bodyPr>
          <a:lstStyle/>
          <a:p>
            <a:pPr defTabSz="913852">
              <a:lnSpc>
                <a:spcPct val="90000"/>
              </a:lnSpc>
              <a:spcAft>
                <a:spcPts val="600"/>
              </a:spcAft>
            </a:pPr>
            <a:r>
              <a:rPr lang="en-US" sz="700" dirty="0">
                <a:solidFill>
                  <a:srgbClr val="FFFFFF">
                    <a:lumMod val="50000"/>
                  </a:srgbClr>
                </a:solidFill>
                <a:sym typeface="CorpoS" pitchFamily="2" charset="0"/>
              </a:rPr>
              <a:t>Copyright © 2017 by The Boston Consulting Group, Inc. All rights reserved.</a:t>
            </a:r>
          </a:p>
        </p:txBody>
      </p:sp>
      <p:sp>
        <p:nvSpPr>
          <p:cNvPr id="5" name="Title 4"/>
          <p:cNvSpPr>
            <a:spLocks noGrp="1"/>
          </p:cNvSpPr>
          <p:nvPr>
            <p:ph type="title" hasCustomPrompt="1"/>
          </p:nvPr>
        </p:nvSpPr>
        <p:spPr>
          <a:xfrm>
            <a:off x="630000" y="622800"/>
            <a:ext cx="10933200" cy="48474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98" b="0" i="0" u="none" kern="1200" spc="0">
                <a:solidFill>
                  <a:srgbClr val="000000"/>
                </a:solidFill>
                <a:latin typeface="CorpoS" pitchFamily="2" charset="0"/>
                <a:sym typeface="CorpoS" pitchFamily="2" charset="0"/>
              </a:defRPr>
            </a:lvl1pPr>
          </a:lstStyle>
          <a:p>
            <a:pPr lvl="0"/>
            <a:r>
              <a:rPr lang="en-US" dirty="0"/>
              <a:t>Click to add title</a:t>
            </a:r>
          </a:p>
        </p:txBody>
      </p:sp>
    </p:spTree>
    <p:extLst>
      <p:ext uri="{BB962C8B-B14F-4D97-AF65-F5344CB8AC3E}">
        <p14:creationId xmlns:p14="http://schemas.microsoft.com/office/powerpoint/2010/main" val="1439221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089.xml><?xml version="1.0" encoding="utf-8"?>
<p:sldLayout xmlns:a="http://schemas.openxmlformats.org/drawingml/2006/main" xmlns:r="http://schemas.openxmlformats.org/officeDocument/2006/relationships" xmlns:p="http://schemas.openxmlformats.org/presentationml/2006/main" userDrawn="1">
  <p:cSld name="DMS_Group_2">
    <p:spTree>
      <p:nvGrpSpPr>
        <p:cNvPr id="1" name=""/>
        <p:cNvGrpSpPr/>
        <p:nvPr/>
      </p:nvGrpSpPr>
      <p:grpSpPr>
        <a:xfrm>
          <a:off x="0" y="0"/>
          <a:ext cx="0" cy="0"/>
          <a:chOff x="0" y="0"/>
          <a:chExt cx="0" cy="0"/>
        </a:xfrm>
      </p:grpSpPr>
      <p:sp>
        <p:nvSpPr>
          <p:cNvPr id="12" name="Titel 5"/>
          <p:cNvSpPr>
            <a:spLocks noGrp="1"/>
          </p:cNvSpPr>
          <p:nvPr>
            <p:ph type="title"/>
          </p:nvPr>
        </p:nvSpPr>
        <p:spPr>
          <a:xfrm>
            <a:off x="543366" y="447535"/>
            <a:ext cx="10793494" cy="359957"/>
          </a:xfrm>
          <a:prstGeom prst="rect">
            <a:avLst/>
          </a:prstGeom>
        </p:spPr>
        <p:txBody>
          <a:bodyPr/>
          <a:lstStyle>
            <a:lvl1pPr>
              <a:lnSpc>
                <a:spcPct val="100000"/>
              </a:lnSpc>
              <a:spcAft>
                <a:spcPts val="0"/>
              </a:spcAft>
              <a:defRPr lang="en-US" sz="2398" b="1" kern="1200" baseline="0" dirty="0">
                <a:solidFill>
                  <a:srgbClr val="004355"/>
                </a:solidFill>
                <a:latin typeface="+mj-lt"/>
                <a:ea typeface="+mn-ea"/>
                <a:cs typeface="Daimler CS"/>
              </a:defRPr>
            </a:lvl1pPr>
          </a:lstStyle>
          <a:p>
            <a:r>
              <a:rPr lang="de-DE" dirty="0" smtClean="0"/>
              <a:t>Titelmasterformat durch Klicken bearbeiten</a:t>
            </a:r>
            <a:endParaRPr lang="en-US" dirty="0"/>
          </a:p>
        </p:txBody>
      </p:sp>
      <p:graphicFrame>
        <p:nvGraphicFramePr>
          <p:cNvPr id="8" name="Objekt 7" hidden="1"/>
          <p:cNvGraphicFramePr>
            <a:graphicFrameLocks noChangeAspect="1"/>
          </p:cNvGraphicFramePr>
          <p:nvPr userDrawn="1">
            <p:custDataLst>
              <p:tags r:id="rId2"/>
            </p:custDataLst>
            <p:extLst/>
          </p:nvPr>
        </p:nvGraphicFramePr>
        <p:xfrm>
          <a:off x="1587" y="1587"/>
          <a:ext cx="1587" cy="1588"/>
        </p:xfrm>
        <a:graphic>
          <a:graphicData uri="http://schemas.openxmlformats.org/presentationml/2006/ole">
            <mc:AlternateContent xmlns:mc="http://schemas.openxmlformats.org/markup-compatibility/2006">
              <mc:Choice xmlns:v="urn:schemas-microsoft-com:vml" Requires="v">
                <p:oleObj spid="_x0000_s242757"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7" y="1587"/>
                        <a:ext cx="1587"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1879">
              <a:spcBef>
                <a:spcPct val="0"/>
              </a:spcBef>
              <a:spcAft>
                <a:spcPct val="0"/>
              </a:spcAft>
            </a:pPr>
            <a:endParaRPr lang="de-DE" sz="2398" dirty="0">
              <a:solidFill>
                <a:prstClr val="white"/>
              </a:solidFill>
              <a:ea typeface="Segoe UI" panose="020B0502040204020203" pitchFamily="34" charset="0"/>
              <a:cs typeface="Segoe UI" panose="020B0502040204020203" pitchFamily="34" charset="0"/>
              <a:sym typeface="CorpoS" pitchFamily="2" charset="0"/>
            </a:endParaRPr>
          </a:p>
        </p:txBody>
      </p:sp>
      <p:sp>
        <p:nvSpPr>
          <p:cNvPr id="4" name="Foliennummernplatzhalter 3"/>
          <p:cNvSpPr>
            <a:spLocks noGrp="1"/>
          </p:cNvSpPr>
          <p:nvPr>
            <p:ph type="sldNum" sz="quarter" idx="11"/>
          </p:nvPr>
        </p:nvSpPr>
        <p:spPr>
          <a:xfrm>
            <a:off x="10989995" y="6524629"/>
            <a:ext cx="503794" cy="196879"/>
          </a:xfrm>
          <a:prstGeom prst="rect">
            <a:avLst/>
          </a:prstGeom>
        </p:spPr>
        <p:txBody>
          <a:bodyPr/>
          <a:lstStyle/>
          <a:p>
            <a:pPr defTabSz="1087273"/>
            <a:r>
              <a:rPr lang="en-GB" smtClean="0">
                <a:solidFill>
                  <a:prstClr val="black"/>
                </a:solidFill>
              </a:rPr>
              <a:t>Page </a:t>
            </a:r>
            <a:fld id="{52531704-8F80-415D-BD2B-6B9991AE822F}" type="slidenum">
              <a:rPr lang="en-GB" smtClean="0">
                <a:solidFill>
                  <a:prstClr val="black"/>
                </a:solidFill>
              </a:rPr>
              <a:pPr defTabSz="1087273"/>
              <a:t>‹#›</a:t>
            </a:fld>
            <a:endParaRPr lang="en-GB" dirty="0">
              <a:solidFill>
                <a:prstClr val="black"/>
              </a:solidFill>
            </a:endParaRPr>
          </a:p>
        </p:txBody>
      </p:sp>
    </p:spTree>
    <p:extLst>
      <p:ext uri="{BB962C8B-B14F-4D97-AF65-F5344CB8AC3E}">
        <p14:creationId xmlns:p14="http://schemas.microsoft.com/office/powerpoint/2010/main" val="2466290619"/>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3/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en-GB" dirty="0"/>
              <a:t>Referent’s name: </a:t>
            </a:r>
            <a:r>
              <a:rPr lang="en-GB" noProof="0" dirty="0" err="1"/>
              <a:t>CorpoS</a:t>
            </a:r>
            <a:r>
              <a:rPr lang="en-GB" noProof="0" dirty="0"/>
              <a:t> </a:t>
            </a:r>
            <a:r>
              <a:rPr lang="en-GB" dirty="0"/>
              <a:t>(Body) 35 pt. Presentation title</a:t>
            </a:r>
            <a:br>
              <a:rPr lang="en-GB" dirty="0"/>
            </a:br>
            <a:r>
              <a:rPr lang="en-GB" dirty="0"/>
              <a:t>in two lines of text, dd. </a:t>
            </a:r>
            <a:r>
              <a:rPr lang="en-GB" dirty="0" err="1"/>
              <a:t>mmmm</a:t>
            </a:r>
            <a:r>
              <a:rPr lang="en-GB" dirty="0"/>
              <a:t> </a:t>
            </a:r>
            <a:r>
              <a:rPr lang="en-GB" dirty="0" err="1"/>
              <a:t>yyyy</a:t>
            </a:r>
            <a:endParaRPr lang="en-GB"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31798698"/>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1090.xml><?xml version="1.0" encoding="utf-8"?>
<p:sldLayout xmlns:a="http://schemas.openxmlformats.org/drawingml/2006/main" xmlns:r="http://schemas.openxmlformats.org/officeDocument/2006/relationships" xmlns:p="http://schemas.openxmlformats.org/presentationml/2006/main" matchingName="1linepage">
  <p:cSld name="1linepage">
    <p:spTree>
      <p:nvGrpSpPr>
        <p:cNvPr id="1" name="Shape 94"/>
        <p:cNvGrpSpPr/>
        <p:nvPr/>
      </p:nvGrpSpPr>
      <p:grpSpPr>
        <a:xfrm>
          <a:off x="0" y="0"/>
          <a:ext cx="0" cy="0"/>
          <a:chOff x="0" y="0"/>
          <a:chExt cx="0" cy="0"/>
        </a:xfrm>
      </p:grpSpPr>
      <p:sp>
        <p:nvSpPr>
          <p:cNvPr id="97" name="Google Shape;97;p20"/>
          <p:cNvSpPr txBox="1">
            <a:spLocks noGrp="1"/>
          </p:cNvSpPr>
          <p:nvPr>
            <p:ph type="title"/>
          </p:nvPr>
        </p:nvSpPr>
        <p:spPr>
          <a:xfrm>
            <a:off x="166267" y="-67"/>
            <a:ext cx="11876400" cy="1105200"/>
          </a:xfrm>
          <a:prstGeom prst="rect">
            <a:avLst/>
          </a:prstGeom>
          <a:noFill/>
          <a:ln>
            <a:noFill/>
          </a:ln>
        </p:spPr>
        <p:txBody>
          <a:bodyPr spcFirstLastPara="1" wrap="square" lIns="91425" tIns="91425" rIns="91425" bIns="91425" anchor="ctr" anchorCtr="0"/>
          <a:lstStyle>
            <a:lvl1pPr marL="0" marR="0" lvl="0" indent="0" algn="ctr" rtl="0">
              <a:lnSpc>
                <a:spcPct val="85000"/>
              </a:lnSpc>
              <a:spcBef>
                <a:spcPts val="0"/>
              </a:spcBef>
              <a:spcAft>
                <a:spcPts val="0"/>
              </a:spcAft>
              <a:buClr>
                <a:srgbClr val="2C3C41"/>
              </a:buClr>
              <a:buSzPts val="1400"/>
              <a:buFont typeface="Helvetica Neue"/>
              <a:buNone/>
              <a:defRPr sz="1865" i="0" u="none" strike="noStrike" cap="none">
                <a:solidFill>
                  <a:srgbClr val="2C3C41"/>
                </a:solidFill>
                <a:latin typeface="Helvetica Neue"/>
                <a:ea typeface="Helvetica Neue"/>
                <a:cs typeface="Helvetica Neue"/>
                <a:sym typeface="Helvetica Neue"/>
              </a:defRPr>
            </a:lvl1pPr>
            <a:lvl2pPr marL="0" marR="0" lvl="1" indent="0" algn="ctr" rtl="0">
              <a:lnSpc>
                <a:spcPct val="100000"/>
              </a:lnSpc>
              <a:spcBef>
                <a:spcPts val="0"/>
              </a:spcBef>
              <a:spcAft>
                <a:spcPts val="0"/>
              </a:spcAft>
              <a:buClr>
                <a:srgbClr val="666666"/>
              </a:buClr>
              <a:buSzPts val="1400"/>
              <a:buNone/>
              <a:defRPr sz="1865" b="1" i="0" u="none" strike="noStrike" cap="none">
                <a:solidFill>
                  <a:srgbClr val="666666"/>
                </a:solidFill>
              </a:defRPr>
            </a:lvl2pPr>
            <a:lvl3pPr lvl="2" indent="0" algn="ctr" rtl="0">
              <a:spcBef>
                <a:spcPts val="0"/>
              </a:spcBef>
              <a:spcAft>
                <a:spcPts val="0"/>
              </a:spcAft>
              <a:buClr>
                <a:srgbClr val="666666"/>
              </a:buClr>
              <a:buSzPts val="1800"/>
              <a:buNone/>
              <a:defRPr sz="2398" b="1">
                <a:solidFill>
                  <a:srgbClr val="666666"/>
                </a:solidFill>
              </a:defRPr>
            </a:lvl3pPr>
            <a:lvl4pPr lvl="3" indent="0" algn="ctr" rtl="0">
              <a:spcBef>
                <a:spcPts val="0"/>
              </a:spcBef>
              <a:spcAft>
                <a:spcPts val="0"/>
              </a:spcAft>
              <a:buClr>
                <a:srgbClr val="666666"/>
              </a:buClr>
              <a:buSzPts val="1800"/>
              <a:buNone/>
              <a:defRPr sz="2398" b="1">
                <a:solidFill>
                  <a:srgbClr val="666666"/>
                </a:solidFill>
              </a:defRPr>
            </a:lvl4pPr>
            <a:lvl5pPr lvl="4" indent="0" algn="ctr" rtl="0">
              <a:spcBef>
                <a:spcPts val="0"/>
              </a:spcBef>
              <a:spcAft>
                <a:spcPts val="0"/>
              </a:spcAft>
              <a:buClr>
                <a:srgbClr val="666666"/>
              </a:buClr>
              <a:buSzPts val="1800"/>
              <a:buNone/>
              <a:defRPr sz="2398" b="1">
                <a:solidFill>
                  <a:srgbClr val="666666"/>
                </a:solidFill>
              </a:defRPr>
            </a:lvl5pPr>
            <a:lvl6pPr lvl="5" indent="0" algn="ctr" rtl="0">
              <a:spcBef>
                <a:spcPts val="0"/>
              </a:spcBef>
              <a:spcAft>
                <a:spcPts val="0"/>
              </a:spcAft>
              <a:buClr>
                <a:srgbClr val="666666"/>
              </a:buClr>
              <a:buSzPts val="1800"/>
              <a:buNone/>
              <a:defRPr sz="2398" b="1">
                <a:solidFill>
                  <a:srgbClr val="666666"/>
                </a:solidFill>
              </a:defRPr>
            </a:lvl6pPr>
            <a:lvl7pPr lvl="6" indent="0" algn="ctr" rtl="0">
              <a:spcBef>
                <a:spcPts val="0"/>
              </a:spcBef>
              <a:spcAft>
                <a:spcPts val="0"/>
              </a:spcAft>
              <a:buClr>
                <a:srgbClr val="666666"/>
              </a:buClr>
              <a:buSzPts val="1800"/>
              <a:buNone/>
              <a:defRPr sz="2398" b="1">
                <a:solidFill>
                  <a:srgbClr val="666666"/>
                </a:solidFill>
              </a:defRPr>
            </a:lvl7pPr>
            <a:lvl8pPr lvl="7" indent="0" algn="ctr" rtl="0">
              <a:spcBef>
                <a:spcPts val="0"/>
              </a:spcBef>
              <a:spcAft>
                <a:spcPts val="0"/>
              </a:spcAft>
              <a:buClr>
                <a:srgbClr val="666666"/>
              </a:buClr>
              <a:buSzPts val="1800"/>
              <a:buNone/>
              <a:defRPr sz="2398" b="1">
                <a:solidFill>
                  <a:srgbClr val="666666"/>
                </a:solidFill>
              </a:defRPr>
            </a:lvl8pPr>
            <a:lvl9pPr lvl="8" indent="0" algn="ctr" rtl="0">
              <a:spcBef>
                <a:spcPts val="0"/>
              </a:spcBef>
              <a:spcAft>
                <a:spcPts val="0"/>
              </a:spcAft>
              <a:buClr>
                <a:srgbClr val="666666"/>
              </a:buClr>
              <a:buSzPts val="1800"/>
              <a:buNone/>
              <a:defRPr sz="2398" b="1">
                <a:solidFill>
                  <a:srgbClr val="666666"/>
                </a:solidFill>
              </a:defRPr>
            </a:lvl9pPr>
          </a:lstStyle>
          <a:p>
            <a:endParaRPr/>
          </a:p>
        </p:txBody>
      </p:sp>
      <p:sp>
        <p:nvSpPr>
          <p:cNvPr id="8" name="Slide Number Placeholder 11"/>
          <p:cNvSpPr>
            <a:spLocks noGrp="1"/>
          </p:cNvSpPr>
          <p:nvPr>
            <p:ph type="sldNum" sz="quarter" idx="13"/>
          </p:nvPr>
        </p:nvSpPr>
        <p:spPr>
          <a:xfrm>
            <a:off x="11036804" y="6564880"/>
            <a:ext cx="1155196" cy="215950"/>
          </a:xfrm>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2439521490"/>
      </p:ext>
    </p:extLst>
  </p:cSld>
  <p:clrMapOvr>
    <a:masterClrMapping/>
  </p:clrMapOvr>
  <p:extLst mod="1">
    <p:ext uri="{DCECCB84-F9BA-43D5-87BE-67443E8EF086}">
      <p15:sldGuideLst xmlns:p15="http://schemas.microsoft.com/office/powerpoint/2012/main">
        <p15:guide id="1" orient="horz" pos="585">
          <p15:clr>
            <a:srgbClr val="F9AD4C"/>
          </p15:clr>
        </p15:guide>
        <p15:guide id="2" pos="135">
          <p15:clr>
            <a:srgbClr val="F9AD4C"/>
          </p15:clr>
        </p15:guide>
        <p15:guide id="3" pos="5625">
          <p15:clr>
            <a:srgbClr val="F9AD4C"/>
          </p15:clr>
        </p15:guide>
      </p15:sldGuideLst>
    </p:ext>
  </p:extLst>
</p:sldLayout>
</file>

<file path=ppt/slideLayouts/slideLayout1091.xml><?xml version="1.0" encoding="utf-8"?>
<p:sldLayout xmlns:a="http://schemas.openxmlformats.org/drawingml/2006/main" xmlns:r="http://schemas.openxmlformats.org/officeDocument/2006/relationships" xmlns:p="http://schemas.openxmlformats.org/presentationml/2006/main" userDrawn="1">
  <p:cSld name="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30802" y="432002"/>
            <a:ext cx="10730400" cy="307777"/>
          </a:xfrm>
        </p:spPr>
        <p:txBody>
          <a:bodyPr/>
          <a:lstStyle>
            <a:lvl1pPr>
              <a:defRPr sz="1998"/>
            </a:lvl1pPr>
          </a:lstStyle>
          <a:p>
            <a:r>
              <a:rPr lang="en-US" noProof="0" dirty="0" smtClean="0"/>
              <a:t>Headline</a:t>
            </a:r>
            <a:endParaRPr lang="en-US" noProof="0" dirty="0"/>
          </a:p>
        </p:txBody>
      </p:sp>
      <p:sp>
        <p:nvSpPr>
          <p:cNvPr id="3" name="Inhaltsplatzhalter 2"/>
          <p:cNvSpPr>
            <a:spLocks noGrp="1"/>
          </p:cNvSpPr>
          <p:nvPr>
            <p:ph idx="1" hasCustomPrompt="1"/>
          </p:nvPr>
        </p:nvSpPr>
        <p:spPr>
          <a:xfrm>
            <a:off x="730802" y="1584000"/>
            <a:ext cx="10730400" cy="1709314"/>
          </a:xfrm>
        </p:spPr>
        <p:txBody>
          <a:bodyPr numCol="1" spcCol="360000"/>
          <a:lstStyle>
            <a:lvl1pPr>
              <a:defRPr/>
            </a:lvl1pPr>
            <a:lvl2pPr>
              <a:defRPr/>
            </a:lvl2pPr>
            <a:lvl3pPr>
              <a:defRPr/>
            </a:lvl3pPr>
            <a:lvl4pPr>
              <a:defRPr/>
            </a:lvl4pPr>
            <a:lvl5pPr>
              <a:defRPr/>
            </a:lvl5pPr>
          </a:lstStyle>
          <a:p>
            <a:pPr lvl="0"/>
            <a:r>
              <a:rPr lang="en-US" noProof="0" dirty="0" smtClean="0"/>
              <a:t>Headline Copy</a:t>
            </a:r>
          </a:p>
          <a:p>
            <a:pPr lvl="1"/>
            <a:r>
              <a:rPr lang="en-US" noProof="0" dirty="0" smtClean="0"/>
              <a:t>Copy</a:t>
            </a:r>
          </a:p>
          <a:p>
            <a:pPr lvl="2"/>
            <a:r>
              <a:rPr lang="en-US" noProof="0" dirty="0" smtClean="0"/>
              <a:t>First Bullet</a:t>
            </a:r>
          </a:p>
          <a:p>
            <a:pPr lvl="3"/>
            <a:r>
              <a:rPr lang="en-US" noProof="0" dirty="0" smtClean="0"/>
              <a:t>Second Bullet</a:t>
            </a:r>
          </a:p>
          <a:p>
            <a:pPr lvl="4"/>
            <a:r>
              <a:rPr lang="en-US" noProof="0" dirty="0" smtClean="0"/>
              <a:t>Third Bullet</a:t>
            </a:r>
            <a:endParaRPr lang="en-US" noProof="0" dirty="0"/>
          </a:p>
        </p:txBody>
      </p:sp>
      <p:sp>
        <p:nvSpPr>
          <p:cNvPr id="17" name="Foliennummernplatzhalter 16"/>
          <p:cNvSpPr>
            <a:spLocks noGrp="1"/>
          </p:cNvSpPr>
          <p:nvPr>
            <p:ph type="sldNum" sz="quarter" idx="11"/>
          </p:nvPr>
        </p:nvSpPr>
        <p:spPr/>
        <p:txBody>
          <a:bodyPr/>
          <a:lstStyle>
            <a:lvl1pPr>
              <a:defRPr>
                <a:solidFill>
                  <a:schemeClr val="bg1"/>
                </a:solidFill>
              </a:defRPr>
            </a:lvl1pPr>
          </a:lstStyle>
          <a:p>
            <a:r>
              <a:rPr lang="en-US" dirty="0" smtClean="0">
                <a:solidFill>
                  <a:prstClr val="white"/>
                </a:solidFill>
              </a:rPr>
              <a:t>Page </a:t>
            </a:r>
            <a:fld id="{E12A6A0E-A234-428A-AE51-30303345D38B}" type="slidenum">
              <a:rPr lang="en-US" smtClean="0">
                <a:solidFill>
                  <a:prstClr val="white"/>
                </a:solidFill>
              </a:rPr>
              <a:pPr/>
              <a:t>‹#›</a:t>
            </a:fld>
            <a:endParaRPr lang="en-US" dirty="0">
              <a:solidFill>
                <a:prstClr val="white"/>
              </a:solidFill>
            </a:endParaRPr>
          </a:p>
        </p:txBody>
      </p:sp>
      <p:sp>
        <p:nvSpPr>
          <p:cNvPr id="18" name="Fußzeilenplatzhalter 17"/>
          <p:cNvSpPr>
            <a:spLocks noGrp="1"/>
          </p:cNvSpPr>
          <p:nvPr>
            <p:ph type="ftr" sz="quarter" idx="12"/>
          </p:nvPr>
        </p:nvSpPr>
        <p:spPr/>
        <p:txBody>
          <a:bodyPr/>
          <a:lstStyle>
            <a:lvl1pPr>
              <a:defRPr>
                <a:solidFill>
                  <a:schemeClr val="bg1"/>
                </a:solidFill>
              </a:defRPr>
            </a:lvl1pPr>
          </a:lstStyle>
          <a:p>
            <a:r>
              <a:rPr lang="en-US" smtClean="0">
                <a:solidFill>
                  <a:prstClr val="white"/>
                </a:solidFill>
              </a:rPr>
              <a:t>DFS Deep Dive - </a:t>
            </a:r>
            <a:endParaRPr lang="en-US" dirty="0">
              <a:solidFill>
                <a:prstClr val="white"/>
              </a:solidFill>
            </a:endParaRPr>
          </a:p>
        </p:txBody>
      </p:sp>
      <p:cxnSp>
        <p:nvCxnSpPr>
          <p:cNvPr id="20" name="Gerader Verbinder 19"/>
          <p:cNvCxnSpPr/>
          <p:nvPr userDrawn="1"/>
        </p:nvCxnSpPr>
        <p:spPr>
          <a:xfrm flipV="1">
            <a:off x="1273640" y="6609602"/>
            <a:ext cx="0" cy="1384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Grafik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6605" y="6442857"/>
            <a:ext cx="488397" cy="326291"/>
          </a:xfrm>
          <a:prstGeom prst="rect">
            <a:avLst/>
          </a:prstGeom>
        </p:spPr>
      </p:pic>
      <p:sp>
        <p:nvSpPr>
          <p:cNvPr id="25" name="Textplatzhalter 24"/>
          <p:cNvSpPr>
            <a:spLocks noGrp="1"/>
          </p:cNvSpPr>
          <p:nvPr>
            <p:ph type="body" sz="quarter" idx="13" hasCustomPrompt="1"/>
          </p:nvPr>
        </p:nvSpPr>
        <p:spPr>
          <a:xfrm>
            <a:off x="730250" y="756002"/>
            <a:ext cx="10725150" cy="307777"/>
          </a:xfrm>
        </p:spPr>
        <p:txBody>
          <a:bodyPr/>
          <a:lstStyle>
            <a:lvl1pPr>
              <a:spcAft>
                <a:spcPts val="0"/>
              </a:spcAft>
              <a:defRPr sz="1998" b="0" cap="all" baseline="0"/>
            </a:lvl1pPr>
          </a:lstStyle>
          <a:p>
            <a:pPr lvl="0"/>
            <a:r>
              <a:rPr lang="de-DE" dirty="0" smtClean="0"/>
              <a:t>Subheadline</a:t>
            </a:r>
          </a:p>
        </p:txBody>
      </p:sp>
    </p:spTree>
    <p:extLst>
      <p:ext uri="{BB962C8B-B14F-4D97-AF65-F5344CB8AC3E}">
        <p14:creationId xmlns:p14="http://schemas.microsoft.com/office/powerpoint/2010/main" val="4166820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92.xml><?xml version="1.0" encoding="utf-8"?>
<p:sldLayout xmlns:a="http://schemas.openxmlformats.org/drawingml/2006/main" xmlns:r="http://schemas.openxmlformats.org/officeDocument/2006/relationships" xmlns:p="http://schemas.openxmlformats.org/presentationml/2006/main" showMasterSp="0" userDrawn="1">
  <p:cSld name="55_Text/ image/ Headline 1 line">
    <p:bg>
      <p:bgPr>
        <a:blipFill dpi="0" rotWithShape="1">
          <a:blip r:embed="rId4"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243781"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9"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88" y="285982"/>
            <a:ext cx="10931106" cy="683842"/>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DFS Deep Dive - </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7" name="Daimler AG (Wortmarke)"/>
          <p:cNvSpPr>
            <a:spLocks noChangeArrowheads="1"/>
          </p:cNvSpPr>
          <p:nvPr userDrawn="1"/>
        </p:nvSpPr>
        <p:spPr bwMode="auto">
          <a:xfrm>
            <a:off x="629674" y="6564881"/>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089">
              <a:defRPr/>
            </a:pPr>
            <a:r>
              <a:rPr lang="de-DE" sz="1198" dirty="0" smtClean="0">
                <a:solidFill>
                  <a:prstClr val="black"/>
                </a:solidFill>
                <a:cs typeface="Daimler CS"/>
              </a:rPr>
              <a:t>Daimler Mobility Services GmbH</a:t>
            </a:r>
            <a:endParaRPr lang="de-DE" sz="1198" dirty="0">
              <a:solidFill>
                <a:prstClr val="black"/>
              </a:solidFill>
              <a:cs typeface="Daimler CS"/>
            </a:endParaRPr>
          </a:p>
        </p:txBody>
      </p:sp>
      <p:cxnSp>
        <p:nvCxnSpPr>
          <p:cNvPr id="16" name="Footerline"/>
          <p:cNvCxnSpPr/>
          <p:nvPr userDrawn="1"/>
        </p:nvCxnSpPr>
        <p:spPr bwMode="auto">
          <a:xfrm>
            <a:off x="629672"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9" name="Rechteck 8"/>
          <p:cNvSpPr/>
          <p:nvPr userDrawn="1"/>
        </p:nvSpPr>
        <p:spPr>
          <a:xfrm>
            <a:off x="623979" y="1053286"/>
            <a:ext cx="5040198" cy="1547642"/>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089"/>
            <a:endParaRPr lang="en-US" sz="800" dirty="0">
              <a:solidFill>
                <a:prstClr val="black"/>
              </a:solidFill>
            </a:endParaRPr>
          </a:p>
        </p:txBody>
      </p:sp>
      <p:sp>
        <p:nvSpPr>
          <p:cNvPr id="10" name="Rechteck 9"/>
          <p:cNvSpPr/>
          <p:nvPr userDrawn="1"/>
        </p:nvSpPr>
        <p:spPr>
          <a:xfrm>
            <a:off x="623979" y="2924012"/>
            <a:ext cx="5040974" cy="1547642"/>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089"/>
            <a:endParaRPr lang="en-US" sz="800" dirty="0">
              <a:solidFill>
                <a:prstClr val="black"/>
              </a:solidFill>
            </a:endParaRPr>
          </a:p>
        </p:txBody>
      </p:sp>
      <p:sp>
        <p:nvSpPr>
          <p:cNvPr id="11" name="Rechteck 10"/>
          <p:cNvSpPr/>
          <p:nvPr userDrawn="1"/>
        </p:nvSpPr>
        <p:spPr>
          <a:xfrm>
            <a:off x="5757597" y="2932699"/>
            <a:ext cx="3180743" cy="1544382"/>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089"/>
            <a:endParaRPr lang="en-US" sz="800" dirty="0">
              <a:solidFill>
                <a:prstClr val="black"/>
              </a:solidFill>
            </a:endParaRPr>
          </a:p>
        </p:txBody>
      </p:sp>
      <p:sp>
        <p:nvSpPr>
          <p:cNvPr id="12" name="Rechteck 11"/>
          <p:cNvSpPr/>
          <p:nvPr userDrawn="1"/>
        </p:nvSpPr>
        <p:spPr>
          <a:xfrm>
            <a:off x="623979" y="4756581"/>
            <a:ext cx="5040974" cy="1547642"/>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089"/>
            <a:endParaRPr lang="en-US" sz="800" dirty="0">
              <a:solidFill>
                <a:prstClr val="black"/>
              </a:solidFill>
            </a:endParaRPr>
          </a:p>
        </p:txBody>
      </p:sp>
      <p:sp>
        <p:nvSpPr>
          <p:cNvPr id="13" name="Rechteck 12"/>
          <p:cNvSpPr/>
          <p:nvPr userDrawn="1"/>
        </p:nvSpPr>
        <p:spPr>
          <a:xfrm>
            <a:off x="5755189" y="4745785"/>
            <a:ext cx="3180743" cy="1558440"/>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089"/>
            <a:endParaRPr lang="en-US" sz="800" dirty="0">
              <a:solidFill>
                <a:prstClr val="black"/>
              </a:solidFill>
            </a:endParaRPr>
          </a:p>
        </p:txBody>
      </p:sp>
      <p:sp>
        <p:nvSpPr>
          <p:cNvPr id="14" name="Rechteck 13"/>
          <p:cNvSpPr/>
          <p:nvPr userDrawn="1"/>
        </p:nvSpPr>
        <p:spPr>
          <a:xfrm>
            <a:off x="5759627" y="1053286"/>
            <a:ext cx="3179693" cy="1545532"/>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089"/>
            <a:endParaRPr lang="en-US" sz="800" dirty="0">
              <a:solidFill>
                <a:prstClr val="black"/>
              </a:solidFill>
            </a:endParaRPr>
          </a:p>
        </p:txBody>
      </p:sp>
      <p:sp>
        <p:nvSpPr>
          <p:cNvPr id="15" name="Rechteck 14"/>
          <p:cNvSpPr/>
          <p:nvPr userDrawn="1"/>
        </p:nvSpPr>
        <p:spPr>
          <a:xfrm>
            <a:off x="9011141" y="1053286"/>
            <a:ext cx="2589451" cy="5250938"/>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1088089">
              <a:lnSpc>
                <a:spcPts val="1898"/>
              </a:lnSpc>
            </a:pPr>
            <a:endParaRPr lang="en-US" sz="1398" dirty="0">
              <a:solidFill>
                <a:prstClr val="black"/>
              </a:solidFill>
            </a:endParaRPr>
          </a:p>
        </p:txBody>
      </p:sp>
      <p:cxnSp>
        <p:nvCxnSpPr>
          <p:cNvPr id="18" name="Gerader Verbinder 17"/>
          <p:cNvCxnSpPr/>
          <p:nvPr userDrawn="1"/>
        </p:nvCxnSpPr>
        <p:spPr bwMode="auto">
          <a:xfrm>
            <a:off x="3173" y="760145"/>
            <a:ext cx="11490615" cy="3651"/>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cxnSp>
        <p:nvCxnSpPr>
          <p:cNvPr id="19" name="Gerader Verbinder 18"/>
          <p:cNvCxnSpPr/>
          <p:nvPr userDrawn="1"/>
        </p:nvCxnSpPr>
        <p:spPr bwMode="auto">
          <a:xfrm flipH="1" flipV="1">
            <a:off x="11614405" y="45409"/>
            <a:ext cx="40165" cy="476463"/>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50800" dist="38100" dir="2700000" algn="tl" rotWithShape="0">
              <a:prstClr val="black">
                <a:alpha val="40000"/>
              </a:prstClr>
            </a:outerShdw>
          </a:effectLst>
          <a:extLst/>
        </p:spPr>
      </p:cxnSp>
      <p:cxnSp>
        <p:nvCxnSpPr>
          <p:cNvPr id="20" name="Gerader Verbinder 19"/>
          <p:cNvCxnSpPr/>
          <p:nvPr userDrawn="1"/>
        </p:nvCxnSpPr>
        <p:spPr bwMode="auto">
          <a:xfrm flipV="1">
            <a:off x="11654568" y="125987"/>
            <a:ext cx="61924" cy="395883"/>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cxnSp>
        <p:nvCxnSpPr>
          <p:cNvPr id="21" name="Gerader Verbinder 20"/>
          <p:cNvCxnSpPr/>
          <p:nvPr userDrawn="1"/>
        </p:nvCxnSpPr>
        <p:spPr bwMode="auto">
          <a:xfrm>
            <a:off x="11716493" y="125986"/>
            <a:ext cx="25153" cy="166277"/>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cxnSp>
        <p:nvCxnSpPr>
          <p:cNvPr id="22" name="Gerader Verbinder 21"/>
          <p:cNvCxnSpPr/>
          <p:nvPr userDrawn="1"/>
        </p:nvCxnSpPr>
        <p:spPr bwMode="auto">
          <a:xfrm flipV="1">
            <a:off x="11517563" y="45408"/>
            <a:ext cx="96843" cy="822788"/>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cxnSp>
        <p:nvCxnSpPr>
          <p:cNvPr id="23" name="Gerader Verbinder 22"/>
          <p:cNvCxnSpPr/>
          <p:nvPr userDrawn="1"/>
        </p:nvCxnSpPr>
        <p:spPr bwMode="auto">
          <a:xfrm>
            <a:off x="11741645" y="292263"/>
            <a:ext cx="443638" cy="0"/>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cxnSp>
        <p:nvCxnSpPr>
          <p:cNvPr id="24" name="Gerader Verbinder 23"/>
          <p:cNvCxnSpPr/>
          <p:nvPr userDrawn="1"/>
        </p:nvCxnSpPr>
        <p:spPr bwMode="auto">
          <a:xfrm>
            <a:off x="11489333" y="754068"/>
            <a:ext cx="28230" cy="114002"/>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sp>
        <p:nvSpPr>
          <p:cNvPr id="27" name="Bildplatzhalter 26"/>
          <p:cNvSpPr>
            <a:spLocks noGrp="1"/>
          </p:cNvSpPr>
          <p:nvPr>
            <p:ph type="pic" sz="quarter" idx="12"/>
          </p:nvPr>
        </p:nvSpPr>
        <p:spPr>
          <a:xfrm>
            <a:off x="10954071" y="178540"/>
            <a:ext cx="539719" cy="539875"/>
          </a:xfrm>
          <a:prstGeom prst="roundRect">
            <a:avLst/>
          </a:prstGeom>
          <a:solidFill>
            <a:schemeClr val="accent4"/>
          </a:solidFill>
        </p:spPr>
        <p:txBody>
          <a:bodyPr/>
          <a:lstStyle>
            <a:lvl1pPr marL="0" indent="0">
              <a:buNone/>
              <a:defRPr/>
            </a:lvl1pPr>
          </a:lstStyle>
          <a:p>
            <a:endParaRPr lang="en-US" dirty="0"/>
          </a:p>
        </p:txBody>
      </p:sp>
    </p:spTree>
    <p:extLst>
      <p:ext uri="{BB962C8B-B14F-4D97-AF65-F5344CB8AC3E}">
        <p14:creationId xmlns:p14="http://schemas.microsoft.com/office/powerpoint/2010/main" val="342314115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1093.xml><?xml version="1.0" encoding="utf-8"?>
<p:sldLayout xmlns:a="http://schemas.openxmlformats.org/drawingml/2006/main" xmlns:r="http://schemas.openxmlformats.org/officeDocument/2006/relationships" xmlns:p="http://schemas.openxmlformats.org/presentationml/2006/main" showMasterSp="0" userDrawn="1">
  <p:cSld name="56_Text/ image/ Headline 1 line">
    <p:bg>
      <p:bgPr>
        <a:blipFill dpi="0" rotWithShape="1">
          <a:blip r:embed="rId4"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244805"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9"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88" y="285982"/>
            <a:ext cx="10931106" cy="683842"/>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DFS Deep Dive - </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7" name="Daimler AG (Wortmarke)"/>
          <p:cNvSpPr>
            <a:spLocks noChangeArrowheads="1"/>
          </p:cNvSpPr>
          <p:nvPr userDrawn="1"/>
        </p:nvSpPr>
        <p:spPr bwMode="auto">
          <a:xfrm>
            <a:off x="629674" y="6564881"/>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089">
              <a:defRPr/>
            </a:pPr>
            <a:r>
              <a:rPr lang="de-DE" sz="1198" dirty="0" smtClean="0">
                <a:solidFill>
                  <a:prstClr val="black"/>
                </a:solidFill>
                <a:cs typeface="Daimler CS"/>
              </a:rPr>
              <a:t>Daimler Mobility Services GmbH</a:t>
            </a:r>
            <a:endParaRPr lang="de-DE" sz="1198" dirty="0">
              <a:solidFill>
                <a:prstClr val="black"/>
              </a:solidFill>
              <a:cs typeface="Daimler CS"/>
            </a:endParaRPr>
          </a:p>
        </p:txBody>
      </p:sp>
      <p:cxnSp>
        <p:nvCxnSpPr>
          <p:cNvPr id="16" name="Footerline"/>
          <p:cNvCxnSpPr/>
          <p:nvPr userDrawn="1"/>
        </p:nvCxnSpPr>
        <p:spPr bwMode="auto">
          <a:xfrm>
            <a:off x="629672"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9" name="Rechteck 8"/>
          <p:cNvSpPr/>
          <p:nvPr userDrawn="1"/>
        </p:nvSpPr>
        <p:spPr>
          <a:xfrm>
            <a:off x="623979" y="985724"/>
            <a:ext cx="5040198" cy="1547642"/>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089"/>
            <a:endParaRPr lang="en-US" sz="800" dirty="0">
              <a:solidFill>
                <a:prstClr val="black"/>
              </a:solidFill>
            </a:endParaRPr>
          </a:p>
        </p:txBody>
      </p:sp>
      <p:sp>
        <p:nvSpPr>
          <p:cNvPr id="10" name="Rechteck 9"/>
          <p:cNvSpPr/>
          <p:nvPr userDrawn="1"/>
        </p:nvSpPr>
        <p:spPr>
          <a:xfrm>
            <a:off x="623979" y="2856449"/>
            <a:ext cx="5040974" cy="1547642"/>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089"/>
            <a:endParaRPr lang="en-US" sz="800" dirty="0">
              <a:solidFill>
                <a:prstClr val="black"/>
              </a:solidFill>
            </a:endParaRPr>
          </a:p>
        </p:txBody>
      </p:sp>
      <p:sp>
        <p:nvSpPr>
          <p:cNvPr id="11" name="Rechteck 10"/>
          <p:cNvSpPr/>
          <p:nvPr userDrawn="1"/>
        </p:nvSpPr>
        <p:spPr>
          <a:xfrm>
            <a:off x="5757597" y="2865137"/>
            <a:ext cx="3180743" cy="1544382"/>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089"/>
            <a:endParaRPr lang="en-US" sz="800" dirty="0">
              <a:solidFill>
                <a:prstClr val="black"/>
              </a:solidFill>
            </a:endParaRPr>
          </a:p>
        </p:txBody>
      </p:sp>
      <p:sp>
        <p:nvSpPr>
          <p:cNvPr id="12" name="Rechteck 11"/>
          <p:cNvSpPr/>
          <p:nvPr userDrawn="1"/>
        </p:nvSpPr>
        <p:spPr>
          <a:xfrm>
            <a:off x="623979" y="4689019"/>
            <a:ext cx="5040974" cy="1547642"/>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089"/>
            <a:endParaRPr lang="en-US" sz="800" dirty="0">
              <a:solidFill>
                <a:prstClr val="black"/>
              </a:solidFill>
            </a:endParaRPr>
          </a:p>
        </p:txBody>
      </p:sp>
      <p:sp>
        <p:nvSpPr>
          <p:cNvPr id="13" name="Rechteck 12"/>
          <p:cNvSpPr/>
          <p:nvPr userDrawn="1"/>
        </p:nvSpPr>
        <p:spPr>
          <a:xfrm>
            <a:off x="5755189" y="4678221"/>
            <a:ext cx="3180743" cy="1558440"/>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089"/>
            <a:endParaRPr lang="en-US" sz="800" dirty="0">
              <a:solidFill>
                <a:prstClr val="black"/>
              </a:solidFill>
            </a:endParaRPr>
          </a:p>
        </p:txBody>
      </p:sp>
      <p:sp>
        <p:nvSpPr>
          <p:cNvPr id="14" name="Rechteck 13"/>
          <p:cNvSpPr/>
          <p:nvPr userDrawn="1"/>
        </p:nvSpPr>
        <p:spPr>
          <a:xfrm>
            <a:off x="5759627" y="985724"/>
            <a:ext cx="3179693" cy="1545532"/>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089"/>
            <a:endParaRPr lang="en-US" sz="800" dirty="0">
              <a:solidFill>
                <a:prstClr val="black"/>
              </a:solidFill>
            </a:endParaRPr>
          </a:p>
        </p:txBody>
      </p:sp>
      <p:sp>
        <p:nvSpPr>
          <p:cNvPr id="15" name="Rechteck 14"/>
          <p:cNvSpPr/>
          <p:nvPr userDrawn="1"/>
        </p:nvSpPr>
        <p:spPr>
          <a:xfrm>
            <a:off x="9011141" y="985724"/>
            <a:ext cx="2589451" cy="5250938"/>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1088089">
              <a:lnSpc>
                <a:spcPts val="1898"/>
              </a:lnSpc>
            </a:pPr>
            <a:endParaRPr lang="en-US" sz="1398" dirty="0">
              <a:solidFill>
                <a:prstClr val="black"/>
              </a:solidFill>
            </a:endParaRPr>
          </a:p>
        </p:txBody>
      </p:sp>
      <p:cxnSp>
        <p:nvCxnSpPr>
          <p:cNvPr id="18" name="Gerader Verbinder 17"/>
          <p:cNvCxnSpPr/>
          <p:nvPr userDrawn="1"/>
        </p:nvCxnSpPr>
        <p:spPr bwMode="auto">
          <a:xfrm>
            <a:off x="3173" y="760145"/>
            <a:ext cx="11490615" cy="3651"/>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cxnSp>
        <p:nvCxnSpPr>
          <p:cNvPr id="19" name="Gerader Verbinder 18"/>
          <p:cNvCxnSpPr/>
          <p:nvPr userDrawn="1"/>
        </p:nvCxnSpPr>
        <p:spPr bwMode="auto">
          <a:xfrm flipH="1" flipV="1">
            <a:off x="11614405" y="45409"/>
            <a:ext cx="40165" cy="476463"/>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50800" dist="38100" dir="2700000" algn="tl" rotWithShape="0">
              <a:prstClr val="black">
                <a:alpha val="40000"/>
              </a:prstClr>
            </a:outerShdw>
          </a:effectLst>
          <a:extLst/>
        </p:spPr>
      </p:cxnSp>
      <p:cxnSp>
        <p:nvCxnSpPr>
          <p:cNvPr id="20" name="Gerader Verbinder 19"/>
          <p:cNvCxnSpPr/>
          <p:nvPr userDrawn="1"/>
        </p:nvCxnSpPr>
        <p:spPr bwMode="auto">
          <a:xfrm flipV="1">
            <a:off x="11654568" y="125987"/>
            <a:ext cx="61924" cy="395883"/>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cxnSp>
        <p:nvCxnSpPr>
          <p:cNvPr id="21" name="Gerader Verbinder 20"/>
          <p:cNvCxnSpPr/>
          <p:nvPr userDrawn="1"/>
        </p:nvCxnSpPr>
        <p:spPr bwMode="auto">
          <a:xfrm>
            <a:off x="11716493" y="125986"/>
            <a:ext cx="25153" cy="166277"/>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cxnSp>
        <p:nvCxnSpPr>
          <p:cNvPr id="22" name="Gerader Verbinder 21"/>
          <p:cNvCxnSpPr/>
          <p:nvPr userDrawn="1"/>
        </p:nvCxnSpPr>
        <p:spPr bwMode="auto">
          <a:xfrm flipV="1">
            <a:off x="11517563" y="45408"/>
            <a:ext cx="96843" cy="822788"/>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cxnSp>
        <p:nvCxnSpPr>
          <p:cNvPr id="23" name="Gerader Verbinder 22"/>
          <p:cNvCxnSpPr/>
          <p:nvPr userDrawn="1"/>
        </p:nvCxnSpPr>
        <p:spPr bwMode="auto">
          <a:xfrm>
            <a:off x="11741645" y="292263"/>
            <a:ext cx="443638" cy="0"/>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cxnSp>
        <p:nvCxnSpPr>
          <p:cNvPr id="24" name="Gerader Verbinder 23"/>
          <p:cNvCxnSpPr/>
          <p:nvPr userDrawn="1"/>
        </p:nvCxnSpPr>
        <p:spPr bwMode="auto">
          <a:xfrm>
            <a:off x="11489333" y="902480"/>
            <a:ext cx="28230" cy="114002"/>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sp>
        <p:nvSpPr>
          <p:cNvPr id="27" name="Bildplatzhalter 26"/>
          <p:cNvSpPr>
            <a:spLocks noGrp="1"/>
          </p:cNvSpPr>
          <p:nvPr>
            <p:ph type="pic" sz="quarter" idx="12"/>
          </p:nvPr>
        </p:nvSpPr>
        <p:spPr>
          <a:xfrm>
            <a:off x="10954071" y="178540"/>
            <a:ext cx="539719" cy="539875"/>
          </a:xfrm>
          <a:prstGeom prst="roundRect">
            <a:avLst/>
          </a:prstGeom>
          <a:solidFill>
            <a:schemeClr val="accent4"/>
          </a:solidFill>
        </p:spPr>
        <p:txBody>
          <a:bodyPr/>
          <a:lstStyle>
            <a:lvl1pPr marL="0" indent="0">
              <a:buNone/>
              <a:defRPr/>
            </a:lvl1pPr>
          </a:lstStyle>
          <a:p>
            <a:endParaRPr lang="en-US" dirty="0"/>
          </a:p>
        </p:txBody>
      </p:sp>
    </p:spTree>
    <p:extLst>
      <p:ext uri="{BB962C8B-B14F-4D97-AF65-F5344CB8AC3E}">
        <p14:creationId xmlns:p14="http://schemas.microsoft.com/office/powerpoint/2010/main" val="12834694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1094.xml><?xml version="1.0" encoding="utf-8"?>
<p:sldLayout xmlns:a="http://schemas.openxmlformats.org/drawingml/2006/main" xmlns:r="http://schemas.openxmlformats.org/officeDocument/2006/relationships" xmlns:p="http://schemas.openxmlformats.org/presentationml/2006/main" matchingName="2_For Finance, white">
  <p:cSld name="2_For Finance, white">
    <p:bg>
      <p:bgPr>
        <a:solidFill>
          <a:schemeClr val="bg1"/>
        </a:solidFill>
        <a:effectLst/>
      </p:bgPr>
    </p:bg>
    <p:spTree>
      <p:nvGrpSpPr>
        <p:cNvPr id="1" name="Shape 16"/>
        <p:cNvGrpSpPr/>
        <p:nvPr/>
      </p:nvGrpSpPr>
      <p:grpSpPr>
        <a:xfrm>
          <a:off x="0" y="0"/>
          <a:ext cx="0" cy="0"/>
          <a:chOff x="0" y="0"/>
          <a:chExt cx="0" cy="0"/>
        </a:xfrm>
      </p:grpSpPr>
      <p:pic>
        <p:nvPicPr>
          <p:cNvPr id="17" name="Shape 17"/>
          <p:cNvPicPr preferRelativeResize="0"/>
          <p:nvPr/>
        </p:nvPicPr>
        <p:blipFill/>
        <p:spPr>
          <a:xfrm>
            <a:off x="1588" y="1591"/>
            <a:ext cx="1587" cy="1587"/>
          </a:xfrm>
          <a:prstGeom prst="rect">
            <a:avLst/>
          </a:prstGeom>
          <a:solidFill>
            <a:srgbClr val="FFFFFF"/>
          </a:solidFill>
          <a:ln>
            <a:noFill/>
          </a:ln>
        </p:spPr>
      </p:pic>
      <p:graphicFrame>
        <p:nvGraphicFramePr>
          <p:cNvPr id="2" name="Object 1" hidden="1"/>
          <p:cNvGraphicFramePr>
            <a:graphicFrameLocks noChangeAspect="1"/>
          </p:cNvGraphicFramePr>
          <p:nvPr userDrawn="1">
            <p:custDataLst>
              <p:tags r:id="rId2"/>
            </p:custDataLst>
            <p:extLst/>
          </p:nvPr>
        </p:nvGraphicFramePr>
        <p:xfrm>
          <a:off x="1588" y="1591"/>
          <a:ext cx="1587" cy="1587"/>
        </p:xfrm>
        <a:graphic>
          <a:graphicData uri="http://schemas.openxmlformats.org/presentationml/2006/ole">
            <mc:AlternateContent xmlns:mc="http://schemas.openxmlformats.org/markup-compatibility/2006">
              <mc:Choice xmlns:v="urn:schemas-microsoft-com:vml" Requires="v">
                <p:oleObj spid="_x0000_s245829" name="think-cell Folie" r:id="rId4" imgW="631" imgH="631" progId="TCLayout.ActiveDocument.1">
                  <p:embed/>
                </p:oleObj>
              </mc:Choice>
              <mc:Fallback>
                <p:oleObj name="think-cell Folie" r:id="rId4" imgW="631" imgH="631" progId="TCLayout.ActiveDocument.1">
                  <p:embed/>
                  <p:pic>
                    <p:nvPicPr>
                      <p:cNvPr id="0" name=""/>
                      <p:cNvPicPr/>
                      <p:nvPr/>
                    </p:nvPicPr>
                    <p:blipFill>
                      <a:blip r:embed="rId5"/>
                      <a:stretch>
                        <a:fillRect/>
                      </a:stretch>
                    </p:blipFill>
                    <p:spPr>
                      <a:xfrm>
                        <a:off x="1588" y="1591"/>
                        <a:ext cx="1587" cy="1587"/>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6872"/>
            <a:endParaRPr lang="de-DE" sz="2098">
              <a:solidFill>
                <a:srgbClr val="FFFFFF"/>
              </a:solidFill>
            </a:endParaRPr>
          </a:p>
        </p:txBody>
      </p:sp>
      <p:sp>
        <p:nvSpPr>
          <p:cNvPr id="18" name="Shape 18"/>
          <p:cNvSpPr txBox="1">
            <a:spLocks noGrp="1"/>
          </p:cNvSpPr>
          <p:nvPr>
            <p:ph type="title"/>
          </p:nvPr>
        </p:nvSpPr>
        <p:spPr>
          <a:xfrm>
            <a:off x="420329" y="127949"/>
            <a:ext cx="11486326" cy="942097"/>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dk2"/>
              </a:buClr>
              <a:buSzPts val="3000"/>
              <a:buFont typeface="Arial"/>
              <a:buNone/>
              <a:defRPr sz="2999" b="0" i="0" u="none" strike="noStrike" cap="none">
                <a:solidFill>
                  <a:schemeClr val="dk2"/>
                </a:solidFill>
                <a:latin typeface="Arial"/>
                <a:ea typeface="Arial"/>
                <a:cs typeface="Arial"/>
                <a:sym typeface="Arial"/>
              </a:defRPr>
            </a:lvl1pPr>
            <a:lvl2pPr lvl="1">
              <a:spcBef>
                <a:spcPts val="0"/>
              </a:spcBef>
              <a:spcAft>
                <a:spcPts val="0"/>
              </a:spcAft>
              <a:buSzPts val="1400"/>
              <a:buNone/>
              <a:defRPr sz="1797"/>
            </a:lvl2pPr>
            <a:lvl3pPr lvl="2">
              <a:spcBef>
                <a:spcPts val="0"/>
              </a:spcBef>
              <a:spcAft>
                <a:spcPts val="0"/>
              </a:spcAft>
              <a:buSzPts val="1400"/>
              <a:buNone/>
              <a:defRPr sz="1797"/>
            </a:lvl3pPr>
            <a:lvl4pPr lvl="3">
              <a:spcBef>
                <a:spcPts val="0"/>
              </a:spcBef>
              <a:spcAft>
                <a:spcPts val="0"/>
              </a:spcAft>
              <a:buSzPts val="1400"/>
              <a:buNone/>
              <a:defRPr sz="1797"/>
            </a:lvl4pPr>
            <a:lvl5pPr lvl="4">
              <a:spcBef>
                <a:spcPts val="0"/>
              </a:spcBef>
              <a:spcAft>
                <a:spcPts val="0"/>
              </a:spcAft>
              <a:buSzPts val="1400"/>
              <a:buNone/>
              <a:defRPr sz="1797"/>
            </a:lvl5pPr>
            <a:lvl6pPr lvl="5">
              <a:spcBef>
                <a:spcPts val="0"/>
              </a:spcBef>
              <a:spcAft>
                <a:spcPts val="0"/>
              </a:spcAft>
              <a:buSzPts val="1400"/>
              <a:buNone/>
              <a:defRPr sz="1797"/>
            </a:lvl6pPr>
            <a:lvl7pPr lvl="6">
              <a:spcBef>
                <a:spcPts val="0"/>
              </a:spcBef>
              <a:spcAft>
                <a:spcPts val="0"/>
              </a:spcAft>
              <a:buSzPts val="1400"/>
              <a:buNone/>
              <a:defRPr sz="1797"/>
            </a:lvl7pPr>
            <a:lvl8pPr lvl="7">
              <a:spcBef>
                <a:spcPts val="0"/>
              </a:spcBef>
              <a:spcAft>
                <a:spcPts val="0"/>
              </a:spcAft>
              <a:buSzPts val="1400"/>
              <a:buNone/>
              <a:defRPr sz="1797"/>
            </a:lvl8pPr>
            <a:lvl9pPr lvl="8">
              <a:spcBef>
                <a:spcPts val="0"/>
              </a:spcBef>
              <a:spcAft>
                <a:spcPts val="0"/>
              </a:spcAft>
              <a:buSzPts val="1400"/>
              <a:buNone/>
              <a:defRPr sz="1797"/>
            </a:lvl9pPr>
          </a:lstStyle>
          <a:p>
            <a:endParaRPr dirty="0"/>
          </a:p>
        </p:txBody>
      </p:sp>
      <p:sp>
        <p:nvSpPr>
          <p:cNvPr id="19" name="Shape 19"/>
          <p:cNvSpPr txBox="1">
            <a:spLocks noGrp="1"/>
          </p:cNvSpPr>
          <p:nvPr>
            <p:ph type="sldNum" idx="12"/>
          </p:nvPr>
        </p:nvSpPr>
        <p:spPr>
          <a:xfrm>
            <a:off x="11048370" y="6543011"/>
            <a:ext cx="720000" cy="251927"/>
          </a:xfrm>
          <a:prstGeom prst="rect">
            <a:avLst/>
          </a:prstGeom>
          <a:noFill/>
          <a:ln>
            <a:noFill/>
          </a:ln>
        </p:spPr>
        <p:txBody>
          <a:bodyPr spcFirstLastPara="1" wrap="square" lIns="91425" tIns="0" rIns="0" bIns="45700" anchor="t" anchorCtr="0">
            <a:noAutofit/>
          </a:bodyPr>
          <a:lstStyle>
            <a:lvl1pPr marL="0" marR="0" lvl="0" indent="0" algn="r" rtl="0">
              <a:spcBef>
                <a:spcPts val="0"/>
              </a:spcBef>
              <a:buNone/>
              <a:defRPr sz="1197" b="0" i="0" u="none" strike="noStrike" cap="none">
                <a:solidFill>
                  <a:schemeClr val="dk2"/>
                </a:solidFill>
                <a:latin typeface="Arial"/>
                <a:ea typeface="Arial"/>
                <a:cs typeface="Arial"/>
                <a:sym typeface="Arial"/>
              </a:defRPr>
            </a:lvl1pPr>
            <a:lvl2pPr marL="0" marR="0" lvl="1" indent="0" algn="r" rtl="0">
              <a:spcBef>
                <a:spcPts val="0"/>
              </a:spcBef>
              <a:buNone/>
              <a:defRPr sz="1197" b="0" i="0" u="none" strike="noStrike" cap="none">
                <a:solidFill>
                  <a:schemeClr val="dk2"/>
                </a:solidFill>
                <a:latin typeface="Arial"/>
                <a:ea typeface="Arial"/>
                <a:cs typeface="Arial"/>
                <a:sym typeface="Arial"/>
              </a:defRPr>
            </a:lvl2pPr>
            <a:lvl3pPr marL="0" marR="0" lvl="2" indent="0" algn="r" rtl="0">
              <a:spcBef>
                <a:spcPts val="0"/>
              </a:spcBef>
              <a:buNone/>
              <a:defRPr sz="1197" b="0" i="0" u="none" strike="noStrike" cap="none">
                <a:solidFill>
                  <a:schemeClr val="dk2"/>
                </a:solidFill>
                <a:latin typeface="Arial"/>
                <a:ea typeface="Arial"/>
                <a:cs typeface="Arial"/>
                <a:sym typeface="Arial"/>
              </a:defRPr>
            </a:lvl3pPr>
            <a:lvl4pPr marL="0" marR="0" lvl="3" indent="0" algn="r" rtl="0">
              <a:spcBef>
                <a:spcPts val="0"/>
              </a:spcBef>
              <a:buNone/>
              <a:defRPr sz="1197" b="0" i="0" u="none" strike="noStrike" cap="none">
                <a:solidFill>
                  <a:schemeClr val="dk2"/>
                </a:solidFill>
                <a:latin typeface="Arial"/>
                <a:ea typeface="Arial"/>
                <a:cs typeface="Arial"/>
                <a:sym typeface="Arial"/>
              </a:defRPr>
            </a:lvl4pPr>
            <a:lvl5pPr marL="0" marR="0" lvl="4" indent="0" algn="r" rtl="0">
              <a:spcBef>
                <a:spcPts val="0"/>
              </a:spcBef>
              <a:buNone/>
              <a:defRPr sz="1197" b="0" i="0" u="none" strike="noStrike" cap="none">
                <a:solidFill>
                  <a:schemeClr val="dk2"/>
                </a:solidFill>
                <a:latin typeface="Arial"/>
                <a:ea typeface="Arial"/>
                <a:cs typeface="Arial"/>
                <a:sym typeface="Arial"/>
              </a:defRPr>
            </a:lvl5pPr>
            <a:lvl6pPr marL="0" marR="0" lvl="5" indent="0" algn="r" rtl="0">
              <a:spcBef>
                <a:spcPts val="0"/>
              </a:spcBef>
              <a:buNone/>
              <a:defRPr sz="1197" b="0" i="0" u="none" strike="noStrike" cap="none">
                <a:solidFill>
                  <a:schemeClr val="dk2"/>
                </a:solidFill>
                <a:latin typeface="Arial"/>
                <a:ea typeface="Arial"/>
                <a:cs typeface="Arial"/>
                <a:sym typeface="Arial"/>
              </a:defRPr>
            </a:lvl6pPr>
            <a:lvl7pPr marL="0" marR="0" lvl="6" indent="0" algn="r" rtl="0">
              <a:spcBef>
                <a:spcPts val="0"/>
              </a:spcBef>
              <a:buNone/>
              <a:defRPr sz="1197" b="0" i="0" u="none" strike="noStrike" cap="none">
                <a:solidFill>
                  <a:schemeClr val="dk2"/>
                </a:solidFill>
                <a:latin typeface="Arial"/>
                <a:ea typeface="Arial"/>
                <a:cs typeface="Arial"/>
                <a:sym typeface="Arial"/>
              </a:defRPr>
            </a:lvl7pPr>
            <a:lvl8pPr marL="0" marR="0" lvl="7" indent="0" algn="r" rtl="0">
              <a:spcBef>
                <a:spcPts val="0"/>
              </a:spcBef>
              <a:buNone/>
              <a:defRPr sz="1197" b="0" i="0" u="none" strike="noStrike" cap="none">
                <a:solidFill>
                  <a:schemeClr val="dk2"/>
                </a:solidFill>
                <a:latin typeface="Arial"/>
                <a:ea typeface="Arial"/>
                <a:cs typeface="Arial"/>
                <a:sym typeface="Arial"/>
              </a:defRPr>
            </a:lvl8pPr>
            <a:lvl9pPr marL="0" marR="0" lvl="8" indent="0" algn="r" rtl="0">
              <a:spcBef>
                <a:spcPts val="0"/>
              </a:spcBef>
              <a:buNone/>
              <a:defRPr sz="1197" b="0" i="0" u="none" strike="noStrike" cap="none">
                <a:solidFill>
                  <a:schemeClr val="dk2"/>
                </a:solidFill>
                <a:latin typeface="Arial"/>
                <a:ea typeface="Arial"/>
                <a:cs typeface="Arial"/>
                <a:sym typeface="Arial"/>
              </a:defRPr>
            </a:lvl9pPr>
          </a:lstStyle>
          <a:p>
            <a:fld id="{00000000-1234-1234-1234-123412341234}" type="slidenum">
              <a:rPr lang="de-DE" smtClean="0">
                <a:solidFill>
                  <a:srgbClr val="00B7BF"/>
                </a:solidFill>
              </a:rPr>
              <a:pPr/>
              <a:t>‹#›</a:t>
            </a:fld>
            <a:endParaRPr lang="de-DE">
              <a:solidFill>
                <a:srgbClr val="00B7BF"/>
              </a:solidFill>
            </a:endParaRPr>
          </a:p>
        </p:txBody>
      </p:sp>
      <p:pic>
        <p:nvPicPr>
          <p:cNvPr id="10" name="Grafik 3"/>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58552" y="6542160"/>
            <a:ext cx="1831021" cy="228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05273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1095.xml><?xml version="1.0" encoding="utf-8"?>
<p:sldLayout xmlns:a="http://schemas.openxmlformats.org/drawingml/2006/main" xmlns:r="http://schemas.openxmlformats.org/officeDocument/2006/relationships" xmlns:p="http://schemas.openxmlformats.org/presentationml/2006/main" showMasterSp="0" userDrawn="1">
  <p:cSld name="3_For Finance, white">
    <p:spTree>
      <p:nvGrpSpPr>
        <p:cNvPr id="1" name=""/>
        <p:cNvGrpSpPr/>
        <p:nvPr/>
      </p:nvGrpSpPr>
      <p:grpSpPr>
        <a:xfrm>
          <a:off x="0" y="0"/>
          <a:ext cx="0" cy="0"/>
          <a:chOff x="0" y="0"/>
          <a:chExt cx="0" cy="0"/>
        </a:xfrm>
      </p:grpSpPr>
      <p:graphicFrame>
        <p:nvGraphicFramePr>
          <p:cNvPr id="3" name="Objekt 3" hidden="1">
            <a:extLst>
              <a:ext uri="{FF2B5EF4-FFF2-40B4-BE49-F238E27FC236}">
                <a16:creationId xmlns:a16="http://schemas.microsoft.com/office/drawing/2014/main" id="{97A7B276-F8EB-D64F-9212-870654293D44}"/>
              </a:ext>
            </a:extLst>
          </p:cNvPr>
          <p:cNvGraphicFramePr>
            <a:graphicFrameLocks noChangeAspect="1"/>
          </p:cNvGraphicFramePr>
          <p:nvPr userDrawn="1">
            <p:custDataLst>
              <p:tags r:id="rId2"/>
            </p:custDataLs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246853" name="think-cell Folie" r:id="rId5" imgW="38100" imgH="38100" progId="TCLayout.ActiveDocument.1">
                  <p:embed/>
                </p:oleObj>
              </mc:Choice>
              <mc:Fallback>
                <p:oleObj name="think-cell Foli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hteck 1"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8089">
              <a:lnSpc>
                <a:spcPct val="80000"/>
              </a:lnSpc>
              <a:spcBef>
                <a:spcPct val="0"/>
              </a:spcBef>
              <a:spcAft>
                <a:spcPct val="0"/>
              </a:spcAft>
            </a:pPr>
            <a:endParaRPr lang="de-DE" sz="2999" b="1" dirty="0">
              <a:solidFill>
                <a:prstClr val="white"/>
              </a:solidFill>
              <a:sym typeface="CorpoS" pitchFamily="2" charset="0"/>
            </a:endParaRPr>
          </a:p>
        </p:txBody>
      </p:sp>
      <p:pic>
        <p:nvPicPr>
          <p:cNvPr id="5" name="Grafik 3">
            <a:extLst>
              <a:ext uri="{FF2B5EF4-FFF2-40B4-BE49-F238E27FC236}">
                <a16:creationId xmlns:a16="http://schemas.microsoft.com/office/drawing/2014/main" id="{0AAF8159-9AAB-3048-9E9E-0EFDB132B712}"/>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58790" y="6543675"/>
            <a:ext cx="183197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el 1"/>
          <p:cNvSpPr>
            <a:spLocks noGrp="1"/>
          </p:cNvSpPr>
          <p:nvPr>
            <p:ph type="title"/>
          </p:nvPr>
        </p:nvSpPr>
        <p:spPr>
          <a:xfrm>
            <a:off x="420329" y="127948"/>
            <a:ext cx="11486326" cy="942097"/>
          </a:xfrm>
        </p:spPr>
        <p:txBody>
          <a:bodyPr/>
          <a:lstStyle>
            <a:lvl1pPr>
              <a:defRPr sz="2999">
                <a:solidFill>
                  <a:schemeClr val="tx2"/>
                </a:solidFill>
              </a:defRPr>
            </a:lvl1pPr>
          </a:lstStyle>
          <a:p>
            <a:r>
              <a:rPr lang="de-DE"/>
              <a:t>Titelmasterformat durch Klicken bearbeiten</a:t>
            </a:r>
            <a:endParaRPr lang="de-DE" dirty="0"/>
          </a:p>
        </p:txBody>
      </p:sp>
      <p:sp>
        <p:nvSpPr>
          <p:cNvPr id="6" name="Foliennummernplatzhalter 5">
            <a:extLst>
              <a:ext uri="{FF2B5EF4-FFF2-40B4-BE49-F238E27FC236}">
                <a16:creationId xmlns:a16="http://schemas.microsoft.com/office/drawing/2014/main" id="{BA17B98E-BB26-6343-B711-56976493AD2D}"/>
              </a:ext>
            </a:extLst>
          </p:cNvPr>
          <p:cNvSpPr>
            <a:spLocks noGrp="1"/>
          </p:cNvSpPr>
          <p:nvPr>
            <p:ph type="sldNum" sz="quarter" idx="10"/>
          </p:nvPr>
        </p:nvSpPr>
        <p:spPr>
          <a:xfrm>
            <a:off x="11049000" y="6543677"/>
            <a:ext cx="719138" cy="250825"/>
          </a:xfrm>
        </p:spPr>
        <p:txBody>
          <a:bodyPr/>
          <a:lstStyle>
            <a:lvl1pPr>
              <a:defRPr>
                <a:solidFill>
                  <a:srgbClr val="00B7BF"/>
                </a:solidFill>
              </a:defRPr>
            </a:lvl1pPr>
          </a:lstStyle>
          <a:p>
            <a:pPr>
              <a:defRPr/>
            </a:pPr>
            <a:fld id="{41BED488-4622-0649-BB51-22E6251FA5C1}" type="slidenum">
              <a:rPr lang="de-DE"/>
              <a:pPr>
                <a:defRPr/>
              </a:pPr>
              <a:t>‹#›</a:t>
            </a:fld>
            <a:endParaRPr lang="de-DE" dirty="0"/>
          </a:p>
        </p:txBody>
      </p:sp>
    </p:spTree>
    <p:extLst>
      <p:ext uri="{BB962C8B-B14F-4D97-AF65-F5344CB8AC3E}">
        <p14:creationId xmlns:p14="http://schemas.microsoft.com/office/powerpoint/2010/main" val="275053594"/>
      </p:ext>
    </p:extLst>
  </p:cSld>
  <p:clrMapOvr>
    <a:masterClrMapping/>
  </p:clrMapOvr>
  <p:transition spd="med">
    <p:fade/>
  </p:transition>
</p:sldLayout>
</file>

<file path=ppt/slideLayouts/slideLayout1096.xml><?xml version="1.0" encoding="utf-8"?>
<p:sldLayout xmlns:a="http://schemas.openxmlformats.org/drawingml/2006/main" xmlns:r="http://schemas.openxmlformats.org/officeDocument/2006/relationships" xmlns:p="http://schemas.openxmlformats.org/presentationml/2006/main" showMasterSp="0" userDrawn="1">
  <p:cSld name="4_For Finance, white">
    <p:spTree>
      <p:nvGrpSpPr>
        <p:cNvPr id="1" name=""/>
        <p:cNvGrpSpPr/>
        <p:nvPr/>
      </p:nvGrpSpPr>
      <p:grpSpPr>
        <a:xfrm>
          <a:off x="0" y="0"/>
          <a:ext cx="0" cy="0"/>
          <a:chOff x="0" y="0"/>
          <a:chExt cx="0" cy="0"/>
        </a:xfrm>
      </p:grpSpPr>
      <p:graphicFrame>
        <p:nvGraphicFramePr>
          <p:cNvPr id="3" name="Objekt 3" hidden="1">
            <a:extLst>
              <a:ext uri="{FF2B5EF4-FFF2-40B4-BE49-F238E27FC236}">
                <a16:creationId xmlns:a16="http://schemas.microsoft.com/office/drawing/2014/main" id="{97A7B276-F8EB-D64F-9212-870654293D44}"/>
              </a:ext>
            </a:extLst>
          </p:cNvPr>
          <p:cNvGraphicFramePr>
            <a:graphicFrameLocks noChangeAspect="1"/>
          </p:cNvGraphicFramePr>
          <p:nvPr userDrawn="1">
            <p:custDataLst>
              <p:tags r:id="rId2"/>
            </p:custDataLs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247877" name="think-cell Folie" r:id="rId5" imgW="38100" imgH="38100" progId="TCLayout.ActiveDocument.1">
                  <p:embed/>
                </p:oleObj>
              </mc:Choice>
              <mc:Fallback>
                <p:oleObj name="think-cell Foli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hteck 1"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8089">
              <a:lnSpc>
                <a:spcPct val="80000"/>
              </a:lnSpc>
              <a:spcBef>
                <a:spcPct val="0"/>
              </a:spcBef>
              <a:spcAft>
                <a:spcPct val="0"/>
              </a:spcAft>
            </a:pPr>
            <a:endParaRPr lang="de-DE" sz="2999" b="1" dirty="0">
              <a:solidFill>
                <a:prstClr val="white"/>
              </a:solidFill>
              <a:sym typeface="CorpoS" pitchFamily="2" charset="0"/>
            </a:endParaRPr>
          </a:p>
        </p:txBody>
      </p:sp>
      <p:pic>
        <p:nvPicPr>
          <p:cNvPr id="5" name="Grafik 3">
            <a:extLst>
              <a:ext uri="{FF2B5EF4-FFF2-40B4-BE49-F238E27FC236}">
                <a16:creationId xmlns:a16="http://schemas.microsoft.com/office/drawing/2014/main" id="{0AAF8159-9AAB-3048-9E9E-0EFDB132B712}"/>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58790" y="6543675"/>
            <a:ext cx="183197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el 1"/>
          <p:cNvSpPr>
            <a:spLocks noGrp="1"/>
          </p:cNvSpPr>
          <p:nvPr>
            <p:ph type="title"/>
          </p:nvPr>
        </p:nvSpPr>
        <p:spPr>
          <a:xfrm>
            <a:off x="420329" y="127948"/>
            <a:ext cx="11486326" cy="942097"/>
          </a:xfrm>
        </p:spPr>
        <p:txBody>
          <a:bodyPr/>
          <a:lstStyle>
            <a:lvl1pPr>
              <a:defRPr sz="2999">
                <a:solidFill>
                  <a:schemeClr val="tx2"/>
                </a:solidFill>
              </a:defRPr>
            </a:lvl1pPr>
          </a:lstStyle>
          <a:p>
            <a:r>
              <a:rPr lang="de-DE"/>
              <a:t>Titelmasterformat durch Klicken bearbeiten</a:t>
            </a:r>
            <a:endParaRPr lang="de-DE" dirty="0"/>
          </a:p>
        </p:txBody>
      </p:sp>
      <p:sp>
        <p:nvSpPr>
          <p:cNvPr id="6" name="Foliennummernplatzhalter 5">
            <a:extLst>
              <a:ext uri="{FF2B5EF4-FFF2-40B4-BE49-F238E27FC236}">
                <a16:creationId xmlns:a16="http://schemas.microsoft.com/office/drawing/2014/main" id="{BA17B98E-BB26-6343-B711-56976493AD2D}"/>
              </a:ext>
            </a:extLst>
          </p:cNvPr>
          <p:cNvSpPr>
            <a:spLocks noGrp="1"/>
          </p:cNvSpPr>
          <p:nvPr>
            <p:ph type="sldNum" sz="quarter" idx="10"/>
          </p:nvPr>
        </p:nvSpPr>
        <p:spPr>
          <a:xfrm>
            <a:off x="11049000" y="6543677"/>
            <a:ext cx="719138" cy="250825"/>
          </a:xfrm>
        </p:spPr>
        <p:txBody>
          <a:bodyPr/>
          <a:lstStyle>
            <a:lvl1pPr>
              <a:defRPr>
                <a:solidFill>
                  <a:srgbClr val="00B7BF"/>
                </a:solidFill>
              </a:defRPr>
            </a:lvl1pPr>
          </a:lstStyle>
          <a:p>
            <a:pPr>
              <a:defRPr/>
            </a:pPr>
            <a:fld id="{41BED488-4622-0649-BB51-22E6251FA5C1}" type="slidenum">
              <a:rPr lang="de-DE"/>
              <a:pPr>
                <a:defRPr/>
              </a:pPr>
              <a:t>‹#›</a:t>
            </a:fld>
            <a:endParaRPr lang="de-DE" dirty="0"/>
          </a:p>
        </p:txBody>
      </p:sp>
    </p:spTree>
    <p:extLst>
      <p:ext uri="{BB962C8B-B14F-4D97-AF65-F5344CB8AC3E}">
        <p14:creationId xmlns:p14="http://schemas.microsoft.com/office/powerpoint/2010/main" val="242438770"/>
      </p:ext>
    </p:extLst>
  </p:cSld>
  <p:clrMapOvr>
    <a:masterClrMapping/>
  </p:clrMapOvr>
  <p:transition spd="med">
    <p:fade/>
  </p:transition>
</p:sldLayout>
</file>

<file path=ppt/slideLayouts/slideLayout1097.xml><?xml version="1.0" encoding="utf-8"?>
<p:sldLayout xmlns:a="http://schemas.openxmlformats.org/drawingml/2006/main" xmlns:r="http://schemas.openxmlformats.org/officeDocument/2006/relationships" xmlns:p="http://schemas.openxmlformats.org/presentationml/2006/main" showMasterSp="0" userDrawn="1">
  <p:cSld name="5_For Finance, white">
    <p:spTree>
      <p:nvGrpSpPr>
        <p:cNvPr id="1" name=""/>
        <p:cNvGrpSpPr/>
        <p:nvPr/>
      </p:nvGrpSpPr>
      <p:grpSpPr>
        <a:xfrm>
          <a:off x="0" y="0"/>
          <a:ext cx="0" cy="0"/>
          <a:chOff x="0" y="0"/>
          <a:chExt cx="0" cy="0"/>
        </a:xfrm>
      </p:grpSpPr>
      <p:graphicFrame>
        <p:nvGraphicFramePr>
          <p:cNvPr id="3" name="Objekt 3" hidden="1">
            <a:extLst>
              <a:ext uri="{FF2B5EF4-FFF2-40B4-BE49-F238E27FC236}">
                <a16:creationId xmlns:a16="http://schemas.microsoft.com/office/drawing/2014/main" id="{97A7B276-F8EB-D64F-9212-870654293D44}"/>
              </a:ext>
            </a:extLst>
          </p:cNvPr>
          <p:cNvGraphicFramePr>
            <a:graphicFrameLocks noChangeAspect="1"/>
          </p:cNvGraphicFramePr>
          <p:nvPr userDrawn="1">
            <p:custDataLst>
              <p:tags r:id="rId2"/>
            </p:custDataLs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248901" name="think-cell Folie" r:id="rId5" imgW="38100" imgH="38100" progId="TCLayout.ActiveDocument.1">
                  <p:embed/>
                </p:oleObj>
              </mc:Choice>
              <mc:Fallback>
                <p:oleObj name="think-cell Foli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hteck 1"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8089">
              <a:lnSpc>
                <a:spcPct val="80000"/>
              </a:lnSpc>
              <a:spcBef>
                <a:spcPct val="0"/>
              </a:spcBef>
              <a:spcAft>
                <a:spcPct val="0"/>
              </a:spcAft>
            </a:pPr>
            <a:endParaRPr lang="de-DE" sz="2999" b="1" dirty="0">
              <a:solidFill>
                <a:prstClr val="white"/>
              </a:solidFill>
              <a:sym typeface="CorpoS" pitchFamily="2" charset="0"/>
            </a:endParaRPr>
          </a:p>
        </p:txBody>
      </p:sp>
      <p:pic>
        <p:nvPicPr>
          <p:cNvPr id="5" name="Grafik 3">
            <a:extLst>
              <a:ext uri="{FF2B5EF4-FFF2-40B4-BE49-F238E27FC236}">
                <a16:creationId xmlns:a16="http://schemas.microsoft.com/office/drawing/2014/main" id="{0AAF8159-9AAB-3048-9E9E-0EFDB132B712}"/>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58790" y="6543675"/>
            <a:ext cx="183197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el 1"/>
          <p:cNvSpPr>
            <a:spLocks noGrp="1"/>
          </p:cNvSpPr>
          <p:nvPr>
            <p:ph type="title"/>
          </p:nvPr>
        </p:nvSpPr>
        <p:spPr>
          <a:xfrm>
            <a:off x="420329" y="127948"/>
            <a:ext cx="11486326" cy="942097"/>
          </a:xfrm>
        </p:spPr>
        <p:txBody>
          <a:bodyPr/>
          <a:lstStyle>
            <a:lvl1pPr>
              <a:defRPr sz="2999">
                <a:solidFill>
                  <a:schemeClr val="tx2"/>
                </a:solidFill>
              </a:defRPr>
            </a:lvl1pPr>
          </a:lstStyle>
          <a:p>
            <a:r>
              <a:rPr lang="de-DE"/>
              <a:t>Titelmasterformat durch Klicken bearbeiten</a:t>
            </a:r>
            <a:endParaRPr lang="de-DE" dirty="0"/>
          </a:p>
        </p:txBody>
      </p:sp>
      <p:sp>
        <p:nvSpPr>
          <p:cNvPr id="6" name="Foliennummernplatzhalter 5">
            <a:extLst>
              <a:ext uri="{FF2B5EF4-FFF2-40B4-BE49-F238E27FC236}">
                <a16:creationId xmlns:a16="http://schemas.microsoft.com/office/drawing/2014/main" id="{BA17B98E-BB26-6343-B711-56976493AD2D}"/>
              </a:ext>
            </a:extLst>
          </p:cNvPr>
          <p:cNvSpPr>
            <a:spLocks noGrp="1"/>
          </p:cNvSpPr>
          <p:nvPr>
            <p:ph type="sldNum" sz="quarter" idx="10"/>
          </p:nvPr>
        </p:nvSpPr>
        <p:spPr>
          <a:xfrm>
            <a:off x="11049000" y="6543677"/>
            <a:ext cx="719138" cy="250825"/>
          </a:xfrm>
        </p:spPr>
        <p:txBody>
          <a:bodyPr/>
          <a:lstStyle>
            <a:lvl1pPr>
              <a:defRPr>
                <a:solidFill>
                  <a:srgbClr val="00B7BF"/>
                </a:solidFill>
              </a:defRPr>
            </a:lvl1pPr>
          </a:lstStyle>
          <a:p>
            <a:pPr>
              <a:defRPr/>
            </a:pPr>
            <a:fld id="{41BED488-4622-0649-BB51-22E6251FA5C1}" type="slidenum">
              <a:rPr lang="de-DE"/>
              <a:pPr>
                <a:defRPr/>
              </a:pPr>
              <a:t>‹#›</a:t>
            </a:fld>
            <a:endParaRPr lang="de-DE" dirty="0"/>
          </a:p>
        </p:txBody>
      </p:sp>
    </p:spTree>
    <p:extLst>
      <p:ext uri="{BB962C8B-B14F-4D97-AF65-F5344CB8AC3E}">
        <p14:creationId xmlns:p14="http://schemas.microsoft.com/office/powerpoint/2010/main" val="328840313"/>
      </p:ext>
    </p:extLst>
  </p:cSld>
  <p:clrMapOvr>
    <a:masterClrMapping/>
  </p:clrMapOvr>
  <p:transition spd="med">
    <p:fade/>
  </p:transition>
</p:sldLayout>
</file>

<file path=ppt/slideLayouts/slideLayout1098.xml><?xml version="1.0" encoding="utf-8"?>
<p:sldLayout xmlns:a="http://schemas.openxmlformats.org/drawingml/2006/main" xmlns:r="http://schemas.openxmlformats.org/officeDocument/2006/relationships" xmlns:p="http://schemas.openxmlformats.org/presentationml/2006/main" showMasterSp="0" userDrawn="1">
  <p:cSld name="6_For Finance, white">
    <p:spTree>
      <p:nvGrpSpPr>
        <p:cNvPr id="1" name=""/>
        <p:cNvGrpSpPr/>
        <p:nvPr/>
      </p:nvGrpSpPr>
      <p:grpSpPr>
        <a:xfrm>
          <a:off x="0" y="0"/>
          <a:ext cx="0" cy="0"/>
          <a:chOff x="0" y="0"/>
          <a:chExt cx="0" cy="0"/>
        </a:xfrm>
      </p:grpSpPr>
      <p:graphicFrame>
        <p:nvGraphicFramePr>
          <p:cNvPr id="3" name="Objekt 3" hidden="1">
            <a:extLst>
              <a:ext uri="{FF2B5EF4-FFF2-40B4-BE49-F238E27FC236}">
                <a16:creationId xmlns:a16="http://schemas.microsoft.com/office/drawing/2014/main" id="{97A7B276-F8EB-D64F-9212-870654293D44}"/>
              </a:ext>
            </a:extLst>
          </p:cNvPr>
          <p:cNvGraphicFramePr>
            <a:graphicFrameLocks noChangeAspect="1"/>
          </p:cNvGraphicFramePr>
          <p:nvPr userDrawn="1">
            <p:custDataLst>
              <p:tags r:id="rId2"/>
            </p:custDataLs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249925" name="think-cell Folie" r:id="rId5" imgW="38100" imgH="38100" progId="TCLayout.ActiveDocument.1">
                  <p:embed/>
                </p:oleObj>
              </mc:Choice>
              <mc:Fallback>
                <p:oleObj name="think-cell Foli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hteck 1"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8089">
              <a:lnSpc>
                <a:spcPct val="80000"/>
              </a:lnSpc>
              <a:spcBef>
                <a:spcPct val="0"/>
              </a:spcBef>
              <a:spcAft>
                <a:spcPct val="0"/>
              </a:spcAft>
            </a:pPr>
            <a:endParaRPr lang="de-DE" sz="2999" b="1" dirty="0">
              <a:solidFill>
                <a:prstClr val="white"/>
              </a:solidFill>
              <a:sym typeface="CorpoS" pitchFamily="2" charset="0"/>
            </a:endParaRPr>
          </a:p>
        </p:txBody>
      </p:sp>
      <p:pic>
        <p:nvPicPr>
          <p:cNvPr id="5" name="Grafik 3">
            <a:extLst>
              <a:ext uri="{FF2B5EF4-FFF2-40B4-BE49-F238E27FC236}">
                <a16:creationId xmlns:a16="http://schemas.microsoft.com/office/drawing/2014/main" id="{0AAF8159-9AAB-3048-9E9E-0EFDB132B712}"/>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58790" y="6543675"/>
            <a:ext cx="183197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el 1"/>
          <p:cNvSpPr>
            <a:spLocks noGrp="1"/>
          </p:cNvSpPr>
          <p:nvPr>
            <p:ph type="title"/>
          </p:nvPr>
        </p:nvSpPr>
        <p:spPr>
          <a:xfrm>
            <a:off x="420329" y="127948"/>
            <a:ext cx="11486326" cy="942097"/>
          </a:xfrm>
        </p:spPr>
        <p:txBody>
          <a:bodyPr/>
          <a:lstStyle>
            <a:lvl1pPr>
              <a:defRPr sz="2999">
                <a:solidFill>
                  <a:schemeClr val="tx2"/>
                </a:solidFill>
              </a:defRPr>
            </a:lvl1pPr>
          </a:lstStyle>
          <a:p>
            <a:r>
              <a:rPr lang="de-DE"/>
              <a:t>Titelmasterformat durch Klicken bearbeiten</a:t>
            </a:r>
            <a:endParaRPr lang="de-DE" dirty="0"/>
          </a:p>
        </p:txBody>
      </p:sp>
      <p:sp>
        <p:nvSpPr>
          <p:cNvPr id="6" name="Foliennummernplatzhalter 5">
            <a:extLst>
              <a:ext uri="{FF2B5EF4-FFF2-40B4-BE49-F238E27FC236}">
                <a16:creationId xmlns:a16="http://schemas.microsoft.com/office/drawing/2014/main" id="{BA17B98E-BB26-6343-B711-56976493AD2D}"/>
              </a:ext>
            </a:extLst>
          </p:cNvPr>
          <p:cNvSpPr>
            <a:spLocks noGrp="1"/>
          </p:cNvSpPr>
          <p:nvPr>
            <p:ph type="sldNum" sz="quarter" idx="10"/>
          </p:nvPr>
        </p:nvSpPr>
        <p:spPr>
          <a:xfrm>
            <a:off x="11049000" y="6543677"/>
            <a:ext cx="719138" cy="250825"/>
          </a:xfrm>
        </p:spPr>
        <p:txBody>
          <a:bodyPr/>
          <a:lstStyle>
            <a:lvl1pPr>
              <a:defRPr>
                <a:solidFill>
                  <a:srgbClr val="00B7BF"/>
                </a:solidFill>
              </a:defRPr>
            </a:lvl1pPr>
          </a:lstStyle>
          <a:p>
            <a:pPr>
              <a:defRPr/>
            </a:pPr>
            <a:fld id="{41BED488-4622-0649-BB51-22E6251FA5C1}" type="slidenum">
              <a:rPr lang="de-DE"/>
              <a:pPr>
                <a:defRPr/>
              </a:pPr>
              <a:t>‹#›</a:t>
            </a:fld>
            <a:endParaRPr lang="de-DE" dirty="0"/>
          </a:p>
        </p:txBody>
      </p:sp>
    </p:spTree>
    <p:extLst>
      <p:ext uri="{BB962C8B-B14F-4D97-AF65-F5344CB8AC3E}">
        <p14:creationId xmlns:p14="http://schemas.microsoft.com/office/powerpoint/2010/main" val="1480695254"/>
      </p:ext>
    </p:extLst>
  </p:cSld>
  <p:clrMapOvr>
    <a:masterClrMapping/>
  </p:clrMapOvr>
  <p:transition spd="med">
    <p:fade/>
  </p:transition>
</p:sldLayout>
</file>

<file path=ppt/slideLayouts/slideLayout1099.xml><?xml version="1.0" encoding="utf-8"?>
<p:sldLayout xmlns:a="http://schemas.openxmlformats.org/drawingml/2006/main" xmlns:r="http://schemas.openxmlformats.org/officeDocument/2006/relationships" xmlns:p="http://schemas.openxmlformats.org/presentationml/2006/main" showMasterSp="0" userDrawn="1">
  <p:cSld name="Section chart">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smtClean="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smtClean="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Increase</a:t>
                  </a:r>
                </a:p>
                <a:p>
                  <a:pPr algn="r">
                    <a:defRPr/>
                  </a:pPr>
                  <a:r>
                    <a:rPr lang="en-GB" sz="999" dirty="0" smtClean="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Decrease </a:t>
                  </a:r>
                </a:p>
                <a:p>
                  <a:pPr algn="r">
                    <a:defRPr/>
                  </a:pPr>
                  <a:r>
                    <a:rPr lang="en-GB" sz="999" dirty="0" smtClean="0">
                      <a:solidFill>
                        <a:srgbClr val="444444"/>
                      </a:solidFill>
                    </a:rPr>
                    <a:t>List Level</a:t>
                  </a:r>
                </a:p>
              </p:txBody>
            </p:sp>
            <p:pic>
              <p:nvPicPr>
                <p:cNvPr id="38" name="Listenebene erhöhen"/>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bwMode="white">
          <a:xfrm>
            <a:off x="-1" y="0"/>
            <a:ext cx="12190451" cy="6487838"/>
          </a:xfrm>
          <a:prstGeom prst="rect">
            <a:avLst/>
          </a:prstGeom>
        </p:spPr>
      </p:pic>
      <p:sp>
        <p:nvSpPr>
          <p:cNvPr id="3" name="Title 2"/>
          <p:cNvSpPr>
            <a:spLocks noGrp="1"/>
          </p:cNvSpPr>
          <p:nvPr>
            <p:ph type="title" hasCustomPrompt="1"/>
          </p:nvPr>
        </p:nvSpPr>
        <p:spPr>
          <a:xfrm>
            <a:off x="628323" y="288859"/>
            <a:ext cx="10932455" cy="885627"/>
          </a:xfrm>
        </p:spPr>
        <p:txBody>
          <a:bodyPr wrap="square">
            <a:spAutoFit/>
          </a:bodyPr>
          <a:lstStyle>
            <a:lvl1pPr>
              <a:defRPr>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or more lines of text</a:t>
            </a:r>
            <a:endParaRPr lang="en-GB" dirty="0"/>
          </a:p>
        </p:txBody>
      </p:sp>
      <p:sp>
        <p:nvSpPr>
          <p:cNvPr id="11" name="Footer Placeholder 10"/>
          <p:cNvSpPr>
            <a:spLocks noGrp="1"/>
          </p:cNvSpPr>
          <p:nvPr>
            <p:ph type="ftr" sz="quarter" idx="11"/>
          </p:nvPr>
        </p:nvSpPr>
        <p:spPr/>
        <p:txBody>
          <a:bodyPr/>
          <a:lstStyle/>
          <a:p>
            <a:r>
              <a:rPr lang="en-GB" smtClean="0">
                <a:solidFill>
                  <a:prstClr val="black"/>
                </a:solidFill>
              </a:rPr>
              <a:t>DFS Deep Dive - </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9701935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Headline two lines // Image">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a:t>
            </a:r>
            <a:r>
              <a:rPr lang="en-GB" noProof="0" dirty="0"/>
              <a:t> 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92290120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2/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a:lvl1pPr>
          </a:lstStyle>
          <a:p>
            <a:r>
              <a:rPr lang="en-GB" dirty="0"/>
              <a:t>Referent’s name: </a:t>
            </a:r>
            <a:r>
              <a:rPr lang="en-GB" noProof="0" dirty="0" err="1"/>
              <a:t>CorpoS</a:t>
            </a:r>
            <a:r>
              <a:rPr lang="en-GB" noProof="0" dirty="0"/>
              <a:t> </a:t>
            </a:r>
            <a:r>
              <a:rPr lang="en-GB" dirty="0"/>
              <a:t>(Body) 35 pt. Presentation title</a:t>
            </a:r>
            <a:br>
              <a:rPr lang="en-GB" dirty="0"/>
            </a:br>
            <a:r>
              <a:rPr lang="en-GB" dirty="0"/>
              <a:t>in two or more lines of text, dd. </a:t>
            </a:r>
            <a:r>
              <a:rPr lang="en-GB" dirty="0" err="1"/>
              <a:t>mmmm</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20489038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1100.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8" name="Bildplatzhalter 6">
            <a:extLst>
              <a:ext uri="{FF2B5EF4-FFF2-40B4-BE49-F238E27FC236}">
                <a16:creationId xmlns:a16="http://schemas.microsoft.com/office/drawing/2014/main" id="{BF7B0546-EF62-4714-AAAD-A2FE9E5F30BA}"/>
              </a:ext>
            </a:extLst>
          </p:cNvPr>
          <p:cNvSpPr>
            <a:spLocks noGrp="1"/>
          </p:cNvSpPr>
          <p:nvPr>
            <p:ph type="pic" sz="quarter" idx="13" hasCustomPrompt="1"/>
          </p:nvPr>
        </p:nvSpPr>
        <p:spPr>
          <a:xfrm>
            <a:off x="0" y="0"/>
            <a:ext cx="12192000" cy="6858000"/>
          </a:xfrm>
          <a:solidFill>
            <a:schemeClr val="bg1">
              <a:lumMod val="85000"/>
            </a:schemeClr>
          </a:solidFill>
        </p:spPr>
        <p:txBody>
          <a:bodyPr anchor="ctr"/>
          <a:lstStyle>
            <a:lvl1pPr marL="0" indent="0" algn="ctr">
              <a:buNone/>
              <a:defRPr/>
            </a:lvl1pPr>
          </a:lstStyle>
          <a:p>
            <a:r>
              <a:rPr lang="en-US" noProof="0" dirty="0"/>
              <a:t>Picture</a:t>
            </a:r>
          </a:p>
        </p:txBody>
      </p:sp>
      <p:sp>
        <p:nvSpPr>
          <p:cNvPr id="2" name="Title 1"/>
          <p:cNvSpPr>
            <a:spLocks noGrp="1"/>
          </p:cNvSpPr>
          <p:nvPr>
            <p:ph type="ctrTitle" hasCustomPrompt="1"/>
          </p:nvPr>
        </p:nvSpPr>
        <p:spPr bwMode="gray">
          <a:xfrm>
            <a:off x="5358986" y="1976139"/>
            <a:ext cx="5550313" cy="3734627"/>
          </a:xfrm>
          <a:custGeom>
            <a:avLst/>
            <a:gdLst>
              <a:gd name="connsiteX0" fmla="*/ 0 w 4162735"/>
              <a:gd name="connsiteY0" fmla="*/ 0 h 2804145"/>
              <a:gd name="connsiteX1" fmla="*/ 4162735 w 4162735"/>
              <a:gd name="connsiteY1" fmla="*/ 0 h 2804145"/>
              <a:gd name="connsiteX2" fmla="*/ 4162735 w 4162735"/>
              <a:gd name="connsiteY2" fmla="*/ 2804145 h 2804145"/>
              <a:gd name="connsiteX3" fmla="*/ 0 w 4162735"/>
              <a:gd name="connsiteY3" fmla="*/ 2804145 h 2804145"/>
              <a:gd name="connsiteX4" fmla="*/ 0 w 4162735"/>
              <a:gd name="connsiteY4" fmla="*/ 0 h 2804145"/>
              <a:gd name="connsiteX0" fmla="*/ 0 w 4162735"/>
              <a:gd name="connsiteY0" fmla="*/ 0 h 2804145"/>
              <a:gd name="connsiteX1" fmla="*/ 4162735 w 4162735"/>
              <a:gd name="connsiteY1" fmla="*/ 0 h 2804145"/>
              <a:gd name="connsiteX2" fmla="*/ 4162735 w 4162735"/>
              <a:gd name="connsiteY2" fmla="*/ 2804145 h 2804145"/>
              <a:gd name="connsiteX3" fmla="*/ 171450 w 4162735"/>
              <a:gd name="connsiteY3" fmla="*/ 2800970 h 2804145"/>
              <a:gd name="connsiteX4" fmla="*/ 0 w 4162735"/>
              <a:gd name="connsiteY4" fmla="*/ 0 h 2804145"/>
              <a:gd name="connsiteX0" fmla="*/ 0 w 4162735"/>
              <a:gd name="connsiteY0" fmla="*/ 0 h 2800970"/>
              <a:gd name="connsiteX1" fmla="*/ 4162735 w 4162735"/>
              <a:gd name="connsiteY1" fmla="*/ 0 h 2800970"/>
              <a:gd name="connsiteX2" fmla="*/ 3988110 w 4162735"/>
              <a:gd name="connsiteY2" fmla="*/ 2645395 h 2800970"/>
              <a:gd name="connsiteX3" fmla="*/ 171450 w 4162735"/>
              <a:gd name="connsiteY3" fmla="*/ 2800970 h 2800970"/>
              <a:gd name="connsiteX4" fmla="*/ 0 w 4162735"/>
              <a:gd name="connsiteY4" fmla="*/ 0 h 2800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735" h="2800970">
                <a:moveTo>
                  <a:pt x="0" y="0"/>
                </a:moveTo>
                <a:lnTo>
                  <a:pt x="4162735" y="0"/>
                </a:lnTo>
                <a:lnTo>
                  <a:pt x="3988110" y="2645395"/>
                </a:lnTo>
                <a:lnTo>
                  <a:pt x="171450" y="2800970"/>
                </a:lnTo>
                <a:lnTo>
                  <a:pt x="0" y="0"/>
                </a:lnTo>
                <a:close/>
              </a:path>
            </a:pathLst>
          </a:custGeom>
          <a:gradFill flip="none" rotWithShape="1">
            <a:gsLst>
              <a:gs pos="0">
                <a:schemeClr val="accent1"/>
              </a:gs>
              <a:gs pos="100000">
                <a:schemeClr val="tx1"/>
              </a:gs>
            </a:gsLst>
            <a:lin ang="0" scaled="0"/>
            <a:tileRect/>
          </a:gradFill>
        </p:spPr>
        <p:txBody>
          <a:bodyPr lIns="576000" tIns="414000" rIns="144000" anchor="t"/>
          <a:lstStyle>
            <a:lvl1pPr>
              <a:lnSpc>
                <a:spcPct val="88000"/>
              </a:lnSpc>
              <a:defRPr sz="3200">
                <a:solidFill>
                  <a:schemeClr val="bg1"/>
                </a:solidFill>
              </a:defRPr>
            </a:lvl1pPr>
          </a:lstStyle>
          <a:p>
            <a:r>
              <a:rPr lang="en-US" noProof="0" dirty="0"/>
              <a:t>Click to edit Master title style</a:t>
            </a:r>
          </a:p>
        </p:txBody>
      </p:sp>
      <p:sp>
        <p:nvSpPr>
          <p:cNvPr id="3" name="Subtitle 2"/>
          <p:cNvSpPr>
            <a:spLocks noGrp="1"/>
          </p:cNvSpPr>
          <p:nvPr>
            <p:ph type="subTitle" idx="1" hasCustomPrompt="1"/>
          </p:nvPr>
        </p:nvSpPr>
        <p:spPr>
          <a:xfrm>
            <a:off x="6127416" y="4558272"/>
            <a:ext cx="2425323" cy="826528"/>
          </a:xfrm>
        </p:spPr>
        <p:txBody>
          <a:bodyPr anchor="b"/>
          <a:lstStyle>
            <a:lvl1pPr marL="0" indent="0" algn="l">
              <a:lnSpc>
                <a:spcPct val="105000"/>
              </a:lnSpc>
              <a:buNone/>
              <a:defRPr sz="1333">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
            </a:r>
            <a:br>
              <a:rPr lang="en-US" noProof="0" dirty="0"/>
            </a:br>
            <a:r>
              <a:rPr lang="en-US" noProof="0" dirty="0"/>
              <a:t>Department</a:t>
            </a:r>
            <a:br>
              <a:rPr lang="en-US" noProof="0" dirty="0"/>
            </a:br>
            <a:r>
              <a:rPr lang="en-US" noProof="0" dirty="0"/>
              <a:t>Name</a:t>
            </a:r>
            <a:br>
              <a:rPr lang="en-US" noProof="0" dirty="0"/>
            </a:br>
            <a:r>
              <a:rPr lang="en-US" noProof="0" dirty="0"/>
              <a:t>Date</a:t>
            </a:r>
          </a:p>
        </p:txBody>
      </p:sp>
      <p:sp>
        <p:nvSpPr>
          <p:cNvPr id="5" name="Textplatzhalter 4">
            <a:extLst>
              <a:ext uri="{FF2B5EF4-FFF2-40B4-BE49-F238E27FC236}">
                <a16:creationId xmlns:a16="http://schemas.microsoft.com/office/drawing/2014/main" id="{062A3B7D-BC91-4E4C-AB49-6F7780F48FA8}"/>
              </a:ext>
            </a:extLst>
          </p:cNvPr>
          <p:cNvSpPr>
            <a:spLocks noGrp="1"/>
          </p:cNvSpPr>
          <p:nvPr>
            <p:ph type="body" sz="quarter" idx="14" hasCustomPrompt="1"/>
          </p:nvPr>
        </p:nvSpPr>
        <p:spPr>
          <a:xfrm>
            <a:off x="6127416" y="4258733"/>
            <a:ext cx="4537557" cy="226384"/>
          </a:xfrm>
        </p:spPr>
        <p:txBody>
          <a:bodyPr/>
          <a:lstStyle>
            <a:lvl1pPr marL="0" indent="0">
              <a:buNone/>
              <a:defRPr sz="1333" b="1">
                <a:solidFill>
                  <a:schemeClr val="bg1"/>
                </a:solidFill>
              </a:defRPr>
            </a:lvl1pPr>
          </a:lstStyle>
          <a:p>
            <a:pPr lvl="0"/>
            <a:r>
              <a:rPr lang="de-DE" dirty="0" err="1"/>
              <a:t>Subline</a:t>
            </a:r>
            <a:endParaRPr lang="de-DE" dirty="0"/>
          </a:p>
        </p:txBody>
      </p:sp>
      <p:sp>
        <p:nvSpPr>
          <p:cNvPr id="13" name="Textplatzhalter 12">
            <a:extLst>
              <a:ext uri="{FF2B5EF4-FFF2-40B4-BE49-F238E27FC236}">
                <a16:creationId xmlns:a16="http://schemas.microsoft.com/office/drawing/2014/main" id="{999DB352-3444-46ED-9488-DA5A1431A6D6}"/>
              </a:ext>
            </a:extLst>
          </p:cNvPr>
          <p:cNvSpPr>
            <a:spLocks noGrp="1"/>
          </p:cNvSpPr>
          <p:nvPr>
            <p:ph type="body" sz="quarter" idx="15" hasCustomPrompt="1"/>
          </p:nvPr>
        </p:nvSpPr>
        <p:spPr>
          <a:xfrm>
            <a:off x="8592613" y="4558271"/>
            <a:ext cx="3024000" cy="1689600"/>
          </a:xfrm>
          <a:blipFill rotWithShape="1">
            <a:blip r:embed="rId2"/>
            <a:stretch>
              <a:fillRect/>
            </a:stretch>
          </a:blipFill>
        </p:spPr>
        <p:txBody>
          <a:bodyPr/>
          <a:lstStyle>
            <a:lvl1pPr marL="0" indent="0">
              <a:buNone/>
              <a:defRPr sz="533">
                <a:solidFill>
                  <a:schemeClr val="bg1"/>
                </a:solidFill>
              </a:defRPr>
            </a:lvl1pPr>
          </a:lstStyle>
          <a:p>
            <a:pPr lvl="0"/>
            <a:r>
              <a:rPr lang="de-DE" dirty="0"/>
              <a:t> </a:t>
            </a:r>
          </a:p>
        </p:txBody>
      </p:sp>
    </p:spTree>
    <p:extLst>
      <p:ext uri="{BB962C8B-B14F-4D97-AF65-F5344CB8AC3E}">
        <p14:creationId xmlns:p14="http://schemas.microsoft.com/office/powerpoint/2010/main" val="125173993"/>
      </p:ext>
    </p:extLst>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sp>
        <p:nvSpPr>
          <p:cNvPr id="8" name="Bildplatzhalter 6">
            <a:extLst>
              <a:ext uri="{FF2B5EF4-FFF2-40B4-BE49-F238E27FC236}">
                <a16:creationId xmlns:a16="http://schemas.microsoft.com/office/drawing/2014/main" id="{BF7B0546-EF62-4714-AAAD-A2FE9E5F30BA}"/>
              </a:ext>
            </a:extLst>
          </p:cNvPr>
          <p:cNvSpPr>
            <a:spLocks noGrp="1"/>
          </p:cNvSpPr>
          <p:nvPr>
            <p:ph type="pic" sz="quarter" idx="13" hasCustomPrompt="1"/>
          </p:nvPr>
        </p:nvSpPr>
        <p:spPr>
          <a:xfrm>
            <a:off x="0" y="0"/>
            <a:ext cx="12192000" cy="6858000"/>
          </a:xfrm>
          <a:solidFill>
            <a:schemeClr val="bg1">
              <a:lumMod val="85000"/>
            </a:schemeClr>
          </a:solidFill>
        </p:spPr>
        <p:txBody>
          <a:bodyPr anchor="ctr"/>
          <a:lstStyle>
            <a:lvl1pPr marL="0" indent="0" algn="ctr">
              <a:buNone/>
              <a:defRPr/>
            </a:lvl1pPr>
          </a:lstStyle>
          <a:p>
            <a:r>
              <a:rPr lang="en-US" noProof="0" dirty="0"/>
              <a:t>Picture</a:t>
            </a:r>
          </a:p>
        </p:txBody>
      </p:sp>
      <p:sp>
        <p:nvSpPr>
          <p:cNvPr id="2" name="Title 1"/>
          <p:cNvSpPr>
            <a:spLocks noGrp="1"/>
          </p:cNvSpPr>
          <p:nvPr>
            <p:ph type="ctrTitle" hasCustomPrompt="1"/>
          </p:nvPr>
        </p:nvSpPr>
        <p:spPr bwMode="gray">
          <a:xfrm>
            <a:off x="5358986" y="597428"/>
            <a:ext cx="5550313" cy="3734627"/>
          </a:xfrm>
          <a:custGeom>
            <a:avLst/>
            <a:gdLst>
              <a:gd name="connsiteX0" fmla="*/ 0 w 4162735"/>
              <a:gd name="connsiteY0" fmla="*/ 0 h 2804145"/>
              <a:gd name="connsiteX1" fmla="*/ 4162735 w 4162735"/>
              <a:gd name="connsiteY1" fmla="*/ 0 h 2804145"/>
              <a:gd name="connsiteX2" fmla="*/ 4162735 w 4162735"/>
              <a:gd name="connsiteY2" fmla="*/ 2804145 h 2804145"/>
              <a:gd name="connsiteX3" fmla="*/ 0 w 4162735"/>
              <a:gd name="connsiteY3" fmla="*/ 2804145 h 2804145"/>
              <a:gd name="connsiteX4" fmla="*/ 0 w 4162735"/>
              <a:gd name="connsiteY4" fmla="*/ 0 h 2804145"/>
              <a:gd name="connsiteX0" fmla="*/ 0 w 4162735"/>
              <a:gd name="connsiteY0" fmla="*/ 0 h 2804145"/>
              <a:gd name="connsiteX1" fmla="*/ 4162735 w 4162735"/>
              <a:gd name="connsiteY1" fmla="*/ 0 h 2804145"/>
              <a:gd name="connsiteX2" fmla="*/ 4162735 w 4162735"/>
              <a:gd name="connsiteY2" fmla="*/ 2804145 h 2804145"/>
              <a:gd name="connsiteX3" fmla="*/ 171450 w 4162735"/>
              <a:gd name="connsiteY3" fmla="*/ 2800970 h 2804145"/>
              <a:gd name="connsiteX4" fmla="*/ 0 w 4162735"/>
              <a:gd name="connsiteY4" fmla="*/ 0 h 2804145"/>
              <a:gd name="connsiteX0" fmla="*/ 0 w 4162735"/>
              <a:gd name="connsiteY0" fmla="*/ 0 h 2800970"/>
              <a:gd name="connsiteX1" fmla="*/ 4162735 w 4162735"/>
              <a:gd name="connsiteY1" fmla="*/ 0 h 2800970"/>
              <a:gd name="connsiteX2" fmla="*/ 3988110 w 4162735"/>
              <a:gd name="connsiteY2" fmla="*/ 2645395 h 2800970"/>
              <a:gd name="connsiteX3" fmla="*/ 171450 w 4162735"/>
              <a:gd name="connsiteY3" fmla="*/ 2800970 h 2800970"/>
              <a:gd name="connsiteX4" fmla="*/ 0 w 4162735"/>
              <a:gd name="connsiteY4" fmla="*/ 0 h 2800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735" h="2800970">
                <a:moveTo>
                  <a:pt x="0" y="0"/>
                </a:moveTo>
                <a:lnTo>
                  <a:pt x="4162735" y="0"/>
                </a:lnTo>
                <a:lnTo>
                  <a:pt x="3988110" y="2645395"/>
                </a:lnTo>
                <a:lnTo>
                  <a:pt x="171450" y="2800970"/>
                </a:lnTo>
                <a:lnTo>
                  <a:pt x="0" y="0"/>
                </a:lnTo>
                <a:close/>
              </a:path>
            </a:pathLst>
          </a:custGeom>
          <a:gradFill flip="none" rotWithShape="1">
            <a:gsLst>
              <a:gs pos="0">
                <a:schemeClr val="accent1"/>
              </a:gs>
              <a:gs pos="100000">
                <a:schemeClr val="tx1"/>
              </a:gs>
            </a:gsLst>
            <a:lin ang="0" scaled="0"/>
            <a:tileRect/>
          </a:gradFill>
        </p:spPr>
        <p:txBody>
          <a:bodyPr lIns="576000" tIns="414000" rIns="144000" anchor="t"/>
          <a:lstStyle>
            <a:lvl1pPr>
              <a:lnSpc>
                <a:spcPct val="88000"/>
              </a:lnSpc>
              <a:defRPr sz="3200">
                <a:solidFill>
                  <a:schemeClr val="bg1"/>
                </a:solidFill>
              </a:defRPr>
            </a:lvl1pPr>
          </a:lstStyle>
          <a:p>
            <a:r>
              <a:rPr lang="en-US" noProof="0" dirty="0"/>
              <a:t>Click to edit Master title style</a:t>
            </a:r>
          </a:p>
        </p:txBody>
      </p:sp>
      <p:sp>
        <p:nvSpPr>
          <p:cNvPr id="3" name="Subtitle 2"/>
          <p:cNvSpPr>
            <a:spLocks noGrp="1"/>
          </p:cNvSpPr>
          <p:nvPr>
            <p:ph type="subTitle" idx="1" hasCustomPrompt="1"/>
          </p:nvPr>
        </p:nvSpPr>
        <p:spPr>
          <a:xfrm>
            <a:off x="6127416" y="3179561"/>
            <a:ext cx="2425323" cy="826528"/>
          </a:xfrm>
        </p:spPr>
        <p:txBody>
          <a:bodyPr anchor="b"/>
          <a:lstStyle>
            <a:lvl1pPr marL="0" indent="0" algn="l">
              <a:lnSpc>
                <a:spcPct val="105000"/>
              </a:lnSpc>
              <a:buNone/>
              <a:defRPr sz="1333">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
            </a:r>
            <a:br>
              <a:rPr lang="en-US" noProof="0" dirty="0"/>
            </a:br>
            <a:r>
              <a:rPr lang="en-US" noProof="0" dirty="0"/>
              <a:t>Department</a:t>
            </a:r>
            <a:br>
              <a:rPr lang="en-US" noProof="0" dirty="0"/>
            </a:br>
            <a:r>
              <a:rPr lang="en-US" noProof="0" dirty="0"/>
              <a:t>Name</a:t>
            </a:r>
            <a:br>
              <a:rPr lang="en-US" noProof="0" dirty="0"/>
            </a:br>
            <a:r>
              <a:rPr lang="en-US" noProof="0" dirty="0"/>
              <a:t>Date</a:t>
            </a:r>
          </a:p>
        </p:txBody>
      </p:sp>
      <p:sp>
        <p:nvSpPr>
          <p:cNvPr id="5" name="Textplatzhalter 4">
            <a:extLst>
              <a:ext uri="{FF2B5EF4-FFF2-40B4-BE49-F238E27FC236}">
                <a16:creationId xmlns:a16="http://schemas.microsoft.com/office/drawing/2014/main" id="{062A3B7D-BC91-4E4C-AB49-6F7780F48FA8}"/>
              </a:ext>
            </a:extLst>
          </p:cNvPr>
          <p:cNvSpPr>
            <a:spLocks noGrp="1"/>
          </p:cNvSpPr>
          <p:nvPr>
            <p:ph type="body" sz="quarter" idx="14" hasCustomPrompt="1"/>
          </p:nvPr>
        </p:nvSpPr>
        <p:spPr>
          <a:xfrm>
            <a:off x="6127416" y="2880023"/>
            <a:ext cx="4537557" cy="226384"/>
          </a:xfrm>
        </p:spPr>
        <p:txBody>
          <a:bodyPr/>
          <a:lstStyle>
            <a:lvl1pPr marL="0" indent="0">
              <a:buNone/>
              <a:defRPr sz="1333" b="1">
                <a:solidFill>
                  <a:schemeClr val="bg1"/>
                </a:solidFill>
              </a:defRPr>
            </a:lvl1pPr>
          </a:lstStyle>
          <a:p>
            <a:pPr lvl="0"/>
            <a:r>
              <a:rPr lang="de-DE" dirty="0" err="1"/>
              <a:t>Subline</a:t>
            </a:r>
            <a:endParaRPr lang="de-DE" dirty="0"/>
          </a:p>
        </p:txBody>
      </p:sp>
      <p:sp>
        <p:nvSpPr>
          <p:cNvPr id="13" name="Textplatzhalter 12">
            <a:extLst>
              <a:ext uri="{FF2B5EF4-FFF2-40B4-BE49-F238E27FC236}">
                <a16:creationId xmlns:a16="http://schemas.microsoft.com/office/drawing/2014/main" id="{999DB352-3444-46ED-9488-DA5A1431A6D6}"/>
              </a:ext>
            </a:extLst>
          </p:cNvPr>
          <p:cNvSpPr>
            <a:spLocks noGrp="1"/>
          </p:cNvSpPr>
          <p:nvPr>
            <p:ph type="body" sz="quarter" idx="15" hasCustomPrompt="1"/>
          </p:nvPr>
        </p:nvSpPr>
        <p:spPr>
          <a:xfrm>
            <a:off x="8592613" y="3179560"/>
            <a:ext cx="3024000" cy="1689600"/>
          </a:xfrm>
          <a:blipFill rotWithShape="1">
            <a:blip r:embed="rId2"/>
            <a:stretch>
              <a:fillRect/>
            </a:stretch>
          </a:blipFill>
        </p:spPr>
        <p:txBody>
          <a:bodyPr/>
          <a:lstStyle>
            <a:lvl1pPr marL="0" indent="0">
              <a:buNone/>
              <a:defRPr sz="533">
                <a:solidFill>
                  <a:schemeClr val="bg1"/>
                </a:solidFill>
              </a:defRPr>
            </a:lvl1pPr>
          </a:lstStyle>
          <a:p>
            <a:pPr lvl="0"/>
            <a:r>
              <a:rPr lang="de-DE" dirty="0"/>
              <a:t> </a:t>
            </a:r>
          </a:p>
        </p:txBody>
      </p:sp>
    </p:spTree>
    <p:extLst>
      <p:ext uri="{BB962C8B-B14F-4D97-AF65-F5344CB8AC3E}">
        <p14:creationId xmlns:p14="http://schemas.microsoft.com/office/powerpoint/2010/main" val="1038601301"/>
      </p:ext>
    </p:extLst>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pic>
        <p:nvPicPr>
          <p:cNvPr id="7" name="Grafik 15">
            <a:extLst>
              <a:ext uri="{FF2B5EF4-FFF2-40B4-BE49-F238E27FC236}">
                <a16:creationId xmlns:a16="http://schemas.microsoft.com/office/drawing/2014/main" id="{6C4172ED-7F14-4D3C-96C0-FFFD7912A48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5" name="Freeform 5">
            <a:extLst>
              <a:ext uri="{FF2B5EF4-FFF2-40B4-BE49-F238E27FC236}">
                <a16:creationId xmlns:a16="http://schemas.microsoft.com/office/drawing/2014/main" id="{329A1CBA-9B21-417C-82B4-0C5189633955}"/>
              </a:ext>
            </a:extLst>
          </p:cNvPr>
          <p:cNvSpPr>
            <a:spLocks/>
          </p:cNvSpPr>
          <p:nvPr userDrawn="1"/>
        </p:nvSpPr>
        <p:spPr bwMode="auto">
          <a:xfrm>
            <a:off x="3195464" y="559472"/>
            <a:ext cx="7797080" cy="5253097"/>
          </a:xfrm>
          <a:custGeom>
            <a:avLst/>
            <a:gdLst>
              <a:gd name="T0" fmla="*/ 0 w 3258"/>
              <a:gd name="T1" fmla="*/ 0 h 2195"/>
              <a:gd name="T2" fmla="*/ 134 w 3258"/>
              <a:gd name="T3" fmla="*/ 2195 h 2195"/>
              <a:gd name="T4" fmla="*/ 3131 w 3258"/>
              <a:gd name="T5" fmla="*/ 2074 h 2195"/>
              <a:gd name="T6" fmla="*/ 3258 w 3258"/>
              <a:gd name="T7" fmla="*/ 0 h 2195"/>
              <a:gd name="T8" fmla="*/ 0 w 3258"/>
              <a:gd name="T9" fmla="*/ 0 h 2195"/>
            </a:gdLst>
            <a:ahLst/>
            <a:cxnLst>
              <a:cxn ang="0">
                <a:pos x="T0" y="T1"/>
              </a:cxn>
              <a:cxn ang="0">
                <a:pos x="T2" y="T3"/>
              </a:cxn>
              <a:cxn ang="0">
                <a:pos x="T4" y="T5"/>
              </a:cxn>
              <a:cxn ang="0">
                <a:pos x="T6" y="T7"/>
              </a:cxn>
              <a:cxn ang="0">
                <a:pos x="T8" y="T9"/>
              </a:cxn>
            </a:cxnLst>
            <a:rect l="0" t="0" r="r" b="b"/>
            <a:pathLst>
              <a:path w="3258" h="2195">
                <a:moveTo>
                  <a:pt x="0" y="0"/>
                </a:moveTo>
                <a:lnTo>
                  <a:pt x="134" y="2195"/>
                </a:lnTo>
                <a:lnTo>
                  <a:pt x="3131" y="2074"/>
                </a:lnTo>
                <a:lnTo>
                  <a:pt x="3258" y="0"/>
                </a:lnTo>
                <a:lnTo>
                  <a:pt x="0" y="0"/>
                </a:lnTo>
                <a:close/>
              </a:path>
            </a:pathLst>
          </a:custGeom>
          <a:gradFill>
            <a:gsLst>
              <a:gs pos="0">
                <a:schemeClr val="accent1"/>
              </a:gs>
              <a:gs pos="100000">
                <a:schemeClr val="tx1"/>
              </a:gs>
            </a:gsLst>
            <a:lin ang="0" scaled="0"/>
          </a:gradFill>
          <a:ln>
            <a:noFill/>
          </a:ln>
        </p:spPr>
        <p:txBody>
          <a:bodyPr vert="horz" wrap="square" lIns="121920" tIns="60960" rIns="121920" bIns="60960" numCol="1" anchor="t" anchorCtr="0" compatLnSpc="1">
            <a:prstTxWarp prst="textNoShape">
              <a:avLst/>
            </a:prstTxWarp>
          </a:bodyPr>
          <a:lstStyle/>
          <a:p>
            <a:endParaRPr lang="de-DE" sz="2400">
              <a:solidFill>
                <a:srgbClr val="001E3E"/>
              </a:solidFill>
            </a:endParaRPr>
          </a:p>
        </p:txBody>
      </p:sp>
      <p:sp>
        <p:nvSpPr>
          <p:cNvPr id="2" name="Title 1"/>
          <p:cNvSpPr>
            <a:spLocks noGrp="1"/>
          </p:cNvSpPr>
          <p:nvPr>
            <p:ph type="title" hasCustomPrompt="1"/>
          </p:nvPr>
        </p:nvSpPr>
        <p:spPr>
          <a:xfrm>
            <a:off x="4127501" y="1385987"/>
            <a:ext cx="6000948" cy="2475061"/>
          </a:xfrm>
        </p:spPr>
        <p:txBody>
          <a:bodyPr anchor="t"/>
          <a:lstStyle>
            <a:lvl1pPr>
              <a:lnSpc>
                <a:spcPct val="86000"/>
              </a:lnSpc>
              <a:defRPr sz="4800">
                <a:solidFill>
                  <a:schemeClr val="bg1"/>
                </a:solidFill>
              </a:defRPr>
            </a:lvl1pPr>
          </a:lstStyle>
          <a:p>
            <a:r>
              <a:rPr lang="en-US" noProof="0" dirty="0"/>
              <a:t>Click to edit Master title style</a:t>
            </a:r>
          </a:p>
        </p:txBody>
      </p:sp>
      <p:sp>
        <p:nvSpPr>
          <p:cNvPr id="8" name="Textplatzhalter 4">
            <a:extLst>
              <a:ext uri="{FF2B5EF4-FFF2-40B4-BE49-F238E27FC236}">
                <a16:creationId xmlns:a16="http://schemas.microsoft.com/office/drawing/2014/main" id="{C03F8266-7713-4BE2-91E6-0B6EE51EE04E}"/>
              </a:ext>
            </a:extLst>
          </p:cNvPr>
          <p:cNvSpPr>
            <a:spLocks noGrp="1"/>
          </p:cNvSpPr>
          <p:nvPr>
            <p:ph type="body" sz="quarter" idx="14" hasCustomPrompt="1"/>
          </p:nvPr>
        </p:nvSpPr>
        <p:spPr>
          <a:xfrm>
            <a:off x="4127501" y="3877982"/>
            <a:ext cx="6000948" cy="511125"/>
          </a:xfrm>
        </p:spPr>
        <p:txBody>
          <a:bodyPr/>
          <a:lstStyle>
            <a:lvl1pPr marL="0" indent="0">
              <a:buNone/>
              <a:defRPr sz="1600" b="1">
                <a:solidFill>
                  <a:schemeClr val="bg1"/>
                </a:solidFill>
              </a:defRPr>
            </a:lvl1pPr>
          </a:lstStyle>
          <a:p>
            <a:pPr lvl="0"/>
            <a:r>
              <a:rPr lang="de-DE" dirty="0" err="1"/>
              <a:t>Subline</a:t>
            </a:r>
            <a:endParaRPr lang="de-DE" dirty="0"/>
          </a:p>
        </p:txBody>
      </p:sp>
      <p:sp>
        <p:nvSpPr>
          <p:cNvPr id="9" name="Textplatzhalter 4">
            <a:extLst>
              <a:ext uri="{FF2B5EF4-FFF2-40B4-BE49-F238E27FC236}">
                <a16:creationId xmlns:a16="http://schemas.microsoft.com/office/drawing/2014/main" id="{BA10A8AB-3304-4C68-84DC-CBA205FE3D4F}"/>
              </a:ext>
            </a:extLst>
          </p:cNvPr>
          <p:cNvSpPr>
            <a:spLocks noGrp="1"/>
          </p:cNvSpPr>
          <p:nvPr>
            <p:ph type="body" sz="quarter" idx="15" hasCustomPrompt="1"/>
          </p:nvPr>
        </p:nvSpPr>
        <p:spPr>
          <a:xfrm>
            <a:off x="4127501" y="4406040"/>
            <a:ext cx="4464777" cy="734219"/>
          </a:xfrm>
        </p:spPr>
        <p:txBody>
          <a:bodyPr anchor="b"/>
          <a:lstStyle>
            <a:lvl1pPr marL="0" indent="0">
              <a:lnSpc>
                <a:spcPct val="110000"/>
              </a:lnSpc>
              <a:buNone/>
              <a:defRPr sz="1333" b="0">
                <a:solidFill>
                  <a:schemeClr val="bg1"/>
                </a:solidFill>
              </a:defRPr>
            </a:lvl1pPr>
          </a:lstStyle>
          <a:p>
            <a:pPr lvl="0"/>
            <a:r>
              <a:rPr lang="de-DE" dirty="0" err="1"/>
              <a:t>Subline</a:t>
            </a:r>
            <a:endParaRPr lang="de-DE" dirty="0"/>
          </a:p>
        </p:txBody>
      </p:sp>
      <p:pic>
        <p:nvPicPr>
          <p:cNvPr id="13" name="Grafik 12">
            <a:extLst>
              <a:ext uri="{FF2B5EF4-FFF2-40B4-BE49-F238E27FC236}">
                <a16:creationId xmlns:a16="http://schemas.microsoft.com/office/drawing/2014/main" id="{347204DD-F4C9-4448-80D4-E8A2EC321B7B}"/>
              </a:ext>
            </a:extLst>
          </p:cNvPr>
          <p:cNvPicPr>
            <a:picLocks noChangeAspect="1"/>
          </p:cNvPicPr>
          <p:nvPr userDrawn="1"/>
        </p:nvPicPr>
        <p:blipFill>
          <a:blip r:embed="rId3"/>
          <a:stretch>
            <a:fillRect/>
          </a:stretch>
        </p:blipFill>
        <p:spPr>
          <a:xfrm>
            <a:off x="8394000" y="4359270"/>
            <a:ext cx="3420533" cy="2150533"/>
          </a:xfrm>
          <a:prstGeom prst="rect">
            <a:avLst/>
          </a:prstGeom>
        </p:spPr>
      </p:pic>
    </p:spTree>
    <p:extLst>
      <p:ext uri="{BB962C8B-B14F-4D97-AF65-F5344CB8AC3E}">
        <p14:creationId xmlns:p14="http://schemas.microsoft.com/office/powerpoint/2010/main" val="1820258339"/>
      </p:ext>
    </p:extLst>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E064CE14-7E46-4B38-A576-1AC7795256D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5" name="Freeform 5">
            <a:extLst>
              <a:ext uri="{FF2B5EF4-FFF2-40B4-BE49-F238E27FC236}">
                <a16:creationId xmlns:a16="http://schemas.microsoft.com/office/drawing/2014/main" id="{329A1CBA-9B21-417C-82B4-0C5189633955}"/>
              </a:ext>
            </a:extLst>
          </p:cNvPr>
          <p:cNvSpPr>
            <a:spLocks/>
          </p:cNvSpPr>
          <p:nvPr userDrawn="1"/>
        </p:nvSpPr>
        <p:spPr bwMode="auto">
          <a:xfrm>
            <a:off x="3195464" y="559472"/>
            <a:ext cx="7797080" cy="5253097"/>
          </a:xfrm>
          <a:custGeom>
            <a:avLst/>
            <a:gdLst>
              <a:gd name="T0" fmla="*/ 0 w 3258"/>
              <a:gd name="T1" fmla="*/ 0 h 2195"/>
              <a:gd name="T2" fmla="*/ 134 w 3258"/>
              <a:gd name="T3" fmla="*/ 2195 h 2195"/>
              <a:gd name="T4" fmla="*/ 3131 w 3258"/>
              <a:gd name="T5" fmla="*/ 2074 h 2195"/>
              <a:gd name="T6" fmla="*/ 3258 w 3258"/>
              <a:gd name="T7" fmla="*/ 0 h 2195"/>
              <a:gd name="T8" fmla="*/ 0 w 3258"/>
              <a:gd name="T9" fmla="*/ 0 h 2195"/>
            </a:gdLst>
            <a:ahLst/>
            <a:cxnLst>
              <a:cxn ang="0">
                <a:pos x="T0" y="T1"/>
              </a:cxn>
              <a:cxn ang="0">
                <a:pos x="T2" y="T3"/>
              </a:cxn>
              <a:cxn ang="0">
                <a:pos x="T4" y="T5"/>
              </a:cxn>
              <a:cxn ang="0">
                <a:pos x="T6" y="T7"/>
              </a:cxn>
              <a:cxn ang="0">
                <a:pos x="T8" y="T9"/>
              </a:cxn>
            </a:cxnLst>
            <a:rect l="0" t="0" r="r" b="b"/>
            <a:pathLst>
              <a:path w="3258" h="2195">
                <a:moveTo>
                  <a:pt x="0" y="0"/>
                </a:moveTo>
                <a:lnTo>
                  <a:pt x="134" y="2195"/>
                </a:lnTo>
                <a:lnTo>
                  <a:pt x="3131" y="2074"/>
                </a:lnTo>
                <a:lnTo>
                  <a:pt x="3258" y="0"/>
                </a:lnTo>
                <a:lnTo>
                  <a:pt x="0" y="0"/>
                </a:lnTo>
                <a:close/>
              </a:path>
            </a:pathLst>
          </a:custGeom>
          <a:gradFill>
            <a:gsLst>
              <a:gs pos="0">
                <a:schemeClr val="accent1"/>
              </a:gs>
              <a:gs pos="100000">
                <a:schemeClr val="tx1"/>
              </a:gs>
            </a:gsLst>
            <a:lin ang="0" scaled="0"/>
          </a:gradFill>
          <a:ln>
            <a:noFill/>
          </a:ln>
        </p:spPr>
        <p:txBody>
          <a:bodyPr vert="horz" wrap="square" lIns="121920" tIns="60960" rIns="121920" bIns="60960" numCol="1" anchor="t" anchorCtr="0" compatLnSpc="1">
            <a:prstTxWarp prst="textNoShape">
              <a:avLst/>
            </a:prstTxWarp>
          </a:bodyPr>
          <a:lstStyle/>
          <a:p>
            <a:endParaRPr lang="de-DE" sz="2400">
              <a:solidFill>
                <a:srgbClr val="001E3E"/>
              </a:solidFill>
            </a:endParaRPr>
          </a:p>
        </p:txBody>
      </p:sp>
      <p:sp>
        <p:nvSpPr>
          <p:cNvPr id="2" name="Title 1"/>
          <p:cNvSpPr>
            <a:spLocks noGrp="1"/>
          </p:cNvSpPr>
          <p:nvPr>
            <p:ph type="title" hasCustomPrompt="1"/>
          </p:nvPr>
        </p:nvSpPr>
        <p:spPr>
          <a:xfrm>
            <a:off x="4127501" y="1385987"/>
            <a:ext cx="6000948" cy="2475061"/>
          </a:xfrm>
        </p:spPr>
        <p:txBody>
          <a:bodyPr anchor="t"/>
          <a:lstStyle>
            <a:lvl1pPr>
              <a:lnSpc>
                <a:spcPct val="86000"/>
              </a:lnSpc>
              <a:defRPr sz="4800">
                <a:solidFill>
                  <a:schemeClr val="bg1"/>
                </a:solidFill>
              </a:defRPr>
            </a:lvl1pPr>
          </a:lstStyle>
          <a:p>
            <a:r>
              <a:rPr lang="en-US" noProof="0" dirty="0"/>
              <a:t>Click to edit Master title style</a:t>
            </a:r>
          </a:p>
        </p:txBody>
      </p:sp>
      <p:sp>
        <p:nvSpPr>
          <p:cNvPr id="8" name="Textplatzhalter 4">
            <a:extLst>
              <a:ext uri="{FF2B5EF4-FFF2-40B4-BE49-F238E27FC236}">
                <a16:creationId xmlns:a16="http://schemas.microsoft.com/office/drawing/2014/main" id="{C03F8266-7713-4BE2-91E6-0B6EE51EE04E}"/>
              </a:ext>
            </a:extLst>
          </p:cNvPr>
          <p:cNvSpPr>
            <a:spLocks noGrp="1"/>
          </p:cNvSpPr>
          <p:nvPr>
            <p:ph type="body" sz="quarter" idx="14" hasCustomPrompt="1"/>
          </p:nvPr>
        </p:nvSpPr>
        <p:spPr>
          <a:xfrm>
            <a:off x="4127501" y="3877982"/>
            <a:ext cx="6000948" cy="511125"/>
          </a:xfrm>
        </p:spPr>
        <p:txBody>
          <a:bodyPr/>
          <a:lstStyle>
            <a:lvl1pPr marL="0" indent="0">
              <a:buNone/>
              <a:defRPr sz="1600" b="1">
                <a:solidFill>
                  <a:schemeClr val="bg1"/>
                </a:solidFill>
              </a:defRPr>
            </a:lvl1pPr>
          </a:lstStyle>
          <a:p>
            <a:pPr lvl="0"/>
            <a:r>
              <a:rPr lang="de-DE" dirty="0" err="1"/>
              <a:t>Subline</a:t>
            </a:r>
            <a:endParaRPr lang="de-DE" dirty="0"/>
          </a:p>
        </p:txBody>
      </p:sp>
      <p:sp>
        <p:nvSpPr>
          <p:cNvPr id="9" name="Textplatzhalter 4">
            <a:extLst>
              <a:ext uri="{FF2B5EF4-FFF2-40B4-BE49-F238E27FC236}">
                <a16:creationId xmlns:a16="http://schemas.microsoft.com/office/drawing/2014/main" id="{BA10A8AB-3304-4C68-84DC-CBA205FE3D4F}"/>
              </a:ext>
            </a:extLst>
          </p:cNvPr>
          <p:cNvSpPr>
            <a:spLocks noGrp="1"/>
          </p:cNvSpPr>
          <p:nvPr>
            <p:ph type="body" sz="quarter" idx="15" hasCustomPrompt="1"/>
          </p:nvPr>
        </p:nvSpPr>
        <p:spPr>
          <a:xfrm>
            <a:off x="4127501" y="4406040"/>
            <a:ext cx="4464777" cy="734219"/>
          </a:xfrm>
        </p:spPr>
        <p:txBody>
          <a:bodyPr anchor="b"/>
          <a:lstStyle>
            <a:lvl1pPr marL="0" indent="0">
              <a:lnSpc>
                <a:spcPct val="110000"/>
              </a:lnSpc>
              <a:buNone/>
              <a:defRPr sz="1333" b="0">
                <a:solidFill>
                  <a:schemeClr val="bg1"/>
                </a:solidFill>
              </a:defRPr>
            </a:lvl1pPr>
          </a:lstStyle>
          <a:p>
            <a:pPr lvl="0"/>
            <a:r>
              <a:rPr lang="de-DE" dirty="0" err="1"/>
              <a:t>Subline</a:t>
            </a:r>
            <a:endParaRPr lang="de-DE" dirty="0"/>
          </a:p>
        </p:txBody>
      </p:sp>
      <p:pic>
        <p:nvPicPr>
          <p:cNvPr id="11" name="Grafik 10">
            <a:extLst>
              <a:ext uri="{FF2B5EF4-FFF2-40B4-BE49-F238E27FC236}">
                <a16:creationId xmlns:a16="http://schemas.microsoft.com/office/drawing/2014/main" id="{831807FE-233C-A144-82C1-BC7E65FCA993}"/>
              </a:ext>
            </a:extLst>
          </p:cNvPr>
          <p:cNvPicPr>
            <a:picLocks noChangeAspect="1"/>
          </p:cNvPicPr>
          <p:nvPr userDrawn="1"/>
        </p:nvPicPr>
        <p:blipFill>
          <a:blip r:embed="rId3"/>
          <a:stretch>
            <a:fillRect/>
          </a:stretch>
        </p:blipFill>
        <p:spPr>
          <a:xfrm>
            <a:off x="8394000" y="4359270"/>
            <a:ext cx="3420533" cy="2150533"/>
          </a:xfrm>
          <a:prstGeom prst="rect">
            <a:avLst/>
          </a:prstGeom>
        </p:spPr>
      </p:pic>
    </p:spTree>
    <p:extLst>
      <p:ext uri="{BB962C8B-B14F-4D97-AF65-F5344CB8AC3E}">
        <p14:creationId xmlns:p14="http://schemas.microsoft.com/office/powerpoint/2010/main" val="494062275"/>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223A2129-92C0-49AD-93B7-0E623A6645C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5" name="Freeform 5">
            <a:extLst>
              <a:ext uri="{FF2B5EF4-FFF2-40B4-BE49-F238E27FC236}">
                <a16:creationId xmlns:a16="http://schemas.microsoft.com/office/drawing/2014/main" id="{329A1CBA-9B21-417C-82B4-0C5189633955}"/>
              </a:ext>
            </a:extLst>
          </p:cNvPr>
          <p:cNvSpPr>
            <a:spLocks/>
          </p:cNvSpPr>
          <p:nvPr userDrawn="1"/>
        </p:nvSpPr>
        <p:spPr bwMode="auto">
          <a:xfrm>
            <a:off x="3195464" y="559472"/>
            <a:ext cx="7797080" cy="5253097"/>
          </a:xfrm>
          <a:custGeom>
            <a:avLst/>
            <a:gdLst>
              <a:gd name="T0" fmla="*/ 0 w 3258"/>
              <a:gd name="T1" fmla="*/ 0 h 2195"/>
              <a:gd name="T2" fmla="*/ 134 w 3258"/>
              <a:gd name="T3" fmla="*/ 2195 h 2195"/>
              <a:gd name="T4" fmla="*/ 3131 w 3258"/>
              <a:gd name="T5" fmla="*/ 2074 h 2195"/>
              <a:gd name="T6" fmla="*/ 3258 w 3258"/>
              <a:gd name="T7" fmla="*/ 0 h 2195"/>
              <a:gd name="T8" fmla="*/ 0 w 3258"/>
              <a:gd name="T9" fmla="*/ 0 h 2195"/>
            </a:gdLst>
            <a:ahLst/>
            <a:cxnLst>
              <a:cxn ang="0">
                <a:pos x="T0" y="T1"/>
              </a:cxn>
              <a:cxn ang="0">
                <a:pos x="T2" y="T3"/>
              </a:cxn>
              <a:cxn ang="0">
                <a:pos x="T4" y="T5"/>
              </a:cxn>
              <a:cxn ang="0">
                <a:pos x="T6" y="T7"/>
              </a:cxn>
              <a:cxn ang="0">
                <a:pos x="T8" y="T9"/>
              </a:cxn>
            </a:cxnLst>
            <a:rect l="0" t="0" r="r" b="b"/>
            <a:pathLst>
              <a:path w="3258" h="2195">
                <a:moveTo>
                  <a:pt x="0" y="0"/>
                </a:moveTo>
                <a:lnTo>
                  <a:pt x="134" y="2195"/>
                </a:lnTo>
                <a:lnTo>
                  <a:pt x="3131" y="2074"/>
                </a:lnTo>
                <a:lnTo>
                  <a:pt x="3258" y="0"/>
                </a:lnTo>
                <a:lnTo>
                  <a:pt x="0" y="0"/>
                </a:lnTo>
                <a:close/>
              </a:path>
            </a:pathLst>
          </a:custGeom>
          <a:gradFill>
            <a:gsLst>
              <a:gs pos="0">
                <a:schemeClr val="accent1"/>
              </a:gs>
              <a:gs pos="100000">
                <a:schemeClr val="tx1"/>
              </a:gs>
            </a:gsLst>
            <a:lin ang="0" scaled="0"/>
          </a:gradFill>
          <a:ln>
            <a:noFill/>
          </a:ln>
        </p:spPr>
        <p:txBody>
          <a:bodyPr vert="horz" wrap="square" lIns="121920" tIns="60960" rIns="121920" bIns="60960" numCol="1" anchor="t" anchorCtr="0" compatLnSpc="1">
            <a:prstTxWarp prst="textNoShape">
              <a:avLst/>
            </a:prstTxWarp>
          </a:bodyPr>
          <a:lstStyle/>
          <a:p>
            <a:endParaRPr lang="de-DE" sz="2400">
              <a:solidFill>
                <a:srgbClr val="001E3E"/>
              </a:solidFill>
            </a:endParaRPr>
          </a:p>
        </p:txBody>
      </p:sp>
      <p:sp>
        <p:nvSpPr>
          <p:cNvPr id="2" name="Title 1"/>
          <p:cNvSpPr>
            <a:spLocks noGrp="1"/>
          </p:cNvSpPr>
          <p:nvPr>
            <p:ph type="title" hasCustomPrompt="1"/>
          </p:nvPr>
        </p:nvSpPr>
        <p:spPr>
          <a:xfrm>
            <a:off x="4127501" y="1385987"/>
            <a:ext cx="6000948" cy="2475061"/>
          </a:xfrm>
        </p:spPr>
        <p:txBody>
          <a:bodyPr anchor="t"/>
          <a:lstStyle>
            <a:lvl1pPr>
              <a:lnSpc>
                <a:spcPct val="86000"/>
              </a:lnSpc>
              <a:defRPr sz="4800">
                <a:solidFill>
                  <a:schemeClr val="bg1"/>
                </a:solidFill>
              </a:defRPr>
            </a:lvl1pPr>
          </a:lstStyle>
          <a:p>
            <a:r>
              <a:rPr lang="en-US" noProof="0" dirty="0"/>
              <a:t>Click to edit Master title style</a:t>
            </a:r>
          </a:p>
        </p:txBody>
      </p:sp>
      <p:sp>
        <p:nvSpPr>
          <p:cNvPr id="8" name="Textplatzhalter 4">
            <a:extLst>
              <a:ext uri="{FF2B5EF4-FFF2-40B4-BE49-F238E27FC236}">
                <a16:creationId xmlns:a16="http://schemas.microsoft.com/office/drawing/2014/main" id="{C03F8266-7713-4BE2-91E6-0B6EE51EE04E}"/>
              </a:ext>
            </a:extLst>
          </p:cNvPr>
          <p:cNvSpPr>
            <a:spLocks noGrp="1"/>
          </p:cNvSpPr>
          <p:nvPr>
            <p:ph type="body" sz="quarter" idx="14" hasCustomPrompt="1"/>
          </p:nvPr>
        </p:nvSpPr>
        <p:spPr>
          <a:xfrm>
            <a:off x="4127501" y="3877982"/>
            <a:ext cx="6000948" cy="511125"/>
          </a:xfrm>
        </p:spPr>
        <p:txBody>
          <a:bodyPr/>
          <a:lstStyle>
            <a:lvl1pPr marL="0" indent="0">
              <a:buNone/>
              <a:defRPr sz="1600" b="1">
                <a:solidFill>
                  <a:schemeClr val="bg1"/>
                </a:solidFill>
              </a:defRPr>
            </a:lvl1pPr>
          </a:lstStyle>
          <a:p>
            <a:pPr lvl="0"/>
            <a:r>
              <a:rPr lang="de-DE" dirty="0" err="1"/>
              <a:t>Subline</a:t>
            </a:r>
            <a:endParaRPr lang="de-DE" dirty="0"/>
          </a:p>
        </p:txBody>
      </p:sp>
      <p:sp>
        <p:nvSpPr>
          <p:cNvPr id="9" name="Textplatzhalter 4">
            <a:extLst>
              <a:ext uri="{FF2B5EF4-FFF2-40B4-BE49-F238E27FC236}">
                <a16:creationId xmlns:a16="http://schemas.microsoft.com/office/drawing/2014/main" id="{BA10A8AB-3304-4C68-84DC-CBA205FE3D4F}"/>
              </a:ext>
            </a:extLst>
          </p:cNvPr>
          <p:cNvSpPr>
            <a:spLocks noGrp="1"/>
          </p:cNvSpPr>
          <p:nvPr>
            <p:ph type="body" sz="quarter" idx="15" hasCustomPrompt="1"/>
          </p:nvPr>
        </p:nvSpPr>
        <p:spPr>
          <a:xfrm>
            <a:off x="4127501" y="4406040"/>
            <a:ext cx="4464777" cy="734219"/>
          </a:xfrm>
        </p:spPr>
        <p:txBody>
          <a:bodyPr anchor="b"/>
          <a:lstStyle>
            <a:lvl1pPr marL="0" indent="0">
              <a:lnSpc>
                <a:spcPct val="110000"/>
              </a:lnSpc>
              <a:buNone/>
              <a:defRPr sz="1333" b="0">
                <a:solidFill>
                  <a:schemeClr val="bg1"/>
                </a:solidFill>
              </a:defRPr>
            </a:lvl1pPr>
          </a:lstStyle>
          <a:p>
            <a:pPr lvl="0"/>
            <a:r>
              <a:rPr lang="de-DE" dirty="0" err="1"/>
              <a:t>Subline</a:t>
            </a:r>
            <a:endParaRPr lang="de-DE" dirty="0"/>
          </a:p>
        </p:txBody>
      </p:sp>
      <p:pic>
        <p:nvPicPr>
          <p:cNvPr id="11" name="Grafik 10">
            <a:extLst>
              <a:ext uri="{FF2B5EF4-FFF2-40B4-BE49-F238E27FC236}">
                <a16:creationId xmlns:a16="http://schemas.microsoft.com/office/drawing/2014/main" id="{643CFDB9-3B6A-264C-8F44-F2A94E5C6AAE}"/>
              </a:ext>
            </a:extLst>
          </p:cNvPr>
          <p:cNvPicPr>
            <a:picLocks noChangeAspect="1"/>
          </p:cNvPicPr>
          <p:nvPr userDrawn="1"/>
        </p:nvPicPr>
        <p:blipFill>
          <a:blip r:embed="rId3"/>
          <a:stretch>
            <a:fillRect/>
          </a:stretch>
        </p:blipFill>
        <p:spPr>
          <a:xfrm>
            <a:off x="8394000" y="4359270"/>
            <a:ext cx="3420533" cy="2150533"/>
          </a:xfrm>
          <a:prstGeom prst="rect">
            <a:avLst/>
          </a:prstGeom>
        </p:spPr>
      </p:pic>
    </p:spTree>
    <p:extLst>
      <p:ext uri="{BB962C8B-B14F-4D97-AF65-F5344CB8AC3E}">
        <p14:creationId xmlns:p14="http://schemas.microsoft.com/office/powerpoint/2010/main" val="150683013"/>
      </p:ext>
    </p:extLst>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E0EFC21B-9B56-43BD-ABCB-8F6C8498DEC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5" name="Freeform 5">
            <a:extLst>
              <a:ext uri="{FF2B5EF4-FFF2-40B4-BE49-F238E27FC236}">
                <a16:creationId xmlns:a16="http://schemas.microsoft.com/office/drawing/2014/main" id="{329A1CBA-9B21-417C-82B4-0C5189633955}"/>
              </a:ext>
            </a:extLst>
          </p:cNvPr>
          <p:cNvSpPr>
            <a:spLocks/>
          </p:cNvSpPr>
          <p:nvPr userDrawn="1"/>
        </p:nvSpPr>
        <p:spPr bwMode="auto">
          <a:xfrm>
            <a:off x="3195464" y="559472"/>
            <a:ext cx="7797080" cy="5253097"/>
          </a:xfrm>
          <a:custGeom>
            <a:avLst/>
            <a:gdLst>
              <a:gd name="T0" fmla="*/ 0 w 3258"/>
              <a:gd name="T1" fmla="*/ 0 h 2195"/>
              <a:gd name="T2" fmla="*/ 134 w 3258"/>
              <a:gd name="T3" fmla="*/ 2195 h 2195"/>
              <a:gd name="T4" fmla="*/ 3131 w 3258"/>
              <a:gd name="T5" fmla="*/ 2074 h 2195"/>
              <a:gd name="T6" fmla="*/ 3258 w 3258"/>
              <a:gd name="T7" fmla="*/ 0 h 2195"/>
              <a:gd name="T8" fmla="*/ 0 w 3258"/>
              <a:gd name="T9" fmla="*/ 0 h 2195"/>
            </a:gdLst>
            <a:ahLst/>
            <a:cxnLst>
              <a:cxn ang="0">
                <a:pos x="T0" y="T1"/>
              </a:cxn>
              <a:cxn ang="0">
                <a:pos x="T2" y="T3"/>
              </a:cxn>
              <a:cxn ang="0">
                <a:pos x="T4" y="T5"/>
              </a:cxn>
              <a:cxn ang="0">
                <a:pos x="T6" y="T7"/>
              </a:cxn>
              <a:cxn ang="0">
                <a:pos x="T8" y="T9"/>
              </a:cxn>
            </a:cxnLst>
            <a:rect l="0" t="0" r="r" b="b"/>
            <a:pathLst>
              <a:path w="3258" h="2195">
                <a:moveTo>
                  <a:pt x="0" y="0"/>
                </a:moveTo>
                <a:lnTo>
                  <a:pt x="134" y="2195"/>
                </a:lnTo>
                <a:lnTo>
                  <a:pt x="3131" y="2074"/>
                </a:lnTo>
                <a:lnTo>
                  <a:pt x="3258" y="0"/>
                </a:lnTo>
                <a:lnTo>
                  <a:pt x="0" y="0"/>
                </a:lnTo>
                <a:close/>
              </a:path>
            </a:pathLst>
          </a:custGeom>
          <a:gradFill>
            <a:gsLst>
              <a:gs pos="0">
                <a:schemeClr val="accent1"/>
              </a:gs>
              <a:gs pos="100000">
                <a:schemeClr val="tx1"/>
              </a:gs>
            </a:gsLst>
            <a:lin ang="0" scaled="0"/>
          </a:gradFill>
          <a:ln>
            <a:noFill/>
          </a:ln>
        </p:spPr>
        <p:txBody>
          <a:bodyPr vert="horz" wrap="square" lIns="121920" tIns="60960" rIns="121920" bIns="60960" numCol="1" anchor="t" anchorCtr="0" compatLnSpc="1">
            <a:prstTxWarp prst="textNoShape">
              <a:avLst/>
            </a:prstTxWarp>
          </a:bodyPr>
          <a:lstStyle/>
          <a:p>
            <a:endParaRPr lang="de-DE" sz="2400">
              <a:solidFill>
                <a:srgbClr val="001E3E"/>
              </a:solidFill>
            </a:endParaRPr>
          </a:p>
        </p:txBody>
      </p:sp>
      <p:sp>
        <p:nvSpPr>
          <p:cNvPr id="2" name="Title 1"/>
          <p:cNvSpPr>
            <a:spLocks noGrp="1"/>
          </p:cNvSpPr>
          <p:nvPr>
            <p:ph type="title" hasCustomPrompt="1"/>
          </p:nvPr>
        </p:nvSpPr>
        <p:spPr>
          <a:xfrm>
            <a:off x="4127501" y="1385987"/>
            <a:ext cx="6000948" cy="2475061"/>
          </a:xfrm>
        </p:spPr>
        <p:txBody>
          <a:bodyPr anchor="t"/>
          <a:lstStyle>
            <a:lvl1pPr>
              <a:lnSpc>
                <a:spcPct val="86000"/>
              </a:lnSpc>
              <a:defRPr sz="4800">
                <a:solidFill>
                  <a:schemeClr val="bg1"/>
                </a:solidFill>
              </a:defRPr>
            </a:lvl1pPr>
          </a:lstStyle>
          <a:p>
            <a:r>
              <a:rPr lang="en-US" noProof="0" dirty="0"/>
              <a:t>Click to edit Master title style</a:t>
            </a:r>
          </a:p>
        </p:txBody>
      </p:sp>
      <p:sp>
        <p:nvSpPr>
          <p:cNvPr id="8" name="Textplatzhalter 4">
            <a:extLst>
              <a:ext uri="{FF2B5EF4-FFF2-40B4-BE49-F238E27FC236}">
                <a16:creationId xmlns:a16="http://schemas.microsoft.com/office/drawing/2014/main" id="{C03F8266-7713-4BE2-91E6-0B6EE51EE04E}"/>
              </a:ext>
            </a:extLst>
          </p:cNvPr>
          <p:cNvSpPr>
            <a:spLocks noGrp="1"/>
          </p:cNvSpPr>
          <p:nvPr>
            <p:ph type="body" sz="quarter" idx="14" hasCustomPrompt="1"/>
          </p:nvPr>
        </p:nvSpPr>
        <p:spPr>
          <a:xfrm>
            <a:off x="4127501" y="3877982"/>
            <a:ext cx="6000948" cy="511125"/>
          </a:xfrm>
        </p:spPr>
        <p:txBody>
          <a:bodyPr/>
          <a:lstStyle>
            <a:lvl1pPr marL="0" indent="0">
              <a:buNone/>
              <a:defRPr sz="1600" b="1">
                <a:solidFill>
                  <a:schemeClr val="bg1"/>
                </a:solidFill>
              </a:defRPr>
            </a:lvl1pPr>
          </a:lstStyle>
          <a:p>
            <a:pPr lvl="0"/>
            <a:r>
              <a:rPr lang="de-DE" dirty="0" err="1"/>
              <a:t>Subline</a:t>
            </a:r>
            <a:endParaRPr lang="de-DE" dirty="0"/>
          </a:p>
        </p:txBody>
      </p:sp>
      <p:sp>
        <p:nvSpPr>
          <p:cNvPr id="9" name="Textplatzhalter 4">
            <a:extLst>
              <a:ext uri="{FF2B5EF4-FFF2-40B4-BE49-F238E27FC236}">
                <a16:creationId xmlns:a16="http://schemas.microsoft.com/office/drawing/2014/main" id="{BA10A8AB-3304-4C68-84DC-CBA205FE3D4F}"/>
              </a:ext>
            </a:extLst>
          </p:cNvPr>
          <p:cNvSpPr>
            <a:spLocks noGrp="1"/>
          </p:cNvSpPr>
          <p:nvPr>
            <p:ph type="body" sz="quarter" idx="15" hasCustomPrompt="1"/>
          </p:nvPr>
        </p:nvSpPr>
        <p:spPr>
          <a:xfrm>
            <a:off x="4127501" y="4406040"/>
            <a:ext cx="4464777" cy="734219"/>
          </a:xfrm>
        </p:spPr>
        <p:txBody>
          <a:bodyPr anchor="b"/>
          <a:lstStyle>
            <a:lvl1pPr marL="0" indent="0">
              <a:lnSpc>
                <a:spcPct val="110000"/>
              </a:lnSpc>
              <a:buNone/>
              <a:defRPr sz="1333" b="0">
                <a:solidFill>
                  <a:schemeClr val="bg1"/>
                </a:solidFill>
              </a:defRPr>
            </a:lvl1pPr>
          </a:lstStyle>
          <a:p>
            <a:pPr lvl="0"/>
            <a:r>
              <a:rPr lang="de-DE" dirty="0" err="1"/>
              <a:t>Subline</a:t>
            </a:r>
            <a:endParaRPr lang="de-DE" dirty="0"/>
          </a:p>
        </p:txBody>
      </p:sp>
      <p:pic>
        <p:nvPicPr>
          <p:cNvPr id="11" name="Grafik 10">
            <a:extLst>
              <a:ext uri="{FF2B5EF4-FFF2-40B4-BE49-F238E27FC236}">
                <a16:creationId xmlns:a16="http://schemas.microsoft.com/office/drawing/2014/main" id="{FF08006E-785B-3E4A-A3BA-4E83BA1374EB}"/>
              </a:ext>
            </a:extLst>
          </p:cNvPr>
          <p:cNvPicPr>
            <a:picLocks noChangeAspect="1"/>
          </p:cNvPicPr>
          <p:nvPr userDrawn="1"/>
        </p:nvPicPr>
        <p:blipFill>
          <a:blip r:embed="rId3"/>
          <a:stretch>
            <a:fillRect/>
          </a:stretch>
        </p:blipFill>
        <p:spPr>
          <a:xfrm>
            <a:off x="8394000" y="4359270"/>
            <a:ext cx="3420533" cy="2150533"/>
          </a:xfrm>
          <a:prstGeom prst="rect">
            <a:avLst/>
          </a:prstGeom>
        </p:spPr>
      </p:pic>
    </p:spTree>
    <p:extLst>
      <p:ext uri="{BB962C8B-B14F-4D97-AF65-F5344CB8AC3E}">
        <p14:creationId xmlns:p14="http://schemas.microsoft.com/office/powerpoint/2010/main" val="2584130860"/>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23A008CD-383F-446A-B12D-6012B8E2EB7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5" name="Freeform 5">
            <a:extLst>
              <a:ext uri="{FF2B5EF4-FFF2-40B4-BE49-F238E27FC236}">
                <a16:creationId xmlns:a16="http://schemas.microsoft.com/office/drawing/2014/main" id="{329A1CBA-9B21-417C-82B4-0C5189633955}"/>
              </a:ext>
            </a:extLst>
          </p:cNvPr>
          <p:cNvSpPr>
            <a:spLocks/>
          </p:cNvSpPr>
          <p:nvPr userDrawn="1"/>
        </p:nvSpPr>
        <p:spPr bwMode="auto">
          <a:xfrm>
            <a:off x="3195464" y="559472"/>
            <a:ext cx="7797080" cy="5253097"/>
          </a:xfrm>
          <a:custGeom>
            <a:avLst/>
            <a:gdLst>
              <a:gd name="T0" fmla="*/ 0 w 3258"/>
              <a:gd name="T1" fmla="*/ 0 h 2195"/>
              <a:gd name="T2" fmla="*/ 134 w 3258"/>
              <a:gd name="T3" fmla="*/ 2195 h 2195"/>
              <a:gd name="T4" fmla="*/ 3131 w 3258"/>
              <a:gd name="T5" fmla="*/ 2074 h 2195"/>
              <a:gd name="T6" fmla="*/ 3258 w 3258"/>
              <a:gd name="T7" fmla="*/ 0 h 2195"/>
              <a:gd name="T8" fmla="*/ 0 w 3258"/>
              <a:gd name="T9" fmla="*/ 0 h 2195"/>
            </a:gdLst>
            <a:ahLst/>
            <a:cxnLst>
              <a:cxn ang="0">
                <a:pos x="T0" y="T1"/>
              </a:cxn>
              <a:cxn ang="0">
                <a:pos x="T2" y="T3"/>
              </a:cxn>
              <a:cxn ang="0">
                <a:pos x="T4" y="T5"/>
              </a:cxn>
              <a:cxn ang="0">
                <a:pos x="T6" y="T7"/>
              </a:cxn>
              <a:cxn ang="0">
                <a:pos x="T8" y="T9"/>
              </a:cxn>
            </a:cxnLst>
            <a:rect l="0" t="0" r="r" b="b"/>
            <a:pathLst>
              <a:path w="3258" h="2195">
                <a:moveTo>
                  <a:pt x="0" y="0"/>
                </a:moveTo>
                <a:lnTo>
                  <a:pt x="134" y="2195"/>
                </a:lnTo>
                <a:lnTo>
                  <a:pt x="3131" y="2074"/>
                </a:lnTo>
                <a:lnTo>
                  <a:pt x="3258" y="0"/>
                </a:lnTo>
                <a:lnTo>
                  <a:pt x="0" y="0"/>
                </a:lnTo>
                <a:close/>
              </a:path>
            </a:pathLst>
          </a:custGeom>
          <a:gradFill>
            <a:gsLst>
              <a:gs pos="0">
                <a:schemeClr val="accent1"/>
              </a:gs>
              <a:gs pos="100000">
                <a:schemeClr val="tx1"/>
              </a:gs>
            </a:gsLst>
            <a:lin ang="0" scaled="0"/>
          </a:gradFill>
          <a:ln>
            <a:noFill/>
          </a:ln>
        </p:spPr>
        <p:txBody>
          <a:bodyPr vert="horz" wrap="square" lIns="121920" tIns="60960" rIns="121920" bIns="60960" numCol="1" anchor="t" anchorCtr="0" compatLnSpc="1">
            <a:prstTxWarp prst="textNoShape">
              <a:avLst/>
            </a:prstTxWarp>
          </a:bodyPr>
          <a:lstStyle/>
          <a:p>
            <a:endParaRPr lang="de-DE" sz="2400">
              <a:solidFill>
                <a:srgbClr val="001E3E"/>
              </a:solidFill>
            </a:endParaRPr>
          </a:p>
        </p:txBody>
      </p:sp>
      <p:sp>
        <p:nvSpPr>
          <p:cNvPr id="2" name="Title 1"/>
          <p:cNvSpPr>
            <a:spLocks noGrp="1"/>
          </p:cNvSpPr>
          <p:nvPr>
            <p:ph type="title" hasCustomPrompt="1"/>
          </p:nvPr>
        </p:nvSpPr>
        <p:spPr>
          <a:xfrm>
            <a:off x="4127501" y="1385987"/>
            <a:ext cx="6000948" cy="2475061"/>
          </a:xfrm>
        </p:spPr>
        <p:txBody>
          <a:bodyPr anchor="t"/>
          <a:lstStyle>
            <a:lvl1pPr>
              <a:lnSpc>
                <a:spcPct val="86000"/>
              </a:lnSpc>
              <a:defRPr sz="4800">
                <a:solidFill>
                  <a:schemeClr val="bg1"/>
                </a:solidFill>
              </a:defRPr>
            </a:lvl1pPr>
          </a:lstStyle>
          <a:p>
            <a:r>
              <a:rPr lang="en-US" noProof="0" dirty="0"/>
              <a:t>Click to edit Master title style</a:t>
            </a:r>
          </a:p>
        </p:txBody>
      </p:sp>
      <p:sp>
        <p:nvSpPr>
          <p:cNvPr id="8" name="Textplatzhalter 4">
            <a:extLst>
              <a:ext uri="{FF2B5EF4-FFF2-40B4-BE49-F238E27FC236}">
                <a16:creationId xmlns:a16="http://schemas.microsoft.com/office/drawing/2014/main" id="{C03F8266-7713-4BE2-91E6-0B6EE51EE04E}"/>
              </a:ext>
            </a:extLst>
          </p:cNvPr>
          <p:cNvSpPr>
            <a:spLocks noGrp="1"/>
          </p:cNvSpPr>
          <p:nvPr>
            <p:ph type="body" sz="quarter" idx="14" hasCustomPrompt="1"/>
          </p:nvPr>
        </p:nvSpPr>
        <p:spPr>
          <a:xfrm>
            <a:off x="4127501" y="3877982"/>
            <a:ext cx="6000948" cy="511125"/>
          </a:xfrm>
        </p:spPr>
        <p:txBody>
          <a:bodyPr/>
          <a:lstStyle>
            <a:lvl1pPr marL="0" indent="0">
              <a:buNone/>
              <a:defRPr sz="1600" b="1">
                <a:solidFill>
                  <a:schemeClr val="bg1"/>
                </a:solidFill>
              </a:defRPr>
            </a:lvl1pPr>
          </a:lstStyle>
          <a:p>
            <a:pPr lvl="0"/>
            <a:r>
              <a:rPr lang="de-DE" dirty="0" err="1"/>
              <a:t>Subline</a:t>
            </a:r>
            <a:endParaRPr lang="de-DE" dirty="0"/>
          </a:p>
        </p:txBody>
      </p:sp>
      <p:sp>
        <p:nvSpPr>
          <p:cNvPr id="9" name="Textplatzhalter 4">
            <a:extLst>
              <a:ext uri="{FF2B5EF4-FFF2-40B4-BE49-F238E27FC236}">
                <a16:creationId xmlns:a16="http://schemas.microsoft.com/office/drawing/2014/main" id="{BA10A8AB-3304-4C68-84DC-CBA205FE3D4F}"/>
              </a:ext>
            </a:extLst>
          </p:cNvPr>
          <p:cNvSpPr>
            <a:spLocks noGrp="1"/>
          </p:cNvSpPr>
          <p:nvPr>
            <p:ph type="body" sz="quarter" idx="15" hasCustomPrompt="1"/>
          </p:nvPr>
        </p:nvSpPr>
        <p:spPr>
          <a:xfrm>
            <a:off x="4127501" y="4406040"/>
            <a:ext cx="4464777" cy="734219"/>
          </a:xfrm>
        </p:spPr>
        <p:txBody>
          <a:bodyPr anchor="b"/>
          <a:lstStyle>
            <a:lvl1pPr marL="0" indent="0">
              <a:lnSpc>
                <a:spcPct val="110000"/>
              </a:lnSpc>
              <a:buNone/>
              <a:defRPr sz="1333" b="0">
                <a:solidFill>
                  <a:schemeClr val="bg1"/>
                </a:solidFill>
              </a:defRPr>
            </a:lvl1pPr>
          </a:lstStyle>
          <a:p>
            <a:pPr lvl="0"/>
            <a:r>
              <a:rPr lang="de-DE" dirty="0" err="1"/>
              <a:t>Subline</a:t>
            </a:r>
            <a:endParaRPr lang="de-DE" dirty="0"/>
          </a:p>
        </p:txBody>
      </p:sp>
      <p:pic>
        <p:nvPicPr>
          <p:cNvPr id="11" name="Grafik 10">
            <a:extLst>
              <a:ext uri="{FF2B5EF4-FFF2-40B4-BE49-F238E27FC236}">
                <a16:creationId xmlns:a16="http://schemas.microsoft.com/office/drawing/2014/main" id="{B63361F1-21CC-6D49-BDA1-B0A97971B2EB}"/>
              </a:ext>
            </a:extLst>
          </p:cNvPr>
          <p:cNvPicPr>
            <a:picLocks noChangeAspect="1"/>
          </p:cNvPicPr>
          <p:nvPr userDrawn="1"/>
        </p:nvPicPr>
        <p:blipFill>
          <a:blip r:embed="rId3"/>
          <a:stretch>
            <a:fillRect/>
          </a:stretch>
        </p:blipFill>
        <p:spPr>
          <a:xfrm>
            <a:off x="8394000" y="4359270"/>
            <a:ext cx="3420533" cy="2150533"/>
          </a:xfrm>
          <a:prstGeom prst="rect">
            <a:avLst/>
          </a:prstGeom>
        </p:spPr>
      </p:pic>
    </p:spTree>
    <p:extLst>
      <p:ext uri="{BB962C8B-B14F-4D97-AF65-F5344CB8AC3E}">
        <p14:creationId xmlns:p14="http://schemas.microsoft.com/office/powerpoint/2010/main" val="3420973837"/>
      </p:ext>
    </p:extLst>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pic>
        <p:nvPicPr>
          <p:cNvPr id="5" name="Grafik 12">
            <a:extLst>
              <a:ext uri="{FF2B5EF4-FFF2-40B4-BE49-F238E27FC236}">
                <a16:creationId xmlns:a16="http://schemas.microsoft.com/office/drawing/2014/main" id="{5F19ABA3-3646-45BF-A8B1-321D65D371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5" name="Freeform 5">
            <a:extLst>
              <a:ext uri="{FF2B5EF4-FFF2-40B4-BE49-F238E27FC236}">
                <a16:creationId xmlns:a16="http://schemas.microsoft.com/office/drawing/2014/main" id="{329A1CBA-9B21-417C-82B4-0C5189633955}"/>
              </a:ext>
            </a:extLst>
          </p:cNvPr>
          <p:cNvSpPr>
            <a:spLocks/>
          </p:cNvSpPr>
          <p:nvPr userDrawn="1"/>
        </p:nvSpPr>
        <p:spPr bwMode="auto">
          <a:xfrm>
            <a:off x="575733" y="559472"/>
            <a:ext cx="6739467" cy="4248161"/>
          </a:xfrm>
          <a:custGeom>
            <a:avLst/>
            <a:gdLst>
              <a:gd name="T0" fmla="*/ 0 w 3258"/>
              <a:gd name="T1" fmla="*/ 0 h 2195"/>
              <a:gd name="T2" fmla="*/ 134 w 3258"/>
              <a:gd name="T3" fmla="*/ 2195 h 2195"/>
              <a:gd name="T4" fmla="*/ 3131 w 3258"/>
              <a:gd name="T5" fmla="*/ 2074 h 2195"/>
              <a:gd name="T6" fmla="*/ 3258 w 3258"/>
              <a:gd name="T7" fmla="*/ 0 h 2195"/>
              <a:gd name="T8" fmla="*/ 0 w 3258"/>
              <a:gd name="T9" fmla="*/ 0 h 2195"/>
              <a:gd name="connsiteX0" fmla="*/ 0 w 10000"/>
              <a:gd name="connsiteY0" fmla="*/ 0 h 9449"/>
              <a:gd name="connsiteX1" fmla="*/ 599 w 10000"/>
              <a:gd name="connsiteY1" fmla="*/ 8918 h 9449"/>
              <a:gd name="connsiteX2" fmla="*/ 9610 w 10000"/>
              <a:gd name="connsiteY2" fmla="*/ 9449 h 9449"/>
              <a:gd name="connsiteX3" fmla="*/ 10000 w 10000"/>
              <a:gd name="connsiteY3" fmla="*/ 0 h 9449"/>
              <a:gd name="connsiteX4" fmla="*/ 0 w 10000"/>
              <a:gd name="connsiteY4" fmla="*/ 0 h 9449"/>
              <a:gd name="connsiteX0" fmla="*/ 0 w 10000"/>
              <a:gd name="connsiteY0" fmla="*/ 0 h 10000"/>
              <a:gd name="connsiteX1" fmla="*/ 404 w 10000"/>
              <a:gd name="connsiteY1" fmla="*/ 9872 h 10000"/>
              <a:gd name="connsiteX2" fmla="*/ 9610 w 10000"/>
              <a:gd name="connsiteY2" fmla="*/ 10000 h 10000"/>
              <a:gd name="connsiteX3" fmla="*/ 10000 w 10000"/>
              <a:gd name="connsiteY3" fmla="*/ 0 h 10000"/>
              <a:gd name="connsiteX4" fmla="*/ 0 w 10000"/>
              <a:gd name="connsiteY4" fmla="*/ 0 h 10000"/>
              <a:gd name="connsiteX0" fmla="*/ 0 w 10000"/>
              <a:gd name="connsiteY0" fmla="*/ 0 h 9872"/>
              <a:gd name="connsiteX1" fmla="*/ 404 w 10000"/>
              <a:gd name="connsiteY1" fmla="*/ 9872 h 9872"/>
              <a:gd name="connsiteX2" fmla="*/ 9246 w 10000"/>
              <a:gd name="connsiteY2" fmla="*/ 8609 h 9872"/>
              <a:gd name="connsiteX3" fmla="*/ 10000 w 10000"/>
              <a:gd name="connsiteY3" fmla="*/ 0 h 9872"/>
              <a:gd name="connsiteX4" fmla="*/ 0 w 10000"/>
              <a:gd name="connsiteY4" fmla="*/ 0 h 9872"/>
              <a:gd name="connsiteX0" fmla="*/ 0 w 10000"/>
              <a:gd name="connsiteY0" fmla="*/ 0 h 10000"/>
              <a:gd name="connsiteX1" fmla="*/ 404 w 10000"/>
              <a:gd name="connsiteY1" fmla="*/ 10000 h 10000"/>
              <a:gd name="connsiteX2" fmla="*/ 9598 w 10000"/>
              <a:gd name="connsiteY2" fmla="*/ 9491 h 10000"/>
              <a:gd name="connsiteX3" fmla="*/ 10000 w 10000"/>
              <a:gd name="connsiteY3" fmla="*/ 0 h 10000"/>
              <a:gd name="connsiteX4" fmla="*/ 0 w 10000"/>
              <a:gd name="connsiteY4" fmla="*/ 0 h 10000"/>
              <a:gd name="connsiteX0" fmla="*/ 0 w 10000"/>
              <a:gd name="connsiteY0" fmla="*/ 0 h 10000"/>
              <a:gd name="connsiteX1" fmla="*/ 404 w 10000"/>
              <a:gd name="connsiteY1" fmla="*/ 10000 h 10000"/>
              <a:gd name="connsiteX2" fmla="*/ 9598 w 10000"/>
              <a:gd name="connsiteY2" fmla="*/ 9491 h 10000"/>
              <a:gd name="connsiteX3" fmla="*/ 10000 w 10000"/>
              <a:gd name="connsiteY3" fmla="*/ 0 h 10000"/>
              <a:gd name="connsiteX4" fmla="*/ 0 w 10000"/>
              <a:gd name="connsiteY4" fmla="*/ 0 h 10000"/>
              <a:gd name="connsiteX0" fmla="*/ 0 w 10000"/>
              <a:gd name="connsiteY0" fmla="*/ 0 h 10000"/>
              <a:gd name="connsiteX1" fmla="*/ 404 w 10000"/>
              <a:gd name="connsiteY1" fmla="*/ 10000 h 10000"/>
              <a:gd name="connsiteX2" fmla="*/ 9598 w 10000"/>
              <a:gd name="connsiteY2" fmla="*/ 9491 h 10000"/>
              <a:gd name="connsiteX3" fmla="*/ 10000 w 10000"/>
              <a:gd name="connsiteY3" fmla="*/ 0 h 10000"/>
              <a:gd name="connsiteX4" fmla="*/ 0 w 10000"/>
              <a:gd name="connsiteY4" fmla="*/ 0 h 10000"/>
              <a:gd name="connsiteX0" fmla="*/ 0 w 10000"/>
              <a:gd name="connsiteY0" fmla="*/ 0 h 10030"/>
              <a:gd name="connsiteX1" fmla="*/ 410 w 10000"/>
              <a:gd name="connsiteY1" fmla="*/ 10030 h 10030"/>
              <a:gd name="connsiteX2" fmla="*/ 9598 w 10000"/>
              <a:gd name="connsiteY2" fmla="*/ 9491 h 10030"/>
              <a:gd name="connsiteX3" fmla="*/ 10000 w 10000"/>
              <a:gd name="connsiteY3" fmla="*/ 0 h 10030"/>
              <a:gd name="connsiteX4" fmla="*/ 0 w 10000"/>
              <a:gd name="connsiteY4" fmla="*/ 0 h 10030"/>
              <a:gd name="connsiteX0" fmla="*/ 0 w 10000"/>
              <a:gd name="connsiteY0" fmla="*/ 0 h 10030"/>
              <a:gd name="connsiteX1" fmla="*/ 410 w 10000"/>
              <a:gd name="connsiteY1" fmla="*/ 10030 h 10030"/>
              <a:gd name="connsiteX2" fmla="*/ 9598 w 10000"/>
              <a:gd name="connsiteY2" fmla="*/ 9491 h 10030"/>
              <a:gd name="connsiteX3" fmla="*/ 10000 w 10000"/>
              <a:gd name="connsiteY3" fmla="*/ 0 h 10030"/>
              <a:gd name="connsiteX4" fmla="*/ 0 w 10000"/>
              <a:gd name="connsiteY4" fmla="*/ 0 h 10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30">
                <a:moveTo>
                  <a:pt x="0" y="0"/>
                </a:moveTo>
                <a:cubicBezTo>
                  <a:pt x="137" y="3343"/>
                  <a:pt x="273" y="6687"/>
                  <a:pt x="410" y="10030"/>
                </a:cubicBezTo>
                <a:lnTo>
                  <a:pt x="9598" y="9491"/>
                </a:lnTo>
                <a:lnTo>
                  <a:pt x="10000" y="0"/>
                </a:lnTo>
                <a:lnTo>
                  <a:pt x="0" y="0"/>
                </a:lnTo>
                <a:close/>
              </a:path>
            </a:pathLst>
          </a:custGeom>
          <a:gradFill>
            <a:gsLst>
              <a:gs pos="0">
                <a:schemeClr val="accent1"/>
              </a:gs>
              <a:gs pos="100000">
                <a:schemeClr val="tx1"/>
              </a:gs>
            </a:gsLst>
            <a:lin ang="0" scaled="0"/>
          </a:gradFill>
          <a:ln>
            <a:noFill/>
          </a:ln>
        </p:spPr>
        <p:txBody>
          <a:bodyPr vert="horz" wrap="square" lIns="121920" tIns="60960" rIns="121920" bIns="60960" numCol="1" anchor="t" anchorCtr="0" compatLnSpc="1">
            <a:prstTxWarp prst="textNoShape">
              <a:avLst/>
            </a:prstTxWarp>
          </a:bodyPr>
          <a:lstStyle/>
          <a:p>
            <a:endParaRPr lang="de-DE" sz="2400">
              <a:solidFill>
                <a:srgbClr val="001E3E"/>
              </a:solidFill>
            </a:endParaRPr>
          </a:p>
        </p:txBody>
      </p:sp>
      <p:sp>
        <p:nvSpPr>
          <p:cNvPr id="2" name="Title 1"/>
          <p:cNvSpPr>
            <a:spLocks noGrp="1"/>
          </p:cNvSpPr>
          <p:nvPr>
            <p:ph type="title" hasCustomPrompt="1"/>
          </p:nvPr>
        </p:nvSpPr>
        <p:spPr>
          <a:xfrm>
            <a:off x="1295467" y="1425478"/>
            <a:ext cx="5568619" cy="2243549"/>
          </a:xfrm>
        </p:spPr>
        <p:txBody>
          <a:bodyPr anchor="t"/>
          <a:lstStyle>
            <a:lvl1pPr>
              <a:lnSpc>
                <a:spcPct val="75000"/>
              </a:lnSpc>
              <a:defRPr sz="4800">
                <a:solidFill>
                  <a:schemeClr val="bg1"/>
                </a:solidFill>
              </a:defRPr>
            </a:lvl1pPr>
          </a:lstStyle>
          <a:p>
            <a:r>
              <a:rPr lang="en-US" noProof="0" dirty="0"/>
              <a:t>Click to edit Master title style</a:t>
            </a:r>
          </a:p>
        </p:txBody>
      </p:sp>
      <p:sp>
        <p:nvSpPr>
          <p:cNvPr id="8" name="Textplatzhalter 4">
            <a:extLst>
              <a:ext uri="{FF2B5EF4-FFF2-40B4-BE49-F238E27FC236}">
                <a16:creationId xmlns:a16="http://schemas.microsoft.com/office/drawing/2014/main" id="{C03F8266-7713-4BE2-91E6-0B6EE51EE04E}"/>
              </a:ext>
            </a:extLst>
          </p:cNvPr>
          <p:cNvSpPr>
            <a:spLocks noGrp="1"/>
          </p:cNvSpPr>
          <p:nvPr>
            <p:ph type="body" sz="quarter" idx="14" hasCustomPrompt="1"/>
          </p:nvPr>
        </p:nvSpPr>
        <p:spPr>
          <a:xfrm>
            <a:off x="1295467" y="3657006"/>
            <a:ext cx="5568619" cy="732100"/>
          </a:xfrm>
        </p:spPr>
        <p:txBody>
          <a:bodyPr/>
          <a:lstStyle>
            <a:lvl1pPr marL="0" indent="0">
              <a:buNone/>
              <a:defRPr sz="1600" b="1">
                <a:solidFill>
                  <a:schemeClr val="bg1"/>
                </a:solidFill>
              </a:defRPr>
            </a:lvl1pPr>
          </a:lstStyle>
          <a:p>
            <a:pPr lvl="0"/>
            <a:r>
              <a:rPr lang="de-DE" dirty="0" err="1"/>
              <a:t>Subline</a:t>
            </a:r>
            <a:endParaRPr lang="de-DE" dirty="0"/>
          </a:p>
        </p:txBody>
      </p:sp>
    </p:spTree>
    <p:extLst>
      <p:ext uri="{BB962C8B-B14F-4D97-AF65-F5344CB8AC3E}">
        <p14:creationId xmlns:p14="http://schemas.microsoft.com/office/powerpoint/2010/main" val="3047808461"/>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showMasterSp="0" preserve="1" userDrawn="1">
  <p:cSld name="Divider 7">
    <p:spTree>
      <p:nvGrpSpPr>
        <p:cNvPr id="1" name=""/>
        <p:cNvGrpSpPr/>
        <p:nvPr/>
      </p:nvGrpSpPr>
      <p:grpSpPr>
        <a:xfrm>
          <a:off x="0" y="0"/>
          <a:ext cx="0" cy="0"/>
          <a:chOff x="0" y="0"/>
          <a:chExt cx="0" cy="0"/>
        </a:xfrm>
      </p:grpSpPr>
      <p:pic>
        <p:nvPicPr>
          <p:cNvPr id="5" name="Grafik 8">
            <a:extLst>
              <a:ext uri="{FF2B5EF4-FFF2-40B4-BE49-F238E27FC236}">
                <a16:creationId xmlns:a16="http://schemas.microsoft.com/office/drawing/2014/main" id="{E6BC8EB5-4744-49FA-B645-4394E1B0E7B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5" name="Freeform 5">
            <a:extLst>
              <a:ext uri="{FF2B5EF4-FFF2-40B4-BE49-F238E27FC236}">
                <a16:creationId xmlns:a16="http://schemas.microsoft.com/office/drawing/2014/main" id="{329A1CBA-9B21-417C-82B4-0C5189633955}"/>
              </a:ext>
            </a:extLst>
          </p:cNvPr>
          <p:cNvSpPr>
            <a:spLocks/>
          </p:cNvSpPr>
          <p:nvPr userDrawn="1"/>
        </p:nvSpPr>
        <p:spPr bwMode="auto">
          <a:xfrm>
            <a:off x="575733" y="559472"/>
            <a:ext cx="6739467" cy="4248161"/>
          </a:xfrm>
          <a:custGeom>
            <a:avLst/>
            <a:gdLst>
              <a:gd name="T0" fmla="*/ 0 w 3258"/>
              <a:gd name="T1" fmla="*/ 0 h 2195"/>
              <a:gd name="T2" fmla="*/ 134 w 3258"/>
              <a:gd name="T3" fmla="*/ 2195 h 2195"/>
              <a:gd name="T4" fmla="*/ 3131 w 3258"/>
              <a:gd name="T5" fmla="*/ 2074 h 2195"/>
              <a:gd name="T6" fmla="*/ 3258 w 3258"/>
              <a:gd name="T7" fmla="*/ 0 h 2195"/>
              <a:gd name="T8" fmla="*/ 0 w 3258"/>
              <a:gd name="T9" fmla="*/ 0 h 2195"/>
              <a:gd name="connsiteX0" fmla="*/ 0 w 10000"/>
              <a:gd name="connsiteY0" fmla="*/ 0 h 9449"/>
              <a:gd name="connsiteX1" fmla="*/ 599 w 10000"/>
              <a:gd name="connsiteY1" fmla="*/ 8918 h 9449"/>
              <a:gd name="connsiteX2" fmla="*/ 9610 w 10000"/>
              <a:gd name="connsiteY2" fmla="*/ 9449 h 9449"/>
              <a:gd name="connsiteX3" fmla="*/ 10000 w 10000"/>
              <a:gd name="connsiteY3" fmla="*/ 0 h 9449"/>
              <a:gd name="connsiteX4" fmla="*/ 0 w 10000"/>
              <a:gd name="connsiteY4" fmla="*/ 0 h 9449"/>
              <a:gd name="connsiteX0" fmla="*/ 0 w 10000"/>
              <a:gd name="connsiteY0" fmla="*/ 0 h 10000"/>
              <a:gd name="connsiteX1" fmla="*/ 404 w 10000"/>
              <a:gd name="connsiteY1" fmla="*/ 9872 h 10000"/>
              <a:gd name="connsiteX2" fmla="*/ 9610 w 10000"/>
              <a:gd name="connsiteY2" fmla="*/ 10000 h 10000"/>
              <a:gd name="connsiteX3" fmla="*/ 10000 w 10000"/>
              <a:gd name="connsiteY3" fmla="*/ 0 h 10000"/>
              <a:gd name="connsiteX4" fmla="*/ 0 w 10000"/>
              <a:gd name="connsiteY4" fmla="*/ 0 h 10000"/>
              <a:gd name="connsiteX0" fmla="*/ 0 w 10000"/>
              <a:gd name="connsiteY0" fmla="*/ 0 h 9872"/>
              <a:gd name="connsiteX1" fmla="*/ 404 w 10000"/>
              <a:gd name="connsiteY1" fmla="*/ 9872 h 9872"/>
              <a:gd name="connsiteX2" fmla="*/ 9246 w 10000"/>
              <a:gd name="connsiteY2" fmla="*/ 8609 h 9872"/>
              <a:gd name="connsiteX3" fmla="*/ 10000 w 10000"/>
              <a:gd name="connsiteY3" fmla="*/ 0 h 9872"/>
              <a:gd name="connsiteX4" fmla="*/ 0 w 10000"/>
              <a:gd name="connsiteY4" fmla="*/ 0 h 9872"/>
              <a:gd name="connsiteX0" fmla="*/ 0 w 10000"/>
              <a:gd name="connsiteY0" fmla="*/ 0 h 10000"/>
              <a:gd name="connsiteX1" fmla="*/ 404 w 10000"/>
              <a:gd name="connsiteY1" fmla="*/ 10000 h 10000"/>
              <a:gd name="connsiteX2" fmla="*/ 9598 w 10000"/>
              <a:gd name="connsiteY2" fmla="*/ 9491 h 10000"/>
              <a:gd name="connsiteX3" fmla="*/ 10000 w 10000"/>
              <a:gd name="connsiteY3" fmla="*/ 0 h 10000"/>
              <a:gd name="connsiteX4" fmla="*/ 0 w 10000"/>
              <a:gd name="connsiteY4" fmla="*/ 0 h 10000"/>
              <a:gd name="connsiteX0" fmla="*/ 0 w 10000"/>
              <a:gd name="connsiteY0" fmla="*/ 0 h 10000"/>
              <a:gd name="connsiteX1" fmla="*/ 404 w 10000"/>
              <a:gd name="connsiteY1" fmla="*/ 10000 h 10000"/>
              <a:gd name="connsiteX2" fmla="*/ 9598 w 10000"/>
              <a:gd name="connsiteY2" fmla="*/ 9491 h 10000"/>
              <a:gd name="connsiteX3" fmla="*/ 10000 w 10000"/>
              <a:gd name="connsiteY3" fmla="*/ 0 h 10000"/>
              <a:gd name="connsiteX4" fmla="*/ 0 w 10000"/>
              <a:gd name="connsiteY4" fmla="*/ 0 h 10000"/>
              <a:gd name="connsiteX0" fmla="*/ 0 w 10000"/>
              <a:gd name="connsiteY0" fmla="*/ 0 h 10000"/>
              <a:gd name="connsiteX1" fmla="*/ 404 w 10000"/>
              <a:gd name="connsiteY1" fmla="*/ 10000 h 10000"/>
              <a:gd name="connsiteX2" fmla="*/ 9598 w 10000"/>
              <a:gd name="connsiteY2" fmla="*/ 9491 h 10000"/>
              <a:gd name="connsiteX3" fmla="*/ 10000 w 10000"/>
              <a:gd name="connsiteY3" fmla="*/ 0 h 10000"/>
              <a:gd name="connsiteX4" fmla="*/ 0 w 10000"/>
              <a:gd name="connsiteY4" fmla="*/ 0 h 10000"/>
              <a:gd name="connsiteX0" fmla="*/ 0 w 10000"/>
              <a:gd name="connsiteY0" fmla="*/ 0 h 10030"/>
              <a:gd name="connsiteX1" fmla="*/ 410 w 10000"/>
              <a:gd name="connsiteY1" fmla="*/ 10030 h 10030"/>
              <a:gd name="connsiteX2" fmla="*/ 9598 w 10000"/>
              <a:gd name="connsiteY2" fmla="*/ 9491 h 10030"/>
              <a:gd name="connsiteX3" fmla="*/ 10000 w 10000"/>
              <a:gd name="connsiteY3" fmla="*/ 0 h 10030"/>
              <a:gd name="connsiteX4" fmla="*/ 0 w 10000"/>
              <a:gd name="connsiteY4" fmla="*/ 0 h 10030"/>
              <a:gd name="connsiteX0" fmla="*/ 0 w 10000"/>
              <a:gd name="connsiteY0" fmla="*/ 0 h 10030"/>
              <a:gd name="connsiteX1" fmla="*/ 410 w 10000"/>
              <a:gd name="connsiteY1" fmla="*/ 10030 h 10030"/>
              <a:gd name="connsiteX2" fmla="*/ 9598 w 10000"/>
              <a:gd name="connsiteY2" fmla="*/ 9491 h 10030"/>
              <a:gd name="connsiteX3" fmla="*/ 10000 w 10000"/>
              <a:gd name="connsiteY3" fmla="*/ 0 h 10030"/>
              <a:gd name="connsiteX4" fmla="*/ 0 w 10000"/>
              <a:gd name="connsiteY4" fmla="*/ 0 h 10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30">
                <a:moveTo>
                  <a:pt x="0" y="0"/>
                </a:moveTo>
                <a:cubicBezTo>
                  <a:pt x="137" y="3343"/>
                  <a:pt x="273" y="6687"/>
                  <a:pt x="410" y="10030"/>
                </a:cubicBezTo>
                <a:lnTo>
                  <a:pt x="9598" y="9491"/>
                </a:lnTo>
                <a:lnTo>
                  <a:pt x="10000" y="0"/>
                </a:lnTo>
                <a:lnTo>
                  <a:pt x="0" y="0"/>
                </a:lnTo>
                <a:close/>
              </a:path>
            </a:pathLst>
          </a:custGeom>
          <a:gradFill>
            <a:gsLst>
              <a:gs pos="0">
                <a:schemeClr val="accent1"/>
              </a:gs>
              <a:gs pos="100000">
                <a:schemeClr val="tx1"/>
              </a:gs>
            </a:gsLst>
            <a:lin ang="0" scaled="0"/>
          </a:gradFill>
          <a:ln>
            <a:noFill/>
          </a:ln>
        </p:spPr>
        <p:txBody>
          <a:bodyPr vert="horz" wrap="square" lIns="121920" tIns="60960" rIns="121920" bIns="60960" numCol="1" anchor="t" anchorCtr="0" compatLnSpc="1">
            <a:prstTxWarp prst="textNoShape">
              <a:avLst/>
            </a:prstTxWarp>
          </a:bodyPr>
          <a:lstStyle/>
          <a:p>
            <a:endParaRPr lang="de-DE" sz="2400">
              <a:solidFill>
                <a:srgbClr val="001E3E"/>
              </a:solidFill>
            </a:endParaRPr>
          </a:p>
        </p:txBody>
      </p:sp>
      <p:sp>
        <p:nvSpPr>
          <p:cNvPr id="2" name="Title 1"/>
          <p:cNvSpPr>
            <a:spLocks noGrp="1"/>
          </p:cNvSpPr>
          <p:nvPr>
            <p:ph type="title" hasCustomPrompt="1"/>
          </p:nvPr>
        </p:nvSpPr>
        <p:spPr>
          <a:xfrm>
            <a:off x="1295467" y="1425478"/>
            <a:ext cx="5568619" cy="2243549"/>
          </a:xfrm>
        </p:spPr>
        <p:txBody>
          <a:bodyPr anchor="t"/>
          <a:lstStyle>
            <a:lvl1pPr>
              <a:lnSpc>
                <a:spcPct val="75000"/>
              </a:lnSpc>
              <a:defRPr sz="4800">
                <a:solidFill>
                  <a:schemeClr val="bg1"/>
                </a:solidFill>
              </a:defRPr>
            </a:lvl1pPr>
          </a:lstStyle>
          <a:p>
            <a:r>
              <a:rPr lang="en-US" noProof="0" dirty="0"/>
              <a:t>Click to edit Master title style</a:t>
            </a:r>
          </a:p>
        </p:txBody>
      </p:sp>
      <p:sp>
        <p:nvSpPr>
          <p:cNvPr id="8" name="Textplatzhalter 4">
            <a:extLst>
              <a:ext uri="{FF2B5EF4-FFF2-40B4-BE49-F238E27FC236}">
                <a16:creationId xmlns:a16="http://schemas.microsoft.com/office/drawing/2014/main" id="{C03F8266-7713-4BE2-91E6-0B6EE51EE04E}"/>
              </a:ext>
            </a:extLst>
          </p:cNvPr>
          <p:cNvSpPr>
            <a:spLocks noGrp="1"/>
          </p:cNvSpPr>
          <p:nvPr>
            <p:ph type="body" sz="quarter" idx="14" hasCustomPrompt="1"/>
          </p:nvPr>
        </p:nvSpPr>
        <p:spPr>
          <a:xfrm>
            <a:off x="1295467" y="3657006"/>
            <a:ext cx="5568619" cy="732100"/>
          </a:xfrm>
        </p:spPr>
        <p:txBody>
          <a:bodyPr/>
          <a:lstStyle>
            <a:lvl1pPr marL="0" indent="0">
              <a:buNone/>
              <a:defRPr sz="1600" b="1">
                <a:solidFill>
                  <a:schemeClr val="bg1"/>
                </a:solidFill>
              </a:defRPr>
            </a:lvl1pPr>
          </a:lstStyle>
          <a:p>
            <a:pPr lvl="0"/>
            <a:r>
              <a:rPr lang="de-DE" dirty="0" err="1"/>
              <a:t>Subline</a:t>
            </a:r>
            <a:endParaRPr lang="de-DE" dirty="0"/>
          </a:p>
        </p:txBody>
      </p:sp>
    </p:spTree>
    <p:extLst>
      <p:ext uri="{BB962C8B-B14F-4D97-AF65-F5344CB8AC3E}">
        <p14:creationId xmlns:p14="http://schemas.microsoft.com/office/powerpoint/2010/main" val="2691252463"/>
      </p:ext>
    </p:extLst>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showMasterSp="0" preserve="1" userDrawn="1">
  <p:cSld name="Divider 8">
    <p:spTree>
      <p:nvGrpSpPr>
        <p:cNvPr id="1" name=""/>
        <p:cNvGrpSpPr/>
        <p:nvPr/>
      </p:nvGrpSpPr>
      <p:grpSpPr>
        <a:xfrm>
          <a:off x="0" y="0"/>
          <a:ext cx="0" cy="0"/>
          <a:chOff x="0" y="0"/>
          <a:chExt cx="0" cy="0"/>
        </a:xfrm>
      </p:grpSpPr>
      <p:pic>
        <p:nvPicPr>
          <p:cNvPr id="5" name="Grafik 8">
            <a:extLst>
              <a:ext uri="{FF2B5EF4-FFF2-40B4-BE49-F238E27FC236}">
                <a16:creationId xmlns:a16="http://schemas.microsoft.com/office/drawing/2014/main" id="{B04A2CA5-C1A3-4B96-9590-6057F595F1A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5" name="Freeform 5">
            <a:extLst>
              <a:ext uri="{FF2B5EF4-FFF2-40B4-BE49-F238E27FC236}">
                <a16:creationId xmlns:a16="http://schemas.microsoft.com/office/drawing/2014/main" id="{329A1CBA-9B21-417C-82B4-0C5189633955}"/>
              </a:ext>
            </a:extLst>
          </p:cNvPr>
          <p:cNvSpPr>
            <a:spLocks/>
          </p:cNvSpPr>
          <p:nvPr userDrawn="1"/>
        </p:nvSpPr>
        <p:spPr bwMode="auto">
          <a:xfrm>
            <a:off x="575733" y="559472"/>
            <a:ext cx="6739467" cy="4248161"/>
          </a:xfrm>
          <a:custGeom>
            <a:avLst/>
            <a:gdLst>
              <a:gd name="T0" fmla="*/ 0 w 3258"/>
              <a:gd name="T1" fmla="*/ 0 h 2195"/>
              <a:gd name="T2" fmla="*/ 134 w 3258"/>
              <a:gd name="T3" fmla="*/ 2195 h 2195"/>
              <a:gd name="T4" fmla="*/ 3131 w 3258"/>
              <a:gd name="T5" fmla="*/ 2074 h 2195"/>
              <a:gd name="T6" fmla="*/ 3258 w 3258"/>
              <a:gd name="T7" fmla="*/ 0 h 2195"/>
              <a:gd name="T8" fmla="*/ 0 w 3258"/>
              <a:gd name="T9" fmla="*/ 0 h 2195"/>
              <a:gd name="connsiteX0" fmla="*/ 0 w 10000"/>
              <a:gd name="connsiteY0" fmla="*/ 0 h 9449"/>
              <a:gd name="connsiteX1" fmla="*/ 599 w 10000"/>
              <a:gd name="connsiteY1" fmla="*/ 8918 h 9449"/>
              <a:gd name="connsiteX2" fmla="*/ 9610 w 10000"/>
              <a:gd name="connsiteY2" fmla="*/ 9449 h 9449"/>
              <a:gd name="connsiteX3" fmla="*/ 10000 w 10000"/>
              <a:gd name="connsiteY3" fmla="*/ 0 h 9449"/>
              <a:gd name="connsiteX4" fmla="*/ 0 w 10000"/>
              <a:gd name="connsiteY4" fmla="*/ 0 h 9449"/>
              <a:gd name="connsiteX0" fmla="*/ 0 w 10000"/>
              <a:gd name="connsiteY0" fmla="*/ 0 h 10000"/>
              <a:gd name="connsiteX1" fmla="*/ 404 w 10000"/>
              <a:gd name="connsiteY1" fmla="*/ 9872 h 10000"/>
              <a:gd name="connsiteX2" fmla="*/ 9610 w 10000"/>
              <a:gd name="connsiteY2" fmla="*/ 10000 h 10000"/>
              <a:gd name="connsiteX3" fmla="*/ 10000 w 10000"/>
              <a:gd name="connsiteY3" fmla="*/ 0 h 10000"/>
              <a:gd name="connsiteX4" fmla="*/ 0 w 10000"/>
              <a:gd name="connsiteY4" fmla="*/ 0 h 10000"/>
              <a:gd name="connsiteX0" fmla="*/ 0 w 10000"/>
              <a:gd name="connsiteY0" fmla="*/ 0 h 9872"/>
              <a:gd name="connsiteX1" fmla="*/ 404 w 10000"/>
              <a:gd name="connsiteY1" fmla="*/ 9872 h 9872"/>
              <a:gd name="connsiteX2" fmla="*/ 9246 w 10000"/>
              <a:gd name="connsiteY2" fmla="*/ 8609 h 9872"/>
              <a:gd name="connsiteX3" fmla="*/ 10000 w 10000"/>
              <a:gd name="connsiteY3" fmla="*/ 0 h 9872"/>
              <a:gd name="connsiteX4" fmla="*/ 0 w 10000"/>
              <a:gd name="connsiteY4" fmla="*/ 0 h 9872"/>
              <a:gd name="connsiteX0" fmla="*/ 0 w 10000"/>
              <a:gd name="connsiteY0" fmla="*/ 0 h 10000"/>
              <a:gd name="connsiteX1" fmla="*/ 404 w 10000"/>
              <a:gd name="connsiteY1" fmla="*/ 10000 h 10000"/>
              <a:gd name="connsiteX2" fmla="*/ 9598 w 10000"/>
              <a:gd name="connsiteY2" fmla="*/ 9491 h 10000"/>
              <a:gd name="connsiteX3" fmla="*/ 10000 w 10000"/>
              <a:gd name="connsiteY3" fmla="*/ 0 h 10000"/>
              <a:gd name="connsiteX4" fmla="*/ 0 w 10000"/>
              <a:gd name="connsiteY4" fmla="*/ 0 h 10000"/>
              <a:gd name="connsiteX0" fmla="*/ 0 w 10000"/>
              <a:gd name="connsiteY0" fmla="*/ 0 h 10000"/>
              <a:gd name="connsiteX1" fmla="*/ 404 w 10000"/>
              <a:gd name="connsiteY1" fmla="*/ 10000 h 10000"/>
              <a:gd name="connsiteX2" fmla="*/ 9598 w 10000"/>
              <a:gd name="connsiteY2" fmla="*/ 9491 h 10000"/>
              <a:gd name="connsiteX3" fmla="*/ 10000 w 10000"/>
              <a:gd name="connsiteY3" fmla="*/ 0 h 10000"/>
              <a:gd name="connsiteX4" fmla="*/ 0 w 10000"/>
              <a:gd name="connsiteY4" fmla="*/ 0 h 10000"/>
              <a:gd name="connsiteX0" fmla="*/ 0 w 10000"/>
              <a:gd name="connsiteY0" fmla="*/ 0 h 10000"/>
              <a:gd name="connsiteX1" fmla="*/ 404 w 10000"/>
              <a:gd name="connsiteY1" fmla="*/ 10000 h 10000"/>
              <a:gd name="connsiteX2" fmla="*/ 9598 w 10000"/>
              <a:gd name="connsiteY2" fmla="*/ 9491 h 10000"/>
              <a:gd name="connsiteX3" fmla="*/ 10000 w 10000"/>
              <a:gd name="connsiteY3" fmla="*/ 0 h 10000"/>
              <a:gd name="connsiteX4" fmla="*/ 0 w 10000"/>
              <a:gd name="connsiteY4" fmla="*/ 0 h 10000"/>
              <a:gd name="connsiteX0" fmla="*/ 0 w 10000"/>
              <a:gd name="connsiteY0" fmla="*/ 0 h 10030"/>
              <a:gd name="connsiteX1" fmla="*/ 410 w 10000"/>
              <a:gd name="connsiteY1" fmla="*/ 10030 h 10030"/>
              <a:gd name="connsiteX2" fmla="*/ 9598 w 10000"/>
              <a:gd name="connsiteY2" fmla="*/ 9491 h 10030"/>
              <a:gd name="connsiteX3" fmla="*/ 10000 w 10000"/>
              <a:gd name="connsiteY3" fmla="*/ 0 h 10030"/>
              <a:gd name="connsiteX4" fmla="*/ 0 w 10000"/>
              <a:gd name="connsiteY4" fmla="*/ 0 h 10030"/>
              <a:gd name="connsiteX0" fmla="*/ 0 w 10000"/>
              <a:gd name="connsiteY0" fmla="*/ 0 h 10030"/>
              <a:gd name="connsiteX1" fmla="*/ 410 w 10000"/>
              <a:gd name="connsiteY1" fmla="*/ 10030 h 10030"/>
              <a:gd name="connsiteX2" fmla="*/ 9598 w 10000"/>
              <a:gd name="connsiteY2" fmla="*/ 9491 h 10030"/>
              <a:gd name="connsiteX3" fmla="*/ 10000 w 10000"/>
              <a:gd name="connsiteY3" fmla="*/ 0 h 10030"/>
              <a:gd name="connsiteX4" fmla="*/ 0 w 10000"/>
              <a:gd name="connsiteY4" fmla="*/ 0 h 10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30">
                <a:moveTo>
                  <a:pt x="0" y="0"/>
                </a:moveTo>
                <a:cubicBezTo>
                  <a:pt x="137" y="3343"/>
                  <a:pt x="273" y="6687"/>
                  <a:pt x="410" y="10030"/>
                </a:cubicBezTo>
                <a:lnTo>
                  <a:pt x="9598" y="9491"/>
                </a:lnTo>
                <a:lnTo>
                  <a:pt x="10000" y="0"/>
                </a:lnTo>
                <a:lnTo>
                  <a:pt x="0" y="0"/>
                </a:lnTo>
                <a:close/>
              </a:path>
            </a:pathLst>
          </a:custGeom>
          <a:gradFill>
            <a:gsLst>
              <a:gs pos="0">
                <a:schemeClr val="accent1"/>
              </a:gs>
              <a:gs pos="100000">
                <a:schemeClr val="tx1"/>
              </a:gs>
            </a:gsLst>
            <a:lin ang="0" scaled="0"/>
          </a:gradFill>
          <a:ln>
            <a:noFill/>
          </a:ln>
        </p:spPr>
        <p:txBody>
          <a:bodyPr vert="horz" wrap="square" lIns="121920" tIns="60960" rIns="121920" bIns="60960" numCol="1" anchor="t" anchorCtr="0" compatLnSpc="1">
            <a:prstTxWarp prst="textNoShape">
              <a:avLst/>
            </a:prstTxWarp>
          </a:bodyPr>
          <a:lstStyle/>
          <a:p>
            <a:endParaRPr lang="de-DE" sz="2400">
              <a:solidFill>
                <a:srgbClr val="001E3E"/>
              </a:solidFill>
            </a:endParaRPr>
          </a:p>
        </p:txBody>
      </p:sp>
      <p:sp>
        <p:nvSpPr>
          <p:cNvPr id="2" name="Title 1"/>
          <p:cNvSpPr>
            <a:spLocks noGrp="1"/>
          </p:cNvSpPr>
          <p:nvPr>
            <p:ph type="title" hasCustomPrompt="1"/>
          </p:nvPr>
        </p:nvSpPr>
        <p:spPr>
          <a:xfrm>
            <a:off x="1295467" y="1425478"/>
            <a:ext cx="5568619" cy="2243549"/>
          </a:xfrm>
        </p:spPr>
        <p:txBody>
          <a:bodyPr anchor="t"/>
          <a:lstStyle>
            <a:lvl1pPr>
              <a:lnSpc>
                <a:spcPct val="75000"/>
              </a:lnSpc>
              <a:defRPr sz="4800">
                <a:solidFill>
                  <a:schemeClr val="bg1"/>
                </a:solidFill>
              </a:defRPr>
            </a:lvl1pPr>
          </a:lstStyle>
          <a:p>
            <a:r>
              <a:rPr lang="en-US" noProof="0" dirty="0"/>
              <a:t>Click to edit Master title style</a:t>
            </a:r>
          </a:p>
        </p:txBody>
      </p:sp>
      <p:sp>
        <p:nvSpPr>
          <p:cNvPr id="8" name="Textplatzhalter 4">
            <a:extLst>
              <a:ext uri="{FF2B5EF4-FFF2-40B4-BE49-F238E27FC236}">
                <a16:creationId xmlns:a16="http://schemas.microsoft.com/office/drawing/2014/main" id="{C03F8266-7713-4BE2-91E6-0B6EE51EE04E}"/>
              </a:ext>
            </a:extLst>
          </p:cNvPr>
          <p:cNvSpPr>
            <a:spLocks noGrp="1"/>
          </p:cNvSpPr>
          <p:nvPr>
            <p:ph type="body" sz="quarter" idx="14" hasCustomPrompt="1"/>
          </p:nvPr>
        </p:nvSpPr>
        <p:spPr>
          <a:xfrm>
            <a:off x="1295467" y="3657006"/>
            <a:ext cx="5568619" cy="732100"/>
          </a:xfrm>
        </p:spPr>
        <p:txBody>
          <a:bodyPr/>
          <a:lstStyle>
            <a:lvl1pPr marL="0" indent="0">
              <a:buNone/>
              <a:defRPr sz="1600" b="1">
                <a:solidFill>
                  <a:schemeClr val="bg1"/>
                </a:solidFill>
              </a:defRPr>
            </a:lvl1pPr>
          </a:lstStyle>
          <a:p>
            <a:pPr lvl="0"/>
            <a:r>
              <a:rPr lang="de-DE" dirty="0" err="1"/>
              <a:t>Subline</a:t>
            </a:r>
            <a:endParaRPr lang="de-DE" dirty="0"/>
          </a:p>
        </p:txBody>
      </p:sp>
    </p:spTree>
    <p:extLst>
      <p:ext uri="{BB962C8B-B14F-4D97-AF65-F5344CB8AC3E}">
        <p14:creationId xmlns:p14="http://schemas.microsoft.com/office/powerpoint/2010/main" val="136660742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1/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4608438"/>
            <a:ext cx="10930832" cy="1538527"/>
          </a:xfrm>
        </p:spPr>
        <p:txBody>
          <a:bodyPr wrap="square" anchor="b" anchorCtr="0">
            <a:spAutoFit/>
          </a:bodyPr>
          <a:lstStyle>
            <a:lvl1pPr>
              <a:defRPr baseline="0"/>
            </a:lvl1pPr>
          </a:lstStyle>
          <a:p>
            <a:r>
              <a:rPr lang="en-GB" dirty="0"/>
              <a:t>Referent’s name: </a:t>
            </a:r>
            <a:r>
              <a:rPr lang="en-GB" noProof="0" dirty="0" err="1"/>
              <a:t>CorpoS</a:t>
            </a:r>
            <a:r>
              <a:rPr lang="en-GB" noProof="0" dirty="0"/>
              <a:t> </a:t>
            </a:r>
            <a:r>
              <a:rPr lang="en-GB" dirty="0"/>
              <a:t>(Body) 35 pt.</a:t>
            </a:r>
            <a:br>
              <a:rPr lang="en-GB" dirty="0"/>
            </a:br>
            <a:r>
              <a:rPr lang="en-GB" dirty="0"/>
              <a:t>Presentation title in two lines or </a:t>
            </a:r>
            <a:br>
              <a:rPr lang="en-GB" dirty="0"/>
            </a:br>
            <a:r>
              <a:rPr lang="en-GB" dirty="0"/>
              <a:t>more lines of text, dd. </a:t>
            </a:r>
            <a:r>
              <a:rPr lang="en-GB" dirty="0" err="1"/>
              <a:t>mmmm</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23062128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1110.xml><?xml version="1.0" encoding="utf-8"?>
<p:sldLayout xmlns:a="http://schemas.openxmlformats.org/drawingml/2006/main" xmlns:r="http://schemas.openxmlformats.org/officeDocument/2006/relationships" xmlns:p="http://schemas.openxmlformats.org/presentationml/2006/main" showMasterSp="0" preserve="1" userDrawn="1">
  <p:cSld name="Divider 9">
    <p:spTree>
      <p:nvGrpSpPr>
        <p:cNvPr id="1" name=""/>
        <p:cNvGrpSpPr/>
        <p:nvPr/>
      </p:nvGrpSpPr>
      <p:grpSpPr>
        <a:xfrm>
          <a:off x="0" y="0"/>
          <a:ext cx="0" cy="0"/>
          <a:chOff x="0" y="0"/>
          <a:chExt cx="0" cy="0"/>
        </a:xfrm>
      </p:grpSpPr>
      <p:pic>
        <p:nvPicPr>
          <p:cNvPr id="5" name="Grafik 8">
            <a:extLst>
              <a:ext uri="{FF2B5EF4-FFF2-40B4-BE49-F238E27FC236}">
                <a16:creationId xmlns:a16="http://schemas.microsoft.com/office/drawing/2014/main" id="{DCCA52E4-2CF2-41C3-80B9-C007F252913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5" name="Freeform 5">
            <a:extLst>
              <a:ext uri="{FF2B5EF4-FFF2-40B4-BE49-F238E27FC236}">
                <a16:creationId xmlns:a16="http://schemas.microsoft.com/office/drawing/2014/main" id="{329A1CBA-9B21-417C-82B4-0C5189633955}"/>
              </a:ext>
            </a:extLst>
          </p:cNvPr>
          <p:cNvSpPr>
            <a:spLocks/>
          </p:cNvSpPr>
          <p:nvPr userDrawn="1"/>
        </p:nvSpPr>
        <p:spPr bwMode="auto">
          <a:xfrm>
            <a:off x="575733" y="559472"/>
            <a:ext cx="6739467" cy="4248161"/>
          </a:xfrm>
          <a:custGeom>
            <a:avLst/>
            <a:gdLst>
              <a:gd name="T0" fmla="*/ 0 w 3258"/>
              <a:gd name="T1" fmla="*/ 0 h 2195"/>
              <a:gd name="T2" fmla="*/ 134 w 3258"/>
              <a:gd name="T3" fmla="*/ 2195 h 2195"/>
              <a:gd name="T4" fmla="*/ 3131 w 3258"/>
              <a:gd name="T5" fmla="*/ 2074 h 2195"/>
              <a:gd name="T6" fmla="*/ 3258 w 3258"/>
              <a:gd name="T7" fmla="*/ 0 h 2195"/>
              <a:gd name="T8" fmla="*/ 0 w 3258"/>
              <a:gd name="T9" fmla="*/ 0 h 2195"/>
              <a:gd name="connsiteX0" fmla="*/ 0 w 10000"/>
              <a:gd name="connsiteY0" fmla="*/ 0 h 9449"/>
              <a:gd name="connsiteX1" fmla="*/ 599 w 10000"/>
              <a:gd name="connsiteY1" fmla="*/ 8918 h 9449"/>
              <a:gd name="connsiteX2" fmla="*/ 9610 w 10000"/>
              <a:gd name="connsiteY2" fmla="*/ 9449 h 9449"/>
              <a:gd name="connsiteX3" fmla="*/ 10000 w 10000"/>
              <a:gd name="connsiteY3" fmla="*/ 0 h 9449"/>
              <a:gd name="connsiteX4" fmla="*/ 0 w 10000"/>
              <a:gd name="connsiteY4" fmla="*/ 0 h 9449"/>
              <a:gd name="connsiteX0" fmla="*/ 0 w 10000"/>
              <a:gd name="connsiteY0" fmla="*/ 0 h 10000"/>
              <a:gd name="connsiteX1" fmla="*/ 404 w 10000"/>
              <a:gd name="connsiteY1" fmla="*/ 9872 h 10000"/>
              <a:gd name="connsiteX2" fmla="*/ 9610 w 10000"/>
              <a:gd name="connsiteY2" fmla="*/ 10000 h 10000"/>
              <a:gd name="connsiteX3" fmla="*/ 10000 w 10000"/>
              <a:gd name="connsiteY3" fmla="*/ 0 h 10000"/>
              <a:gd name="connsiteX4" fmla="*/ 0 w 10000"/>
              <a:gd name="connsiteY4" fmla="*/ 0 h 10000"/>
              <a:gd name="connsiteX0" fmla="*/ 0 w 10000"/>
              <a:gd name="connsiteY0" fmla="*/ 0 h 9872"/>
              <a:gd name="connsiteX1" fmla="*/ 404 w 10000"/>
              <a:gd name="connsiteY1" fmla="*/ 9872 h 9872"/>
              <a:gd name="connsiteX2" fmla="*/ 9246 w 10000"/>
              <a:gd name="connsiteY2" fmla="*/ 8609 h 9872"/>
              <a:gd name="connsiteX3" fmla="*/ 10000 w 10000"/>
              <a:gd name="connsiteY3" fmla="*/ 0 h 9872"/>
              <a:gd name="connsiteX4" fmla="*/ 0 w 10000"/>
              <a:gd name="connsiteY4" fmla="*/ 0 h 9872"/>
              <a:gd name="connsiteX0" fmla="*/ 0 w 10000"/>
              <a:gd name="connsiteY0" fmla="*/ 0 h 10000"/>
              <a:gd name="connsiteX1" fmla="*/ 404 w 10000"/>
              <a:gd name="connsiteY1" fmla="*/ 10000 h 10000"/>
              <a:gd name="connsiteX2" fmla="*/ 9598 w 10000"/>
              <a:gd name="connsiteY2" fmla="*/ 9491 h 10000"/>
              <a:gd name="connsiteX3" fmla="*/ 10000 w 10000"/>
              <a:gd name="connsiteY3" fmla="*/ 0 h 10000"/>
              <a:gd name="connsiteX4" fmla="*/ 0 w 10000"/>
              <a:gd name="connsiteY4" fmla="*/ 0 h 10000"/>
              <a:gd name="connsiteX0" fmla="*/ 0 w 10000"/>
              <a:gd name="connsiteY0" fmla="*/ 0 h 10000"/>
              <a:gd name="connsiteX1" fmla="*/ 404 w 10000"/>
              <a:gd name="connsiteY1" fmla="*/ 10000 h 10000"/>
              <a:gd name="connsiteX2" fmla="*/ 9598 w 10000"/>
              <a:gd name="connsiteY2" fmla="*/ 9491 h 10000"/>
              <a:gd name="connsiteX3" fmla="*/ 10000 w 10000"/>
              <a:gd name="connsiteY3" fmla="*/ 0 h 10000"/>
              <a:gd name="connsiteX4" fmla="*/ 0 w 10000"/>
              <a:gd name="connsiteY4" fmla="*/ 0 h 10000"/>
              <a:gd name="connsiteX0" fmla="*/ 0 w 10000"/>
              <a:gd name="connsiteY0" fmla="*/ 0 h 10000"/>
              <a:gd name="connsiteX1" fmla="*/ 404 w 10000"/>
              <a:gd name="connsiteY1" fmla="*/ 10000 h 10000"/>
              <a:gd name="connsiteX2" fmla="*/ 9598 w 10000"/>
              <a:gd name="connsiteY2" fmla="*/ 9491 h 10000"/>
              <a:gd name="connsiteX3" fmla="*/ 10000 w 10000"/>
              <a:gd name="connsiteY3" fmla="*/ 0 h 10000"/>
              <a:gd name="connsiteX4" fmla="*/ 0 w 10000"/>
              <a:gd name="connsiteY4" fmla="*/ 0 h 10000"/>
              <a:gd name="connsiteX0" fmla="*/ 0 w 10000"/>
              <a:gd name="connsiteY0" fmla="*/ 0 h 10030"/>
              <a:gd name="connsiteX1" fmla="*/ 410 w 10000"/>
              <a:gd name="connsiteY1" fmla="*/ 10030 h 10030"/>
              <a:gd name="connsiteX2" fmla="*/ 9598 w 10000"/>
              <a:gd name="connsiteY2" fmla="*/ 9491 h 10030"/>
              <a:gd name="connsiteX3" fmla="*/ 10000 w 10000"/>
              <a:gd name="connsiteY3" fmla="*/ 0 h 10030"/>
              <a:gd name="connsiteX4" fmla="*/ 0 w 10000"/>
              <a:gd name="connsiteY4" fmla="*/ 0 h 10030"/>
              <a:gd name="connsiteX0" fmla="*/ 0 w 10000"/>
              <a:gd name="connsiteY0" fmla="*/ 0 h 10030"/>
              <a:gd name="connsiteX1" fmla="*/ 410 w 10000"/>
              <a:gd name="connsiteY1" fmla="*/ 10030 h 10030"/>
              <a:gd name="connsiteX2" fmla="*/ 9598 w 10000"/>
              <a:gd name="connsiteY2" fmla="*/ 9491 h 10030"/>
              <a:gd name="connsiteX3" fmla="*/ 10000 w 10000"/>
              <a:gd name="connsiteY3" fmla="*/ 0 h 10030"/>
              <a:gd name="connsiteX4" fmla="*/ 0 w 10000"/>
              <a:gd name="connsiteY4" fmla="*/ 0 h 10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30">
                <a:moveTo>
                  <a:pt x="0" y="0"/>
                </a:moveTo>
                <a:cubicBezTo>
                  <a:pt x="137" y="3343"/>
                  <a:pt x="273" y="6687"/>
                  <a:pt x="410" y="10030"/>
                </a:cubicBezTo>
                <a:lnTo>
                  <a:pt x="9598" y="9491"/>
                </a:lnTo>
                <a:lnTo>
                  <a:pt x="10000" y="0"/>
                </a:lnTo>
                <a:lnTo>
                  <a:pt x="0" y="0"/>
                </a:lnTo>
                <a:close/>
              </a:path>
            </a:pathLst>
          </a:custGeom>
          <a:gradFill>
            <a:gsLst>
              <a:gs pos="0">
                <a:schemeClr val="accent1"/>
              </a:gs>
              <a:gs pos="100000">
                <a:schemeClr val="tx1"/>
              </a:gs>
            </a:gsLst>
            <a:lin ang="0" scaled="0"/>
          </a:gradFill>
          <a:ln>
            <a:noFill/>
          </a:ln>
        </p:spPr>
        <p:txBody>
          <a:bodyPr vert="horz" wrap="square" lIns="121920" tIns="60960" rIns="121920" bIns="60960" numCol="1" anchor="t" anchorCtr="0" compatLnSpc="1">
            <a:prstTxWarp prst="textNoShape">
              <a:avLst/>
            </a:prstTxWarp>
          </a:bodyPr>
          <a:lstStyle/>
          <a:p>
            <a:endParaRPr lang="de-DE" sz="2400">
              <a:solidFill>
                <a:srgbClr val="001E3E"/>
              </a:solidFill>
            </a:endParaRPr>
          </a:p>
        </p:txBody>
      </p:sp>
      <p:sp>
        <p:nvSpPr>
          <p:cNvPr id="2" name="Title 1"/>
          <p:cNvSpPr>
            <a:spLocks noGrp="1"/>
          </p:cNvSpPr>
          <p:nvPr>
            <p:ph type="title" hasCustomPrompt="1"/>
          </p:nvPr>
        </p:nvSpPr>
        <p:spPr>
          <a:xfrm>
            <a:off x="1295467" y="1425478"/>
            <a:ext cx="5568619" cy="2243549"/>
          </a:xfrm>
        </p:spPr>
        <p:txBody>
          <a:bodyPr anchor="t"/>
          <a:lstStyle>
            <a:lvl1pPr>
              <a:lnSpc>
                <a:spcPct val="75000"/>
              </a:lnSpc>
              <a:defRPr sz="4800">
                <a:solidFill>
                  <a:schemeClr val="bg1"/>
                </a:solidFill>
              </a:defRPr>
            </a:lvl1pPr>
          </a:lstStyle>
          <a:p>
            <a:r>
              <a:rPr lang="en-US" noProof="0" dirty="0"/>
              <a:t>Click to edit Master title style</a:t>
            </a:r>
          </a:p>
        </p:txBody>
      </p:sp>
      <p:sp>
        <p:nvSpPr>
          <p:cNvPr id="8" name="Textplatzhalter 4">
            <a:extLst>
              <a:ext uri="{FF2B5EF4-FFF2-40B4-BE49-F238E27FC236}">
                <a16:creationId xmlns:a16="http://schemas.microsoft.com/office/drawing/2014/main" id="{C03F8266-7713-4BE2-91E6-0B6EE51EE04E}"/>
              </a:ext>
            </a:extLst>
          </p:cNvPr>
          <p:cNvSpPr>
            <a:spLocks noGrp="1"/>
          </p:cNvSpPr>
          <p:nvPr>
            <p:ph type="body" sz="quarter" idx="14" hasCustomPrompt="1"/>
          </p:nvPr>
        </p:nvSpPr>
        <p:spPr>
          <a:xfrm>
            <a:off x="1295467" y="3657006"/>
            <a:ext cx="5568619" cy="732100"/>
          </a:xfrm>
        </p:spPr>
        <p:txBody>
          <a:bodyPr/>
          <a:lstStyle>
            <a:lvl1pPr marL="0" indent="0">
              <a:buNone/>
              <a:defRPr sz="1600" b="1">
                <a:solidFill>
                  <a:schemeClr val="bg1"/>
                </a:solidFill>
              </a:defRPr>
            </a:lvl1pPr>
          </a:lstStyle>
          <a:p>
            <a:pPr lvl="0"/>
            <a:r>
              <a:rPr lang="de-DE" dirty="0" err="1"/>
              <a:t>Subline</a:t>
            </a:r>
            <a:endParaRPr lang="de-DE" dirty="0"/>
          </a:p>
        </p:txBody>
      </p:sp>
    </p:spTree>
    <p:extLst>
      <p:ext uri="{BB962C8B-B14F-4D97-AF65-F5344CB8AC3E}">
        <p14:creationId xmlns:p14="http://schemas.microsoft.com/office/powerpoint/2010/main" val="4265944764"/>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showMasterSp="0" preserve="1" userDrawn="1">
  <p:cSld name="Divider 10">
    <p:spTree>
      <p:nvGrpSpPr>
        <p:cNvPr id="1" name=""/>
        <p:cNvGrpSpPr/>
        <p:nvPr/>
      </p:nvGrpSpPr>
      <p:grpSpPr>
        <a:xfrm>
          <a:off x="0" y="0"/>
          <a:ext cx="0" cy="0"/>
          <a:chOff x="0" y="0"/>
          <a:chExt cx="0" cy="0"/>
        </a:xfrm>
      </p:grpSpPr>
      <p:pic>
        <p:nvPicPr>
          <p:cNvPr id="5" name="Grafik 6">
            <a:extLst>
              <a:ext uri="{FF2B5EF4-FFF2-40B4-BE49-F238E27FC236}">
                <a16:creationId xmlns:a16="http://schemas.microsoft.com/office/drawing/2014/main" id="{23A008CD-383F-446A-B12D-6012B8E2EB7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5" name="Freeform 5">
            <a:extLst>
              <a:ext uri="{FF2B5EF4-FFF2-40B4-BE49-F238E27FC236}">
                <a16:creationId xmlns:a16="http://schemas.microsoft.com/office/drawing/2014/main" id="{329A1CBA-9B21-417C-82B4-0C5189633955}"/>
              </a:ext>
            </a:extLst>
          </p:cNvPr>
          <p:cNvSpPr>
            <a:spLocks/>
          </p:cNvSpPr>
          <p:nvPr userDrawn="1"/>
        </p:nvSpPr>
        <p:spPr bwMode="auto">
          <a:xfrm>
            <a:off x="575733" y="559472"/>
            <a:ext cx="6739467" cy="4248161"/>
          </a:xfrm>
          <a:custGeom>
            <a:avLst/>
            <a:gdLst>
              <a:gd name="T0" fmla="*/ 0 w 3258"/>
              <a:gd name="T1" fmla="*/ 0 h 2195"/>
              <a:gd name="T2" fmla="*/ 134 w 3258"/>
              <a:gd name="T3" fmla="*/ 2195 h 2195"/>
              <a:gd name="T4" fmla="*/ 3131 w 3258"/>
              <a:gd name="T5" fmla="*/ 2074 h 2195"/>
              <a:gd name="T6" fmla="*/ 3258 w 3258"/>
              <a:gd name="T7" fmla="*/ 0 h 2195"/>
              <a:gd name="T8" fmla="*/ 0 w 3258"/>
              <a:gd name="T9" fmla="*/ 0 h 2195"/>
              <a:gd name="connsiteX0" fmla="*/ 0 w 10000"/>
              <a:gd name="connsiteY0" fmla="*/ 0 h 9449"/>
              <a:gd name="connsiteX1" fmla="*/ 599 w 10000"/>
              <a:gd name="connsiteY1" fmla="*/ 8918 h 9449"/>
              <a:gd name="connsiteX2" fmla="*/ 9610 w 10000"/>
              <a:gd name="connsiteY2" fmla="*/ 9449 h 9449"/>
              <a:gd name="connsiteX3" fmla="*/ 10000 w 10000"/>
              <a:gd name="connsiteY3" fmla="*/ 0 h 9449"/>
              <a:gd name="connsiteX4" fmla="*/ 0 w 10000"/>
              <a:gd name="connsiteY4" fmla="*/ 0 h 9449"/>
              <a:gd name="connsiteX0" fmla="*/ 0 w 10000"/>
              <a:gd name="connsiteY0" fmla="*/ 0 h 10000"/>
              <a:gd name="connsiteX1" fmla="*/ 404 w 10000"/>
              <a:gd name="connsiteY1" fmla="*/ 9872 h 10000"/>
              <a:gd name="connsiteX2" fmla="*/ 9610 w 10000"/>
              <a:gd name="connsiteY2" fmla="*/ 10000 h 10000"/>
              <a:gd name="connsiteX3" fmla="*/ 10000 w 10000"/>
              <a:gd name="connsiteY3" fmla="*/ 0 h 10000"/>
              <a:gd name="connsiteX4" fmla="*/ 0 w 10000"/>
              <a:gd name="connsiteY4" fmla="*/ 0 h 10000"/>
              <a:gd name="connsiteX0" fmla="*/ 0 w 10000"/>
              <a:gd name="connsiteY0" fmla="*/ 0 h 9872"/>
              <a:gd name="connsiteX1" fmla="*/ 404 w 10000"/>
              <a:gd name="connsiteY1" fmla="*/ 9872 h 9872"/>
              <a:gd name="connsiteX2" fmla="*/ 9246 w 10000"/>
              <a:gd name="connsiteY2" fmla="*/ 8609 h 9872"/>
              <a:gd name="connsiteX3" fmla="*/ 10000 w 10000"/>
              <a:gd name="connsiteY3" fmla="*/ 0 h 9872"/>
              <a:gd name="connsiteX4" fmla="*/ 0 w 10000"/>
              <a:gd name="connsiteY4" fmla="*/ 0 h 9872"/>
              <a:gd name="connsiteX0" fmla="*/ 0 w 10000"/>
              <a:gd name="connsiteY0" fmla="*/ 0 h 10000"/>
              <a:gd name="connsiteX1" fmla="*/ 404 w 10000"/>
              <a:gd name="connsiteY1" fmla="*/ 10000 h 10000"/>
              <a:gd name="connsiteX2" fmla="*/ 9598 w 10000"/>
              <a:gd name="connsiteY2" fmla="*/ 9491 h 10000"/>
              <a:gd name="connsiteX3" fmla="*/ 10000 w 10000"/>
              <a:gd name="connsiteY3" fmla="*/ 0 h 10000"/>
              <a:gd name="connsiteX4" fmla="*/ 0 w 10000"/>
              <a:gd name="connsiteY4" fmla="*/ 0 h 10000"/>
              <a:gd name="connsiteX0" fmla="*/ 0 w 10000"/>
              <a:gd name="connsiteY0" fmla="*/ 0 h 10000"/>
              <a:gd name="connsiteX1" fmla="*/ 404 w 10000"/>
              <a:gd name="connsiteY1" fmla="*/ 10000 h 10000"/>
              <a:gd name="connsiteX2" fmla="*/ 9598 w 10000"/>
              <a:gd name="connsiteY2" fmla="*/ 9491 h 10000"/>
              <a:gd name="connsiteX3" fmla="*/ 10000 w 10000"/>
              <a:gd name="connsiteY3" fmla="*/ 0 h 10000"/>
              <a:gd name="connsiteX4" fmla="*/ 0 w 10000"/>
              <a:gd name="connsiteY4" fmla="*/ 0 h 10000"/>
              <a:gd name="connsiteX0" fmla="*/ 0 w 10000"/>
              <a:gd name="connsiteY0" fmla="*/ 0 h 10000"/>
              <a:gd name="connsiteX1" fmla="*/ 404 w 10000"/>
              <a:gd name="connsiteY1" fmla="*/ 10000 h 10000"/>
              <a:gd name="connsiteX2" fmla="*/ 9598 w 10000"/>
              <a:gd name="connsiteY2" fmla="*/ 9491 h 10000"/>
              <a:gd name="connsiteX3" fmla="*/ 10000 w 10000"/>
              <a:gd name="connsiteY3" fmla="*/ 0 h 10000"/>
              <a:gd name="connsiteX4" fmla="*/ 0 w 10000"/>
              <a:gd name="connsiteY4" fmla="*/ 0 h 10000"/>
              <a:gd name="connsiteX0" fmla="*/ 0 w 10000"/>
              <a:gd name="connsiteY0" fmla="*/ 0 h 10030"/>
              <a:gd name="connsiteX1" fmla="*/ 410 w 10000"/>
              <a:gd name="connsiteY1" fmla="*/ 10030 h 10030"/>
              <a:gd name="connsiteX2" fmla="*/ 9598 w 10000"/>
              <a:gd name="connsiteY2" fmla="*/ 9491 h 10030"/>
              <a:gd name="connsiteX3" fmla="*/ 10000 w 10000"/>
              <a:gd name="connsiteY3" fmla="*/ 0 h 10030"/>
              <a:gd name="connsiteX4" fmla="*/ 0 w 10000"/>
              <a:gd name="connsiteY4" fmla="*/ 0 h 10030"/>
              <a:gd name="connsiteX0" fmla="*/ 0 w 10000"/>
              <a:gd name="connsiteY0" fmla="*/ 0 h 10030"/>
              <a:gd name="connsiteX1" fmla="*/ 410 w 10000"/>
              <a:gd name="connsiteY1" fmla="*/ 10030 h 10030"/>
              <a:gd name="connsiteX2" fmla="*/ 9598 w 10000"/>
              <a:gd name="connsiteY2" fmla="*/ 9491 h 10030"/>
              <a:gd name="connsiteX3" fmla="*/ 10000 w 10000"/>
              <a:gd name="connsiteY3" fmla="*/ 0 h 10030"/>
              <a:gd name="connsiteX4" fmla="*/ 0 w 10000"/>
              <a:gd name="connsiteY4" fmla="*/ 0 h 10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30">
                <a:moveTo>
                  <a:pt x="0" y="0"/>
                </a:moveTo>
                <a:cubicBezTo>
                  <a:pt x="137" y="3343"/>
                  <a:pt x="273" y="6687"/>
                  <a:pt x="410" y="10030"/>
                </a:cubicBezTo>
                <a:lnTo>
                  <a:pt x="9598" y="9491"/>
                </a:lnTo>
                <a:lnTo>
                  <a:pt x="10000" y="0"/>
                </a:lnTo>
                <a:lnTo>
                  <a:pt x="0" y="0"/>
                </a:lnTo>
                <a:close/>
              </a:path>
            </a:pathLst>
          </a:custGeom>
          <a:gradFill>
            <a:gsLst>
              <a:gs pos="0">
                <a:schemeClr val="accent1"/>
              </a:gs>
              <a:gs pos="100000">
                <a:schemeClr val="tx1"/>
              </a:gs>
            </a:gsLst>
            <a:lin ang="0" scaled="0"/>
          </a:gradFill>
          <a:ln>
            <a:noFill/>
          </a:ln>
        </p:spPr>
        <p:txBody>
          <a:bodyPr vert="horz" wrap="square" lIns="121920" tIns="60960" rIns="121920" bIns="60960" numCol="1" anchor="t" anchorCtr="0" compatLnSpc="1">
            <a:prstTxWarp prst="textNoShape">
              <a:avLst/>
            </a:prstTxWarp>
          </a:bodyPr>
          <a:lstStyle/>
          <a:p>
            <a:endParaRPr lang="de-DE" sz="2400">
              <a:solidFill>
                <a:srgbClr val="001E3E"/>
              </a:solidFill>
            </a:endParaRPr>
          </a:p>
        </p:txBody>
      </p:sp>
      <p:sp>
        <p:nvSpPr>
          <p:cNvPr id="2" name="Title 1"/>
          <p:cNvSpPr>
            <a:spLocks noGrp="1"/>
          </p:cNvSpPr>
          <p:nvPr>
            <p:ph type="title" hasCustomPrompt="1"/>
          </p:nvPr>
        </p:nvSpPr>
        <p:spPr>
          <a:xfrm>
            <a:off x="1295467" y="1425478"/>
            <a:ext cx="5568619" cy="2243549"/>
          </a:xfrm>
        </p:spPr>
        <p:txBody>
          <a:bodyPr anchor="t"/>
          <a:lstStyle>
            <a:lvl1pPr>
              <a:lnSpc>
                <a:spcPct val="75000"/>
              </a:lnSpc>
              <a:defRPr sz="4800">
                <a:solidFill>
                  <a:schemeClr val="bg1"/>
                </a:solidFill>
              </a:defRPr>
            </a:lvl1pPr>
          </a:lstStyle>
          <a:p>
            <a:r>
              <a:rPr lang="en-US" noProof="0" dirty="0"/>
              <a:t>Click to edit Master title style</a:t>
            </a:r>
          </a:p>
        </p:txBody>
      </p:sp>
      <p:sp>
        <p:nvSpPr>
          <p:cNvPr id="8" name="Textplatzhalter 4">
            <a:extLst>
              <a:ext uri="{FF2B5EF4-FFF2-40B4-BE49-F238E27FC236}">
                <a16:creationId xmlns:a16="http://schemas.microsoft.com/office/drawing/2014/main" id="{C03F8266-7713-4BE2-91E6-0B6EE51EE04E}"/>
              </a:ext>
            </a:extLst>
          </p:cNvPr>
          <p:cNvSpPr>
            <a:spLocks noGrp="1"/>
          </p:cNvSpPr>
          <p:nvPr>
            <p:ph type="body" sz="quarter" idx="14" hasCustomPrompt="1"/>
          </p:nvPr>
        </p:nvSpPr>
        <p:spPr>
          <a:xfrm>
            <a:off x="1295467" y="3657006"/>
            <a:ext cx="5568619" cy="732100"/>
          </a:xfrm>
        </p:spPr>
        <p:txBody>
          <a:bodyPr/>
          <a:lstStyle>
            <a:lvl1pPr marL="0" indent="0">
              <a:buNone/>
              <a:defRPr sz="1600" b="1">
                <a:solidFill>
                  <a:schemeClr val="bg1"/>
                </a:solidFill>
              </a:defRPr>
            </a:lvl1pPr>
          </a:lstStyle>
          <a:p>
            <a:pPr lvl="0"/>
            <a:r>
              <a:rPr lang="de-DE" dirty="0" err="1"/>
              <a:t>Subline</a:t>
            </a:r>
            <a:endParaRPr lang="de-DE" dirty="0"/>
          </a:p>
        </p:txBody>
      </p:sp>
    </p:spTree>
    <p:extLst>
      <p:ext uri="{BB962C8B-B14F-4D97-AF65-F5344CB8AC3E}">
        <p14:creationId xmlns:p14="http://schemas.microsoft.com/office/powerpoint/2010/main" val="3791764633"/>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showMasterSp="0" preserve="1" userDrawn="1">
  <p:cSld name="Divider 11">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9DD64D52-EFAA-4F53-95EE-6266230C724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5" name="Freeform 5">
            <a:extLst>
              <a:ext uri="{FF2B5EF4-FFF2-40B4-BE49-F238E27FC236}">
                <a16:creationId xmlns:a16="http://schemas.microsoft.com/office/drawing/2014/main" id="{329A1CBA-9B21-417C-82B4-0C5189633955}"/>
              </a:ext>
            </a:extLst>
          </p:cNvPr>
          <p:cNvSpPr>
            <a:spLocks/>
          </p:cNvSpPr>
          <p:nvPr userDrawn="1"/>
        </p:nvSpPr>
        <p:spPr bwMode="auto">
          <a:xfrm>
            <a:off x="568669" y="559472"/>
            <a:ext cx="7687571" cy="4550749"/>
          </a:xfrm>
          <a:custGeom>
            <a:avLst/>
            <a:gdLst>
              <a:gd name="T0" fmla="*/ 0 w 3258"/>
              <a:gd name="T1" fmla="*/ 0 h 2195"/>
              <a:gd name="T2" fmla="*/ 134 w 3258"/>
              <a:gd name="T3" fmla="*/ 2195 h 2195"/>
              <a:gd name="T4" fmla="*/ 3131 w 3258"/>
              <a:gd name="T5" fmla="*/ 2074 h 2195"/>
              <a:gd name="T6" fmla="*/ 3258 w 3258"/>
              <a:gd name="T7" fmla="*/ 0 h 2195"/>
              <a:gd name="T8" fmla="*/ 0 w 3258"/>
              <a:gd name="T9" fmla="*/ 0 h 2195"/>
              <a:gd name="connsiteX0" fmla="*/ 0 w 10000"/>
              <a:gd name="connsiteY0" fmla="*/ 0 h 9449"/>
              <a:gd name="connsiteX1" fmla="*/ 758 w 10000"/>
              <a:gd name="connsiteY1" fmla="*/ 8173 h 9449"/>
              <a:gd name="connsiteX2" fmla="*/ 9610 w 10000"/>
              <a:gd name="connsiteY2" fmla="*/ 9449 h 9449"/>
              <a:gd name="connsiteX3" fmla="*/ 10000 w 10000"/>
              <a:gd name="connsiteY3" fmla="*/ 0 h 9449"/>
              <a:gd name="connsiteX4" fmla="*/ 0 w 10000"/>
              <a:gd name="connsiteY4" fmla="*/ 0 h 9449"/>
              <a:gd name="connsiteX0" fmla="*/ 0 w 10000"/>
              <a:gd name="connsiteY0" fmla="*/ 0 h 8650"/>
              <a:gd name="connsiteX1" fmla="*/ 758 w 10000"/>
              <a:gd name="connsiteY1" fmla="*/ 8650 h 8650"/>
              <a:gd name="connsiteX2" fmla="*/ 8602 w 10000"/>
              <a:gd name="connsiteY2" fmla="*/ 8106 h 8650"/>
              <a:gd name="connsiteX3" fmla="*/ 10000 w 10000"/>
              <a:gd name="connsiteY3" fmla="*/ 0 h 8650"/>
              <a:gd name="connsiteX4" fmla="*/ 0 w 10000"/>
              <a:gd name="connsiteY4" fmla="*/ 0 h 8650"/>
              <a:gd name="connsiteX0" fmla="*/ 0 w 10000"/>
              <a:gd name="connsiteY0" fmla="*/ 0 h 10191"/>
              <a:gd name="connsiteX1" fmla="*/ 758 w 10000"/>
              <a:gd name="connsiteY1" fmla="*/ 10000 h 10191"/>
              <a:gd name="connsiteX2" fmla="*/ 9599 w 10000"/>
              <a:gd name="connsiteY2" fmla="*/ 10191 h 10191"/>
              <a:gd name="connsiteX3" fmla="*/ 10000 w 10000"/>
              <a:gd name="connsiteY3" fmla="*/ 0 h 10191"/>
              <a:gd name="connsiteX4" fmla="*/ 0 w 10000"/>
              <a:gd name="connsiteY4" fmla="*/ 0 h 10191"/>
              <a:gd name="connsiteX0" fmla="*/ 0 w 10000"/>
              <a:gd name="connsiteY0" fmla="*/ 0 h 10750"/>
              <a:gd name="connsiteX1" fmla="*/ 422 w 10000"/>
              <a:gd name="connsiteY1" fmla="*/ 10750 h 10750"/>
              <a:gd name="connsiteX2" fmla="*/ 9599 w 10000"/>
              <a:gd name="connsiteY2" fmla="*/ 10191 h 10750"/>
              <a:gd name="connsiteX3" fmla="*/ 10000 w 10000"/>
              <a:gd name="connsiteY3" fmla="*/ 0 h 10750"/>
              <a:gd name="connsiteX4" fmla="*/ 0 w 10000"/>
              <a:gd name="connsiteY4" fmla="*/ 0 h 10750"/>
              <a:gd name="connsiteX0" fmla="*/ 0 w 10000"/>
              <a:gd name="connsiteY0" fmla="*/ 0 h 10750"/>
              <a:gd name="connsiteX1" fmla="*/ 422 w 10000"/>
              <a:gd name="connsiteY1" fmla="*/ 10750 h 10750"/>
              <a:gd name="connsiteX2" fmla="*/ 9599 w 10000"/>
              <a:gd name="connsiteY2" fmla="*/ 10191 h 10750"/>
              <a:gd name="connsiteX3" fmla="*/ 10000 w 10000"/>
              <a:gd name="connsiteY3" fmla="*/ 0 h 10750"/>
              <a:gd name="connsiteX4" fmla="*/ 0 w 10000"/>
              <a:gd name="connsiteY4" fmla="*/ 0 h 1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750">
                <a:moveTo>
                  <a:pt x="0" y="0"/>
                </a:moveTo>
                <a:cubicBezTo>
                  <a:pt x="141" y="3583"/>
                  <a:pt x="281" y="7167"/>
                  <a:pt x="422" y="10750"/>
                </a:cubicBezTo>
                <a:lnTo>
                  <a:pt x="9599" y="10191"/>
                </a:lnTo>
                <a:cubicBezTo>
                  <a:pt x="9733" y="6794"/>
                  <a:pt x="9866" y="3397"/>
                  <a:pt x="10000" y="0"/>
                </a:cubicBezTo>
                <a:lnTo>
                  <a:pt x="0" y="0"/>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de-DE" sz="2400">
              <a:solidFill>
                <a:srgbClr val="001E3E"/>
              </a:solidFill>
            </a:endParaRPr>
          </a:p>
        </p:txBody>
      </p:sp>
      <p:sp>
        <p:nvSpPr>
          <p:cNvPr id="2" name="Title 1"/>
          <p:cNvSpPr>
            <a:spLocks noGrp="1"/>
          </p:cNvSpPr>
          <p:nvPr>
            <p:ph type="title" hasCustomPrompt="1"/>
          </p:nvPr>
        </p:nvSpPr>
        <p:spPr>
          <a:xfrm>
            <a:off x="1583499" y="1427641"/>
            <a:ext cx="5731701" cy="2166459"/>
          </a:xfrm>
        </p:spPr>
        <p:txBody>
          <a:bodyPr anchor="t"/>
          <a:lstStyle>
            <a:lvl1pPr>
              <a:lnSpc>
                <a:spcPct val="75000"/>
              </a:lnSpc>
              <a:defRPr sz="4800">
                <a:solidFill>
                  <a:schemeClr val="accent1"/>
                </a:solidFill>
              </a:defRPr>
            </a:lvl1pPr>
          </a:lstStyle>
          <a:p>
            <a:r>
              <a:rPr lang="en-US" noProof="0" dirty="0"/>
              <a:t>Click to edit Master title style</a:t>
            </a:r>
          </a:p>
        </p:txBody>
      </p:sp>
      <p:sp>
        <p:nvSpPr>
          <p:cNvPr id="8" name="Textplatzhalter 4">
            <a:extLst>
              <a:ext uri="{FF2B5EF4-FFF2-40B4-BE49-F238E27FC236}">
                <a16:creationId xmlns:a16="http://schemas.microsoft.com/office/drawing/2014/main" id="{C03F8266-7713-4BE2-91E6-0B6EE51EE04E}"/>
              </a:ext>
            </a:extLst>
          </p:cNvPr>
          <p:cNvSpPr>
            <a:spLocks noGrp="1"/>
          </p:cNvSpPr>
          <p:nvPr>
            <p:ph type="body" sz="quarter" idx="14" hasCustomPrompt="1"/>
          </p:nvPr>
        </p:nvSpPr>
        <p:spPr>
          <a:xfrm>
            <a:off x="1583499" y="3646421"/>
            <a:ext cx="5731701" cy="611368"/>
          </a:xfrm>
        </p:spPr>
        <p:txBody>
          <a:bodyPr/>
          <a:lstStyle>
            <a:lvl1pPr marL="0" indent="0">
              <a:buNone/>
              <a:defRPr sz="1800" b="1">
                <a:solidFill>
                  <a:schemeClr val="accent1"/>
                </a:solidFill>
              </a:defRPr>
            </a:lvl1pPr>
          </a:lstStyle>
          <a:p>
            <a:pPr lvl="0"/>
            <a:r>
              <a:rPr lang="de-DE" dirty="0" err="1"/>
              <a:t>Subline</a:t>
            </a:r>
            <a:endParaRPr lang="de-DE" dirty="0"/>
          </a:p>
        </p:txBody>
      </p:sp>
    </p:spTree>
    <p:extLst>
      <p:ext uri="{BB962C8B-B14F-4D97-AF65-F5344CB8AC3E}">
        <p14:creationId xmlns:p14="http://schemas.microsoft.com/office/powerpoint/2010/main" val="4047461799"/>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showMasterSp="0" preserve="1" userDrawn="1">
  <p:cSld name="Divider 12">
    <p:spTree>
      <p:nvGrpSpPr>
        <p:cNvPr id="1" name=""/>
        <p:cNvGrpSpPr/>
        <p:nvPr/>
      </p:nvGrpSpPr>
      <p:grpSpPr>
        <a:xfrm>
          <a:off x="0" y="0"/>
          <a:ext cx="0" cy="0"/>
          <a:chOff x="0" y="0"/>
          <a:chExt cx="0" cy="0"/>
        </a:xfrm>
      </p:grpSpPr>
      <p:sp>
        <p:nvSpPr>
          <p:cNvPr id="8" name="Bildplatzhalter 6">
            <a:extLst>
              <a:ext uri="{FF2B5EF4-FFF2-40B4-BE49-F238E27FC236}">
                <a16:creationId xmlns:a16="http://schemas.microsoft.com/office/drawing/2014/main" id="{BF7B0546-EF62-4714-AAAD-A2FE9E5F30BA}"/>
              </a:ext>
            </a:extLst>
          </p:cNvPr>
          <p:cNvSpPr>
            <a:spLocks noGrp="1"/>
          </p:cNvSpPr>
          <p:nvPr>
            <p:ph type="pic" sz="quarter" idx="13" hasCustomPrompt="1"/>
          </p:nvPr>
        </p:nvSpPr>
        <p:spPr>
          <a:xfrm>
            <a:off x="0" y="0"/>
            <a:ext cx="12192000" cy="6858000"/>
          </a:xfrm>
          <a:solidFill>
            <a:schemeClr val="bg1">
              <a:lumMod val="85000"/>
            </a:schemeClr>
          </a:solidFill>
        </p:spPr>
        <p:txBody>
          <a:bodyPr anchor="ctr"/>
          <a:lstStyle>
            <a:lvl1pPr marL="0" indent="0" algn="ctr">
              <a:buNone/>
              <a:defRPr/>
            </a:lvl1pPr>
          </a:lstStyle>
          <a:p>
            <a:r>
              <a:rPr lang="en-US" noProof="0" dirty="0"/>
              <a:t>Picture</a:t>
            </a:r>
          </a:p>
        </p:txBody>
      </p:sp>
      <p:sp>
        <p:nvSpPr>
          <p:cNvPr id="2" name="Title 1"/>
          <p:cNvSpPr>
            <a:spLocks noGrp="1"/>
          </p:cNvSpPr>
          <p:nvPr>
            <p:ph type="ctrTitle" hasCustomPrompt="1"/>
          </p:nvPr>
        </p:nvSpPr>
        <p:spPr bwMode="gray">
          <a:xfrm>
            <a:off x="550176" y="567732"/>
            <a:ext cx="6765024" cy="4253517"/>
          </a:xfrm>
          <a:custGeom>
            <a:avLst/>
            <a:gdLst>
              <a:gd name="connsiteX0" fmla="*/ 0 w 4162735"/>
              <a:gd name="connsiteY0" fmla="*/ 0 h 2804145"/>
              <a:gd name="connsiteX1" fmla="*/ 4162735 w 4162735"/>
              <a:gd name="connsiteY1" fmla="*/ 0 h 2804145"/>
              <a:gd name="connsiteX2" fmla="*/ 4162735 w 4162735"/>
              <a:gd name="connsiteY2" fmla="*/ 2804145 h 2804145"/>
              <a:gd name="connsiteX3" fmla="*/ 0 w 4162735"/>
              <a:gd name="connsiteY3" fmla="*/ 2804145 h 2804145"/>
              <a:gd name="connsiteX4" fmla="*/ 0 w 4162735"/>
              <a:gd name="connsiteY4" fmla="*/ 0 h 2804145"/>
              <a:gd name="connsiteX0" fmla="*/ 0 w 4162735"/>
              <a:gd name="connsiteY0" fmla="*/ 0 h 2804145"/>
              <a:gd name="connsiteX1" fmla="*/ 4162735 w 4162735"/>
              <a:gd name="connsiteY1" fmla="*/ 0 h 2804145"/>
              <a:gd name="connsiteX2" fmla="*/ 4162735 w 4162735"/>
              <a:gd name="connsiteY2" fmla="*/ 2804145 h 2804145"/>
              <a:gd name="connsiteX3" fmla="*/ 171450 w 4162735"/>
              <a:gd name="connsiteY3" fmla="*/ 2800970 h 2804145"/>
              <a:gd name="connsiteX4" fmla="*/ 0 w 4162735"/>
              <a:gd name="connsiteY4" fmla="*/ 0 h 2804145"/>
              <a:gd name="connsiteX0" fmla="*/ 0 w 4162735"/>
              <a:gd name="connsiteY0" fmla="*/ 0 h 2800970"/>
              <a:gd name="connsiteX1" fmla="*/ 4162735 w 4162735"/>
              <a:gd name="connsiteY1" fmla="*/ 0 h 2800970"/>
              <a:gd name="connsiteX2" fmla="*/ 3988110 w 4162735"/>
              <a:gd name="connsiteY2" fmla="*/ 2645395 h 2800970"/>
              <a:gd name="connsiteX3" fmla="*/ 171450 w 4162735"/>
              <a:gd name="connsiteY3" fmla="*/ 2800970 h 2800970"/>
              <a:gd name="connsiteX4" fmla="*/ 0 w 4162735"/>
              <a:gd name="connsiteY4" fmla="*/ 0 h 2800970"/>
              <a:gd name="connsiteX0" fmla="*/ 0 w 4162735"/>
              <a:gd name="connsiteY0" fmla="*/ 0 h 2800970"/>
              <a:gd name="connsiteX1" fmla="*/ 4162735 w 4162735"/>
              <a:gd name="connsiteY1" fmla="*/ 0 h 2800970"/>
              <a:gd name="connsiteX2" fmla="*/ 3988110 w 4162735"/>
              <a:gd name="connsiteY2" fmla="*/ 2465657 h 2800970"/>
              <a:gd name="connsiteX3" fmla="*/ 171450 w 4162735"/>
              <a:gd name="connsiteY3" fmla="*/ 2800970 h 2800970"/>
              <a:gd name="connsiteX4" fmla="*/ 0 w 4162735"/>
              <a:gd name="connsiteY4" fmla="*/ 0 h 2800970"/>
              <a:gd name="connsiteX0" fmla="*/ 0 w 4162735"/>
              <a:gd name="connsiteY0" fmla="*/ 0 h 2617325"/>
              <a:gd name="connsiteX1" fmla="*/ 4162735 w 4162735"/>
              <a:gd name="connsiteY1" fmla="*/ 0 h 2617325"/>
              <a:gd name="connsiteX2" fmla="*/ 3988110 w 4162735"/>
              <a:gd name="connsiteY2" fmla="*/ 2465657 h 2617325"/>
              <a:gd name="connsiteX3" fmla="*/ 179265 w 4162735"/>
              <a:gd name="connsiteY3" fmla="*/ 2617325 h 2617325"/>
              <a:gd name="connsiteX4" fmla="*/ 0 w 4162735"/>
              <a:gd name="connsiteY4" fmla="*/ 0 h 2617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735" h="2617325">
                <a:moveTo>
                  <a:pt x="0" y="0"/>
                </a:moveTo>
                <a:lnTo>
                  <a:pt x="4162735" y="0"/>
                </a:lnTo>
                <a:lnTo>
                  <a:pt x="3988110" y="2465657"/>
                </a:lnTo>
                <a:lnTo>
                  <a:pt x="179265" y="2617325"/>
                </a:lnTo>
                <a:lnTo>
                  <a:pt x="0" y="0"/>
                </a:lnTo>
                <a:close/>
              </a:path>
            </a:pathLst>
          </a:custGeom>
          <a:solidFill>
            <a:schemeClr val="bg1"/>
          </a:solidFill>
          <a:ln>
            <a:noFill/>
          </a:ln>
        </p:spPr>
        <p:txBody>
          <a:bodyPr lIns="576000" tIns="612000" rIns="144000" anchor="t"/>
          <a:lstStyle>
            <a:lvl1pPr>
              <a:lnSpc>
                <a:spcPct val="78000"/>
              </a:lnSpc>
              <a:defRPr sz="4800">
                <a:solidFill>
                  <a:schemeClr val="accent1"/>
                </a:solidFill>
              </a:defRPr>
            </a:lvl1pPr>
          </a:lstStyle>
          <a:p>
            <a:r>
              <a:rPr lang="en-US" noProof="0" dirty="0"/>
              <a:t>Click to edit Master title style</a:t>
            </a:r>
          </a:p>
        </p:txBody>
      </p:sp>
      <p:sp>
        <p:nvSpPr>
          <p:cNvPr id="5" name="Textplatzhalter 4">
            <a:extLst>
              <a:ext uri="{FF2B5EF4-FFF2-40B4-BE49-F238E27FC236}">
                <a16:creationId xmlns:a16="http://schemas.microsoft.com/office/drawing/2014/main" id="{062A3B7D-BC91-4E4C-AB49-6F7780F48FA8}"/>
              </a:ext>
            </a:extLst>
          </p:cNvPr>
          <p:cNvSpPr>
            <a:spLocks noGrp="1"/>
          </p:cNvSpPr>
          <p:nvPr>
            <p:ph type="body" sz="quarter" idx="14" hasCustomPrompt="1"/>
          </p:nvPr>
        </p:nvSpPr>
        <p:spPr>
          <a:xfrm>
            <a:off x="1337734" y="3669027"/>
            <a:ext cx="5526351" cy="720080"/>
          </a:xfrm>
        </p:spPr>
        <p:txBody>
          <a:bodyPr/>
          <a:lstStyle>
            <a:lvl1pPr marL="0" indent="0">
              <a:buNone/>
              <a:defRPr sz="1600" b="1">
                <a:solidFill>
                  <a:schemeClr val="accent1"/>
                </a:solidFill>
              </a:defRPr>
            </a:lvl1pPr>
          </a:lstStyle>
          <a:p>
            <a:pPr lvl="0"/>
            <a:r>
              <a:rPr lang="de-DE" dirty="0" err="1"/>
              <a:t>Subline</a:t>
            </a:r>
            <a:endParaRPr lang="de-DE" dirty="0"/>
          </a:p>
        </p:txBody>
      </p:sp>
    </p:spTree>
    <p:extLst>
      <p:ext uri="{BB962C8B-B14F-4D97-AF65-F5344CB8AC3E}">
        <p14:creationId xmlns:p14="http://schemas.microsoft.com/office/powerpoint/2010/main" val="2569844177"/>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showMasterSp="0" preserve="1" userDrawn="1">
  <p:cSld name="Divider 13">
    <p:spTree>
      <p:nvGrpSpPr>
        <p:cNvPr id="1" name=""/>
        <p:cNvGrpSpPr/>
        <p:nvPr/>
      </p:nvGrpSpPr>
      <p:grpSpPr>
        <a:xfrm>
          <a:off x="0" y="0"/>
          <a:ext cx="0" cy="0"/>
          <a:chOff x="0" y="0"/>
          <a:chExt cx="0" cy="0"/>
        </a:xfrm>
      </p:grpSpPr>
      <p:sp>
        <p:nvSpPr>
          <p:cNvPr id="8" name="Bildplatzhalter 6">
            <a:extLst>
              <a:ext uri="{FF2B5EF4-FFF2-40B4-BE49-F238E27FC236}">
                <a16:creationId xmlns:a16="http://schemas.microsoft.com/office/drawing/2014/main" id="{BF7B0546-EF62-4714-AAAD-A2FE9E5F30BA}"/>
              </a:ext>
            </a:extLst>
          </p:cNvPr>
          <p:cNvSpPr>
            <a:spLocks noGrp="1"/>
          </p:cNvSpPr>
          <p:nvPr>
            <p:ph type="pic" sz="quarter" idx="13" hasCustomPrompt="1"/>
          </p:nvPr>
        </p:nvSpPr>
        <p:spPr>
          <a:xfrm>
            <a:off x="0" y="0"/>
            <a:ext cx="12192000" cy="6858000"/>
          </a:xfrm>
          <a:solidFill>
            <a:schemeClr val="bg1">
              <a:lumMod val="85000"/>
            </a:schemeClr>
          </a:solidFill>
        </p:spPr>
        <p:txBody>
          <a:bodyPr anchor="ctr"/>
          <a:lstStyle>
            <a:lvl1pPr marL="0" indent="0" algn="ctr">
              <a:buNone/>
              <a:defRPr/>
            </a:lvl1pPr>
          </a:lstStyle>
          <a:p>
            <a:r>
              <a:rPr lang="en-US" noProof="0" dirty="0"/>
              <a:t>Picture</a:t>
            </a:r>
          </a:p>
        </p:txBody>
      </p:sp>
      <p:sp>
        <p:nvSpPr>
          <p:cNvPr id="2" name="Title 1"/>
          <p:cNvSpPr>
            <a:spLocks noGrp="1"/>
          </p:cNvSpPr>
          <p:nvPr>
            <p:ph type="ctrTitle" hasCustomPrompt="1"/>
          </p:nvPr>
        </p:nvSpPr>
        <p:spPr bwMode="gray">
          <a:xfrm>
            <a:off x="575734" y="3033435"/>
            <a:ext cx="6548967" cy="2267773"/>
          </a:xfrm>
          <a:prstGeom prst="rect">
            <a:avLst/>
          </a:prstGeom>
          <a:noFill/>
          <a:ln>
            <a:noFill/>
          </a:ln>
        </p:spPr>
        <p:txBody>
          <a:bodyPr lIns="0" tIns="0" rIns="0" anchor="t"/>
          <a:lstStyle>
            <a:lvl1pPr>
              <a:lnSpc>
                <a:spcPct val="78000"/>
              </a:lnSpc>
              <a:defRPr sz="4800">
                <a:solidFill>
                  <a:schemeClr val="accent1"/>
                </a:solidFill>
              </a:defRPr>
            </a:lvl1pPr>
          </a:lstStyle>
          <a:p>
            <a:r>
              <a:rPr lang="en-US" noProof="0" dirty="0"/>
              <a:t>Click to edit Master title style</a:t>
            </a:r>
          </a:p>
        </p:txBody>
      </p:sp>
      <p:sp>
        <p:nvSpPr>
          <p:cNvPr id="5" name="Textplatzhalter 4">
            <a:extLst>
              <a:ext uri="{FF2B5EF4-FFF2-40B4-BE49-F238E27FC236}">
                <a16:creationId xmlns:a16="http://schemas.microsoft.com/office/drawing/2014/main" id="{062A3B7D-BC91-4E4C-AB49-6F7780F48FA8}"/>
              </a:ext>
            </a:extLst>
          </p:cNvPr>
          <p:cNvSpPr>
            <a:spLocks noGrp="1"/>
          </p:cNvSpPr>
          <p:nvPr>
            <p:ph type="body" sz="quarter" idx="14" hasCustomPrompt="1"/>
          </p:nvPr>
        </p:nvSpPr>
        <p:spPr>
          <a:xfrm>
            <a:off x="574147" y="5308725"/>
            <a:ext cx="6548967" cy="664559"/>
          </a:xfrm>
        </p:spPr>
        <p:txBody>
          <a:bodyPr/>
          <a:lstStyle>
            <a:lvl1pPr marL="0" indent="0">
              <a:buNone/>
              <a:defRPr sz="1600" b="1">
                <a:solidFill>
                  <a:schemeClr val="accent1"/>
                </a:solidFill>
              </a:defRPr>
            </a:lvl1pPr>
          </a:lstStyle>
          <a:p>
            <a:pPr lvl="0"/>
            <a:r>
              <a:rPr lang="de-DE" dirty="0" err="1"/>
              <a:t>Subline</a:t>
            </a:r>
            <a:endParaRPr lang="de-DE" dirty="0"/>
          </a:p>
        </p:txBody>
      </p:sp>
    </p:spTree>
    <p:extLst>
      <p:ext uri="{BB962C8B-B14F-4D97-AF65-F5344CB8AC3E}">
        <p14:creationId xmlns:p14="http://schemas.microsoft.com/office/powerpoint/2010/main" val="2373655231"/>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showMasterSp="0" preserve="1" userDrawn="1">
  <p:cSld name="Divider 14">
    <p:spTree>
      <p:nvGrpSpPr>
        <p:cNvPr id="1" name=""/>
        <p:cNvGrpSpPr/>
        <p:nvPr/>
      </p:nvGrpSpPr>
      <p:grpSpPr>
        <a:xfrm>
          <a:off x="0" y="0"/>
          <a:ext cx="0" cy="0"/>
          <a:chOff x="0" y="0"/>
          <a:chExt cx="0" cy="0"/>
        </a:xfrm>
      </p:grpSpPr>
      <p:sp>
        <p:nvSpPr>
          <p:cNvPr id="8" name="Bildplatzhalter 6">
            <a:extLst>
              <a:ext uri="{FF2B5EF4-FFF2-40B4-BE49-F238E27FC236}">
                <a16:creationId xmlns:a16="http://schemas.microsoft.com/office/drawing/2014/main" id="{BF7B0546-EF62-4714-AAAD-A2FE9E5F30BA}"/>
              </a:ext>
            </a:extLst>
          </p:cNvPr>
          <p:cNvSpPr>
            <a:spLocks noGrp="1"/>
          </p:cNvSpPr>
          <p:nvPr>
            <p:ph type="pic" sz="quarter" idx="13" hasCustomPrompt="1"/>
          </p:nvPr>
        </p:nvSpPr>
        <p:spPr>
          <a:xfrm>
            <a:off x="0" y="0"/>
            <a:ext cx="12192000" cy="6858000"/>
          </a:xfrm>
          <a:solidFill>
            <a:schemeClr val="bg1">
              <a:lumMod val="85000"/>
            </a:schemeClr>
          </a:solidFill>
        </p:spPr>
        <p:txBody>
          <a:bodyPr anchor="ctr"/>
          <a:lstStyle>
            <a:lvl1pPr marL="0" indent="0" algn="ctr">
              <a:buNone/>
              <a:defRPr/>
            </a:lvl1pPr>
          </a:lstStyle>
          <a:p>
            <a:r>
              <a:rPr lang="en-US" noProof="0" dirty="0"/>
              <a:t>Picture</a:t>
            </a:r>
          </a:p>
        </p:txBody>
      </p:sp>
      <p:sp>
        <p:nvSpPr>
          <p:cNvPr id="2" name="Title 1"/>
          <p:cNvSpPr>
            <a:spLocks noGrp="1"/>
          </p:cNvSpPr>
          <p:nvPr>
            <p:ph type="ctrTitle" hasCustomPrompt="1"/>
          </p:nvPr>
        </p:nvSpPr>
        <p:spPr bwMode="gray">
          <a:xfrm>
            <a:off x="5067299" y="3033435"/>
            <a:ext cx="6548967" cy="2267773"/>
          </a:xfrm>
          <a:prstGeom prst="rect">
            <a:avLst/>
          </a:prstGeom>
          <a:noFill/>
          <a:ln>
            <a:noFill/>
          </a:ln>
        </p:spPr>
        <p:txBody>
          <a:bodyPr lIns="0" tIns="0" rIns="0" anchor="t"/>
          <a:lstStyle>
            <a:lvl1pPr>
              <a:lnSpc>
                <a:spcPct val="78000"/>
              </a:lnSpc>
              <a:defRPr sz="4800">
                <a:solidFill>
                  <a:schemeClr val="bg1"/>
                </a:solidFill>
              </a:defRPr>
            </a:lvl1pPr>
          </a:lstStyle>
          <a:p>
            <a:r>
              <a:rPr lang="en-US" noProof="0" dirty="0"/>
              <a:t>Click to edit Master title style</a:t>
            </a:r>
          </a:p>
        </p:txBody>
      </p:sp>
      <p:sp>
        <p:nvSpPr>
          <p:cNvPr id="5" name="Textplatzhalter 4">
            <a:extLst>
              <a:ext uri="{FF2B5EF4-FFF2-40B4-BE49-F238E27FC236}">
                <a16:creationId xmlns:a16="http://schemas.microsoft.com/office/drawing/2014/main" id="{062A3B7D-BC91-4E4C-AB49-6F7780F48FA8}"/>
              </a:ext>
            </a:extLst>
          </p:cNvPr>
          <p:cNvSpPr>
            <a:spLocks noGrp="1"/>
          </p:cNvSpPr>
          <p:nvPr>
            <p:ph type="body" sz="quarter" idx="14" hasCustomPrompt="1"/>
          </p:nvPr>
        </p:nvSpPr>
        <p:spPr>
          <a:xfrm>
            <a:off x="5065713" y="5308725"/>
            <a:ext cx="6548967" cy="664559"/>
          </a:xfrm>
        </p:spPr>
        <p:txBody>
          <a:bodyPr/>
          <a:lstStyle>
            <a:lvl1pPr marL="0" indent="0">
              <a:buNone/>
              <a:defRPr sz="1600" b="1">
                <a:solidFill>
                  <a:schemeClr val="bg1"/>
                </a:solidFill>
              </a:defRPr>
            </a:lvl1pPr>
          </a:lstStyle>
          <a:p>
            <a:pPr lvl="0"/>
            <a:r>
              <a:rPr lang="de-DE" dirty="0" err="1"/>
              <a:t>Subline</a:t>
            </a:r>
            <a:endParaRPr lang="de-DE" dirty="0"/>
          </a:p>
        </p:txBody>
      </p:sp>
    </p:spTree>
    <p:extLst>
      <p:ext uri="{BB962C8B-B14F-4D97-AF65-F5344CB8AC3E}">
        <p14:creationId xmlns:p14="http://schemas.microsoft.com/office/powerpoint/2010/main" val="249604032"/>
      </p:ext>
    </p:extLst>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preserve="1" userDrawn="1">
  <p:cSld name="Contents 1">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D665BC53-75ED-4DBA-8B20-B4665E66180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Freeform 5">
            <a:extLst>
              <a:ext uri="{FF2B5EF4-FFF2-40B4-BE49-F238E27FC236}">
                <a16:creationId xmlns:a16="http://schemas.microsoft.com/office/drawing/2014/main" id="{B2DC0918-2FC2-4746-A070-59E502DE378C}"/>
              </a:ext>
            </a:extLst>
          </p:cNvPr>
          <p:cNvSpPr>
            <a:spLocks/>
          </p:cNvSpPr>
          <p:nvPr userDrawn="1"/>
        </p:nvSpPr>
        <p:spPr bwMode="auto">
          <a:xfrm>
            <a:off x="568670" y="575302"/>
            <a:ext cx="11047597" cy="5688169"/>
          </a:xfrm>
          <a:custGeom>
            <a:avLst/>
            <a:gdLst>
              <a:gd name="T0" fmla="*/ 0 w 3258"/>
              <a:gd name="T1" fmla="*/ 0 h 2195"/>
              <a:gd name="T2" fmla="*/ 134 w 3258"/>
              <a:gd name="T3" fmla="*/ 2195 h 2195"/>
              <a:gd name="T4" fmla="*/ 3131 w 3258"/>
              <a:gd name="T5" fmla="*/ 2074 h 2195"/>
              <a:gd name="T6" fmla="*/ 3258 w 3258"/>
              <a:gd name="T7" fmla="*/ 0 h 2195"/>
              <a:gd name="T8" fmla="*/ 0 w 3258"/>
              <a:gd name="T9" fmla="*/ 0 h 2195"/>
              <a:gd name="connsiteX0" fmla="*/ 0 w 10000"/>
              <a:gd name="connsiteY0" fmla="*/ 0 h 9449"/>
              <a:gd name="connsiteX1" fmla="*/ 758 w 10000"/>
              <a:gd name="connsiteY1" fmla="*/ 8173 h 9449"/>
              <a:gd name="connsiteX2" fmla="*/ 9610 w 10000"/>
              <a:gd name="connsiteY2" fmla="*/ 9449 h 9449"/>
              <a:gd name="connsiteX3" fmla="*/ 10000 w 10000"/>
              <a:gd name="connsiteY3" fmla="*/ 0 h 9449"/>
              <a:gd name="connsiteX4" fmla="*/ 0 w 10000"/>
              <a:gd name="connsiteY4" fmla="*/ 0 h 9449"/>
              <a:gd name="connsiteX0" fmla="*/ 0 w 10000"/>
              <a:gd name="connsiteY0" fmla="*/ 0 h 8650"/>
              <a:gd name="connsiteX1" fmla="*/ 758 w 10000"/>
              <a:gd name="connsiteY1" fmla="*/ 8650 h 8650"/>
              <a:gd name="connsiteX2" fmla="*/ 8602 w 10000"/>
              <a:gd name="connsiteY2" fmla="*/ 8106 h 8650"/>
              <a:gd name="connsiteX3" fmla="*/ 10000 w 10000"/>
              <a:gd name="connsiteY3" fmla="*/ 0 h 8650"/>
              <a:gd name="connsiteX4" fmla="*/ 0 w 10000"/>
              <a:gd name="connsiteY4" fmla="*/ 0 h 8650"/>
              <a:gd name="connsiteX0" fmla="*/ 0 w 10000"/>
              <a:gd name="connsiteY0" fmla="*/ 0 h 10191"/>
              <a:gd name="connsiteX1" fmla="*/ 758 w 10000"/>
              <a:gd name="connsiteY1" fmla="*/ 10000 h 10191"/>
              <a:gd name="connsiteX2" fmla="*/ 9599 w 10000"/>
              <a:gd name="connsiteY2" fmla="*/ 10191 h 10191"/>
              <a:gd name="connsiteX3" fmla="*/ 10000 w 10000"/>
              <a:gd name="connsiteY3" fmla="*/ 0 h 10191"/>
              <a:gd name="connsiteX4" fmla="*/ 0 w 10000"/>
              <a:gd name="connsiteY4" fmla="*/ 0 h 10191"/>
              <a:gd name="connsiteX0" fmla="*/ 0 w 10000"/>
              <a:gd name="connsiteY0" fmla="*/ 0 h 10750"/>
              <a:gd name="connsiteX1" fmla="*/ 422 w 10000"/>
              <a:gd name="connsiteY1" fmla="*/ 10750 h 10750"/>
              <a:gd name="connsiteX2" fmla="*/ 9599 w 10000"/>
              <a:gd name="connsiteY2" fmla="*/ 10191 h 10750"/>
              <a:gd name="connsiteX3" fmla="*/ 10000 w 10000"/>
              <a:gd name="connsiteY3" fmla="*/ 0 h 10750"/>
              <a:gd name="connsiteX4" fmla="*/ 0 w 10000"/>
              <a:gd name="connsiteY4" fmla="*/ 0 h 10750"/>
              <a:gd name="connsiteX0" fmla="*/ 0 w 10000"/>
              <a:gd name="connsiteY0" fmla="*/ 0 h 10750"/>
              <a:gd name="connsiteX1" fmla="*/ 422 w 10000"/>
              <a:gd name="connsiteY1" fmla="*/ 10750 h 10750"/>
              <a:gd name="connsiteX2" fmla="*/ 9599 w 10000"/>
              <a:gd name="connsiteY2" fmla="*/ 10191 h 10750"/>
              <a:gd name="connsiteX3" fmla="*/ 10000 w 10000"/>
              <a:gd name="connsiteY3" fmla="*/ 0 h 10750"/>
              <a:gd name="connsiteX4" fmla="*/ 0 w 10000"/>
              <a:gd name="connsiteY4" fmla="*/ 0 h 10750"/>
              <a:gd name="connsiteX0" fmla="*/ 0 w 10000"/>
              <a:gd name="connsiteY0" fmla="*/ 0 h 10206"/>
              <a:gd name="connsiteX1" fmla="*/ 326 w 10000"/>
              <a:gd name="connsiteY1" fmla="*/ 9027 h 10206"/>
              <a:gd name="connsiteX2" fmla="*/ 9599 w 10000"/>
              <a:gd name="connsiteY2" fmla="*/ 10191 h 10206"/>
              <a:gd name="connsiteX3" fmla="*/ 10000 w 10000"/>
              <a:gd name="connsiteY3" fmla="*/ 0 h 10206"/>
              <a:gd name="connsiteX4" fmla="*/ 0 w 10000"/>
              <a:gd name="connsiteY4" fmla="*/ 0 h 10206"/>
              <a:gd name="connsiteX0" fmla="*/ 0 w 10000"/>
              <a:gd name="connsiteY0" fmla="*/ 0 h 9027"/>
              <a:gd name="connsiteX1" fmla="*/ 326 w 10000"/>
              <a:gd name="connsiteY1" fmla="*/ 9027 h 9027"/>
              <a:gd name="connsiteX2" fmla="*/ 9471 w 10000"/>
              <a:gd name="connsiteY2" fmla="*/ 7396 h 9027"/>
              <a:gd name="connsiteX3" fmla="*/ 10000 w 10000"/>
              <a:gd name="connsiteY3" fmla="*/ 0 h 9027"/>
              <a:gd name="connsiteX4" fmla="*/ 0 w 10000"/>
              <a:gd name="connsiteY4" fmla="*/ 0 h 9027"/>
              <a:gd name="connsiteX0" fmla="*/ 0 w 10000"/>
              <a:gd name="connsiteY0" fmla="*/ 0 h 10000"/>
              <a:gd name="connsiteX1" fmla="*/ 326 w 10000"/>
              <a:gd name="connsiteY1" fmla="*/ 10000 h 10000"/>
              <a:gd name="connsiteX2" fmla="*/ 9586 w 10000"/>
              <a:gd name="connsiteY2" fmla="*/ 9044 h 10000"/>
              <a:gd name="connsiteX3" fmla="*/ 10000 w 10000"/>
              <a:gd name="connsiteY3" fmla="*/ 0 h 10000"/>
              <a:gd name="connsiteX4" fmla="*/ 0 w 10000"/>
              <a:gd name="connsiteY4" fmla="*/ 0 h 10000"/>
              <a:gd name="connsiteX0" fmla="*/ 0 w 10000"/>
              <a:gd name="connsiteY0" fmla="*/ 0 h 10000"/>
              <a:gd name="connsiteX1" fmla="*/ 326 w 10000"/>
              <a:gd name="connsiteY1" fmla="*/ 10000 h 10000"/>
              <a:gd name="connsiteX2" fmla="*/ 9586 w 10000"/>
              <a:gd name="connsiteY2" fmla="*/ 9044 h 10000"/>
              <a:gd name="connsiteX3" fmla="*/ 10000 w 10000"/>
              <a:gd name="connsiteY3" fmla="*/ 0 h 10000"/>
              <a:gd name="connsiteX4" fmla="*/ 0 w 10000"/>
              <a:gd name="connsiteY4" fmla="*/ 0 h 10000"/>
              <a:gd name="connsiteX0" fmla="*/ 0 w 10000"/>
              <a:gd name="connsiteY0" fmla="*/ 0 h 10000"/>
              <a:gd name="connsiteX1" fmla="*/ 326 w 10000"/>
              <a:gd name="connsiteY1" fmla="*/ 10000 h 10000"/>
              <a:gd name="connsiteX2" fmla="*/ 9586 w 10000"/>
              <a:gd name="connsiteY2" fmla="*/ 9044 h 10000"/>
              <a:gd name="connsiteX3" fmla="*/ 10000 w 10000"/>
              <a:gd name="connsiteY3" fmla="*/ 0 h 10000"/>
              <a:gd name="connsiteX4" fmla="*/ 0 w 10000"/>
              <a:gd name="connsiteY4" fmla="*/ 0 h 10000"/>
              <a:gd name="connsiteX0" fmla="*/ 0 w 10000"/>
              <a:gd name="connsiteY0" fmla="*/ 0 h 10000"/>
              <a:gd name="connsiteX1" fmla="*/ 326 w 10000"/>
              <a:gd name="connsiteY1" fmla="*/ 10000 h 10000"/>
              <a:gd name="connsiteX2" fmla="*/ 9586 w 10000"/>
              <a:gd name="connsiteY2" fmla="*/ 9044 h 10000"/>
              <a:gd name="connsiteX3" fmla="*/ 10000 w 10000"/>
              <a:gd name="connsiteY3" fmla="*/ 0 h 10000"/>
              <a:gd name="connsiteX4" fmla="*/ 0 w 10000"/>
              <a:gd name="connsiteY4" fmla="*/ 0 h 10000"/>
              <a:gd name="connsiteX0" fmla="*/ 0 w 10000"/>
              <a:gd name="connsiteY0" fmla="*/ 0 h 10358"/>
              <a:gd name="connsiteX1" fmla="*/ 418 w 10000"/>
              <a:gd name="connsiteY1" fmla="*/ 10358 h 10358"/>
              <a:gd name="connsiteX2" fmla="*/ 9586 w 10000"/>
              <a:gd name="connsiteY2" fmla="*/ 9044 h 10358"/>
              <a:gd name="connsiteX3" fmla="*/ 10000 w 10000"/>
              <a:gd name="connsiteY3" fmla="*/ 0 h 10358"/>
              <a:gd name="connsiteX4" fmla="*/ 0 w 10000"/>
              <a:gd name="connsiteY4" fmla="*/ 0 h 10358"/>
              <a:gd name="connsiteX0" fmla="*/ 0 w 10000"/>
              <a:gd name="connsiteY0" fmla="*/ 0 h 10358"/>
              <a:gd name="connsiteX1" fmla="*/ 418 w 10000"/>
              <a:gd name="connsiteY1" fmla="*/ 10358 h 10358"/>
              <a:gd name="connsiteX2" fmla="*/ 9609 w 10000"/>
              <a:gd name="connsiteY2" fmla="*/ 9784 h 10358"/>
              <a:gd name="connsiteX3" fmla="*/ 10000 w 10000"/>
              <a:gd name="connsiteY3" fmla="*/ 0 h 10358"/>
              <a:gd name="connsiteX4" fmla="*/ 0 w 10000"/>
              <a:gd name="connsiteY4" fmla="*/ 0 h 10358"/>
              <a:gd name="connsiteX0" fmla="*/ 0 w 10000"/>
              <a:gd name="connsiteY0" fmla="*/ 0 h 10358"/>
              <a:gd name="connsiteX1" fmla="*/ 418 w 10000"/>
              <a:gd name="connsiteY1" fmla="*/ 10358 h 10358"/>
              <a:gd name="connsiteX2" fmla="*/ 9609 w 10000"/>
              <a:gd name="connsiteY2" fmla="*/ 9784 h 10358"/>
              <a:gd name="connsiteX3" fmla="*/ 10000 w 10000"/>
              <a:gd name="connsiteY3" fmla="*/ 0 h 10358"/>
              <a:gd name="connsiteX4" fmla="*/ 0 w 10000"/>
              <a:gd name="connsiteY4" fmla="*/ 0 h 10358"/>
              <a:gd name="connsiteX0" fmla="*/ 0 w 10000"/>
              <a:gd name="connsiteY0" fmla="*/ 0 h 10358"/>
              <a:gd name="connsiteX1" fmla="*/ 418 w 10000"/>
              <a:gd name="connsiteY1" fmla="*/ 10358 h 10358"/>
              <a:gd name="connsiteX2" fmla="*/ 9609 w 10000"/>
              <a:gd name="connsiteY2" fmla="*/ 9784 h 10358"/>
              <a:gd name="connsiteX3" fmla="*/ 10000 w 10000"/>
              <a:gd name="connsiteY3" fmla="*/ 0 h 10358"/>
              <a:gd name="connsiteX4" fmla="*/ 0 w 10000"/>
              <a:gd name="connsiteY4" fmla="*/ 0 h 10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58">
                <a:moveTo>
                  <a:pt x="0" y="0"/>
                </a:moveTo>
                <a:cubicBezTo>
                  <a:pt x="139" y="3453"/>
                  <a:pt x="279" y="6905"/>
                  <a:pt x="418" y="10358"/>
                </a:cubicBezTo>
                <a:lnTo>
                  <a:pt x="9609" y="9784"/>
                </a:lnTo>
                <a:cubicBezTo>
                  <a:pt x="9739" y="6523"/>
                  <a:pt x="9870" y="3261"/>
                  <a:pt x="10000" y="0"/>
                </a:cubicBezTo>
                <a:lnTo>
                  <a:pt x="0" y="0"/>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de-DE" sz="2400">
              <a:solidFill>
                <a:srgbClr val="001E3E"/>
              </a:solidFill>
            </a:endParaRPr>
          </a:p>
        </p:txBody>
      </p:sp>
      <p:sp>
        <p:nvSpPr>
          <p:cNvPr id="2" name="Title 1"/>
          <p:cNvSpPr>
            <a:spLocks noGrp="1"/>
          </p:cNvSpPr>
          <p:nvPr>
            <p:ph type="title" hasCustomPrompt="1"/>
          </p:nvPr>
        </p:nvSpPr>
        <p:spPr>
          <a:xfrm>
            <a:off x="1775520" y="1143115"/>
            <a:ext cx="8159749" cy="509688"/>
          </a:xfrm>
        </p:spPr>
        <p:txBody>
          <a:bodyPr/>
          <a:lstStyle/>
          <a:p>
            <a:r>
              <a:rPr lang="en-US" noProof="0" dirty="0"/>
              <a:t>Click to edit Master title sty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8B502147-0FBB-4BAE-8E11-C98715716641}" type="slidenum">
              <a:rPr lang="en-US" smtClean="0">
                <a:solidFill>
                  <a:prstClr val="white"/>
                </a:solidFill>
              </a:rPr>
              <a:pPr/>
              <a:t>‹#›</a:t>
            </a:fld>
            <a:endParaRPr lang="en-US">
              <a:solidFill>
                <a:prstClr val="white"/>
              </a:solidFill>
            </a:endParaRPr>
          </a:p>
        </p:txBody>
      </p:sp>
      <p:sp>
        <p:nvSpPr>
          <p:cNvPr id="11" name="Textplatzhalter 10">
            <a:extLst>
              <a:ext uri="{FF2B5EF4-FFF2-40B4-BE49-F238E27FC236}">
                <a16:creationId xmlns:a16="http://schemas.microsoft.com/office/drawing/2014/main" id="{CA56881B-40BE-437D-B32B-E367827F014B}"/>
              </a:ext>
            </a:extLst>
          </p:cNvPr>
          <p:cNvSpPr>
            <a:spLocks noGrp="1"/>
          </p:cNvSpPr>
          <p:nvPr>
            <p:ph type="body" sz="quarter" idx="13"/>
          </p:nvPr>
        </p:nvSpPr>
        <p:spPr>
          <a:xfrm>
            <a:off x="1775884" y="1997307"/>
            <a:ext cx="8159749" cy="3717579"/>
          </a:xfrm>
        </p:spPr>
        <p:txBody>
          <a:bodyPr/>
          <a:lstStyle>
            <a:lvl1pPr marL="355591" indent="-355591" defTabSz="1198003">
              <a:buNone/>
              <a:tabLst>
                <a:tab pos="355591" algn="l"/>
                <a:tab pos="8157429" algn="r"/>
              </a:tabLst>
              <a:defRPr sz="1600">
                <a:solidFill>
                  <a:schemeClr val="accent1"/>
                </a:solidFill>
              </a:defRPr>
            </a:lvl1pPr>
            <a:lvl2pPr>
              <a:defRPr sz="1600"/>
            </a:lvl2pPr>
            <a:lvl3pPr>
              <a:defRPr sz="1600"/>
            </a:lvl3pPr>
            <a:lvl4pPr>
              <a:defRPr sz="1600"/>
            </a:lvl4pPr>
            <a:lvl5pPr>
              <a:defRPr sz="1600"/>
            </a:lvl5pPr>
          </a:lstStyle>
          <a:p>
            <a:pPr lvl="0"/>
            <a:r>
              <a:rPr lang="de-DE"/>
              <a:t>Mastertextformat bearbeiten
Zweite Ebene
Dritte Ebene
Vierte Ebene
Fünfte Ebene</a:t>
            </a:r>
            <a:endParaRPr lang="de-DE" dirty="0"/>
          </a:p>
        </p:txBody>
      </p:sp>
    </p:spTree>
    <p:extLst>
      <p:ext uri="{BB962C8B-B14F-4D97-AF65-F5344CB8AC3E}">
        <p14:creationId xmlns:p14="http://schemas.microsoft.com/office/powerpoint/2010/main" val="2623652666"/>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preserve="1" userDrawn="1">
  <p:cSld name="Contents 2">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D665BC53-75ED-4DBA-8B20-B4665E66180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Freeform 5">
            <a:extLst>
              <a:ext uri="{FF2B5EF4-FFF2-40B4-BE49-F238E27FC236}">
                <a16:creationId xmlns:a16="http://schemas.microsoft.com/office/drawing/2014/main" id="{B2DC0918-2FC2-4746-A070-59E502DE378C}"/>
              </a:ext>
            </a:extLst>
          </p:cNvPr>
          <p:cNvSpPr>
            <a:spLocks/>
          </p:cNvSpPr>
          <p:nvPr userDrawn="1"/>
        </p:nvSpPr>
        <p:spPr bwMode="auto">
          <a:xfrm>
            <a:off x="568670" y="575302"/>
            <a:ext cx="11047597" cy="5688169"/>
          </a:xfrm>
          <a:custGeom>
            <a:avLst/>
            <a:gdLst>
              <a:gd name="T0" fmla="*/ 0 w 3258"/>
              <a:gd name="T1" fmla="*/ 0 h 2195"/>
              <a:gd name="T2" fmla="*/ 134 w 3258"/>
              <a:gd name="T3" fmla="*/ 2195 h 2195"/>
              <a:gd name="T4" fmla="*/ 3131 w 3258"/>
              <a:gd name="T5" fmla="*/ 2074 h 2195"/>
              <a:gd name="T6" fmla="*/ 3258 w 3258"/>
              <a:gd name="T7" fmla="*/ 0 h 2195"/>
              <a:gd name="T8" fmla="*/ 0 w 3258"/>
              <a:gd name="T9" fmla="*/ 0 h 2195"/>
              <a:gd name="connsiteX0" fmla="*/ 0 w 10000"/>
              <a:gd name="connsiteY0" fmla="*/ 0 h 9449"/>
              <a:gd name="connsiteX1" fmla="*/ 758 w 10000"/>
              <a:gd name="connsiteY1" fmla="*/ 8173 h 9449"/>
              <a:gd name="connsiteX2" fmla="*/ 9610 w 10000"/>
              <a:gd name="connsiteY2" fmla="*/ 9449 h 9449"/>
              <a:gd name="connsiteX3" fmla="*/ 10000 w 10000"/>
              <a:gd name="connsiteY3" fmla="*/ 0 h 9449"/>
              <a:gd name="connsiteX4" fmla="*/ 0 w 10000"/>
              <a:gd name="connsiteY4" fmla="*/ 0 h 9449"/>
              <a:gd name="connsiteX0" fmla="*/ 0 w 10000"/>
              <a:gd name="connsiteY0" fmla="*/ 0 h 8650"/>
              <a:gd name="connsiteX1" fmla="*/ 758 w 10000"/>
              <a:gd name="connsiteY1" fmla="*/ 8650 h 8650"/>
              <a:gd name="connsiteX2" fmla="*/ 8602 w 10000"/>
              <a:gd name="connsiteY2" fmla="*/ 8106 h 8650"/>
              <a:gd name="connsiteX3" fmla="*/ 10000 w 10000"/>
              <a:gd name="connsiteY3" fmla="*/ 0 h 8650"/>
              <a:gd name="connsiteX4" fmla="*/ 0 w 10000"/>
              <a:gd name="connsiteY4" fmla="*/ 0 h 8650"/>
              <a:gd name="connsiteX0" fmla="*/ 0 w 10000"/>
              <a:gd name="connsiteY0" fmla="*/ 0 h 10191"/>
              <a:gd name="connsiteX1" fmla="*/ 758 w 10000"/>
              <a:gd name="connsiteY1" fmla="*/ 10000 h 10191"/>
              <a:gd name="connsiteX2" fmla="*/ 9599 w 10000"/>
              <a:gd name="connsiteY2" fmla="*/ 10191 h 10191"/>
              <a:gd name="connsiteX3" fmla="*/ 10000 w 10000"/>
              <a:gd name="connsiteY3" fmla="*/ 0 h 10191"/>
              <a:gd name="connsiteX4" fmla="*/ 0 w 10000"/>
              <a:gd name="connsiteY4" fmla="*/ 0 h 10191"/>
              <a:gd name="connsiteX0" fmla="*/ 0 w 10000"/>
              <a:gd name="connsiteY0" fmla="*/ 0 h 10750"/>
              <a:gd name="connsiteX1" fmla="*/ 422 w 10000"/>
              <a:gd name="connsiteY1" fmla="*/ 10750 h 10750"/>
              <a:gd name="connsiteX2" fmla="*/ 9599 w 10000"/>
              <a:gd name="connsiteY2" fmla="*/ 10191 h 10750"/>
              <a:gd name="connsiteX3" fmla="*/ 10000 w 10000"/>
              <a:gd name="connsiteY3" fmla="*/ 0 h 10750"/>
              <a:gd name="connsiteX4" fmla="*/ 0 w 10000"/>
              <a:gd name="connsiteY4" fmla="*/ 0 h 10750"/>
              <a:gd name="connsiteX0" fmla="*/ 0 w 10000"/>
              <a:gd name="connsiteY0" fmla="*/ 0 h 10750"/>
              <a:gd name="connsiteX1" fmla="*/ 422 w 10000"/>
              <a:gd name="connsiteY1" fmla="*/ 10750 h 10750"/>
              <a:gd name="connsiteX2" fmla="*/ 9599 w 10000"/>
              <a:gd name="connsiteY2" fmla="*/ 10191 h 10750"/>
              <a:gd name="connsiteX3" fmla="*/ 10000 w 10000"/>
              <a:gd name="connsiteY3" fmla="*/ 0 h 10750"/>
              <a:gd name="connsiteX4" fmla="*/ 0 w 10000"/>
              <a:gd name="connsiteY4" fmla="*/ 0 h 10750"/>
              <a:gd name="connsiteX0" fmla="*/ 0 w 10000"/>
              <a:gd name="connsiteY0" fmla="*/ 0 h 10206"/>
              <a:gd name="connsiteX1" fmla="*/ 326 w 10000"/>
              <a:gd name="connsiteY1" fmla="*/ 9027 h 10206"/>
              <a:gd name="connsiteX2" fmla="*/ 9599 w 10000"/>
              <a:gd name="connsiteY2" fmla="*/ 10191 h 10206"/>
              <a:gd name="connsiteX3" fmla="*/ 10000 w 10000"/>
              <a:gd name="connsiteY3" fmla="*/ 0 h 10206"/>
              <a:gd name="connsiteX4" fmla="*/ 0 w 10000"/>
              <a:gd name="connsiteY4" fmla="*/ 0 h 10206"/>
              <a:gd name="connsiteX0" fmla="*/ 0 w 10000"/>
              <a:gd name="connsiteY0" fmla="*/ 0 h 9027"/>
              <a:gd name="connsiteX1" fmla="*/ 326 w 10000"/>
              <a:gd name="connsiteY1" fmla="*/ 9027 h 9027"/>
              <a:gd name="connsiteX2" fmla="*/ 9471 w 10000"/>
              <a:gd name="connsiteY2" fmla="*/ 7396 h 9027"/>
              <a:gd name="connsiteX3" fmla="*/ 10000 w 10000"/>
              <a:gd name="connsiteY3" fmla="*/ 0 h 9027"/>
              <a:gd name="connsiteX4" fmla="*/ 0 w 10000"/>
              <a:gd name="connsiteY4" fmla="*/ 0 h 9027"/>
              <a:gd name="connsiteX0" fmla="*/ 0 w 10000"/>
              <a:gd name="connsiteY0" fmla="*/ 0 h 10000"/>
              <a:gd name="connsiteX1" fmla="*/ 326 w 10000"/>
              <a:gd name="connsiteY1" fmla="*/ 10000 h 10000"/>
              <a:gd name="connsiteX2" fmla="*/ 9586 w 10000"/>
              <a:gd name="connsiteY2" fmla="*/ 9044 h 10000"/>
              <a:gd name="connsiteX3" fmla="*/ 10000 w 10000"/>
              <a:gd name="connsiteY3" fmla="*/ 0 h 10000"/>
              <a:gd name="connsiteX4" fmla="*/ 0 w 10000"/>
              <a:gd name="connsiteY4" fmla="*/ 0 h 10000"/>
              <a:gd name="connsiteX0" fmla="*/ 0 w 10000"/>
              <a:gd name="connsiteY0" fmla="*/ 0 h 10000"/>
              <a:gd name="connsiteX1" fmla="*/ 326 w 10000"/>
              <a:gd name="connsiteY1" fmla="*/ 10000 h 10000"/>
              <a:gd name="connsiteX2" fmla="*/ 9586 w 10000"/>
              <a:gd name="connsiteY2" fmla="*/ 9044 h 10000"/>
              <a:gd name="connsiteX3" fmla="*/ 10000 w 10000"/>
              <a:gd name="connsiteY3" fmla="*/ 0 h 10000"/>
              <a:gd name="connsiteX4" fmla="*/ 0 w 10000"/>
              <a:gd name="connsiteY4" fmla="*/ 0 h 10000"/>
              <a:gd name="connsiteX0" fmla="*/ 0 w 10000"/>
              <a:gd name="connsiteY0" fmla="*/ 0 h 10000"/>
              <a:gd name="connsiteX1" fmla="*/ 326 w 10000"/>
              <a:gd name="connsiteY1" fmla="*/ 10000 h 10000"/>
              <a:gd name="connsiteX2" fmla="*/ 9586 w 10000"/>
              <a:gd name="connsiteY2" fmla="*/ 9044 h 10000"/>
              <a:gd name="connsiteX3" fmla="*/ 10000 w 10000"/>
              <a:gd name="connsiteY3" fmla="*/ 0 h 10000"/>
              <a:gd name="connsiteX4" fmla="*/ 0 w 10000"/>
              <a:gd name="connsiteY4" fmla="*/ 0 h 10000"/>
              <a:gd name="connsiteX0" fmla="*/ 0 w 10000"/>
              <a:gd name="connsiteY0" fmla="*/ 0 h 10000"/>
              <a:gd name="connsiteX1" fmla="*/ 326 w 10000"/>
              <a:gd name="connsiteY1" fmla="*/ 10000 h 10000"/>
              <a:gd name="connsiteX2" fmla="*/ 9586 w 10000"/>
              <a:gd name="connsiteY2" fmla="*/ 9044 h 10000"/>
              <a:gd name="connsiteX3" fmla="*/ 10000 w 10000"/>
              <a:gd name="connsiteY3" fmla="*/ 0 h 10000"/>
              <a:gd name="connsiteX4" fmla="*/ 0 w 10000"/>
              <a:gd name="connsiteY4" fmla="*/ 0 h 10000"/>
              <a:gd name="connsiteX0" fmla="*/ 0 w 10000"/>
              <a:gd name="connsiteY0" fmla="*/ 0 h 10358"/>
              <a:gd name="connsiteX1" fmla="*/ 418 w 10000"/>
              <a:gd name="connsiteY1" fmla="*/ 10358 h 10358"/>
              <a:gd name="connsiteX2" fmla="*/ 9586 w 10000"/>
              <a:gd name="connsiteY2" fmla="*/ 9044 h 10358"/>
              <a:gd name="connsiteX3" fmla="*/ 10000 w 10000"/>
              <a:gd name="connsiteY3" fmla="*/ 0 h 10358"/>
              <a:gd name="connsiteX4" fmla="*/ 0 w 10000"/>
              <a:gd name="connsiteY4" fmla="*/ 0 h 10358"/>
              <a:gd name="connsiteX0" fmla="*/ 0 w 10000"/>
              <a:gd name="connsiteY0" fmla="*/ 0 h 10358"/>
              <a:gd name="connsiteX1" fmla="*/ 418 w 10000"/>
              <a:gd name="connsiteY1" fmla="*/ 10358 h 10358"/>
              <a:gd name="connsiteX2" fmla="*/ 9609 w 10000"/>
              <a:gd name="connsiteY2" fmla="*/ 9784 h 10358"/>
              <a:gd name="connsiteX3" fmla="*/ 10000 w 10000"/>
              <a:gd name="connsiteY3" fmla="*/ 0 h 10358"/>
              <a:gd name="connsiteX4" fmla="*/ 0 w 10000"/>
              <a:gd name="connsiteY4" fmla="*/ 0 h 10358"/>
              <a:gd name="connsiteX0" fmla="*/ 0 w 10000"/>
              <a:gd name="connsiteY0" fmla="*/ 0 h 10358"/>
              <a:gd name="connsiteX1" fmla="*/ 418 w 10000"/>
              <a:gd name="connsiteY1" fmla="*/ 10358 h 10358"/>
              <a:gd name="connsiteX2" fmla="*/ 9609 w 10000"/>
              <a:gd name="connsiteY2" fmla="*/ 9784 h 10358"/>
              <a:gd name="connsiteX3" fmla="*/ 10000 w 10000"/>
              <a:gd name="connsiteY3" fmla="*/ 0 h 10358"/>
              <a:gd name="connsiteX4" fmla="*/ 0 w 10000"/>
              <a:gd name="connsiteY4" fmla="*/ 0 h 10358"/>
              <a:gd name="connsiteX0" fmla="*/ 0 w 10000"/>
              <a:gd name="connsiteY0" fmla="*/ 0 h 10358"/>
              <a:gd name="connsiteX1" fmla="*/ 418 w 10000"/>
              <a:gd name="connsiteY1" fmla="*/ 10358 h 10358"/>
              <a:gd name="connsiteX2" fmla="*/ 9609 w 10000"/>
              <a:gd name="connsiteY2" fmla="*/ 9784 h 10358"/>
              <a:gd name="connsiteX3" fmla="*/ 10000 w 10000"/>
              <a:gd name="connsiteY3" fmla="*/ 0 h 10358"/>
              <a:gd name="connsiteX4" fmla="*/ 0 w 10000"/>
              <a:gd name="connsiteY4" fmla="*/ 0 h 10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58">
                <a:moveTo>
                  <a:pt x="0" y="0"/>
                </a:moveTo>
                <a:cubicBezTo>
                  <a:pt x="139" y="3453"/>
                  <a:pt x="279" y="6905"/>
                  <a:pt x="418" y="10358"/>
                </a:cubicBezTo>
                <a:lnTo>
                  <a:pt x="9609" y="9784"/>
                </a:lnTo>
                <a:cubicBezTo>
                  <a:pt x="9739" y="6523"/>
                  <a:pt x="9870" y="3261"/>
                  <a:pt x="10000" y="0"/>
                </a:cubicBezTo>
                <a:lnTo>
                  <a:pt x="0" y="0"/>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de-DE" sz="2400">
              <a:solidFill>
                <a:srgbClr val="001E3E"/>
              </a:solidFill>
            </a:endParaRPr>
          </a:p>
        </p:txBody>
      </p:sp>
      <p:sp>
        <p:nvSpPr>
          <p:cNvPr id="2" name="Title 1"/>
          <p:cNvSpPr>
            <a:spLocks noGrp="1"/>
          </p:cNvSpPr>
          <p:nvPr>
            <p:ph type="title" hasCustomPrompt="1"/>
          </p:nvPr>
        </p:nvSpPr>
        <p:spPr>
          <a:xfrm>
            <a:off x="1775520" y="1143115"/>
            <a:ext cx="8160113" cy="509688"/>
          </a:xfrm>
        </p:spPr>
        <p:txBody>
          <a:bodyPr/>
          <a:lstStyle/>
          <a:p>
            <a:r>
              <a:rPr lang="en-US" noProof="0" dirty="0"/>
              <a:t>Click to edit Master title sty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8B502147-0FBB-4BAE-8E11-C98715716641}" type="slidenum">
              <a:rPr lang="en-US" smtClean="0">
                <a:solidFill>
                  <a:prstClr val="white"/>
                </a:solidFill>
              </a:rPr>
              <a:pPr/>
              <a:t>‹#›</a:t>
            </a:fld>
            <a:endParaRPr lang="en-US">
              <a:solidFill>
                <a:prstClr val="white"/>
              </a:solidFill>
            </a:endParaRPr>
          </a:p>
        </p:txBody>
      </p:sp>
      <p:sp>
        <p:nvSpPr>
          <p:cNvPr id="11" name="Textplatzhalter 10">
            <a:extLst>
              <a:ext uri="{FF2B5EF4-FFF2-40B4-BE49-F238E27FC236}">
                <a16:creationId xmlns:a16="http://schemas.microsoft.com/office/drawing/2014/main" id="{CA56881B-40BE-437D-B32B-E367827F014B}"/>
              </a:ext>
            </a:extLst>
          </p:cNvPr>
          <p:cNvSpPr>
            <a:spLocks noGrp="1"/>
          </p:cNvSpPr>
          <p:nvPr>
            <p:ph type="body" sz="quarter" idx="13"/>
          </p:nvPr>
        </p:nvSpPr>
        <p:spPr>
          <a:xfrm>
            <a:off x="1775885" y="1997307"/>
            <a:ext cx="3456020" cy="3717579"/>
          </a:xfrm>
        </p:spPr>
        <p:txBody>
          <a:bodyPr/>
          <a:lstStyle>
            <a:lvl1pPr marL="355591" indent="-355591" defTabSz="1198003">
              <a:buNone/>
              <a:tabLst>
                <a:tab pos="355591" algn="l"/>
                <a:tab pos="3464897" algn="r"/>
              </a:tabLst>
              <a:defRPr sz="1600">
                <a:solidFill>
                  <a:schemeClr val="accent1"/>
                </a:solidFill>
              </a:defRPr>
            </a:lvl1pPr>
            <a:lvl2pPr>
              <a:defRPr sz="1600"/>
            </a:lvl2pPr>
            <a:lvl3pPr>
              <a:defRPr sz="1600"/>
            </a:lvl3pPr>
            <a:lvl4pPr>
              <a:defRPr sz="1600"/>
            </a:lvl4pPr>
            <a:lvl5pPr>
              <a:defRPr sz="1600"/>
            </a:lvl5pPr>
          </a:lstStyle>
          <a:p>
            <a:pPr lvl="0"/>
            <a:r>
              <a:rPr lang="de-DE"/>
              <a:t>Mastertextformat bearbeiten
Zweite Ebene
Dritte Ebene
Vierte Ebene
Fünfte Ebene</a:t>
            </a:r>
            <a:endParaRPr lang="de-DE" dirty="0"/>
          </a:p>
        </p:txBody>
      </p:sp>
      <p:sp>
        <p:nvSpPr>
          <p:cNvPr id="12" name="Textplatzhalter 10">
            <a:extLst>
              <a:ext uri="{FF2B5EF4-FFF2-40B4-BE49-F238E27FC236}">
                <a16:creationId xmlns:a16="http://schemas.microsoft.com/office/drawing/2014/main" id="{8A474B7D-1513-41F2-AD50-C0037FD0C82F}"/>
              </a:ext>
            </a:extLst>
          </p:cNvPr>
          <p:cNvSpPr>
            <a:spLocks noGrp="1"/>
          </p:cNvSpPr>
          <p:nvPr>
            <p:ph type="body" sz="quarter" idx="14"/>
          </p:nvPr>
        </p:nvSpPr>
        <p:spPr>
          <a:xfrm>
            <a:off x="6479614" y="1997307"/>
            <a:ext cx="3456020" cy="3717579"/>
          </a:xfrm>
        </p:spPr>
        <p:txBody>
          <a:bodyPr/>
          <a:lstStyle>
            <a:lvl1pPr marL="355591" indent="-355591" defTabSz="1198003">
              <a:buNone/>
              <a:tabLst>
                <a:tab pos="355591" algn="l"/>
                <a:tab pos="3464897" algn="r"/>
              </a:tabLst>
              <a:defRPr sz="1600">
                <a:solidFill>
                  <a:schemeClr val="accent1"/>
                </a:solidFill>
              </a:defRPr>
            </a:lvl1pPr>
            <a:lvl2pPr>
              <a:defRPr sz="1600"/>
            </a:lvl2pPr>
            <a:lvl3pPr>
              <a:defRPr sz="1600"/>
            </a:lvl3pPr>
            <a:lvl4pPr>
              <a:defRPr sz="1600"/>
            </a:lvl4pPr>
            <a:lvl5pPr>
              <a:defRPr sz="1600"/>
            </a:lvl5pPr>
          </a:lstStyle>
          <a:p>
            <a:pPr lvl="0"/>
            <a:r>
              <a:rPr lang="de-DE"/>
              <a:t>Mastertextformat bearbeiten
Zweite Ebene
Dritte Ebene
Vierte Ebene
Fünfte Ebene</a:t>
            </a:r>
            <a:endParaRPr lang="de-DE" dirty="0"/>
          </a:p>
        </p:txBody>
      </p:sp>
    </p:spTree>
    <p:extLst>
      <p:ext uri="{BB962C8B-B14F-4D97-AF65-F5344CB8AC3E}">
        <p14:creationId xmlns:p14="http://schemas.microsoft.com/office/powerpoint/2010/main" val="2099552165"/>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preserve="1" userDrawn="1">
  <p:cSld name="Contents 3">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D665BC53-75ED-4DBA-8B20-B4665E66180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Freeform 5">
            <a:extLst>
              <a:ext uri="{FF2B5EF4-FFF2-40B4-BE49-F238E27FC236}">
                <a16:creationId xmlns:a16="http://schemas.microsoft.com/office/drawing/2014/main" id="{B2DC0918-2FC2-4746-A070-59E502DE378C}"/>
              </a:ext>
            </a:extLst>
          </p:cNvPr>
          <p:cNvSpPr>
            <a:spLocks/>
          </p:cNvSpPr>
          <p:nvPr userDrawn="1"/>
        </p:nvSpPr>
        <p:spPr bwMode="auto">
          <a:xfrm>
            <a:off x="568670" y="575302"/>
            <a:ext cx="11047597" cy="5688169"/>
          </a:xfrm>
          <a:custGeom>
            <a:avLst/>
            <a:gdLst>
              <a:gd name="T0" fmla="*/ 0 w 3258"/>
              <a:gd name="T1" fmla="*/ 0 h 2195"/>
              <a:gd name="T2" fmla="*/ 134 w 3258"/>
              <a:gd name="T3" fmla="*/ 2195 h 2195"/>
              <a:gd name="T4" fmla="*/ 3131 w 3258"/>
              <a:gd name="T5" fmla="*/ 2074 h 2195"/>
              <a:gd name="T6" fmla="*/ 3258 w 3258"/>
              <a:gd name="T7" fmla="*/ 0 h 2195"/>
              <a:gd name="T8" fmla="*/ 0 w 3258"/>
              <a:gd name="T9" fmla="*/ 0 h 2195"/>
              <a:gd name="connsiteX0" fmla="*/ 0 w 10000"/>
              <a:gd name="connsiteY0" fmla="*/ 0 h 9449"/>
              <a:gd name="connsiteX1" fmla="*/ 758 w 10000"/>
              <a:gd name="connsiteY1" fmla="*/ 8173 h 9449"/>
              <a:gd name="connsiteX2" fmla="*/ 9610 w 10000"/>
              <a:gd name="connsiteY2" fmla="*/ 9449 h 9449"/>
              <a:gd name="connsiteX3" fmla="*/ 10000 w 10000"/>
              <a:gd name="connsiteY3" fmla="*/ 0 h 9449"/>
              <a:gd name="connsiteX4" fmla="*/ 0 w 10000"/>
              <a:gd name="connsiteY4" fmla="*/ 0 h 9449"/>
              <a:gd name="connsiteX0" fmla="*/ 0 w 10000"/>
              <a:gd name="connsiteY0" fmla="*/ 0 h 8650"/>
              <a:gd name="connsiteX1" fmla="*/ 758 w 10000"/>
              <a:gd name="connsiteY1" fmla="*/ 8650 h 8650"/>
              <a:gd name="connsiteX2" fmla="*/ 8602 w 10000"/>
              <a:gd name="connsiteY2" fmla="*/ 8106 h 8650"/>
              <a:gd name="connsiteX3" fmla="*/ 10000 w 10000"/>
              <a:gd name="connsiteY3" fmla="*/ 0 h 8650"/>
              <a:gd name="connsiteX4" fmla="*/ 0 w 10000"/>
              <a:gd name="connsiteY4" fmla="*/ 0 h 8650"/>
              <a:gd name="connsiteX0" fmla="*/ 0 w 10000"/>
              <a:gd name="connsiteY0" fmla="*/ 0 h 10191"/>
              <a:gd name="connsiteX1" fmla="*/ 758 w 10000"/>
              <a:gd name="connsiteY1" fmla="*/ 10000 h 10191"/>
              <a:gd name="connsiteX2" fmla="*/ 9599 w 10000"/>
              <a:gd name="connsiteY2" fmla="*/ 10191 h 10191"/>
              <a:gd name="connsiteX3" fmla="*/ 10000 w 10000"/>
              <a:gd name="connsiteY3" fmla="*/ 0 h 10191"/>
              <a:gd name="connsiteX4" fmla="*/ 0 w 10000"/>
              <a:gd name="connsiteY4" fmla="*/ 0 h 10191"/>
              <a:gd name="connsiteX0" fmla="*/ 0 w 10000"/>
              <a:gd name="connsiteY0" fmla="*/ 0 h 10750"/>
              <a:gd name="connsiteX1" fmla="*/ 422 w 10000"/>
              <a:gd name="connsiteY1" fmla="*/ 10750 h 10750"/>
              <a:gd name="connsiteX2" fmla="*/ 9599 w 10000"/>
              <a:gd name="connsiteY2" fmla="*/ 10191 h 10750"/>
              <a:gd name="connsiteX3" fmla="*/ 10000 w 10000"/>
              <a:gd name="connsiteY3" fmla="*/ 0 h 10750"/>
              <a:gd name="connsiteX4" fmla="*/ 0 w 10000"/>
              <a:gd name="connsiteY4" fmla="*/ 0 h 10750"/>
              <a:gd name="connsiteX0" fmla="*/ 0 w 10000"/>
              <a:gd name="connsiteY0" fmla="*/ 0 h 10750"/>
              <a:gd name="connsiteX1" fmla="*/ 422 w 10000"/>
              <a:gd name="connsiteY1" fmla="*/ 10750 h 10750"/>
              <a:gd name="connsiteX2" fmla="*/ 9599 w 10000"/>
              <a:gd name="connsiteY2" fmla="*/ 10191 h 10750"/>
              <a:gd name="connsiteX3" fmla="*/ 10000 w 10000"/>
              <a:gd name="connsiteY3" fmla="*/ 0 h 10750"/>
              <a:gd name="connsiteX4" fmla="*/ 0 w 10000"/>
              <a:gd name="connsiteY4" fmla="*/ 0 h 10750"/>
              <a:gd name="connsiteX0" fmla="*/ 0 w 10000"/>
              <a:gd name="connsiteY0" fmla="*/ 0 h 10206"/>
              <a:gd name="connsiteX1" fmla="*/ 326 w 10000"/>
              <a:gd name="connsiteY1" fmla="*/ 9027 h 10206"/>
              <a:gd name="connsiteX2" fmla="*/ 9599 w 10000"/>
              <a:gd name="connsiteY2" fmla="*/ 10191 h 10206"/>
              <a:gd name="connsiteX3" fmla="*/ 10000 w 10000"/>
              <a:gd name="connsiteY3" fmla="*/ 0 h 10206"/>
              <a:gd name="connsiteX4" fmla="*/ 0 w 10000"/>
              <a:gd name="connsiteY4" fmla="*/ 0 h 10206"/>
              <a:gd name="connsiteX0" fmla="*/ 0 w 10000"/>
              <a:gd name="connsiteY0" fmla="*/ 0 h 9027"/>
              <a:gd name="connsiteX1" fmla="*/ 326 w 10000"/>
              <a:gd name="connsiteY1" fmla="*/ 9027 h 9027"/>
              <a:gd name="connsiteX2" fmla="*/ 9471 w 10000"/>
              <a:gd name="connsiteY2" fmla="*/ 7396 h 9027"/>
              <a:gd name="connsiteX3" fmla="*/ 10000 w 10000"/>
              <a:gd name="connsiteY3" fmla="*/ 0 h 9027"/>
              <a:gd name="connsiteX4" fmla="*/ 0 w 10000"/>
              <a:gd name="connsiteY4" fmla="*/ 0 h 9027"/>
              <a:gd name="connsiteX0" fmla="*/ 0 w 10000"/>
              <a:gd name="connsiteY0" fmla="*/ 0 h 10000"/>
              <a:gd name="connsiteX1" fmla="*/ 326 w 10000"/>
              <a:gd name="connsiteY1" fmla="*/ 10000 h 10000"/>
              <a:gd name="connsiteX2" fmla="*/ 9586 w 10000"/>
              <a:gd name="connsiteY2" fmla="*/ 9044 h 10000"/>
              <a:gd name="connsiteX3" fmla="*/ 10000 w 10000"/>
              <a:gd name="connsiteY3" fmla="*/ 0 h 10000"/>
              <a:gd name="connsiteX4" fmla="*/ 0 w 10000"/>
              <a:gd name="connsiteY4" fmla="*/ 0 h 10000"/>
              <a:gd name="connsiteX0" fmla="*/ 0 w 10000"/>
              <a:gd name="connsiteY0" fmla="*/ 0 h 10000"/>
              <a:gd name="connsiteX1" fmla="*/ 326 w 10000"/>
              <a:gd name="connsiteY1" fmla="*/ 10000 h 10000"/>
              <a:gd name="connsiteX2" fmla="*/ 9586 w 10000"/>
              <a:gd name="connsiteY2" fmla="*/ 9044 h 10000"/>
              <a:gd name="connsiteX3" fmla="*/ 10000 w 10000"/>
              <a:gd name="connsiteY3" fmla="*/ 0 h 10000"/>
              <a:gd name="connsiteX4" fmla="*/ 0 w 10000"/>
              <a:gd name="connsiteY4" fmla="*/ 0 h 10000"/>
              <a:gd name="connsiteX0" fmla="*/ 0 w 10000"/>
              <a:gd name="connsiteY0" fmla="*/ 0 h 10000"/>
              <a:gd name="connsiteX1" fmla="*/ 326 w 10000"/>
              <a:gd name="connsiteY1" fmla="*/ 10000 h 10000"/>
              <a:gd name="connsiteX2" fmla="*/ 9586 w 10000"/>
              <a:gd name="connsiteY2" fmla="*/ 9044 h 10000"/>
              <a:gd name="connsiteX3" fmla="*/ 10000 w 10000"/>
              <a:gd name="connsiteY3" fmla="*/ 0 h 10000"/>
              <a:gd name="connsiteX4" fmla="*/ 0 w 10000"/>
              <a:gd name="connsiteY4" fmla="*/ 0 h 10000"/>
              <a:gd name="connsiteX0" fmla="*/ 0 w 10000"/>
              <a:gd name="connsiteY0" fmla="*/ 0 h 10000"/>
              <a:gd name="connsiteX1" fmla="*/ 326 w 10000"/>
              <a:gd name="connsiteY1" fmla="*/ 10000 h 10000"/>
              <a:gd name="connsiteX2" fmla="*/ 9586 w 10000"/>
              <a:gd name="connsiteY2" fmla="*/ 9044 h 10000"/>
              <a:gd name="connsiteX3" fmla="*/ 10000 w 10000"/>
              <a:gd name="connsiteY3" fmla="*/ 0 h 10000"/>
              <a:gd name="connsiteX4" fmla="*/ 0 w 10000"/>
              <a:gd name="connsiteY4" fmla="*/ 0 h 10000"/>
              <a:gd name="connsiteX0" fmla="*/ 0 w 10000"/>
              <a:gd name="connsiteY0" fmla="*/ 0 h 10358"/>
              <a:gd name="connsiteX1" fmla="*/ 418 w 10000"/>
              <a:gd name="connsiteY1" fmla="*/ 10358 h 10358"/>
              <a:gd name="connsiteX2" fmla="*/ 9586 w 10000"/>
              <a:gd name="connsiteY2" fmla="*/ 9044 h 10358"/>
              <a:gd name="connsiteX3" fmla="*/ 10000 w 10000"/>
              <a:gd name="connsiteY3" fmla="*/ 0 h 10358"/>
              <a:gd name="connsiteX4" fmla="*/ 0 w 10000"/>
              <a:gd name="connsiteY4" fmla="*/ 0 h 10358"/>
              <a:gd name="connsiteX0" fmla="*/ 0 w 10000"/>
              <a:gd name="connsiteY0" fmla="*/ 0 h 10358"/>
              <a:gd name="connsiteX1" fmla="*/ 418 w 10000"/>
              <a:gd name="connsiteY1" fmla="*/ 10358 h 10358"/>
              <a:gd name="connsiteX2" fmla="*/ 9609 w 10000"/>
              <a:gd name="connsiteY2" fmla="*/ 9784 h 10358"/>
              <a:gd name="connsiteX3" fmla="*/ 10000 w 10000"/>
              <a:gd name="connsiteY3" fmla="*/ 0 h 10358"/>
              <a:gd name="connsiteX4" fmla="*/ 0 w 10000"/>
              <a:gd name="connsiteY4" fmla="*/ 0 h 10358"/>
              <a:gd name="connsiteX0" fmla="*/ 0 w 10000"/>
              <a:gd name="connsiteY0" fmla="*/ 0 h 10358"/>
              <a:gd name="connsiteX1" fmla="*/ 418 w 10000"/>
              <a:gd name="connsiteY1" fmla="*/ 10358 h 10358"/>
              <a:gd name="connsiteX2" fmla="*/ 9609 w 10000"/>
              <a:gd name="connsiteY2" fmla="*/ 9784 h 10358"/>
              <a:gd name="connsiteX3" fmla="*/ 10000 w 10000"/>
              <a:gd name="connsiteY3" fmla="*/ 0 h 10358"/>
              <a:gd name="connsiteX4" fmla="*/ 0 w 10000"/>
              <a:gd name="connsiteY4" fmla="*/ 0 h 10358"/>
              <a:gd name="connsiteX0" fmla="*/ 0 w 10000"/>
              <a:gd name="connsiteY0" fmla="*/ 0 h 10358"/>
              <a:gd name="connsiteX1" fmla="*/ 418 w 10000"/>
              <a:gd name="connsiteY1" fmla="*/ 10358 h 10358"/>
              <a:gd name="connsiteX2" fmla="*/ 9609 w 10000"/>
              <a:gd name="connsiteY2" fmla="*/ 9784 h 10358"/>
              <a:gd name="connsiteX3" fmla="*/ 10000 w 10000"/>
              <a:gd name="connsiteY3" fmla="*/ 0 h 10358"/>
              <a:gd name="connsiteX4" fmla="*/ 0 w 10000"/>
              <a:gd name="connsiteY4" fmla="*/ 0 h 10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358">
                <a:moveTo>
                  <a:pt x="0" y="0"/>
                </a:moveTo>
                <a:cubicBezTo>
                  <a:pt x="139" y="3453"/>
                  <a:pt x="279" y="6905"/>
                  <a:pt x="418" y="10358"/>
                </a:cubicBezTo>
                <a:lnTo>
                  <a:pt x="9609" y="9784"/>
                </a:lnTo>
                <a:cubicBezTo>
                  <a:pt x="9739" y="6523"/>
                  <a:pt x="9870" y="3261"/>
                  <a:pt x="10000" y="0"/>
                </a:cubicBezTo>
                <a:lnTo>
                  <a:pt x="0" y="0"/>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de-DE" sz="2400">
              <a:solidFill>
                <a:srgbClr val="001E3E"/>
              </a:solidFill>
            </a:endParaRPr>
          </a:p>
        </p:txBody>
      </p:sp>
      <p:sp>
        <p:nvSpPr>
          <p:cNvPr id="2" name="Title 1"/>
          <p:cNvSpPr>
            <a:spLocks noGrp="1"/>
          </p:cNvSpPr>
          <p:nvPr>
            <p:ph type="title" hasCustomPrompt="1"/>
          </p:nvPr>
        </p:nvSpPr>
        <p:spPr>
          <a:xfrm>
            <a:off x="1120970" y="999099"/>
            <a:ext cx="8814663" cy="510085"/>
          </a:xfrm>
        </p:spPr>
        <p:txBody>
          <a:bodyPr/>
          <a:lstStyle/>
          <a:p>
            <a:r>
              <a:rPr lang="en-US" noProof="0" dirty="0"/>
              <a:t>Click to edit Master title sty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8B502147-0FBB-4BAE-8E11-C98715716641}"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765445742"/>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2pPr marL="476239" indent="-234945">
              <a:buFont typeface="Symbol" panose="05050102010706020507" pitchFamily="18" charset="2"/>
              <a:buChar char="-"/>
              <a:defRPr/>
            </a:lvl2pPr>
            <a:lvl3pPr marL="715415" indent="-239178">
              <a:buFont typeface="Symbol" panose="05050102010706020507" pitchFamily="18" charset="2"/>
              <a:buChar char="-"/>
              <a:defRPr/>
            </a:lvl3pPr>
            <a:lvl4pPr marL="956709" indent="-241294">
              <a:buFont typeface="Symbol" panose="05050102010706020507" pitchFamily="18" charset="2"/>
              <a:buChar char="-"/>
              <a:defRPr/>
            </a:lvl4pPr>
            <a:lvl5pPr marL="1198003" indent="-241294">
              <a:buFont typeface="Symbol" panose="05050102010706020507" pitchFamily="18" charset="2"/>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endParaRPr lang="en-US">
              <a:solidFill>
                <a:srgbClr val="001E3E"/>
              </a:solidFill>
            </a:endParaRPr>
          </a:p>
        </p:txBody>
      </p:sp>
      <p:sp>
        <p:nvSpPr>
          <p:cNvPr id="5" name="Footer Placeholder 4"/>
          <p:cNvSpPr>
            <a:spLocks noGrp="1"/>
          </p:cNvSpPr>
          <p:nvPr>
            <p:ph type="ftr" sz="quarter" idx="11"/>
          </p:nvPr>
        </p:nvSpPr>
        <p:spPr/>
        <p:txBody>
          <a:bodyPr/>
          <a:lstStyle/>
          <a:p>
            <a:endParaRPr lang="en-US">
              <a:solidFill>
                <a:srgbClr val="001E3E"/>
              </a:solidFill>
            </a:endParaRPr>
          </a:p>
        </p:txBody>
      </p:sp>
      <p:sp>
        <p:nvSpPr>
          <p:cNvPr id="6" name="Slide Number Placeholder 5"/>
          <p:cNvSpPr>
            <a:spLocks noGrp="1"/>
          </p:cNvSpPr>
          <p:nvPr>
            <p:ph type="sldNum" sz="quarter" idx="12"/>
          </p:nvPr>
        </p:nvSpPr>
        <p:spPr/>
        <p:txBody>
          <a:bodyPr/>
          <a:lstStyle/>
          <a:p>
            <a:fld id="{8B502147-0FBB-4BAE-8E11-C98715716641}" type="slidenum">
              <a:rPr lang="en-US" smtClean="0">
                <a:solidFill>
                  <a:srgbClr val="001E3E"/>
                </a:solidFill>
              </a:rPr>
              <a:pPr/>
              <a:t>‹#›</a:t>
            </a:fld>
            <a:endParaRPr lang="en-US">
              <a:solidFill>
                <a:srgbClr val="001E3E"/>
              </a:solidFill>
            </a:endParaRPr>
          </a:p>
        </p:txBody>
      </p:sp>
      <p:sp>
        <p:nvSpPr>
          <p:cNvPr id="9" name="Titel 8">
            <a:extLst>
              <a:ext uri="{FF2B5EF4-FFF2-40B4-BE49-F238E27FC236}">
                <a16:creationId xmlns:a16="http://schemas.microsoft.com/office/drawing/2014/main" id="{4F8ADC08-F725-CF4F-886F-06163C6EC04A}"/>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10721883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3/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763324"/>
          </a:xfrm>
        </p:spPr>
        <p:txBody>
          <a:bodyPr wrap="square" anchor="t" anchorCtr="0">
            <a:noAutofit/>
          </a:bodyPr>
          <a:lstStyle>
            <a:lvl1pPr>
              <a:defRPr baseline="0">
                <a:solidFill>
                  <a:schemeClr val="bg1"/>
                </a:solidFill>
              </a:defRPr>
            </a:lvl1pPr>
          </a:lstStyle>
          <a:p>
            <a:r>
              <a:rPr lang="en-GB" dirty="0"/>
              <a:t>Referent’s name: </a:t>
            </a:r>
            <a:r>
              <a:rPr lang="en-GB" noProof="0" dirty="0" err="1"/>
              <a:t>CorpoS</a:t>
            </a:r>
            <a:r>
              <a:rPr lang="en-GB" noProof="0" dirty="0"/>
              <a:t>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80241022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1120.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solidFill>
                <a:srgbClr val="001E3E"/>
              </a:solidFill>
            </a:endParaRPr>
          </a:p>
        </p:txBody>
      </p:sp>
      <p:sp>
        <p:nvSpPr>
          <p:cNvPr id="5" name="Footer Placeholder 4"/>
          <p:cNvSpPr>
            <a:spLocks noGrp="1"/>
          </p:cNvSpPr>
          <p:nvPr>
            <p:ph type="ftr" sz="quarter" idx="11"/>
          </p:nvPr>
        </p:nvSpPr>
        <p:spPr/>
        <p:txBody>
          <a:bodyPr/>
          <a:lstStyle/>
          <a:p>
            <a:endParaRPr lang="en-US">
              <a:solidFill>
                <a:srgbClr val="001E3E"/>
              </a:solidFill>
            </a:endParaRPr>
          </a:p>
        </p:txBody>
      </p:sp>
      <p:sp>
        <p:nvSpPr>
          <p:cNvPr id="6" name="Slide Number Placeholder 5"/>
          <p:cNvSpPr>
            <a:spLocks noGrp="1"/>
          </p:cNvSpPr>
          <p:nvPr>
            <p:ph type="sldNum" sz="quarter" idx="12"/>
          </p:nvPr>
        </p:nvSpPr>
        <p:spPr/>
        <p:txBody>
          <a:bodyPr/>
          <a:lstStyle/>
          <a:p>
            <a:fld id="{8B502147-0FBB-4BAE-8E11-C98715716641}" type="slidenum">
              <a:rPr lang="en-US" smtClean="0">
                <a:solidFill>
                  <a:srgbClr val="001E3E"/>
                </a:solidFill>
              </a:rPr>
              <a:pPr/>
              <a:t>‹#›</a:t>
            </a:fld>
            <a:endParaRPr lang="en-US">
              <a:solidFill>
                <a:srgbClr val="001E3E"/>
              </a:solidFill>
            </a:endParaRPr>
          </a:p>
        </p:txBody>
      </p:sp>
      <p:sp>
        <p:nvSpPr>
          <p:cNvPr id="8" name="Bildplatzhalter 6">
            <a:extLst>
              <a:ext uri="{FF2B5EF4-FFF2-40B4-BE49-F238E27FC236}">
                <a16:creationId xmlns:a16="http://schemas.microsoft.com/office/drawing/2014/main" id="{C5CDEF91-ADB7-4C9F-B188-AFF41ED904FF}"/>
              </a:ext>
            </a:extLst>
          </p:cNvPr>
          <p:cNvSpPr>
            <a:spLocks noGrp="1"/>
          </p:cNvSpPr>
          <p:nvPr>
            <p:ph type="pic" sz="quarter" idx="13" hasCustomPrompt="1"/>
          </p:nvPr>
        </p:nvSpPr>
        <p:spPr>
          <a:xfrm>
            <a:off x="575735" y="1509185"/>
            <a:ext cx="11040533" cy="4751916"/>
          </a:xfrm>
          <a:solidFill>
            <a:schemeClr val="bg1">
              <a:lumMod val="85000"/>
            </a:schemeClr>
          </a:solidFill>
        </p:spPr>
        <p:txBody>
          <a:bodyPr anchor="ctr"/>
          <a:lstStyle>
            <a:lvl1pPr marL="0" indent="0" algn="ctr">
              <a:buNone/>
              <a:defRPr/>
            </a:lvl1pPr>
          </a:lstStyle>
          <a:p>
            <a:r>
              <a:rPr lang="en-US" noProof="0" dirty="0"/>
              <a:t>Picture</a:t>
            </a:r>
          </a:p>
        </p:txBody>
      </p:sp>
      <p:sp>
        <p:nvSpPr>
          <p:cNvPr id="2" name="Titel 1">
            <a:extLst>
              <a:ext uri="{FF2B5EF4-FFF2-40B4-BE49-F238E27FC236}">
                <a16:creationId xmlns:a16="http://schemas.microsoft.com/office/drawing/2014/main" id="{59F474A6-F542-A74B-AC0F-75E79DBE8EC5}"/>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116561522"/>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75734" y="1460465"/>
            <a:ext cx="3551767" cy="4800635"/>
          </a:xfrm>
        </p:spPr>
        <p:txBody>
          <a:bodyPr/>
          <a:lstStyle>
            <a:lvl2pPr marL="476239" indent="-234945">
              <a:buFont typeface="Symbol" panose="05050102010706020507" pitchFamily="18" charset="2"/>
              <a:buChar char="-"/>
              <a:defRPr/>
            </a:lvl2pPr>
            <a:lvl3pPr marL="715415" indent="-239178">
              <a:buFont typeface="Symbol" panose="05050102010706020507" pitchFamily="18" charset="2"/>
              <a:buChar char="-"/>
              <a:defRPr/>
            </a:lvl3pPr>
            <a:lvl4pPr marL="956709" indent="-241294">
              <a:buFont typeface="Symbol" panose="05050102010706020507" pitchFamily="18" charset="2"/>
              <a:buChar char="-"/>
              <a:defRPr/>
            </a:lvl4pPr>
            <a:lvl5pPr marL="1198003" indent="-241294">
              <a:buFont typeface="Symbol" panose="05050102010706020507" pitchFamily="18" charset="2"/>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endParaRPr lang="en-US">
              <a:solidFill>
                <a:srgbClr val="001E3E"/>
              </a:solidFill>
            </a:endParaRPr>
          </a:p>
        </p:txBody>
      </p:sp>
      <p:sp>
        <p:nvSpPr>
          <p:cNvPr id="5" name="Footer Placeholder 4"/>
          <p:cNvSpPr>
            <a:spLocks noGrp="1"/>
          </p:cNvSpPr>
          <p:nvPr>
            <p:ph type="ftr" sz="quarter" idx="11"/>
          </p:nvPr>
        </p:nvSpPr>
        <p:spPr/>
        <p:txBody>
          <a:bodyPr/>
          <a:lstStyle/>
          <a:p>
            <a:endParaRPr lang="en-US">
              <a:solidFill>
                <a:srgbClr val="001E3E"/>
              </a:solidFill>
            </a:endParaRPr>
          </a:p>
        </p:txBody>
      </p:sp>
      <p:sp>
        <p:nvSpPr>
          <p:cNvPr id="6" name="Slide Number Placeholder 5"/>
          <p:cNvSpPr>
            <a:spLocks noGrp="1"/>
          </p:cNvSpPr>
          <p:nvPr>
            <p:ph type="sldNum" sz="quarter" idx="12"/>
          </p:nvPr>
        </p:nvSpPr>
        <p:spPr/>
        <p:txBody>
          <a:bodyPr/>
          <a:lstStyle/>
          <a:p>
            <a:fld id="{8B502147-0FBB-4BAE-8E11-C98715716641}" type="slidenum">
              <a:rPr lang="en-US" smtClean="0">
                <a:solidFill>
                  <a:srgbClr val="001E3E"/>
                </a:solidFill>
              </a:rPr>
              <a:pPr/>
              <a:t>‹#›</a:t>
            </a:fld>
            <a:endParaRPr lang="en-US">
              <a:solidFill>
                <a:srgbClr val="001E3E"/>
              </a:solidFill>
            </a:endParaRPr>
          </a:p>
        </p:txBody>
      </p:sp>
      <p:sp>
        <p:nvSpPr>
          <p:cNvPr id="8" name="Bildplatzhalter 6">
            <a:extLst>
              <a:ext uri="{FF2B5EF4-FFF2-40B4-BE49-F238E27FC236}">
                <a16:creationId xmlns:a16="http://schemas.microsoft.com/office/drawing/2014/main" id="{C5CDEF91-ADB7-4C9F-B188-AFF41ED904FF}"/>
              </a:ext>
            </a:extLst>
          </p:cNvPr>
          <p:cNvSpPr>
            <a:spLocks noGrp="1"/>
          </p:cNvSpPr>
          <p:nvPr>
            <p:ph type="pic" sz="quarter" idx="13" hasCustomPrompt="1"/>
          </p:nvPr>
        </p:nvSpPr>
        <p:spPr>
          <a:xfrm>
            <a:off x="4320117" y="1509185"/>
            <a:ext cx="7296149" cy="4751916"/>
          </a:xfrm>
          <a:solidFill>
            <a:schemeClr val="bg1">
              <a:lumMod val="85000"/>
            </a:schemeClr>
          </a:solidFill>
        </p:spPr>
        <p:txBody>
          <a:bodyPr anchor="ctr"/>
          <a:lstStyle>
            <a:lvl1pPr marL="0" indent="0" algn="ctr">
              <a:buNone/>
              <a:defRPr/>
            </a:lvl1pPr>
          </a:lstStyle>
          <a:p>
            <a:r>
              <a:rPr lang="en-US" noProof="0" dirty="0"/>
              <a:t>Picture</a:t>
            </a:r>
          </a:p>
        </p:txBody>
      </p:sp>
      <p:sp>
        <p:nvSpPr>
          <p:cNvPr id="7" name="Titel 6">
            <a:extLst>
              <a:ext uri="{FF2B5EF4-FFF2-40B4-BE49-F238E27FC236}">
                <a16:creationId xmlns:a16="http://schemas.microsoft.com/office/drawing/2014/main" id="{83C461DB-98BD-4D83-BB8F-E08BFFDDBECB}"/>
              </a:ext>
            </a:extLst>
          </p:cNvPr>
          <p:cNvSpPr>
            <a:spLocks noGrp="1"/>
          </p:cNvSpPr>
          <p:nvPr>
            <p:ph type="title" hasCustomPrompt="1"/>
          </p:nvPr>
        </p:nvSpPr>
        <p:spPr/>
        <p:txBody>
          <a:bodyPr/>
          <a:lstStyle>
            <a:lvl1pPr>
              <a:defRPr/>
            </a:lvl1pPr>
          </a:lstStyle>
          <a:p>
            <a:r>
              <a:rPr lang="en-US" noProof="0" dirty="0"/>
              <a:t>Click to edit Master title style</a:t>
            </a:r>
            <a:endParaRPr lang="de-DE" dirty="0"/>
          </a:p>
        </p:txBody>
      </p:sp>
    </p:spTree>
    <p:extLst>
      <p:ext uri="{BB962C8B-B14F-4D97-AF65-F5344CB8AC3E}">
        <p14:creationId xmlns:p14="http://schemas.microsoft.com/office/powerpoint/2010/main" val="615564191"/>
      </p:ext>
    </p:extLst>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preserve="1" userDrawn="1">
  <p:cSld name="Content and Picture (edg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75735" y="1460465"/>
            <a:ext cx="5425016" cy="4800635"/>
          </a:xfrm>
        </p:spPr>
        <p:txBody>
          <a:bodyPr/>
          <a:lstStyle>
            <a:lvl2pPr marL="476239" indent="-234945">
              <a:buFont typeface="Symbol" panose="05050102010706020507" pitchFamily="18" charset="2"/>
              <a:buChar char="-"/>
              <a:defRPr/>
            </a:lvl2pPr>
            <a:lvl3pPr marL="715415" indent="-239178">
              <a:buFont typeface="Symbol" panose="05050102010706020507" pitchFamily="18" charset="2"/>
              <a:buChar char="-"/>
              <a:defRPr/>
            </a:lvl3pPr>
            <a:lvl4pPr marL="956709" indent="-241294">
              <a:buFont typeface="Symbol" panose="05050102010706020507" pitchFamily="18" charset="2"/>
              <a:buChar char="-"/>
              <a:defRPr/>
            </a:lvl4pPr>
            <a:lvl5pPr marL="1198003" indent="-241294">
              <a:buFont typeface="Symbol" panose="05050102010706020507" pitchFamily="18" charset="2"/>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endParaRPr lang="en-US">
              <a:solidFill>
                <a:srgbClr val="001E3E"/>
              </a:solidFill>
            </a:endParaRPr>
          </a:p>
        </p:txBody>
      </p:sp>
      <p:sp>
        <p:nvSpPr>
          <p:cNvPr id="5" name="Footer Placeholder 4"/>
          <p:cNvSpPr>
            <a:spLocks noGrp="1"/>
          </p:cNvSpPr>
          <p:nvPr>
            <p:ph type="ftr" sz="quarter" idx="11"/>
          </p:nvPr>
        </p:nvSpPr>
        <p:spPr/>
        <p:txBody>
          <a:bodyPr/>
          <a:lstStyle/>
          <a:p>
            <a:endParaRPr lang="en-US">
              <a:solidFill>
                <a:srgbClr val="001E3E"/>
              </a:solidFill>
            </a:endParaRPr>
          </a:p>
        </p:txBody>
      </p:sp>
      <p:sp>
        <p:nvSpPr>
          <p:cNvPr id="6" name="Slide Number Placeholder 5"/>
          <p:cNvSpPr>
            <a:spLocks noGrp="1"/>
          </p:cNvSpPr>
          <p:nvPr>
            <p:ph type="sldNum" sz="quarter" idx="12"/>
          </p:nvPr>
        </p:nvSpPr>
        <p:spPr/>
        <p:txBody>
          <a:bodyPr/>
          <a:lstStyle/>
          <a:p>
            <a:fld id="{8B502147-0FBB-4BAE-8E11-C98715716641}" type="slidenum">
              <a:rPr lang="en-US" smtClean="0">
                <a:solidFill>
                  <a:srgbClr val="001E3E"/>
                </a:solidFill>
              </a:rPr>
              <a:pPr/>
              <a:t>‹#›</a:t>
            </a:fld>
            <a:endParaRPr lang="en-US">
              <a:solidFill>
                <a:srgbClr val="001E3E"/>
              </a:solidFill>
            </a:endParaRPr>
          </a:p>
        </p:txBody>
      </p:sp>
      <p:sp>
        <p:nvSpPr>
          <p:cNvPr id="8" name="Bildplatzhalter 6">
            <a:extLst>
              <a:ext uri="{FF2B5EF4-FFF2-40B4-BE49-F238E27FC236}">
                <a16:creationId xmlns:a16="http://schemas.microsoft.com/office/drawing/2014/main" id="{C5CDEF91-ADB7-4C9F-B188-AFF41ED904FF}"/>
              </a:ext>
            </a:extLst>
          </p:cNvPr>
          <p:cNvSpPr>
            <a:spLocks noGrp="1"/>
          </p:cNvSpPr>
          <p:nvPr>
            <p:ph type="pic" sz="quarter" idx="13" hasCustomPrompt="1"/>
          </p:nvPr>
        </p:nvSpPr>
        <p:spPr>
          <a:xfrm>
            <a:off x="6191252" y="0"/>
            <a:ext cx="5999160" cy="6858000"/>
          </a:xfrm>
          <a:solidFill>
            <a:schemeClr val="bg1">
              <a:lumMod val="85000"/>
            </a:schemeClr>
          </a:solidFill>
        </p:spPr>
        <p:txBody>
          <a:bodyPr anchor="ctr"/>
          <a:lstStyle>
            <a:lvl1pPr marL="0" indent="0" algn="ctr">
              <a:buNone/>
              <a:defRPr/>
            </a:lvl1pPr>
          </a:lstStyle>
          <a:p>
            <a:r>
              <a:rPr lang="en-US" noProof="0" dirty="0"/>
              <a:t>Picture</a:t>
            </a:r>
          </a:p>
        </p:txBody>
      </p:sp>
      <p:sp>
        <p:nvSpPr>
          <p:cNvPr id="7" name="Titel 6">
            <a:extLst>
              <a:ext uri="{FF2B5EF4-FFF2-40B4-BE49-F238E27FC236}">
                <a16:creationId xmlns:a16="http://schemas.microsoft.com/office/drawing/2014/main" id="{83C461DB-98BD-4D83-BB8F-E08BFFDDBECB}"/>
              </a:ext>
            </a:extLst>
          </p:cNvPr>
          <p:cNvSpPr>
            <a:spLocks noGrp="1"/>
          </p:cNvSpPr>
          <p:nvPr>
            <p:ph type="title" hasCustomPrompt="1"/>
          </p:nvPr>
        </p:nvSpPr>
        <p:spPr>
          <a:xfrm>
            <a:off x="575732" y="439968"/>
            <a:ext cx="5425019" cy="780787"/>
          </a:xfrm>
        </p:spPr>
        <p:txBody>
          <a:bodyPr/>
          <a:lstStyle>
            <a:lvl1pPr>
              <a:defRPr/>
            </a:lvl1pPr>
          </a:lstStyle>
          <a:p>
            <a:r>
              <a:rPr lang="en-US" noProof="0" dirty="0"/>
              <a:t>Click to edit Master title style</a:t>
            </a:r>
            <a:endParaRPr lang="de-DE" dirty="0"/>
          </a:p>
        </p:txBody>
      </p:sp>
    </p:spTree>
    <p:extLst>
      <p:ext uri="{BB962C8B-B14F-4D97-AF65-F5344CB8AC3E}">
        <p14:creationId xmlns:p14="http://schemas.microsoft.com/office/powerpoint/2010/main" val="1580506154"/>
      </p:ext>
    </p:extLst>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preserve="1" userDrawn="1">
  <p:cSld name="Content and 2 Pictur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75734" y="1460465"/>
            <a:ext cx="3551767" cy="4800635"/>
          </a:xfrm>
        </p:spPr>
        <p:txBody>
          <a:bodyPr/>
          <a:lstStyle>
            <a:lvl2pPr marL="476239" indent="-234945">
              <a:buFont typeface="Symbol" panose="05050102010706020507" pitchFamily="18" charset="2"/>
              <a:buChar char="-"/>
              <a:defRPr/>
            </a:lvl2pPr>
            <a:lvl3pPr marL="715415" indent="-239178">
              <a:buFont typeface="Symbol" panose="05050102010706020507" pitchFamily="18" charset="2"/>
              <a:buChar char="-"/>
              <a:defRPr/>
            </a:lvl3pPr>
            <a:lvl4pPr marL="956709" indent="-241294">
              <a:buFont typeface="Symbol" panose="05050102010706020507" pitchFamily="18" charset="2"/>
              <a:buChar char="-"/>
              <a:defRPr/>
            </a:lvl4pPr>
            <a:lvl5pPr marL="1198003" indent="-241294">
              <a:buFont typeface="Symbol" panose="05050102010706020507" pitchFamily="18" charset="2"/>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endParaRPr lang="en-US">
              <a:solidFill>
                <a:srgbClr val="001E3E"/>
              </a:solidFill>
            </a:endParaRPr>
          </a:p>
        </p:txBody>
      </p:sp>
      <p:sp>
        <p:nvSpPr>
          <p:cNvPr id="5" name="Footer Placeholder 4"/>
          <p:cNvSpPr>
            <a:spLocks noGrp="1"/>
          </p:cNvSpPr>
          <p:nvPr>
            <p:ph type="ftr" sz="quarter" idx="11"/>
          </p:nvPr>
        </p:nvSpPr>
        <p:spPr/>
        <p:txBody>
          <a:bodyPr/>
          <a:lstStyle/>
          <a:p>
            <a:endParaRPr lang="en-US">
              <a:solidFill>
                <a:srgbClr val="001E3E"/>
              </a:solidFill>
            </a:endParaRPr>
          </a:p>
        </p:txBody>
      </p:sp>
      <p:sp>
        <p:nvSpPr>
          <p:cNvPr id="6" name="Slide Number Placeholder 5"/>
          <p:cNvSpPr>
            <a:spLocks noGrp="1"/>
          </p:cNvSpPr>
          <p:nvPr>
            <p:ph type="sldNum" sz="quarter" idx="12"/>
          </p:nvPr>
        </p:nvSpPr>
        <p:spPr/>
        <p:txBody>
          <a:bodyPr/>
          <a:lstStyle/>
          <a:p>
            <a:fld id="{8B502147-0FBB-4BAE-8E11-C98715716641}" type="slidenum">
              <a:rPr lang="en-US" smtClean="0">
                <a:solidFill>
                  <a:srgbClr val="001E3E"/>
                </a:solidFill>
              </a:rPr>
              <a:pPr/>
              <a:t>‹#›</a:t>
            </a:fld>
            <a:endParaRPr lang="en-US">
              <a:solidFill>
                <a:srgbClr val="001E3E"/>
              </a:solidFill>
            </a:endParaRPr>
          </a:p>
        </p:txBody>
      </p:sp>
      <p:sp>
        <p:nvSpPr>
          <p:cNvPr id="8" name="Bildplatzhalter 6">
            <a:extLst>
              <a:ext uri="{FF2B5EF4-FFF2-40B4-BE49-F238E27FC236}">
                <a16:creationId xmlns:a16="http://schemas.microsoft.com/office/drawing/2014/main" id="{C5CDEF91-ADB7-4C9F-B188-AFF41ED904FF}"/>
              </a:ext>
            </a:extLst>
          </p:cNvPr>
          <p:cNvSpPr>
            <a:spLocks noGrp="1"/>
          </p:cNvSpPr>
          <p:nvPr>
            <p:ph type="pic" sz="quarter" idx="13" hasCustomPrompt="1"/>
          </p:nvPr>
        </p:nvSpPr>
        <p:spPr>
          <a:xfrm>
            <a:off x="4320119" y="1509185"/>
            <a:ext cx="3551767" cy="3615867"/>
          </a:xfrm>
          <a:solidFill>
            <a:schemeClr val="bg1">
              <a:lumMod val="85000"/>
            </a:schemeClr>
          </a:solidFill>
        </p:spPr>
        <p:txBody>
          <a:bodyPr anchor="ctr"/>
          <a:lstStyle>
            <a:lvl1pPr marL="0" indent="0" algn="ctr">
              <a:buNone/>
              <a:defRPr/>
            </a:lvl1pPr>
          </a:lstStyle>
          <a:p>
            <a:r>
              <a:rPr lang="en-US" noProof="0"/>
              <a:t>Picture</a:t>
            </a:r>
          </a:p>
        </p:txBody>
      </p:sp>
      <p:sp>
        <p:nvSpPr>
          <p:cNvPr id="10" name="Bildplatzhalter 6">
            <a:extLst>
              <a:ext uri="{FF2B5EF4-FFF2-40B4-BE49-F238E27FC236}">
                <a16:creationId xmlns:a16="http://schemas.microsoft.com/office/drawing/2014/main" id="{2B7D4F70-4F93-4518-94B6-BA21E77D0FC5}"/>
              </a:ext>
            </a:extLst>
          </p:cNvPr>
          <p:cNvSpPr>
            <a:spLocks noGrp="1"/>
          </p:cNvSpPr>
          <p:nvPr>
            <p:ph type="pic" sz="quarter" idx="14" hasCustomPrompt="1"/>
          </p:nvPr>
        </p:nvSpPr>
        <p:spPr>
          <a:xfrm>
            <a:off x="8064501" y="1509185"/>
            <a:ext cx="3551767" cy="3615867"/>
          </a:xfrm>
          <a:solidFill>
            <a:schemeClr val="bg1">
              <a:lumMod val="85000"/>
            </a:schemeClr>
          </a:solidFill>
        </p:spPr>
        <p:txBody>
          <a:bodyPr anchor="ctr"/>
          <a:lstStyle>
            <a:lvl1pPr marL="0" indent="0" algn="ctr">
              <a:buNone/>
              <a:defRPr/>
            </a:lvl1pPr>
          </a:lstStyle>
          <a:p>
            <a:r>
              <a:rPr lang="en-US" noProof="0"/>
              <a:t>Picture</a:t>
            </a:r>
          </a:p>
        </p:txBody>
      </p:sp>
      <p:sp>
        <p:nvSpPr>
          <p:cNvPr id="16" name="Textplatzhalter 15">
            <a:extLst>
              <a:ext uri="{FF2B5EF4-FFF2-40B4-BE49-F238E27FC236}">
                <a16:creationId xmlns:a16="http://schemas.microsoft.com/office/drawing/2014/main" id="{9FE770FE-0D45-4F89-BA89-216D53815D71}"/>
              </a:ext>
            </a:extLst>
          </p:cNvPr>
          <p:cNvSpPr>
            <a:spLocks noGrp="1"/>
          </p:cNvSpPr>
          <p:nvPr>
            <p:ph type="body" sz="quarter" idx="15" hasCustomPrompt="1"/>
          </p:nvPr>
        </p:nvSpPr>
        <p:spPr>
          <a:xfrm>
            <a:off x="4320120" y="5221279"/>
            <a:ext cx="3551765" cy="1039820"/>
          </a:xfrm>
        </p:spPr>
        <p:txBody>
          <a:bodyPr/>
          <a:lstStyle>
            <a:lvl1pPr marL="0" indent="0">
              <a:buNone/>
              <a:defRPr sz="1333"/>
            </a:lvl1pPr>
          </a:lstStyle>
          <a:p>
            <a:pPr lvl="0"/>
            <a:r>
              <a:rPr lang="en-US" noProof="0" dirty="0"/>
              <a:t>Caption</a:t>
            </a:r>
          </a:p>
        </p:txBody>
      </p:sp>
      <p:sp>
        <p:nvSpPr>
          <p:cNvPr id="17" name="Textplatzhalter 15">
            <a:extLst>
              <a:ext uri="{FF2B5EF4-FFF2-40B4-BE49-F238E27FC236}">
                <a16:creationId xmlns:a16="http://schemas.microsoft.com/office/drawing/2014/main" id="{052BEFBD-DE29-490A-ACF4-FC258D8DD01C}"/>
              </a:ext>
            </a:extLst>
          </p:cNvPr>
          <p:cNvSpPr>
            <a:spLocks noGrp="1"/>
          </p:cNvSpPr>
          <p:nvPr>
            <p:ph type="body" sz="quarter" idx="16" hasCustomPrompt="1"/>
          </p:nvPr>
        </p:nvSpPr>
        <p:spPr>
          <a:xfrm>
            <a:off x="8064501" y="5221280"/>
            <a:ext cx="3551767" cy="1039819"/>
          </a:xfrm>
        </p:spPr>
        <p:txBody>
          <a:bodyPr/>
          <a:lstStyle>
            <a:lvl1pPr marL="0" indent="0">
              <a:buNone/>
              <a:defRPr sz="1333"/>
            </a:lvl1pPr>
          </a:lstStyle>
          <a:p>
            <a:pPr lvl="0"/>
            <a:r>
              <a:rPr lang="en-US" noProof="0" dirty="0"/>
              <a:t>Caption</a:t>
            </a:r>
          </a:p>
        </p:txBody>
      </p:sp>
      <p:sp>
        <p:nvSpPr>
          <p:cNvPr id="7" name="Titel 6">
            <a:extLst>
              <a:ext uri="{FF2B5EF4-FFF2-40B4-BE49-F238E27FC236}">
                <a16:creationId xmlns:a16="http://schemas.microsoft.com/office/drawing/2014/main" id="{C7A2BBAF-E31C-446E-A86C-0227D809C71D}"/>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720222501"/>
      </p:ext>
    </p:extLst>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preserve="1" userDrawn="1">
  <p:cSld name="Content and 5 Picture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75734" y="1460466"/>
            <a:ext cx="11040533" cy="1664421"/>
          </a:xfrm>
        </p:spPr>
        <p:txBody>
          <a:bodyPr/>
          <a:lstStyle>
            <a:lvl2pPr marL="476239" indent="-234945">
              <a:buFont typeface="Symbol" panose="05050102010706020507" pitchFamily="18" charset="2"/>
              <a:buChar char="-"/>
              <a:defRPr/>
            </a:lvl2pPr>
            <a:lvl3pPr marL="715415" indent="-239178">
              <a:buFont typeface="Symbol" panose="05050102010706020507" pitchFamily="18" charset="2"/>
              <a:buChar char="-"/>
              <a:defRPr/>
            </a:lvl3pPr>
            <a:lvl4pPr marL="956709" indent="-241294">
              <a:buFont typeface="Symbol" panose="05050102010706020507" pitchFamily="18" charset="2"/>
              <a:buChar char="-"/>
              <a:defRPr/>
            </a:lvl4pPr>
            <a:lvl5pPr marL="1198003" indent="-241294">
              <a:buFont typeface="Symbol" panose="05050102010706020507" pitchFamily="18" charset="2"/>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endParaRPr lang="en-US">
              <a:solidFill>
                <a:srgbClr val="001E3E"/>
              </a:solidFill>
            </a:endParaRPr>
          </a:p>
        </p:txBody>
      </p:sp>
      <p:sp>
        <p:nvSpPr>
          <p:cNvPr id="5" name="Footer Placeholder 4"/>
          <p:cNvSpPr>
            <a:spLocks noGrp="1"/>
          </p:cNvSpPr>
          <p:nvPr>
            <p:ph type="ftr" sz="quarter" idx="11"/>
          </p:nvPr>
        </p:nvSpPr>
        <p:spPr/>
        <p:txBody>
          <a:bodyPr/>
          <a:lstStyle/>
          <a:p>
            <a:endParaRPr lang="en-US">
              <a:solidFill>
                <a:srgbClr val="001E3E"/>
              </a:solidFill>
            </a:endParaRPr>
          </a:p>
        </p:txBody>
      </p:sp>
      <p:sp>
        <p:nvSpPr>
          <p:cNvPr id="6" name="Slide Number Placeholder 5"/>
          <p:cNvSpPr>
            <a:spLocks noGrp="1"/>
          </p:cNvSpPr>
          <p:nvPr>
            <p:ph type="sldNum" sz="quarter" idx="12"/>
          </p:nvPr>
        </p:nvSpPr>
        <p:spPr/>
        <p:txBody>
          <a:bodyPr/>
          <a:lstStyle/>
          <a:p>
            <a:fld id="{8B502147-0FBB-4BAE-8E11-C98715716641}" type="slidenum">
              <a:rPr lang="en-US" smtClean="0">
                <a:solidFill>
                  <a:srgbClr val="001E3E"/>
                </a:solidFill>
              </a:rPr>
              <a:pPr/>
              <a:t>‹#›</a:t>
            </a:fld>
            <a:endParaRPr lang="en-US">
              <a:solidFill>
                <a:srgbClr val="001E3E"/>
              </a:solidFill>
            </a:endParaRPr>
          </a:p>
        </p:txBody>
      </p:sp>
      <p:sp>
        <p:nvSpPr>
          <p:cNvPr id="8" name="Bildplatzhalter 6">
            <a:extLst>
              <a:ext uri="{FF2B5EF4-FFF2-40B4-BE49-F238E27FC236}">
                <a16:creationId xmlns:a16="http://schemas.microsoft.com/office/drawing/2014/main" id="{C5CDEF91-ADB7-4C9F-B188-AFF41ED904FF}"/>
              </a:ext>
            </a:extLst>
          </p:cNvPr>
          <p:cNvSpPr>
            <a:spLocks noGrp="1"/>
          </p:cNvSpPr>
          <p:nvPr>
            <p:ph type="pic" sz="quarter" idx="13" hasCustomPrompt="1"/>
          </p:nvPr>
        </p:nvSpPr>
        <p:spPr>
          <a:xfrm>
            <a:off x="571499" y="3284984"/>
            <a:ext cx="2054400" cy="1824203"/>
          </a:xfrm>
          <a:solidFill>
            <a:schemeClr val="bg1">
              <a:lumMod val="85000"/>
            </a:schemeClr>
          </a:solidFill>
        </p:spPr>
        <p:txBody>
          <a:bodyPr anchor="ctr"/>
          <a:lstStyle>
            <a:lvl1pPr marL="0" indent="0" algn="ctr">
              <a:buNone/>
              <a:defRPr/>
            </a:lvl1pPr>
          </a:lstStyle>
          <a:p>
            <a:r>
              <a:rPr lang="en-US" noProof="0"/>
              <a:t>Picture</a:t>
            </a:r>
          </a:p>
        </p:txBody>
      </p:sp>
      <p:sp>
        <p:nvSpPr>
          <p:cNvPr id="16" name="Textplatzhalter 15">
            <a:extLst>
              <a:ext uri="{FF2B5EF4-FFF2-40B4-BE49-F238E27FC236}">
                <a16:creationId xmlns:a16="http://schemas.microsoft.com/office/drawing/2014/main" id="{9FE770FE-0D45-4F89-BA89-216D53815D71}"/>
              </a:ext>
            </a:extLst>
          </p:cNvPr>
          <p:cNvSpPr>
            <a:spLocks noGrp="1"/>
          </p:cNvSpPr>
          <p:nvPr>
            <p:ph type="body" sz="quarter" idx="15" hasCustomPrompt="1"/>
          </p:nvPr>
        </p:nvSpPr>
        <p:spPr>
          <a:xfrm>
            <a:off x="571499" y="5269285"/>
            <a:ext cx="2054400" cy="991815"/>
          </a:xfrm>
        </p:spPr>
        <p:txBody>
          <a:bodyPr/>
          <a:lstStyle>
            <a:lvl1pPr marL="0" indent="0">
              <a:buNone/>
              <a:defRPr sz="1333"/>
            </a:lvl1pPr>
          </a:lstStyle>
          <a:p>
            <a:pPr lvl="0"/>
            <a:r>
              <a:rPr lang="en-US" noProof="0"/>
              <a:t>Caption</a:t>
            </a:r>
          </a:p>
        </p:txBody>
      </p:sp>
      <p:sp>
        <p:nvSpPr>
          <p:cNvPr id="13" name="Bildplatzhalter 6">
            <a:extLst>
              <a:ext uri="{FF2B5EF4-FFF2-40B4-BE49-F238E27FC236}">
                <a16:creationId xmlns:a16="http://schemas.microsoft.com/office/drawing/2014/main" id="{03A7D960-0507-4DC0-BDC9-1EC2673A37D8}"/>
              </a:ext>
            </a:extLst>
          </p:cNvPr>
          <p:cNvSpPr>
            <a:spLocks noGrp="1"/>
          </p:cNvSpPr>
          <p:nvPr>
            <p:ph type="pic" sz="quarter" idx="16" hasCustomPrompt="1"/>
          </p:nvPr>
        </p:nvSpPr>
        <p:spPr>
          <a:xfrm>
            <a:off x="2819091" y="3284984"/>
            <a:ext cx="2054400" cy="1824203"/>
          </a:xfrm>
          <a:solidFill>
            <a:schemeClr val="bg1">
              <a:lumMod val="85000"/>
            </a:schemeClr>
          </a:solidFill>
        </p:spPr>
        <p:txBody>
          <a:bodyPr anchor="ctr"/>
          <a:lstStyle>
            <a:lvl1pPr marL="0" indent="0" algn="ctr">
              <a:buNone/>
              <a:defRPr/>
            </a:lvl1pPr>
          </a:lstStyle>
          <a:p>
            <a:r>
              <a:rPr lang="en-US" noProof="0"/>
              <a:t>Picture</a:t>
            </a:r>
          </a:p>
        </p:txBody>
      </p:sp>
      <p:sp>
        <p:nvSpPr>
          <p:cNvPr id="14" name="Textplatzhalter 15">
            <a:extLst>
              <a:ext uri="{FF2B5EF4-FFF2-40B4-BE49-F238E27FC236}">
                <a16:creationId xmlns:a16="http://schemas.microsoft.com/office/drawing/2014/main" id="{05325553-B62C-4C8F-A62E-A848EF10B638}"/>
              </a:ext>
            </a:extLst>
          </p:cNvPr>
          <p:cNvSpPr>
            <a:spLocks noGrp="1"/>
          </p:cNvSpPr>
          <p:nvPr>
            <p:ph type="body" sz="quarter" idx="17" hasCustomPrompt="1"/>
          </p:nvPr>
        </p:nvSpPr>
        <p:spPr>
          <a:xfrm>
            <a:off x="2819091" y="5269285"/>
            <a:ext cx="2054400" cy="991815"/>
          </a:xfrm>
        </p:spPr>
        <p:txBody>
          <a:bodyPr/>
          <a:lstStyle>
            <a:lvl1pPr marL="0" indent="0">
              <a:buNone/>
              <a:defRPr sz="1333"/>
            </a:lvl1pPr>
          </a:lstStyle>
          <a:p>
            <a:pPr lvl="0"/>
            <a:r>
              <a:rPr lang="en-US" noProof="0"/>
              <a:t>Caption</a:t>
            </a:r>
          </a:p>
        </p:txBody>
      </p:sp>
      <p:sp>
        <p:nvSpPr>
          <p:cNvPr id="15" name="Bildplatzhalter 6">
            <a:extLst>
              <a:ext uri="{FF2B5EF4-FFF2-40B4-BE49-F238E27FC236}">
                <a16:creationId xmlns:a16="http://schemas.microsoft.com/office/drawing/2014/main" id="{904F7AEE-DF27-4E13-A0B0-AFF9D47CE1E8}"/>
              </a:ext>
            </a:extLst>
          </p:cNvPr>
          <p:cNvSpPr>
            <a:spLocks noGrp="1"/>
          </p:cNvSpPr>
          <p:nvPr>
            <p:ph type="pic" sz="quarter" idx="18" hasCustomPrompt="1"/>
          </p:nvPr>
        </p:nvSpPr>
        <p:spPr>
          <a:xfrm>
            <a:off x="5066683" y="3284984"/>
            <a:ext cx="2054400" cy="1824203"/>
          </a:xfrm>
          <a:solidFill>
            <a:schemeClr val="bg1">
              <a:lumMod val="85000"/>
            </a:schemeClr>
          </a:solidFill>
        </p:spPr>
        <p:txBody>
          <a:bodyPr anchor="ctr"/>
          <a:lstStyle>
            <a:lvl1pPr marL="0" indent="0" algn="ctr">
              <a:buNone/>
              <a:defRPr/>
            </a:lvl1pPr>
          </a:lstStyle>
          <a:p>
            <a:r>
              <a:rPr lang="en-US" noProof="0"/>
              <a:t>Picture</a:t>
            </a:r>
          </a:p>
        </p:txBody>
      </p:sp>
      <p:sp>
        <p:nvSpPr>
          <p:cNvPr id="18" name="Textplatzhalter 15">
            <a:extLst>
              <a:ext uri="{FF2B5EF4-FFF2-40B4-BE49-F238E27FC236}">
                <a16:creationId xmlns:a16="http://schemas.microsoft.com/office/drawing/2014/main" id="{5C2B183D-FDE4-4986-AB6D-B715876E64A5}"/>
              </a:ext>
            </a:extLst>
          </p:cNvPr>
          <p:cNvSpPr>
            <a:spLocks noGrp="1"/>
          </p:cNvSpPr>
          <p:nvPr>
            <p:ph type="body" sz="quarter" idx="19" hasCustomPrompt="1"/>
          </p:nvPr>
        </p:nvSpPr>
        <p:spPr>
          <a:xfrm>
            <a:off x="5066683" y="5269285"/>
            <a:ext cx="2054400" cy="991815"/>
          </a:xfrm>
        </p:spPr>
        <p:txBody>
          <a:bodyPr/>
          <a:lstStyle>
            <a:lvl1pPr marL="0" indent="0">
              <a:buNone/>
              <a:defRPr sz="1333"/>
            </a:lvl1pPr>
          </a:lstStyle>
          <a:p>
            <a:pPr lvl="0"/>
            <a:r>
              <a:rPr lang="en-US" noProof="0"/>
              <a:t>Caption</a:t>
            </a:r>
          </a:p>
        </p:txBody>
      </p:sp>
      <p:sp>
        <p:nvSpPr>
          <p:cNvPr id="19" name="Bildplatzhalter 6">
            <a:extLst>
              <a:ext uri="{FF2B5EF4-FFF2-40B4-BE49-F238E27FC236}">
                <a16:creationId xmlns:a16="http://schemas.microsoft.com/office/drawing/2014/main" id="{E4B0D6C8-8F51-490C-ACAD-5FEB1F003C2A}"/>
              </a:ext>
            </a:extLst>
          </p:cNvPr>
          <p:cNvSpPr>
            <a:spLocks noGrp="1"/>
          </p:cNvSpPr>
          <p:nvPr>
            <p:ph type="pic" sz="quarter" idx="20" hasCustomPrompt="1"/>
          </p:nvPr>
        </p:nvSpPr>
        <p:spPr>
          <a:xfrm>
            <a:off x="7314275" y="3284984"/>
            <a:ext cx="2054400" cy="1824203"/>
          </a:xfrm>
          <a:solidFill>
            <a:schemeClr val="bg1">
              <a:lumMod val="85000"/>
            </a:schemeClr>
          </a:solidFill>
        </p:spPr>
        <p:txBody>
          <a:bodyPr anchor="ctr"/>
          <a:lstStyle>
            <a:lvl1pPr marL="0" indent="0" algn="ctr">
              <a:buNone/>
              <a:defRPr/>
            </a:lvl1pPr>
          </a:lstStyle>
          <a:p>
            <a:r>
              <a:rPr lang="en-US" noProof="0"/>
              <a:t>Picture</a:t>
            </a:r>
          </a:p>
        </p:txBody>
      </p:sp>
      <p:sp>
        <p:nvSpPr>
          <p:cNvPr id="20" name="Textplatzhalter 15">
            <a:extLst>
              <a:ext uri="{FF2B5EF4-FFF2-40B4-BE49-F238E27FC236}">
                <a16:creationId xmlns:a16="http://schemas.microsoft.com/office/drawing/2014/main" id="{06EC2AF6-A325-4456-9683-CBADE05DBC18}"/>
              </a:ext>
            </a:extLst>
          </p:cNvPr>
          <p:cNvSpPr>
            <a:spLocks noGrp="1"/>
          </p:cNvSpPr>
          <p:nvPr>
            <p:ph type="body" sz="quarter" idx="21" hasCustomPrompt="1"/>
          </p:nvPr>
        </p:nvSpPr>
        <p:spPr>
          <a:xfrm>
            <a:off x="7314275" y="5269285"/>
            <a:ext cx="2054400" cy="991815"/>
          </a:xfrm>
        </p:spPr>
        <p:txBody>
          <a:bodyPr/>
          <a:lstStyle>
            <a:lvl1pPr marL="0" indent="0">
              <a:buNone/>
              <a:defRPr sz="1333"/>
            </a:lvl1pPr>
          </a:lstStyle>
          <a:p>
            <a:pPr lvl="0"/>
            <a:r>
              <a:rPr lang="en-US" noProof="0"/>
              <a:t>Caption</a:t>
            </a:r>
          </a:p>
        </p:txBody>
      </p:sp>
      <p:sp>
        <p:nvSpPr>
          <p:cNvPr id="21" name="Bildplatzhalter 6">
            <a:extLst>
              <a:ext uri="{FF2B5EF4-FFF2-40B4-BE49-F238E27FC236}">
                <a16:creationId xmlns:a16="http://schemas.microsoft.com/office/drawing/2014/main" id="{98D7A575-9E6F-486E-93E5-3E3F98687D5D}"/>
              </a:ext>
            </a:extLst>
          </p:cNvPr>
          <p:cNvSpPr>
            <a:spLocks noGrp="1"/>
          </p:cNvSpPr>
          <p:nvPr>
            <p:ph type="pic" sz="quarter" idx="22" hasCustomPrompt="1"/>
          </p:nvPr>
        </p:nvSpPr>
        <p:spPr>
          <a:xfrm>
            <a:off x="9561867" y="3284984"/>
            <a:ext cx="2054400" cy="1824203"/>
          </a:xfrm>
          <a:solidFill>
            <a:schemeClr val="bg1">
              <a:lumMod val="85000"/>
            </a:schemeClr>
          </a:solidFill>
        </p:spPr>
        <p:txBody>
          <a:bodyPr anchor="ctr"/>
          <a:lstStyle>
            <a:lvl1pPr marL="0" indent="0" algn="ctr">
              <a:buNone/>
              <a:defRPr/>
            </a:lvl1pPr>
          </a:lstStyle>
          <a:p>
            <a:r>
              <a:rPr lang="en-US" noProof="0"/>
              <a:t>Picture</a:t>
            </a:r>
          </a:p>
        </p:txBody>
      </p:sp>
      <p:sp>
        <p:nvSpPr>
          <p:cNvPr id="22" name="Textplatzhalter 15">
            <a:extLst>
              <a:ext uri="{FF2B5EF4-FFF2-40B4-BE49-F238E27FC236}">
                <a16:creationId xmlns:a16="http://schemas.microsoft.com/office/drawing/2014/main" id="{D6DED4D8-23F4-4DFA-B6B8-E2B9CD96C266}"/>
              </a:ext>
            </a:extLst>
          </p:cNvPr>
          <p:cNvSpPr>
            <a:spLocks noGrp="1"/>
          </p:cNvSpPr>
          <p:nvPr>
            <p:ph type="body" sz="quarter" idx="23" hasCustomPrompt="1"/>
          </p:nvPr>
        </p:nvSpPr>
        <p:spPr>
          <a:xfrm>
            <a:off x="9561867" y="5269285"/>
            <a:ext cx="2054400" cy="991815"/>
          </a:xfrm>
        </p:spPr>
        <p:txBody>
          <a:bodyPr/>
          <a:lstStyle>
            <a:lvl1pPr marL="0" indent="0">
              <a:buNone/>
              <a:defRPr sz="1333"/>
            </a:lvl1pPr>
          </a:lstStyle>
          <a:p>
            <a:pPr lvl="0"/>
            <a:r>
              <a:rPr lang="en-US" noProof="0"/>
              <a:t>Caption</a:t>
            </a:r>
          </a:p>
        </p:txBody>
      </p:sp>
      <p:sp>
        <p:nvSpPr>
          <p:cNvPr id="7" name="Titel 6">
            <a:extLst>
              <a:ext uri="{FF2B5EF4-FFF2-40B4-BE49-F238E27FC236}">
                <a16:creationId xmlns:a16="http://schemas.microsoft.com/office/drawing/2014/main" id="{9C8E4188-D4D5-43AF-9B09-FD3F7502EDBC}"/>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2438808682"/>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8" name="Bildplatzhalter 6">
            <a:extLst>
              <a:ext uri="{FF2B5EF4-FFF2-40B4-BE49-F238E27FC236}">
                <a16:creationId xmlns:a16="http://schemas.microsoft.com/office/drawing/2014/main" id="{C5CDEF91-ADB7-4C9F-B188-AFF41ED904FF}"/>
              </a:ext>
            </a:extLst>
          </p:cNvPr>
          <p:cNvSpPr>
            <a:spLocks noGrp="1"/>
          </p:cNvSpPr>
          <p:nvPr>
            <p:ph type="pic" sz="quarter" idx="13" hasCustomPrompt="1"/>
          </p:nvPr>
        </p:nvSpPr>
        <p:spPr>
          <a:xfrm>
            <a:off x="0" y="0"/>
            <a:ext cx="12192000" cy="6858000"/>
          </a:xfrm>
          <a:solidFill>
            <a:schemeClr val="bg1">
              <a:lumMod val="85000"/>
            </a:schemeClr>
          </a:solidFill>
        </p:spPr>
        <p:txBody>
          <a:bodyPr anchor="ctr"/>
          <a:lstStyle>
            <a:lvl1pPr marL="0" indent="0" algn="ctr">
              <a:buNone/>
              <a:defRPr/>
            </a:lvl1pPr>
          </a:lstStyle>
          <a:p>
            <a:r>
              <a:rPr lang="en-US" noProof="0" dirty="0"/>
              <a:t>Picture</a:t>
            </a:r>
          </a:p>
        </p:txBody>
      </p:sp>
      <p:sp>
        <p:nvSpPr>
          <p:cNvPr id="2" name="Title 1"/>
          <p:cNvSpPr>
            <a:spLocks noGrp="1"/>
          </p:cNvSpPr>
          <p:nvPr>
            <p:ph type="title" hasCustomPrompt="1"/>
          </p:nvPr>
        </p:nvSpPr>
        <p:spPr>
          <a:xfrm>
            <a:off x="575733" y="537029"/>
            <a:ext cx="4298951" cy="972156"/>
          </a:xfrm>
        </p:spPr>
        <p:txBody>
          <a:bodyPr/>
          <a:lstStyle>
            <a:lvl1pPr>
              <a:defRPr sz="1333" b="0" cap="none" baseline="0">
                <a:solidFill>
                  <a:schemeClr val="tx1"/>
                </a:solidFill>
              </a:defRPr>
            </a:lvl1pPr>
          </a:lstStyle>
          <a:p>
            <a:r>
              <a:rPr lang="en-US" noProof="0" dirty="0"/>
              <a:t>Caption</a:t>
            </a:r>
          </a:p>
        </p:txBody>
      </p:sp>
      <p:sp>
        <p:nvSpPr>
          <p:cNvPr id="4" name="Date Placeholder 3"/>
          <p:cNvSpPr>
            <a:spLocks noGrp="1"/>
          </p:cNvSpPr>
          <p:nvPr>
            <p:ph type="dt" sz="half" idx="10"/>
          </p:nvPr>
        </p:nvSpPr>
        <p:spPr/>
        <p:txBody>
          <a:bodyPr/>
          <a:lstStyle/>
          <a:p>
            <a:endParaRPr lang="en-US">
              <a:solidFill>
                <a:srgbClr val="001E3E"/>
              </a:solidFill>
            </a:endParaRPr>
          </a:p>
        </p:txBody>
      </p:sp>
      <p:sp>
        <p:nvSpPr>
          <p:cNvPr id="5" name="Footer Placeholder 4"/>
          <p:cNvSpPr>
            <a:spLocks noGrp="1"/>
          </p:cNvSpPr>
          <p:nvPr>
            <p:ph type="ftr" sz="quarter" idx="11"/>
          </p:nvPr>
        </p:nvSpPr>
        <p:spPr/>
        <p:txBody>
          <a:bodyPr/>
          <a:lstStyle/>
          <a:p>
            <a:endParaRPr lang="en-US">
              <a:solidFill>
                <a:srgbClr val="001E3E"/>
              </a:solidFill>
            </a:endParaRPr>
          </a:p>
        </p:txBody>
      </p:sp>
      <p:sp>
        <p:nvSpPr>
          <p:cNvPr id="6" name="Slide Number Placeholder 5"/>
          <p:cNvSpPr>
            <a:spLocks noGrp="1"/>
          </p:cNvSpPr>
          <p:nvPr>
            <p:ph type="sldNum" sz="quarter" idx="12"/>
          </p:nvPr>
        </p:nvSpPr>
        <p:spPr/>
        <p:txBody>
          <a:bodyPr/>
          <a:lstStyle/>
          <a:p>
            <a:fld id="{8B502147-0FBB-4BAE-8E11-C98715716641}" type="slidenum">
              <a:rPr lang="en-US" smtClean="0">
                <a:solidFill>
                  <a:srgbClr val="001E3E"/>
                </a:solidFill>
              </a:rPr>
              <a:pPr/>
              <a:t>‹#›</a:t>
            </a:fld>
            <a:endParaRPr lang="en-US">
              <a:solidFill>
                <a:srgbClr val="001E3E"/>
              </a:solidFill>
            </a:endParaRPr>
          </a:p>
        </p:txBody>
      </p:sp>
    </p:spTree>
    <p:extLst>
      <p:ext uri="{BB962C8B-B14F-4D97-AF65-F5344CB8AC3E}">
        <p14:creationId xmlns:p14="http://schemas.microsoft.com/office/powerpoint/2010/main" val="1026798398"/>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preserve="1" userDrawn="1">
  <p:cSld name="Content and Appscree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75734" y="1460465"/>
            <a:ext cx="5425017" cy="4800635"/>
          </a:xfrm>
        </p:spPr>
        <p:txBody>
          <a:bodyPr/>
          <a:lstStyle>
            <a:lvl2pPr marL="476239" indent="-234945">
              <a:buFont typeface="Symbol" panose="05050102010706020507" pitchFamily="18" charset="2"/>
              <a:buChar char="-"/>
              <a:defRPr/>
            </a:lvl2pPr>
            <a:lvl3pPr marL="715415" indent="-239178">
              <a:buFont typeface="Symbol" panose="05050102010706020507" pitchFamily="18" charset="2"/>
              <a:buChar char="-"/>
              <a:defRPr/>
            </a:lvl3pPr>
            <a:lvl4pPr marL="956709" indent="-241294">
              <a:buFont typeface="Symbol" panose="05050102010706020507" pitchFamily="18" charset="2"/>
              <a:buChar char="-"/>
              <a:defRPr/>
            </a:lvl4pPr>
            <a:lvl5pPr marL="1198003" indent="-241294">
              <a:buFont typeface="Symbol" panose="05050102010706020507" pitchFamily="18" charset="2"/>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endParaRPr lang="en-US">
              <a:solidFill>
                <a:srgbClr val="001E3E"/>
              </a:solidFill>
            </a:endParaRPr>
          </a:p>
        </p:txBody>
      </p:sp>
      <p:sp>
        <p:nvSpPr>
          <p:cNvPr id="5" name="Footer Placeholder 4"/>
          <p:cNvSpPr>
            <a:spLocks noGrp="1"/>
          </p:cNvSpPr>
          <p:nvPr>
            <p:ph type="ftr" sz="quarter" idx="11"/>
          </p:nvPr>
        </p:nvSpPr>
        <p:spPr/>
        <p:txBody>
          <a:bodyPr/>
          <a:lstStyle/>
          <a:p>
            <a:endParaRPr lang="en-US">
              <a:solidFill>
                <a:srgbClr val="001E3E"/>
              </a:solidFill>
            </a:endParaRPr>
          </a:p>
        </p:txBody>
      </p:sp>
      <p:sp>
        <p:nvSpPr>
          <p:cNvPr id="6" name="Slide Number Placeholder 5"/>
          <p:cNvSpPr>
            <a:spLocks noGrp="1"/>
          </p:cNvSpPr>
          <p:nvPr>
            <p:ph type="sldNum" sz="quarter" idx="12"/>
          </p:nvPr>
        </p:nvSpPr>
        <p:spPr/>
        <p:txBody>
          <a:bodyPr/>
          <a:lstStyle/>
          <a:p>
            <a:fld id="{8B502147-0FBB-4BAE-8E11-C98715716641}" type="slidenum">
              <a:rPr lang="en-US" smtClean="0">
                <a:solidFill>
                  <a:srgbClr val="001E3E"/>
                </a:solidFill>
              </a:rPr>
              <a:pPr/>
              <a:t>‹#›</a:t>
            </a:fld>
            <a:endParaRPr lang="en-US">
              <a:solidFill>
                <a:srgbClr val="001E3E"/>
              </a:solidFill>
            </a:endParaRPr>
          </a:p>
        </p:txBody>
      </p:sp>
      <p:pic>
        <p:nvPicPr>
          <p:cNvPr id="9" name="Grafik 8">
            <a:extLst>
              <a:ext uri="{FF2B5EF4-FFF2-40B4-BE49-F238E27FC236}">
                <a16:creationId xmlns:a16="http://schemas.microsoft.com/office/drawing/2014/main" id="{A90398E2-F531-4772-9389-4D063775DA4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64125" y="1748813"/>
            <a:ext cx="2200228" cy="4355784"/>
          </a:xfrm>
          <a:prstGeom prst="rect">
            <a:avLst/>
          </a:prstGeom>
        </p:spPr>
      </p:pic>
      <p:sp>
        <p:nvSpPr>
          <p:cNvPr id="8" name="Bildplatzhalter 6">
            <a:extLst>
              <a:ext uri="{FF2B5EF4-FFF2-40B4-BE49-F238E27FC236}">
                <a16:creationId xmlns:a16="http://schemas.microsoft.com/office/drawing/2014/main" id="{C5CDEF91-ADB7-4C9F-B188-AFF41ED904FF}"/>
              </a:ext>
            </a:extLst>
          </p:cNvPr>
          <p:cNvSpPr>
            <a:spLocks noGrp="1"/>
          </p:cNvSpPr>
          <p:nvPr>
            <p:ph type="pic" sz="quarter" idx="13" hasCustomPrompt="1"/>
          </p:nvPr>
        </p:nvSpPr>
        <p:spPr>
          <a:xfrm>
            <a:off x="7241876" y="2392313"/>
            <a:ext cx="1844976" cy="3176637"/>
          </a:xfrm>
          <a:solidFill>
            <a:schemeClr val="bg1">
              <a:lumMod val="50000"/>
            </a:schemeClr>
          </a:solidFill>
        </p:spPr>
        <p:txBody>
          <a:bodyPr anchor="ctr"/>
          <a:lstStyle>
            <a:lvl1pPr marL="0" indent="0" algn="ctr">
              <a:buNone/>
              <a:defRPr sz="1333">
                <a:solidFill>
                  <a:schemeClr val="bg1"/>
                </a:solidFill>
              </a:defRPr>
            </a:lvl1pPr>
          </a:lstStyle>
          <a:p>
            <a:r>
              <a:rPr lang="en-US" noProof="0"/>
              <a:t>Click to add mockup</a:t>
            </a:r>
          </a:p>
        </p:txBody>
      </p:sp>
      <p:sp>
        <p:nvSpPr>
          <p:cNvPr id="12" name="Textplatzhalter 15">
            <a:extLst>
              <a:ext uri="{FF2B5EF4-FFF2-40B4-BE49-F238E27FC236}">
                <a16:creationId xmlns:a16="http://schemas.microsoft.com/office/drawing/2014/main" id="{837D790E-791D-4B47-8668-C16B8E0FF657}"/>
              </a:ext>
            </a:extLst>
          </p:cNvPr>
          <p:cNvSpPr>
            <a:spLocks noGrp="1"/>
          </p:cNvSpPr>
          <p:nvPr>
            <p:ph type="body" sz="quarter" idx="15" hasCustomPrompt="1"/>
          </p:nvPr>
        </p:nvSpPr>
        <p:spPr>
          <a:xfrm>
            <a:off x="9561867" y="4838088"/>
            <a:ext cx="2054400" cy="1135195"/>
          </a:xfrm>
        </p:spPr>
        <p:txBody>
          <a:bodyPr/>
          <a:lstStyle>
            <a:lvl1pPr marL="0" indent="0">
              <a:buNone/>
              <a:defRPr sz="1333"/>
            </a:lvl1pPr>
          </a:lstStyle>
          <a:p>
            <a:pPr lvl="0"/>
            <a:r>
              <a:rPr lang="en-US" noProof="0"/>
              <a:t>Caption</a:t>
            </a:r>
          </a:p>
        </p:txBody>
      </p:sp>
      <p:sp>
        <p:nvSpPr>
          <p:cNvPr id="7" name="Titel 6">
            <a:extLst>
              <a:ext uri="{FF2B5EF4-FFF2-40B4-BE49-F238E27FC236}">
                <a16:creationId xmlns:a16="http://schemas.microsoft.com/office/drawing/2014/main" id="{07730EDB-7E46-48A4-AD1F-B585E89011CC}"/>
              </a:ext>
            </a:extLst>
          </p:cNvPr>
          <p:cNvSpPr>
            <a:spLocks noGrp="1"/>
          </p:cNvSpPr>
          <p:nvPr>
            <p:ph type="title" hasCustomPrompt="1"/>
          </p:nvPr>
        </p:nvSpPr>
        <p:spPr/>
        <p:txBody>
          <a:bodyPr/>
          <a:lstStyle>
            <a:lvl1pPr>
              <a:defRPr/>
            </a:lvl1pPr>
          </a:lstStyle>
          <a:p>
            <a:r>
              <a:rPr lang="en-US" noProof="0" dirty="0"/>
              <a:t>Click to edit Master title style</a:t>
            </a:r>
            <a:endParaRPr lang="de-DE" dirty="0"/>
          </a:p>
        </p:txBody>
      </p:sp>
    </p:spTree>
    <p:extLst>
      <p:ext uri="{BB962C8B-B14F-4D97-AF65-F5344CB8AC3E}">
        <p14:creationId xmlns:p14="http://schemas.microsoft.com/office/powerpoint/2010/main" val="62108115"/>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Click to edit Master title style</a:t>
            </a:r>
          </a:p>
        </p:txBody>
      </p:sp>
      <p:sp>
        <p:nvSpPr>
          <p:cNvPr id="3" name="Date Placeholder 2"/>
          <p:cNvSpPr>
            <a:spLocks noGrp="1"/>
          </p:cNvSpPr>
          <p:nvPr>
            <p:ph type="dt" sz="half" idx="10"/>
          </p:nvPr>
        </p:nvSpPr>
        <p:spPr/>
        <p:txBody>
          <a:bodyPr/>
          <a:lstStyle/>
          <a:p>
            <a:endParaRPr lang="en-US">
              <a:solidFill>
                <a:srgbClr val="001E3E"/>
              </a:solidFill>
            </a:endParaRPr>
          </a:p>
        </p:txBody>
      </p:sp>
      <p:sp>
        <p:nvSpPr>
          <p:cNvPr id="4" name="Footer Placeholder 3"/>
          <p:cNvSpPr>
            <a:spLocks noGrp="1"/>
          </p:cNvSpPr>
          <p:nvPr>
            <p:ph type="ftr" sz="quarter" idx="11"/>
          </p:nvPr>
        </p:nvSpPr>
        <p:spPr/>
        <p:txBody>
          <a:bodyPr/>
          <a:lstStyle/>
          <a:p>
            <a:endParaRPr lang="en-US">
              <a:solidFill>
                <a:srgbClr val="001E3E"/>
              </a:solidFill>
            </a:endParaRPr>
          </a:p>
        </p:txBody>
      </p:sp>
      <p:sp>
        <p:nvSpPr>
          <p:cNvPr id="5" name="Slide Number Placeholder 4"/>
          <p:cNvSpPr>
            <a:spLocks noGrp="1"/>
          </p:cNvSpPr>
          <p:nvPr>
            <p:ph type="sldNum" sz="quarter" idx="12"/>
          </p:nvPr>
        </p:nvSpPr>
        <p:spPr/>
        <p:txBody>
          <a:bodyPr/>
          <a:lstStyle/>
          <a:p>
            <a:fld id="{8B502147-0FBB-4BAE-8E11-C98715716641}" type="slidenum">
              <a:rPr lang="en-US" smtClean="0">
                <a:solidFill>
                  <a:srgbClr val="001E3E"/>
                </a:solidFill>
              </a:rPr>
              <a:pPr/>
              <a:t>‹#›</a:t>
            </a:fld>
            <a:endParaRPr lang="en-US">
              <a:solidFill>
                <a:srgbClr val="001E3E"/>
              </a:solidFill>
            </a:endParaRPr>
          </a:p>
        </p:txBody>
      </p:sp>
    </p:spTree>
    <p:extLst>
      <p:ext uri="{BB962C8B-B14F-4D97-AF65-F5344CB8AC3E}">
        <p14:creationId xmlns:p14="http://schemas.microsoft.com/office/powerpoint/2010/main" val="3275952505"/>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preserve="1" userDrawn="1">
  <p:cSld name="Thank you 1">
    <p:spTree>
      <p:nvGrpSpPr>
        <p:cNvPr id="1" name=""/>
        <p:cNvGrpSpPr/>
        <p:nvPr/>
      </p:nvGrpSpPr>
      <p:grpSpPr>
        <a:xfrm>
          <a:off x="0" y="0"/>
          <a:ext cx="0" cy="0"/>
          <a:chOff x="0" y="0"/>
          <a:chExt cx="0" cy="0"/>
        </a:xfrm>
      </p:grpSpPr>
      <p:sp>
        <p:nvSpPr>
          <p:cNvPr id="6" name="Bildplatzhalter 6">
            <a:extLst>
              <a:ext uri="{FF2B5EF4-FFF2-40B4-BE49-F238E27FC236}">
                <a16:creationId xmlns:a16="http://schemas.microsoft.com/office/drawing/2014/main" id="{DD9623DE-AA5A-4A69-8420-9B9D04676867}"/>
              </a:ext>
            </a:extLst>
          </p:cNvPr>
          <p:cNvSpPr>
            <a:spLocks noGrp="1"/>
          </p:cNvSpPr>
          <p:nvPr>
            <p:ph type="pic" sz="quarter" idx="13" hasCustomPrompt="1"/>
          </p:nvPr>
        </p:nvSpPr>
        <p:spPr>
          <a:xfrm>
            <a:off x="0" y="0"/>
            <a:ext cx="12192000" cy="6858000"/>
          </a:xfrm>
          <a:solidFill>
            <a:schemeClr val="bg1">
              <a:lumMod val="85000"/>
            </a:schemeClr>
          </a:solidFill>
        </p:spPr>
        <p:txBody>
          <a:bodyPr anchor="ctr"/>
          <a:lstStyle>
            <a:lvl1pPr marL="0" indent="0" algn="ctr">
              <a:buNone/>
              <a:defRPr/>
            </a:lvl1pPr>
          </a:lstStyle>
          <a:p>
            <a:r>
              <a:rPr lang="en-US" noProof="0" dirty="0"/>
              <a:t>Picture</a:t>
            </a:r>
          </a:p>
        </p:txBody>
      </p:sp>
      <p:sp>
        <p:nvSpPr>
          <p:cNvPr id="2" name="Title 1"/>
          <p:cNvSpPr>
            <a:spLocks noGrp="1"/>
          </p:cNvSpPr>
          <p:nvPr>
            <p:ph type="title" hasCustomPrompt="1"/>
          </p:nvPr>
        </p:nvSpPr>
        <p:spPr>
          <a:xfrm>
            <a:off x="575732" y="382059"/>
            <a:ext cx="8987368" cy="780787"/>
          </a:xfrm>
        </p:spPr>
        <p:txBody>
          <a:bodyPr/>
          <a:lstStyle>
            <a:lvl1pPr>
              <a:defRPr sz="3200" b="1">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006394186"/>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preserve="1" userDrawn="1">
  <p:cSld name="Thank you 2">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6DFC7605-B230-4EC3-9C0A-265AAF634C3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Freeform 5">
            <a:extLst>
              <a:ext uri="{FF2B5EF4-FFF2-40B4-BE49-F238E27FC236}">
                <a16:creationId xmlns:a16="http://schemas.microsoft.com/office/drawing/2014/main" id="{47C8BD19-C9A1-4075-B607-5C81A55A9BE4}"/>
              </a:ext>
            </a:extLst>
          </p:cNvPr>
          <p:cNvSpPr>
            <a:spLocks/>
          </p:cNvSpPr>
          <p:nvPr userDrawn="1"/>
        </p:nvSpPr>
        <p:spPr bwMode="auto">
          <a:xfrm>
            <a:off x="568669" y="3669027"/>
            <a:ext cx="4951267" cy="2461189"/>
          </a:xfrm>
          <a:custGeom>
            <a:avLst/>
            <a:gdLst>
              <a:gd name="T0" fmla="*/ 0 w 3258"/>
              <a:gd name="T1" fmla="*/ 0 h 2195"/>
              <a:gd name="T2" fmla="*/ 134 w 3258"/>
              <a:gd name="T3" fmla="*/ 2195 h 2195"/>
              <a:gd name="T4" fmla="*/ 3131 w 3258"/>
              <a:gd name="T5" fmla="*/ 2074 h 2195"/>
              <a:gd name="T6" fmla="*/ 3258 w 3258"/>
              <a:gd name="T7" fmla="*/ 0 h 2195"/>
              <a:gd name="T8" fmla="*/ 0 w 3258"/>
              <a:gd name="T9" fmla="*/ 0 h 2195"/>
              <a:gd name="connsiteX0" fmla="*/ 0 w 10000"/>
              <a:gd name="connsiteY0" fmla="*/ 0 h 9449"/>
              <a:gd name="connsiteX1" fmla="*/ 758 w 10000"/>
              <a:gd name="connsiteY1" fmla="*/ 8173 h 9449"/>
              <a:gd name="connsiteX2" fmla="*/ 9610 w 10000"/>
              <a:gd name="connsiteY2" fmla="*/ 9449 h 9449"/>
              <a:gd name="connsiteX3" fmla="*/ 10000 w 10000"/>
              <a:gd name="connsiteY3" fmla="*/ 0 h 9449"/>
              <a:gd name="connsiteX4" fmla="*/ 0 w 10000"/>
              <a:gd name="connsiteY4" fmla="*/ 0 h 9449"/>
              <a:gd name="connsiteX0" fmla="*/ 0 w 10000"/>
              <a:gd name="connsiteY0" fmla="*/ 0 h 8650"/>
              <a:gd name="connsiteX1" fmla="*/ 758 w 10000"/>
              <a:gd name="connsiteY1" fmla="*/ 8650 h 8650"/>
              <a:gd name="connsiteX2" fmla="*/ 8602 w 10000"/>
              <a:gd name="connsiteY2" fmla="*/ 8106 h 8650"/>
              <a:gd name="connsiteX3" fmla="*/ 10000 w 10000"/>
              <a:gd name="connsiteY3" fmla="*/ 0 h 8650"/>
              <a:gd name="connsiteX4" fmla="*/ 0 w 10000"/>
              <a:gd name="connsiteY4" fmla="*/ 0 h 8650"/>
              <a:gd name="connsiteX0" fmla="*/ 0 w 10000"/>
              <a:gd name="connsiteY0" fmla="*/ 0 h 10191"/>
              <a:gd name="connsiteX1" fmla="*/ 758 w 10000"/>
              <a:gd name="connsiteY1" fmla="*/ 10000 h 10191"/>
              <a:gd name="connsiteX2" fmla="*/ 9599 w 10000"/>
              <a:gd name="connsiteY2" fmla="*/ 10191 h 10191"/>
              <a:gd name="connsiteX3" fmla="*/ 10000 w 10000"/>
              <a:gd name="connsiteY3" fmla="*/ 0 h 10191"/>
              <a:gd name="connsiteX4" fmla="*/ 0 w 10000"/>
              <a:gd name="connsiteY4" fmla="*/ 0 h 10191"/>
              <a:gd name="connsiteX0" fmla="*/ 0 w 10000"/>
              <a:gd name="connsiteY0" fmla="*/ 0 h 10750"/>
              <a:gd name="connsiteX1" fmla="*/ 422 w 10000"/>
              <a:gd name="connsiteY1" fmla="*/ 10750 h 10750"/>
              <a:gd name="connsiteX2" fmla="*/ 9599 w 10000"/>
              <a:gd name="connsiteY2" fmla="*/ 10191 h 10750"/>
              <a:gd name="connsiteX3" fmla="*/ 10000 w 10000"/>
              <a:gd name="connsiteY3" fmla="*/ 0 h 10750"/>
              <a:gd name="connsiteX4" fmla="*/ 0 w 10000"/>
              <a:gd name="connsiteY4" fmla="*/ 0 h 10750"/>
              <a:gd name="connsiteX0" fmla="*/ 0 w 10000"/>
              <a:gd name="connsiteY0" fmla="*/ 0 h 10750"/>
              <a:gd name="connsiteX1" fmla="*/ 422 w 10000"/>
              <a:gd name="connsiteY1" fmla="*/ 10750 h 10750"/>
              <a:gd name="connsiteX2" fmla="*/ 9599 w 10000"/>
              <a:gd name="connsiteY2" fmla="*/ 10191 h 10750"/>
              <a:gd name="connsiteX3" fmla="*/ 10000 w 10000"/>
              <a:gd name="connsiteY3" fmla="*/ 0 h 10750"/>
              <a:gd name="connsiteX4" fmla="*/ 0 w 10000"/>
              <a:gd name="connsiteY4" fmla="*/ 0 h 10750"/>
              <a:gd name="connsiteX0" fmla="*/ 0 w 10000"/>
              <a:gd name="connsiteY0" fmla="*/ 0 h 10206"/>
              <a:gd name="connsiteX1" fmla="*/ 326 w 10000"/>
              <a:gd name="connsiteY1" fmla="*/ 9027 h 10206"/>
              <a:gd name="connsiteX2" fmla="*/ 9599 w 10000"/>
              <a:gd name="connsiteY2" fmla="*/ 10191 h 10206"/>
              <a:gd name="connsiteX3" fmla="*/ 10000 w 10000"/>
              <a:gd name="connsiteY3" fmla="*/ 0 h 10206"/>
              <a:gd name="connsiteX4" fmla="*/ 0 w 10000"/>
              <a:gd name="connsiteY4" fmla="*/ 0 h 10206"/>
              <a:gd name="connsiteX0" fmla="*/ 0 w 10000"/>
              <a:gd name="connsiteY0" fmla="*/ 0 h 9027"/>
              <a:gd name="connsiteX1" fmla="*/ 326 w 10000"/>
              <a:gd name="connsiteY1" fmla="*/ 9027 h 9027"/>
              <a:gd name="connsiteX2" fmla="*/ 9471 w 10000"/>
              <a:gd name="connsiteY2" fmla="*/ 7396 h 9027"/>
              <a:gd name="connsiteX3" fmla="*/ 10000 w 10000"/>
              <a:gd name="connsiteY3" fmla="*/ 0 h 9027"/>
              <a:gd name="connsiteX4" fmla="*/ 0 w 10000"/>
              <a:gd name="connsiteY4" fmla="*/ 0 h 9027"/>
              <a:gd name="connsiteX0" fmla="*/ 0 w 10000"/>
              <a:gd name="connsiteY0" fmla="*/ 0 h 10000"/>
              <a:gd name="connsiteX1" fmla="*/ 326 w 10000"/>
              <a:gd name="connsiteY1" fmla="*/ 10000 h 10000"/>
              <a:gd name="connsiteX2" fmla="*/ 9586 w 10000"/>
              <a:gd name="connsiteY2" fmla="*/ 9044 h 10000"/>
              <a:gd name="connsiteX3" fmla="*/ 10000 w 10000"/>
              <a:gd name="connsiteY3" fmla="*/ 0 h 10000"/>
              <a:gd name="connsiteX4" fmla="*/ 0 w 10000"/>
              <a:gd name="connsiteY4" fmla="*/ 0 h 10000"/>
              <a:gd name="connsiteX0" fmla="*/ 0 w 10000"/>
              <a:gd name="connsiteY0" fmla="*/ 0 h 10000"/>
              <a:gd name="connsiteX1" fmla="*/ 326 w 10000"/>
              <a:gd name="connsiteY1" fmla="*/ 10000 h 10000"/>
              <a:gd name="connsiteX2" fmla="*/ 9586 w 10000"/>
              <a:gd name="connsiteY2" fmla="*/ 9044 h 10000"/>
              <a:gd name="connsiteX3" fmla="*/ 10000 w 10000"/>
              <a:gd name="connsiteY3" fmla="*/ 0 h 10000"/>
              <a:gd name="connsiteX4" fmla="*/ 0 w 10000"/>
              <a:gd name="connsiteY4" fmla="*/ 0 h 10000"/>
              <a:gd name="connsiteX0" fmla="*/ 0 w 10000"/>
              <a:gd name="connsiteY0" fmla="*/ 0 h 10000"/>
              <a:gd name="connsiteX1" fmla="*/ 326 w 10000"/>
              <a:gd name="connsiteY1" fmla="*/ 10000 h 10000"/>
              <a:gd name="connsiteX2" fmla="*/ 9586 w 10000"/>
              <a:gd name="connsiteY2" fmla="*/ 9044 h 10000"/>
              <a:gd name="connsiteX3" fmla="*/ 10000 w 10000"/>
              <a:gd name="connsiteY3" fmla="*/ 0 h 10000"/>
              <a:gd name="connsiteX4" fmla="*/ 0 w 10000"/>
              <a:gd name="connsiteY4" fmla="*/ 0 h 10000"/>
              <a:gd name="connsiteX0" fmla="*/ 0 w 10000"/>
              <a:gd name="connsiteY0" fmla="*/ 0 h 10000"/>
              <a:gd name="connsiteX1" fmla="*/ 326 w 10000"/>
              <a:gd name="connsiteY1" fmla="*/ 10000 h 10000"/>
              <a:gd name="connsiteX2" fmla="*/ 9586 w 10000"/>
              <a:gd name="connsiteY2" fmla="*/ 9044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cubicBezTo>
                  <a:pt x="109" y="3333"/>
                  <a:pt x="217" y="6667"/>
                  <a:pt x="326" y="10000"/>
                </a:cubicBezTo>
                <a:lnTo>
                  <a:pt x="9586" y="9044"/>
                </a:lnTo>
                <a:lnTo>
                  <a:pt x="10000" y="0"/>
                </a:lnTo>
                <a:lnTo>
                  <a:pt x="0" y="0"/>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de-DE" sz="2400">
              <a:solidFill>
                <a:srgbClr val="001E3E"/>
              </a:solidFill>
            </a:endParaRPr>
          </a:p>
        </p:txBody>
      </p:sp>
      <p:sp>
        <p:nvSpPr>
          <p:cNvPr id="2" name="Title 1"/>
          <p:cNvSpPr>
            <a:spLocks noGrp="1"/>
          </p:cNvSpPr>
          <p:nvPr>
            <p:ph type="title" hasCustomPrompt="1"/>
          </p:nvPr>
        </p:nvSpPr>
        <p:spPr>
          <a:xfrm>
            <a:off x="1189086" y="4332635"/>
            <a:ext cx="3994813" cy="1448627"/>
          </a:xfrm>
        </p:spPr>
        <p:txBody>
          <a:bodyPr/>
          <a:lstStyle>
            <a:lvl1pPr>
              <a:lnSpc>
                <a:spcPct val="80000"/>
              </a:lnSpc>
              <a:defRPr sz="4800" b="1">
                <a:solidFill>
                  <a:schemeClr val="accent1"/>
                </a:solidFill>
              </a:defRPr>
            </a:lvl1pPr>
          </a:lstStyle>
          <a:p>
            <a:r>
              <a:rPr lang="en-US" noProof="0" dirty="0"/>
              <a:t>Text</a:t>
            </a:r>
          </a:p>
        </p:txBody>
      </p:sp>
    </p:spTree>
    <p:extLst>
      <p:ext uri="{BB962C8B-B14F-4D97-AF65-F5344CB8AC3E}">
        <p14:creationId xmlns:p14="http://schemas.microsoft.com/office/powerpoint/2010/main" val="367088412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2/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4433"/>
            <a:ext cx="10932181" cy="648964"/>
          </a:xfrm>
        </p:spPr>
        <p:txBody>
          <a:bodyPr wrap="square" anchor="t" anchorCtr="0">
            <a:noAutofit/>
          </a:bodyPr>
          <a:lstStyle>
            <a:lvl1pPr>
              <a:defRPr>
                <a:solidFill>
                  <a:schemeClr val="bg1"/>
                </a:solidFill>
              </a:defRPr>
            </a:lvl1pPr>
          </a:lstStyle>
          <a:p>
            <a:r>
              <a:rPr lang="en-GB" dirty="0"/>
              <a:t>Headline for presentation</a:t>
            </a:r>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32251358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113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srgbClr val="001E3E"/>
              </a:solidFill>
            </a:endParaRPr>
          </a:p>
        </p:txBody>
      </p:sp>
      <p:sp>
        <p:nvSpPr>
          <p:cNvPr id="3" name="Footer Placeholder 2"/>
          <p:cNvSpPr>
            <a:spLocks noGrp="1"/>
          </p:cNvSpPr>
          <p:nvPr>
            <p:ph type="ftr" sz="quarter" idx="11"/>
          </p:nvPr>
        </p:nvSpPr>
        <p:spPr/>
        <p:txBody>
          <a:bodyPr/>
          <a:lstStyle/>
          <a:p>
            <a:endParaRPr lang="en-US">
              <a:solidFill>
                <a:srgbClr val="001E3E"/>
              </a:solidFill>
            </a:endParaRPr>
          </a:p>
        </p:txBody>
      </p:sp>
      <p:sp>
        <p:nvSpPr>
          <p:cNvPr id="4" name="Slide Number Placeholder 3"/>
          <p:cNvSpPr>
            <a:spLocks noGrp="1"/>
          </p:cNvSpPr>
          <p:nvPr>
            <p:ph type="sldNum" sz="quarter" idx="12"/>
          </p:nvPr>
        </p:nvSpPr>
        <p:spPr/>
        <p:txBody>
          <a:bodyPr/>
          <a:lstStyle/>
          <a:p>
            <a:fld id="{8B502147-0FBB-4BAE-8E11-C98715716641}" type="slidenum">
              <a:rPr lang="en-US" smtClean="0">
                <a:solidFill>
                  <a:srgbClr val="001E3E"/>
                </a:solidFill>
              </a:rPr>
              <a:pPr/>
              <a:t>‹#›</a:t>
            </a:fld>
            <a:endParaRPr lang="en-US">
              <a:solidFill>
                <a:srgbClr val="001E3E"/>
              </a:solidFill>
            </a:endParaRPr>
          </a:p>
        </p:txBody>
      </p:sp>
    </p:spTree>
    <p:extLst>
      <p:ext uri="{BB962C8B-B14F-4D97-AF65-F5344CB8AC3E}">
        <p14:creationId xmlns:p14="http://schemas.microsoft.com/office/powerpoint/2010/main" val="2886623185"/>
      </p:ext>
    </p:extLst>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showMasterSp="0" userDrawn="1">
  <p:cSld name="Contengt_Gri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1BB0BABF-4D0B-4B50-B5DD-6F1B2C498084}"/>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b="60251"/>
          <a:stretch/>
        </p:blipFill>
        <p:spPr>
          <a:xfrm>
            <a:off x="0" y="0"/>
            <a:ext cx="12192000" cy="6858000"/>
          </a:xfrm>
          <a:prstGeom prst="rect">
            <a:avLst/>
          </a:prstGeom>
        </p:spPr>
      </p:pic>
      <p:sp>
        <p:nvSpPr>
          <p:cNvPr id="4" name="Inhaltsplatzhalter 3">
            <a:extLst>
              <a:ext uri="{FF2B5EF4-FFF2-40B4-BE49-F238E27FC236}">
                <a16:creationId xmlns:a16="http://schemas.microsoft.com/office/drawing/2014/main" id="{E8622F02-2C07-425D-B92A-180577AD9FBD}"/>
              </a:ext>
            </a:extLst>
          </p:cNvPr>
          <p:cNvSpPr>
            <a:spLocks noGrp="1"/>
          </p:cNvSpPr>
          <p:nvPr>
            <p:ph sz="quarter" idx="10" hasCustomPrompt="1"/>
          </p:nvPr>
        </p:nvSpPr>
        <p:spPr bwMode="gray">
          <a:xfrm>
            <a:off x="1" y="1"/>
            <a:ext cx="12203185" cy="1411817"/>
          </a:xfrm>
          <a:custGeom>
            <a:avLst/>
            <a:gdLst>
              <a:gd name="connsiteX0" fmla="*/ 0 w 9144000"/>
              <a:gd name="connsiteY0" fmla="*/ 0 h 1058863"/>
              <a:gd name="connsiteX1" fmla="*/ 9144000 w 9144000"/>
              <a:gd name="connsiteY1" fmla="*/ 0 h 1058863"/>
              <a:gd name="connsiteX2" fmla="*/ 9144000 w 9144000"/>
              <a:gd name="connsiteY2" fmla="*/ 1058863 h 1058863"/>
              <a:gd name="connsiteX3" fmla="*/ 0 w 9144000"/>
              <a:gd name="connsiteY3" fmla="*/ 1058863 h 1058863"/>
              <a:gd name="connsiteX4" fmla="*/ 0 w 9144000"/>
              <a:gd name="connsiteY4" fmla="*/ 0 h 1058863"/>
              <a:gd name="connsiteX0" fmla="*/ 0 w 9152389"/>
              <a:gd name="connsiteY0" fmla="*/ 0 h 1058863"/>
              <a:gd name="connsiteX1" fmla="*/ 9144000 w 9152389"/>
              <a:gd name="connsiteY1" fmla="*/ 0 h 1058863"/>
              <a:gd name="connsiteX2" fmla="*/ 9152389 w 9152389"/>
              <a:gd name="connsiteY2" fmla="*/ 723303 h 1058863"/>
              <a:gd name="connsiteX3" fmla="*/ 0 w 9152389"/>
              <a:gd name="connsiteY3" fmla="*/ 1058863 h 1058863"/>
              <a:gd name="connsiteX4" fmla="*/ 0 w 9152389"/>
              <a:gd name="connsiteY4" fmla="*/ 0 h 1058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2389" h="1058863">
                <a:moveTo>
                  <a:pt x="0" y="0"/>
                </a:moveTo>
                <a:lnTo>
                  <a:pt x="9144000" y="0"/>
                </a:lnTo>
                <a:cubicBezTo>
                  <a:pt x="9146796" y="241101"/>
                  <a:pt x="9149593" y="482202"/>
                  <a:pt x="9152389" y="723303"/>
                </a:cubicBezTo>
                <a:lnTo>
                  <a:pt x="0" y="1058863"/>
                </a:lnTo>
                <a:lnTo>
                  <a:pt x="0" y="0"/>
                </a:lnTo>
                <a:close/>
              </a:path>
            </a:pathLst>
          </a:custGeom>
          <a:ln>
            <a:noFill/>
          </a:ln>
          <a:effectLst>
            <a:outerShdw blurRad="635000" dist="1270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32000" tIns="144000" rtlCol="0" anchor="t" anchorCtr="0"/>
          <a:lstStyle>
            <a:lvl1pPr marL="0" indent="0">
              <a:buNone/>
              <a:defRPr lang="de-DE" sz="3200" b="1" cap="all" dirty="0" smtClean="0">
                <a:solidFill>
                  <a:schemeClr val="lt1"/>
                </a:solidFill>
              </a:defRPr>
            </a:lvl1pPr>
          </a:lstStyle>
          <a:p>
            <a:pPr marL="0" lvl="0"/>
            <a:r>
              <a:rPr lang="de-DE" dirty="0" err="1"/>
              <a:t>TitEl</a:t>
            </a:r>
            <a:endParaRPr lang="de-DE" dirty="0"/>
          </a:p>
        </p:txBody>
      </p:sp>
    </p:spTree>
    <p:extLst>
      <p:ext uri="{BB962C8B-B14F-4D97-AF65-F5344CB8AC3E}">
        <p14:creationId xmlns:p14="http://schemas.microsoft.com/office/powerpoint/2010/main" val="2405907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2.xml><?xml version="1.0" encoding="utf-8"?>
<p:sldLayout xmlns:a="http://schemas.openxmlformats.org/drawingml/2006/main" xmlns:r="http://schemas.openxmlformats.org/officeDocument/2006/relationships" xmlns:p="http://schemas.openxmlformats.org/presentationml/2006/main" showMasterSp="0" userDrawn="1">
  <p:cSld name="3_KITT_Blue">
    <p:bg>
      <p:bgPr>
        <a:solidFill>
          <a:srgbClr val="337693"/>
        </a:solidFill>
        <a:effectLst/>
      </p:bgPr>
    </p:bg>
    <p:spTree>
      <p:nvGrpSpPr>
        <p:cNvPr id="1" name=""/>
        <p:cNvGrpSpPr/>
        <p:nvPr/>
      </p:nvGrpSpPr>
      <p:grpSpPr>
        <a:xfrm>
          <a:off x="0" y="0"/>
          <a:ext cx="0" cy="0"/>
          <a:chOff x="0" y="0"/>
          <a:chExt cx="0" cy="0"/>
        </a:xfrm>
      </p:grpSpPr>
      <p:sp>
        <p:nvSpPr>
          <p:cNvPr id="8" name="Inhaltsplatzhalter 3">
            <a:extLst>
              <a:ext uri="{FF2B5EF4-FFF2-40B4-BE49-F238E27FC236}">
                <a16:creationId xmlns:a16="http://schemas.microsoft.com/office/drawing/2014/main" id="{964DCD15-F37F-47D8-A21E-6AE7697CC054}"/>
              </a:ext>
            </a:extLst>
          </p:cNvPr>
          <p:cNvSpPr>
            <a:spLocks noGrp="1"/>
          </p:cNvSpPr>
          <p:nvPr>
            <p:ph sz="quarter" idx="10" hasCustomPrompt="1"/>
          </p:nvPr>
        </p:nvSpPr>
        <p:spPr bwMode="gray">
          <a:xfrm>
            <a:off x="1" y="1"/>
            <a:ext cx="12203185" cy="1411817"/>
          </a:xfrm>
          <a:custGeom>
            <a:avLst/>
            <a:gdLst>
              <a:gd name="connsiteX0" fmla="*/ 0 w 9144000"/>
              <a:gd name="connsiteY0" fmla="*/ 0 h 1058863"/>
              <a:gd name="connsiteX1" fmla="*/ 9144000 w 9144000"/>
              <a:gd name="connsiteY1" fmla="*/ 0 h 1058863"/>
              <a:gd name="connsiteX2" fmla="*/ 9144000 w 9144000"/>
              <a:gd name="connsiteY2" fmla="*/ 1058863 h 1058863"/>
              <a:gd name="connsiteX3" fmla="*/ 0 w 9144000"/>
              <a:gd name="connsiteY3" fmla="*/ 1058863 h 1058863"/>
              <a:gd name="connsiteX4" fmla="*/ 0 w 9144000"/>
              <a:gd name="connsiteY4" fmla="*/ 0 h 1058863"/>
              <a:gd name="connsiteX0" fmla="*/ 0 w 9152389"/>
              <a:gd name="connsiteY0" fmla="*/ 0 h 1058863"/>
              <a:gd name="connsiteX1" fmla="*/ 9144000 w 9152389"/>
              <a:gd name="connsiteY1" fmla="*/ 0 h 1058863"/>
              <a:gd name="connsiteX2" fmla="*/ 9152389 w 9152389"/>
              <a:gd name="connsiteY2" fmla="*/ 723303 h 1058863"/>
              <a:gd name="connsiteX3" fmla="*/ 0 w 9152389"/>
              <a:gd name="connsiteY3" fmla="*/ 1058863 h 1058863"/>
              <a:gd name="connsiteX4" fmla="*/ 0 w 9152389"/>
              <a:gd name="connsiteY4" fmla="*/ 0 h 1058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2389" h="1058863">
                <a:moveTo>
                  <a:pt x="0" y="0"/>
                </a:moveTo>
                <a:lnTo>
                  <a:pt x="9144000" y="0"/>
                </a:lnTo>
                <a:cubicBezTo>
                  <a:pt x="9146796" y="241101"/>
                  <a:pt x="9149593" y="482202"/>
                  <a:pt x="9152389" y="723303"/>
                </a:cubicBezTo>
                <a:lnTo>
                  <a:pt x="0" y="1058863"/>
                </a:lnTo>
                <a:lnTo>
                  <a:pt x="0" y="0"/>
                </a:lnTo>
                <a:close/>
              </a:path>
            </a:pathLst>
          </a:custGeom>
          <a:ln>
            <a:noFill/>
          </a:ln>
          <a:effectLst>
            <a:outerShdw blurRad="635000" dist="1270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32000" tIns="144000" rtlCol="0" anchor="t" anchorCtr="0"/>
          <a:lstStyle>
            <a:lvl1pPr marL="0" indent="0">
              <a:buNone/>
              <a:defRPr lang="de-DE" sz="3200" b="1" cap="all" dirty="0" smtClean="0">
                <a:solidFill>
                  <a:schemeClr val="lt1"/>
                </a:solidFill>
              </a:defRPr>
            </a:lvl1pPr>
          </a:lstStyle>
          <a:p>
            <a:pPr marL="0" lvl="0"/>
            <a:r>
              <a:rPr lang="de-DE" dirty="0" err="1"/>
              <a:t>TitEl</a:t>
            </a:r>
            <a:endParaRPr lang="de-DE" dirty="0"/>
          </a:p>
        </p:txBody>
      </p:sp>
    </p:spTree>
    <p:extLst>
      <p:ext uri="{BB962C8B-B14F-4D97-AF65-F5344CB8AC3E}">
        <p14:creationId xmlns:p14="http://schemas.microsoft.com/office/powerpoint/2010/main" val="4202789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3.xml><?xml version="1.0" encoding="utf-8"?>
<p:sldLayout xmlns:a="http://schemas.openxmlformats.org/drawingml/2006/main" xmlns:r="http://schemas.openxmlformats.org/officeDocument/2006/relationships" xmlns:p="http://schemas.openxmlformats.org/presentationml/2006/main" showMasterSp="0" userDrawn="1">
  <p:cSld name="Nam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1BB0BABF-4D0B-4B50-B5DD-6F1B2C498084}"/>
              </a:ext>
            </a:extLst>
          </p:cNvPr>
          <p:cNvPicPr>
            <a:picLocks noChangeAspect="1"/>
          </p:cNvPicPr>
          <p:nvPr userDrawn="1"/>
        </p:nvPicPr>
        <p:blipFill rotWithShape="1">
          <a:blip r:embed="rId2">
            <a:extLst>
              <a:ext uri="{96DAC541-7B7A-43D3-8B79-37D633B846F1}">
                <asvg:svgBlip xmlns="" xmlns:asvg="http://schemas.microsoft.com/office/drawing/2016/SVG/main" r:embed="rId3"/>
              </a:ext>
            </a:extLst>
          </a:blip>
          <a:srcRect b="60251"/>
          <a:stretch/>
        </p:blipFill>
        <p:spPr>
          <a:xfrm>
            <a:off x="6388" y="0"/>
            <a:ext cx="12192000" cy="6858000"/>
          </a:xfrm>
          <a:prstGeom prst="rect">
            <a:avLst/>
          </a:prstGeom>
        </p:spPr>
      </p:pic>
      <p:sp>
        <p:nvSpPr>
          <p:cNvPr id="9" name="Freihandform: Form 8">
            <a:extLst>
              <a:ext uri="{FF2B5EF4-FFF2-40B4-BE49-F238E27FC236}">
                <a16:creationId xmlns:a16="http://schemas.microsoft.com/office/drawing/2014/main" id="{93235CF2-BA08-4E94-A295-D2238DE79657}"/>
              </a:ext>
            </a:extLst>
          </p:cNvPr>
          <p:cNvSpPr/>
          <p:nvPr userDrawn="1"/>
        </p:nvSpPr>
        <p:spPr>
          <a:xfrm>
            <a:off x="2708399" y="4109678"/>
            <a:ext cx="6473268" cy="1825103"/>
          </a:xfrm>
          <a:custGeom>
            <a:avLst/>
            <a:gdLst>
              <a:gd name="connsiteX0" fmla="*/ 196489 w 4854951"/>
              <a:gd name="connsiteY0" fmla="*/ 0 h 1368827"/>
              <a:gd name="connsiteX1" fmla="*/ 4854951 w 4854951"/>
              <a:gd name="connsiteY1" fmla="*/ 417867 h 1368827"/>
              <a:gd name="connsiteX2" fmla="*/ 4854951 w 4854951"/>
              <a:gd name="connsiteY2" fmla="*/ 1029857 h 1368827"/>
              <a:gd name="connsiteX3" fmla="*/ 0 w 4854951"/>
              <a:gd name="connsiteY3" fmla="*/ 1368827 h 1368827"/>
              <a:gd name="connsiteX4" fmla="*/ 1373 w 4854951"/>
              <a:gd name="connsiteY4" fmla="*/ 1338940 h 1368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4951" h="1368827">
                <a:moveTo>
                  <a:pt x="196489" y="0"/>
                </a:moveTo>
                <a:lnTo>
                  <a:pt x="4854951" y="417867"/>
                </a:lnTo>
                <a:lnTo>
                  <a:pt x="4854951" y="1029857"/>
                </a:lnTo>
                <a:lnTo>
                  <a:pt x="0" y="1368827"/>
                </a:lnTo>
                <a:lnTo>
                  <a:pt x="1373" y="133894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endParaRPr lang="de-DE" sz="3200" b="1" dirty="0">
              <a:solidFill>
                <a:srgbClr val="337693"/>
              </a:solidFill>
            </a:endParaRPr>
          </a:p>
        </p:txBody>
      </p:sp>
      <p:sp>
        <p:nvSpPr>
          <p:cNvPr id="11" name="Logo">
            <a:extLst>
              <a:ext uri="{FF2B5EF4-FFF2-40B4-BE49-F238E27FC236}">
                <a16:creationId xmlns:a16="http://schemas.microsoft.com/office/drawing/2014/main" id="{47D8AE0F-3618-43FB-A911-89924DF3BE34}"/>
              </a:ext>
            </a:extLst>
          </p:cNvPr>
          <p:cNvSpPr>
            <a:spLocks noGrp="1"/>
          </p:cNvSpPr>
          <p:nvPr>
            <p:ph type="pic" sz="quarter" idx="11" hasCustomPrompt="1"/>
          </p:nvPr>
        </p:nvSpPr>
        <p:spPr>
          <a:xfrm>
            <a:off x="2430963" y="325967"/>
            <a:ext cx="7314171" cy="4639733"/>
          </a:xfrm>
          <a:noFill/>
        </p:spPr>
        <p:txBody>
          <a:bodyPr anchor="ctr" anchorCtr="0"/>
          <a:lstStyle>
            <a:lvl1pPr marL="0" indent="0" algn="ctr">
              <a:buNone/>
              <a:defRPr/>
            </a:lvl1pPr>
          </a:lstStyle>
          <a:p>
            <a:r>
              <a:rPr lang="de-DE" dirty="0"/>
              <a:t>Logo</a:t>
            </a:r>
          </a:p>
        </p:txBody>
      </p:sp>
      <p:sp>
        <p:nvSpPr>
          <p:cNvPr id="2" name="Titel 1">
            <a:extLst>
              <a:ext uri="{FF2B5EF4-FFF2-40B4-BE49-F238E27FC236}">
                <a16:creationId xmlns:a16="http://schemas.microsoft.com/office/drawing/2014/main" id="{B26F0B9A-14B8-497B-A2FA-ADA8816E9F8E}"/>
              </a:ext>
            </a:extLst>
          </p:cNvPr>
          <p:cNvSpPr>
            <a:spLocks noGrp="1"/>
          </p:cNvSpPr>
          <p:nvPr>
            <p:ph type="title" hasCustomPrompt="1"/>
          </p:nvPr>
        </p:nvSpPr>
        <p:spPr>
          <a:xfrm>
            <a:off x="3204631" y="4685364"/>
            <a:ext cx="5977036" cy="486405"/>
          </a:xfrm>
        </p:spPr>
        <p:txBody>
          <a:bodyPr/>
          <a:lstStyle>
            <a:lvl1pPr>
              <a:defRPr sz="3200">
                <a:solidFill>
                  <a:schemeClr val="bg1"/>
                </a:solidFill>
              </a:defRPr>
            </a:lvl1pPr>
          </a:lstStyle>
          <a:p>
            <a:r>
              <a:rPr lang="de-DE" dirty="0"/>
              <a:t>Name</a:t>
            </a:r>
          </a:p>
        </p:txBody>
      </p:sp>
      <p:sp>
        <p:nvSpPr>
          <p:cNvPr id="4" name="Textplatzhalter 3">
            <a:extLst>
              <a:ext uri="{FF2B5EF4-FFF2-40B4-BE49-F238E27FC236}">
                <a16:creationId xmlns:a16="http://schemas.microsoft.com/office/drawing/2014/main" id="{3F35E23B-672E-48A3-BCEA-3ADD641B8BCC}"/>
              </a:ext>
            </a:extLst>
          </p:cNvPr>
          <p:cNvSpPr>
            <a:spLocks noGrp="1"/>
          </p:cNvSpPr>
          <p:nvPr>
            <p:ph type="body" sz="quarter" idx="10" hasCustomPrompt="1"/>
          </p:nvPr>
        </p:nvSpPr>
        <p:spPr>
          <a:xfrm>
            <a:off x="3204632" y="5098709"/>
            <a:ext cx="2976033" cy="411956"/>
          </a:xfrm>
        </p:spPr>
        <p:txBody>
          <a:bodyPr/>
          <a:lstStyle>
            <a:lvl1pPr marL="0" indent="0">
              <a:buNone/>
              <a:defRPr>
                <a:solidFill>
                  <a:schemeClr val="bg1"/>
                </a:solidFill>
              </a:defRPr>
            </a:lvl1pPr>
            <a:lvl2pPr marL="241294" indent="0">
              <a:buNone/>
              <a:defRPr>
                <a:solidFill>
                  <a:schemeClr val="accent1"/>
                </a:solidFill>
              </a:defRPr>
            </a:lvl2pPr>
            <a:lvl3pPr marL="476237" indent="0">
              <a:buNone/>
              <a:defRPr>
                <a:solidFill>
                  <a:schemeClr val="accent1"/>
                </a:solidFill>
              </a:defRPr>
            </a:lvl3pPr>
            <a:lvl4pPr marL="715415" indent="0">
              <a:buNone/>
              <a:defRPr>
                <a:solidFill>
                  <a:schemeClr val="accent1"/>
                </a:solidFill>
              </a:defRPr>
            </a:lvl4pPr>
            <a:lvl5pPr marL="956709" indent="0">
              <a:buNone/>
              <a:defRPr>
                <a:solidFill>
                  <a:schemeClr val="accent1"/>
                </a:solidFill>
              </a:defRPr>
            </a:lvl5pPr>
          </a:lstStyle>
          <a:p>
            <a:pPr lvl="0"/>
            <a:r>
              <a:rPr lang="de-DE" dirty="0"/>
              <a:t>Titel</a:t>
            </a:r>
          </a:p>
        </p:txBody>
      </p:sp>
    </p:spTree>
    <p:extLst>
      <p:ext uri="{BB962C8B-B14F-4D97-AF65-F5344CB8AC3E}">
        <p14:creationId xmlns:p14="http://schemas.microsoft.com/office/powerpoint/2010/main" val="1470647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4.xml><?xml version="1.0" encoding="utf-8"?>
<p:sldLayout xmlns:a="http://schemas.openxmlformats.org/drawingml/2006/main" xmlns:r="http://schemas.openxmlformats.org/officeDocument/2006/relationships" xmlns:p="http://schemas.openxmlformats.org/presentationml/2006/main" showMasterSp="0" userDrawn="1">
  <p:cSld name="1_Divider 12">
    <p:spTree>
      <p:nvGrpSpPr>
        <p:cNvPr id="1" name=""/>
        <p:cNvGrpSpPr/>
        <p:nvPr/>
      </p:nvGrpSpPr>
      <p:grpSpPr>
        <a:xfrm>
          <a:off x="0" y="0"/>
          <a:ext cx="0" cy="0"/>
          <a:chOff x="0" y="0"/>
          <a:chExt cx="0" cy="0"/>
        </a:xfrm>
      </p:grpSpPr>
      <p:sp>
        <p:nvSpPr>
          <p:cNvPr id="8" name="Bildplatzhalter 6">
            <a:extLst>
              <a:ext uri="{FF2B5EF4-FFF2-40B4-BE49-F238E27FC236}">
                <a16:creationId xmlns:a16="http://schemas.microsoft.com/office/drawing/2014/main" id="{BF7B0546-EF62-4714-AAAD-A2FE9E5F30BA}"/>
              </a:ext>
            </a:extLst>
          </p:cNvPr>
          <p:cNvSpPr>
            <a:spLocks noGrp="1"/>
          </p:cNvSpPr>
          <p:nvPr>
            <p:ph type="pic" sz="quarter" idx="13" hasCustomPrompt="1"/>
          </p:nvPr>
        </p:nvSpPr>
        <p:spPr>
          <a:xfrm>
            <a:off x="0" y="0"/>
            <a:ext cx="12192000" cy="6858000"/>
          </a:xfrm>
          <a:solidFill>
            <a:schemeClr val="bg1">
              <a:lumMod val="85000"/>
            </a:schemeClr>
          </a:solidFill>
        </p:spPr>
        <p:txBody>
          <a:bodyPr anchor="ctr"/>
          <a:lstStyle>
            <a:lvl1pPr marL="0" indent="0" algn="ctr">
              <a:buNone/>
              <a:defRPr/>
            </a:lvl1pPr>
          </a:lstStyle>
          <a:p>
            <a:r>
              <a:rPr lang="en-US" noProof="0" dirty="0"/>
              <a:t>Picture</a:t>
            </a:r>
          </a:p>
        </p:txBody>
      </p:sp>
      <p:sp>
        <p:nvSpPr>
          <p:cNvPr id="2" name="Title 1"/>
          <p:cNvSpPr>
            <a:spLocks noGrp="1"/>
          </p:cNvSpPr>
          <p:nvPr>
            <p:ph type="ctrTitle" hasCustomPrompt="1"/>
          </p:nvPr>
        </p:nvSpPr>
        <p:spPr bwMode="gray">
          <a:xfrm>
            <a:off x="550176" y="567732"/>
            <a:ext cx="8618165" cy="5693369"/>
          </a:xfrm>
          <a:custGeom>
            <a:avLst/>
            <a:gdLst>
              <a:gd name="connsiteX0" fmla="*/ 0 w 4162735"/>
              <a:gd name="connsiteY0" fmla="*/ 0 h 2804145"/>
              <a:gd name="connsiteX1" fmla="*/ 4162735 w 4162735"/>
              <a:gd name="connsiteY1" fmla="*/ 0 h 2804145"/>
              <a:gd name="connsiteX2" fmla="*/ 4162735 w 4162735"/>
              <a:gd name="connsiteY2" fmla="*/ 2804145 h 2804145"/>
              <a:gd name="connsiteX3" fmla="*/ 0 w 4162735"/>
              <a:gd name="connsiteY3" fmla="*/ 2804145 h 2804145"/>
              <a:gd name="connsiteX4" fmla="*/ 0 w 4162735"/>
              <a:gd name="connsiteY4" fmla="*/ 0 h 2804145"/>
              <a:gd name="connsiteX0" fmla="*/ 0 w 4162735"/>
              <a:gd name="connsiteY0" fmla="*/ 0 h 2804145"/>
              <a:gd name="connsiteX1" fmla="*/ 4162735 w 4162735"/>
              <a:gd name="connsiteY1" fmla="*/ 0 h 2804145"/>
              <a:gd name="connsiteX2" fmla="*/ 4162735 w 4162735"/>
              <a:gd name="connsiteY2" fmla="*/ 2804145 h 2804145"/>
              <a:gd name="connsiteX3" fmla="*/ 171450 w 4162735"/>
              <a:gd name="connsiteY3" fmla="*/ 2800970 h 2804145"/>
              <a:gd name="connsiteX4" fmla="*/ 0 w 4162735"/>
              <a:gd name="connsiteY4" fmla="*/ 0 h 2804145"/>
              <a:gd name="connsiteX0" fmla="*/ 0 w 4162735"/>
              <a:gd name="connsiteY0" fmla="*/ 0 h 2800970"/>
              <a:gd name="connsiteX1" fmla="*/ 4162735 w 4162735"/>
              <a:gd name="connsiteY1" fmla="*/ 0 h 2800970"/>
              <a:gd name="connsiteX2" fmla="*/ 3988110 w 4162735"/>
              <a:gd name="connsiteY2" fmla="*/ 2645395 h 2800970"/>
              <a:gd name="connsiteX3" fmla="*/ 171450 w 4162735"/>
              <a:gd name="connsiteY3" fmla="*/ 2800970 h 2800970"/>
              <a:gd name="connsiteX4" fmla="*/ 0 w 4162735"/>
              <a:gd name="connsiteY4" fmla="*/ 0 h 2800970"/>
              <a:gd name="connsiteX0" fmla="*/ 0 w 4162735"/>
              <a:gd name="connsiteY0" fmla="*/ 0 h 2800970"/>
              <a:gd name="connsiteX1" fmla="*/ 4162735 w 4162735"/>
              <a:gd name="connsiteY1" fmla="*/ 0 h 2800970"/>
              <a:gd name="connsiteX2" fmla="*/ 3988110 w 4162735"/>
              <a:gd name="connsiteY2" fmla="*/ 2465657 h 2800970"/>
              <a:gd name="connsiteX3" fmla="*/ 171450 w 4162735"/>
              <a:gd name="connsiteY3" fmla="*/ 2800970 h 2800970"/>
              <a:gd name="connsiteX4" fmla="*/ 0 w 4162735"/>
              <a:gd name="connsiteY4" fmla="*/ 0 h 2800970"/>
              <a:gd name="connsiteX0" fmla="*/ 0 w 4162735"/>
              <a:gd name="connsiteY0" fmla="*/ 0 h 2617325"/>
              <a:gd name="connsiteX1" fmla="*/ 4162735 w 4162735"/>
              <a:gd name="connsiteY1" fmla="*/ 0 h 2617325"/>
              <a:gd name="connsiteX2" fmla="*/ 3988110 w 4162735"/>
              <a:gd name="connsiteY2" fmla="*/ 2465657 h 2617325"/>
              <a:gd name="connsiteX3" fmla="*/ 179265 w 4162735"/>
              <a:gd name="connsiteY3" fmla="*/ 2617325 h 2617325"/>
              <a:gd name="connsiteX4" fmla="*/ 0 w 4162735"/>
              <a:gd name="connsiteY4" fmla="*/ 0 h 2617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2735" h="2617325">
                <a:moveTo>
                  <a:pt x="0" y="0"/>
                </a:moveTo>
                <a:lnTo>
                  <a:pt x="4162735" y="0"/>
                </a:lnTo>
                <a:lnTo>
                  <a:pt x="3988110" y="2465657"/>
                </a:lnTo>
                <a:lnTo>
                  <a:pt x="179265" y="2617325"/>
                </a:lnTo>
                <a:lnTo>
                  <a:pt x="0" y="0"/>
                </a:lnTo>
                <a:close/>
              </a:path>
            </a:pathLst>
          </a:custGeom>
          <a:solidFill>
            <a:schemeClr val="bg1"/>
          </a:solidFill>
          <a:ln>
            <a:noFill/>
          </a:ln>
        </p:spPr>
        <p:txBody>
          <a:bodyPr lIns="360000" tIns="468000" rIns="144000" anchor="t"/>
          <a:lstStyle>
            <a:lvl1pPr>
              <a:lnSpc>
                <a:spcPct val="78000"/>
              </a:lnSpc>
              <a:defRPr sz="3733">
                <a:solidFill>
                  <a:schemeClr val="accent1"/>
                </a:solidFill>
              </a:defRPr>
            </a:lvl1pPr>
          </a:lstStyle>
          <a:p>
            <a:r>
              <a:rPr lang="en-US" noProof="0" dirty="0"/>
              <a:t>Click to edit Master title style</a:t>
            </a:r>
          </a:p>
        </p:txBody>
      </p:sp>
    </p:spTree>
    <p:extLst>
      <p:ext uri="{BB962C8B-B14F-4D97-AF65-F5344CB8AC3E}">
        <p14:creationId xmlns:p14="http://schemas.microsoft.com/office/powerpoint/2010/main" val="3623071050"/>
      </p:ext>
    </p:extLst>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showMasterSp="0" userDrawn="1">
  <p:cSld name="1_Divider 2">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E064CE14-7E46-4B38-A576-1AC7795256DE}"/>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07709362"/>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userDrawn="1">
  <p:cSld name="Headline and copy 1, white">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714199" y="590400"/>
            <a:ext cx="10782476" cy="720000"/>
          </a:xfrm>
        </p:spPr>
        <p:txBody>
          <a:bodyPr/>
          <a:lstStyle>
            <a:lvl1pPr>
              <a:defRPr sz="4400">
                <a:solidFill>
                  <a:schemeClr val="tx2"/>
                </a:solidFill>
              </a:defRPr>
            </a:lvl1pPr>
          </a:lstStyle>
          <a:p>
            <a:r>
              <a:rPr lang="de-DE"/>
              <a:t>Mastertitelformat bearbeiten</a:t>
            </a:r>
            <a:endParaRPr lang="de-DE" dirty="0"/>
          </a:p>
        </p:txBody>
      </p:sp>
      <p:sp>
        <p:nvSpPr>
          <p:cNvPr id="4" name="Textplatzhalter 3"/>
          <p:cNvSpPr>
            <a:spLocks noGrp="1"/>
          </p:cNvSpPr>
          <p:nvPr>
            <p:ph type="body" sz="quarter" idx="10"/>
          </p:nvPr>
        </p:nvSpPr>
        <p:spPr>
          <a:xfrm>
            <a:off x="714375" y="1728789"/>
            <a:ext cx="7073900" cy="3887787"/>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a:t>Mastertextformat bearbeiten</a:t>
            </a:r>
          </a:p>
          <a:p>
            <a:pPr lvl="1"/>
            <a:r>
              <a:rPr lang="de-DE"/>
              <a:t>Zweite Ebene</a:t>
            </a:r>
          </a:p>
        </p:txBody>
      </p:sp>
      <p:sp>
        <p:nvSpPr>
          <p:cNvPr id="5" name="Foliennummernplatzhalter 5"/>
          <p:cNvSpPr>
            <a:spLocks noGrp="1"/>
          </p:cNvSpPr>
          <p:nvPr>
            <p:ph type="sldNum" sz="quarter" idx="12"/>
          </p:nvPr>
        </p:nvSpPr>
        <p:spPr>
          <a:xfrm>
            <a:off x="10911840" y="6219191"/>
            <a:ext cx="579120" cy="303531"/>
          </a:xfrm>
        </p:spPr>
        <p:txBody>
          <a:bodyPr/>
          <a:lstStyle>
            <a:lvl1pPr>
              <a:defRPr>
                <a:solidFill>
                  <a:schemeClr val="tx2"/>
                </a:solidFill>
              </a:defRPr>
            </a:lvl1pPr>
          </a:lstStyle>
          <a:p>
            <a:fld id="{BDFFC951-C3BB-40CC-A730-0B992127FC44}" type="slidenum">
              <a:rPr lang="de-DE" smtClean="0">
                <a:solidFill>
                  <a:srgbClr val="D8E3BD"/>
                </a:solidFill>
              </a:rPr>
              <a:pPr/>
              <a:t>‹#›</a:t>
            </a:fld>
            <a:endParaRPr lang="de-DE" dirty="0">
              <a:solidFill>
                <a:srgbClr val="D8E3BD"/>
              </a:solidFill>
            </a:endParaRPr>
          </a:p>
        </p:txBody>
      </p:sp>
    </p:spTree>
    <p:extLst>
      <p:ext uri="{BB962C8B-B14F-4D97-AF65-F5344CB8AC3E}">
        <p14:creationId xmlns:p14="http://schemas.microsoft.com/office/powerpoint/2010/main" val="2783866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7.xml><?xml version="1.0" encoding="utf-8"?>
<p:sldLayout xmlns:a="http://schemas.openxmlformats.org/drawingml/2006/main" xmlns:r="http://schemas.openxmlformats.org/officeDocument/2006/relationships" xmlns:p="http://schemas.openxmlformats.org/presentationml/2006/main" showMasterSp="0" userDrawn="1">
  <p:cSld name="2_Divider 2">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E064CE14-7E46-4B38-A576-1AC7795256DE}"/>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105490259"/>
      </p:ext>
    </p:extLst>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showMasterSp="0" userDrawn="1">
  <p:cSld name="3_Divider 2">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E064CE14-7E46-4B38-A576-1AC7795256DE}"/>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452288380"/>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matchingName="Content and 5 Pictures">
  <p:cSld name="1_Content and 5 Pictures">
    <p:spTree>
      <p:nvGrpSpPr>
        <p:cNvPr id="1" name="Shape 183"/>
        <p:cNvGrpSpPr/>
        <p:nvPr/>
      </p:nvGrpSpPr>
      <p:grpSpPr>
        <a:xfrm>
          <a:off x="0" y="0"/>
          <a:ext cx="0" cy="0"/>
          <a:chOff x="0" y="0"/>
          <a:chExt cx="0" cy="0"/>
        </a:xfrm>
      </p:grpSpPr>
      <p:sp>
        <p:nvSpPr>
          <p:cNvPr id="184" name="Google Shape;184;p34"/>
          <p:cNvSpPr txBox="1">
            <a:spLocks noGrp="1"/>
          </p:cNvSpPr>
          <p:nvPr>
            <p:ph type="body" idx="1"/>
          </p:nvPr>
        </p:nvSpPr>
        <p:spPr>
          <a:xfrm>
            <a:off x="575734" y="1460466"/>
            <a:ext cx="11040533" cy="1664421"/>
          </a:xfrm>
          <a:prstGeom prst="rect">
            <a:avLst/>
          </a:prstGeom>
          <a:noFill/>
          <a:ln>
            <a:noFill/>
          </a:ln>
        </p:spPr>
        <p:txBody>
          <a:bodyPr spcFirstLastPara="1" wrap="square" lIns="0" tIns="0" rIns="0" bIns="0" anchor="t" anchorCtr="0"/>
          <a:lstStyle>
            <a:lvl1pPr marL="609585" lvl="0" indent="-457189" algn="l">
              <a:lnSpc>
                <a:spcPct val="100000"/>
              </a:lnSpc>
              <a:spcBef>
                <a:spcPts val="0"/>
              </a:spcBef>
              <a:spcAft>
                <a:spcPts val="0"/>
              </a:spcAft>
              <a:buClr>
                <a:schemeClr val="dk1"/>
              </a:buClr>
              <a:buSzPts val="1800"/>
              <a:buChar char="•"/>
              <a:defRPr/>
            </a:lvl1pPr>
            <a:lvl2pPr marL="1219170" lvl="1" indent="-457189" algn="l">
              <a:lnSpc>
                <a:spcPct val="100000"/>
              </a:lnSpc>
              <a:spcBef>
                <a:spcPts val="0"/>
              </a:spcBef>
              <a:spcAft>
                <a:spcPts val="0"/>
              </a:spcAft>
              <a:buClr>
                <a:schemeClr val="dk1"/>
              </a:buClr>
              <a:buSzPts val="1800"/>
              <a:buFont typeface="Noto Sans Symbols"/>
              <a:buChar char="−"/>
              <a:defRPr/>
            </a:lvl2pPr>
            <a:lvl3pPr marL="1828754" lvl="2" indent="-457189" algn="l">
              <a:lnSpc>
                <a:spcPct val="100000"/>
              </a:lnSpc>
              <a:spcBef>
                <a:spcPts val="0"/>
              </a:spcBef>
              <a:spcAft>
                <a:spcPts val="0"/>
              </a:spcAft>
              <a:buClr>
                <a:schemeClr val="dk1"/>
              </a:buClr>
              <a:buSzPts val="1800"/>
              <a:buFont typeface="Noto Sans Symbols"/>
              <a:buChar char="−"/>
              <a:defRPr/>
            </a:lvl3pPr>
            <a:lvl4pPr marL="2438339" lvl="3" indent="-457189" algn="l">
              <a:lnSpc>
                <a:spcPct val="100000"/>
              </a:lnSpc>
              <a:spcBef>
                <a:spcPts val="0"/>
              </a:spcBef>
              <a:spcAft>
                <a:spcPts val="0"/>
              </a:spcAft>
              <a:buClr>
                <a:schemeClr val="dk1"/>
              </a:buClr>
              <a:buSzPts val="1800"/>
              <a:buFont typeface="Noto Sans Symbols"/>
              <a:buChar char="−"/>
              <a:defRPr/>
            </a:lvl4pPr>
            <a:lvl5pPr marL="3047924" lvl="4" indent="-457189" algn="l">
              <a:lnSpc>
                <a:spcPct val="100000"/>
              </a:lnSpc>
              <a:spcBef>
                <a:spcPts val="0"/>
              </a:spcBef>
              <a:spcAft>
                <a:spcPts val="0"/>
              </a:spcAft>
              <a:buClr>
                <a:schemeClr val="dk1"/>
              </a:buClr>
              <a:buSzPts val="1800"/>
              <a:buFont typeface="Noto Sans Symbols"/>
              <a:buChar char="−"/>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185" name="Google Shape;185;p34"/>
          <p:cNvSpPr txBox="1">
            <a:spLocks noGrp="1"/>
          </p:cNvSpPr>
          <p:nvPr>
            <p:ph type="dt" idx="10"/>
          </p:nvPr>
        </p:nvSpPr>
        <p:spPr>
          <a:xfrm>
            <a:off x="9888422" y="6357327"/>
            <a:ext cx="1200133" cy="205235"/>
          </a:xfrm>
          <a:prstGeom prst="rect">
            <a:avLst/>
          </a:prstGeom>
          <a:noFill/>
          <a:ln>
            <a:noFill/>
          </a:ln>
        </p:spPr>
        <p:txBody>
          <a:bodyPr spcFirstLastPara="1" wrap="square" lIns="0" tIns="0" rIns="0" bIns="0" anchor="b" anchorCtr="0"/>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solidFill>
                <a:srgbClr val="001E3E"/>
              </a:solidFill>
            </a:endParaRPr>
          </a:p>
        </p:txBody>
      </p:sp>
      <p:sp>
        <p:nvSpPr>
          <p:cNvPr id="186" name="Google Shape;186;p34"/>
          <p:cNvSpPr txBox="1">
            <a:spLocks noGrp="1"/>
          </p:cNvSpPr>
          <p:nvPr>
            <p:ph type="ftr" idx="11"/>
          </p:nvPr>
        </p:nvSpPr>
        <p:spPr>
          <a:xfrm>
            <a:off x="575733" y="6357325"/>
            <a:ext cx="10512823" cy="205235"/>
          </a:xfrm>
          <a:prstGeom prst="rect">
            <a:avLst/>
          </a:prstGeom>
          <a:noFill/>
          <a:ln>
            <a:noFill/>
          </a:ln>
        </p:spPr>
        <p:txBody>
          <a:bodyPr spcFirstLastPara="1" wrap="square" lIns="0" tIns="0" rIns="0" bIns="0" anchor="b" anchorCtr="0"/>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solidFill>
                <a:srgbClr val="001E3E"/>
              </a:solidFill>
            </a:endParaRPr>
          </a:p>
        </p:txBody>
      </p:sp>
      <p:sp>
        <p:nvSpPr>
          <p:cNvPr id="187" name="Google Shape;187;p34"/>
          <p:cNvSpPr txBox="1">
            <a:spLocks noGrp="1"/>
          </p:cNvSpPr>
          <p:nvPr>
            <p:ph type="sldNum" idx="12"/>
          </p:nvPr>
        </p:nvSpPr>
        <p:spPr>
          <a:xfrm>
            <a:off x="11184566" y="6357325"/>
            <a:ext cx="431701" cy="205235"/>
          </a:xfrm>
          <a:prstGeom prst="rect">
            <a:avLst/>
          </a:prstGeom>
          <a:noFill/>
          <a:ln>
            <a:noFill/>
          </a:ln>
        </p:spPr>
        <p:txBody>
          <a:bodyPr spcFirstLastPara="1" wrap="square" lIns="0" tIns="0" rIns="0" bIns="0" anchor="b"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a:solidFill>
                  <a:srgbClr val="001E3E"/>
                </a:solidFill>
              </a:rPr>
              <a:pPr/>
              <a:t>‹#›</a:t>
            </a:fld>
            <a:endParaRPr>
              <a:solidFill>
                <a:srgbClr val="001E3E"/>
              </a:solidFill>
            </a:endParaRPr>
          </a:p>
        </p:txBody>
      </p:sp>
      <p:sp>
        <p:nvSpPr>
          <p:cNvPr id="188" name="Google Shape;188;p34"/>
          <p:cNvSpPr>
            <a:spLocks noGrp="1"/>
          </p:cNvSpPr>
          <p:nvPr>
            <p:ph type="pic" idx="2"/>
          </p:nvPr>
        </p:nvSpPr>
        <p:spPr>
          <a:xfrm>
            <a:off x="571499" y="3284984"/>
            <a:ext cx="2054400" cy="1824203"/>
          </a:xfrm>
          <a:prstGeom prst="rect">
            <a:avLst/>
          </a:prstGeom>
          <a:solidFill>
            <a:srgbClr val="D8D8D8"/>
          </a:solidFill>
          <a:ln>
            <a:noFill/>
          </a:ln>
        </p:spPr>
        <p:txBody>
          <a:bodyPr spcFirstLastPara="1" wrap="square" lIns="0" tIns="0" rIns="0" bIns="0" anchor="ctr" anchorCtr="0"/>
          <a:lstStyle>
            <a:lvl1pPr marR="0" lvl="0" algn="ctr" rtl="0">
              <a:lnSpc>
                <a:spcPct val="100000"/>
              </a:lnSpc>
              <a:spcBef>
                <a:spcPts val="0"/>
              </a:spcBef>
              <a:spcAft>
                <a:spcPts val="0"/>
              </a:spcAft>
              <a:buClr>
                <a:schemeClr val="dk1"/>
              </a:buClr>
              <a:buSzPts val="1800"/>
              <a:buFont typeface="Arial"/>
              <a:buNone/>
              <a:defRPr sz="2400" b="0" i="0" u="none" strike="noStrike" cap="none">
                <a:solidFill>
                  <a:schemeClr val="dk1"/>
                </a:solidFill>
                <a:latin typeface="Corbel"/>
                <a:ea typeface="Corbel"/>
                <a:cs typeface="Corbel"/>
                <a:sym typeface="Corbel"/>
              </a:defRPr>
            </a:lvl1pPr>
            <a:lvl2pPr marR="0" lvl="1" algn="l" rtl="0">
              <a:lnSpc>
                <a:spcPct val="100000"/>
              </a:lnSpc>
              <a:spcBef>
                <a:spcPts val="0"/>
              </a:spcBef>
              <a:spcAft>
                <a:spcPts val="0"/>
              </a:spcAft>
              <a:buClr>
                <a:schemeClr val="dk1"/>
              </a:buClr>
              <a:buSzPts val="1800"/>
              <a:buFont typeface="Arial"/>
              <a:buChar char="•"/>
              <a:defRPr sz="2400" b="0" i="0" u="none" strike="noStrike" cap="none">
                <a:solidFill>
                  <a:schemeClr val="dk1"/>
                </a:solidFill>
                <a:latin typeface="Corbel"/>
                <a:ea typeface="Corbel"/>
                <a:cs typeface="Corbel"/>
                <a:sym typeface="Corbel"/>
              </a:defRPr>
            </a:lvl2pPr>
            <a:lvl3pPr marR="0" lvl="2" algn="l" rtl="0">
              <a:lnSpc>
                <a:spcPct val="100000"/>
              </a:lnSpc>
              <a:spcBef>
                <a:spcPts val="0"/>
              </a:spcBef>
              <a:spcAft>
                <a:spcPts val="0"/>
              </a:spcAft>
              <a:buClr>
                <a:schemeClr val="dk1"/>
              </a:buClr>
              <a:buSzPts val="1800"/>
              <a:buFont typeface="Arial"/>
              <a:buChar char="•"/>
              <a:defRPr sz="2400" b="0" i="0" u="none" strike="noStrike" cap="none">
                <a:solidFill>
                  <a:schemeClr val="dk1"/>
                </a:solidFill>
                <a:latin typeface="Corbel"/>
                <a:ea typeface="Corbel"/>
                <a:cs typeface="Corbel"/>
                <a:sym typeface="Corbel"/>
              </a:defRPr>
            </a:lvl3pPr>
            <a:lvl4pPr marR="0" lvl="3" algn="l" rtl="0">
              <a:lnSpc>
                <a:spcPct val="100000"/>
              </a:lnSpc>
              <a:spcBef>
                <a:spcPts val="0"/>
              </a:spcBef>
              <a:spcAft>
                <a:spcPts val="0"/>
              </a:spcAft>
              <a:buClr>
                <a:schemeClr val="dk1"/>
              </a:buClr>
              <a:buSzPts val="1800"/>
              <a:buFont typeface="Arial"/>
              <a:buChar char="•"/>
              <a:defRPr sz="2400" b="0" i="0" u="none" strike="noStrike" cap="none">
                <a:solidFill>
                  <a:schemeClr val="dk1"/>
                </a:solidFill>
                <a:latin typeface="Corbel"/>
                <a:ea typeface="Corbel"/>
                <a:cs typeface="Corbel"/>
                <a:sym typeface="Corbel"/>
              </a:defRPr>
            </a:lvl4pPr>
            <a:lvl5pPr marR="0" lvl="4" algn="l" rtl="0">
              <a:lnSpc>
                <a:spcPct val="100000"/>
              </a:lnSpc>
              <a:spcBef>
                <a:spcPts val="0"/>
              </a:spcBef>
              <a:spcAft>
                <a:spcPts val="0"/>
              </a:spcAft>
              <a:buClr>
                <a:schemeClr val="dk1"/>
              </a:buClr>
              <a:buSzPts val="1800"/>
              <a:buFont typeface="Arial"/>
              <a:buChar char="•"/>
              <a:defRPr sz="2400" b="0" i="0" u="none" strike="noStrike" cap="none">
                <a:solidFill>
                  <a:schemeClr val="dk1"/>
                </a:solidFill>
                <a:latin typeface="Corbel"/>
                <a:ea typeface="Corbel"/>
                <a:cs typeface="Corbel"/>
                <a:sym typeface="Corbel"/>
              </a:defRPr>
            </a:lvl5pPr>
            <a:lvl6pPr marR="0" lvl="5" algn="l" rtl="0">
              <a:spcBef>
                <a:spcPts val="533"/>
              </a:spcBef>
              <a:spcAft>
                <a:spcPts val="0"/>
              </a:spcAft>
              <a:buClr>
                <a:schemeClr val="dk1"/>
              </a:buClr>
              <a:buSzPts val="2000"/>
              <a:buFont typeface="Arial"/>
              <a:buChar char="•"/>
              <a:defRPr sz="2667" b="0" i="0" u="none" strike="noStrike" cap="none">
                <a:solidFill>
                  <a:schemeClr val="dk1"/>
                </a:solidFill>
                <a:latin typeface="Corbel"/>
                <a:ea typeface="Corbel"/>
                <a:cs typeface="Corbel"/>
                <a:sym typeface="Corbel"/>
              </a:defRPr>
            </a:lvl6pPr>
            <a:lvl7pPr marR="0" lvl="6" algn="l" rtl="0">
              <a:spcBef>
                <a:spcPts val="533"/>
              </a:spcBef>
              <a:spcAft>
                <a:spcPts val="0"/>
              </a:spcAft>
              <a:buClr>
                <a:schemeClr val="dk1"/>
              </a:buClr>
              <a:buSzPts val="2000"/>
              <a:buFont typeface="Arial"/>
              <a:buChar char="•"/>
              <a:defRPr sz="2667" b="0" i="0" u="none" strike="noStrike" cap="none">
                <a:solidFill>
                  <a:schemeClr val="dk1"/>
                </a:solidFill>
                <a:latin typeface="Corbel"/>
                <a:ea typeface="Corbel"/>
                <a:cs typeface="Corbel"/>
                <a:sym typeface="Corbel"/>
              </a:defRPr>
            </a:lvl7pPr>
            <a:lvl8pPr marR="0" lvl="7" algn="l" rtl="0">
              <a:spcBef>
                <a:spcPts val="533"/>
              </a:spcBef>
              <a:spcAft>
                <a:spcPts val="0"/>
              </a:spcAft>
              <a:buClr>
                <a:schemeClr val="dk1"/>
              </a:buClr>
              <a:buSzPts val="2000"/>
              <a:buFont typeface="Arial"/>
              <a:buChar char="•"/>
              <a:defRPr sz="2667" b="0" i="0" u="none" strike="noStrike" cap="none">
                <a:solidFill>
                  <a:schemeClr val="dk1"/>
                </a:solidFill>
                <a:latin typeface="Corbel"/>
                <a:ea typeface="Corbel"/>
                <a:cs typeface="Corbel"/>
                <a:sym typeface="Corbel"/>
              </a:defRPr>
            </a:lvl8pPr>
            <a:lvl9pPr marR="0" lvl="8" algn="l" rtl="0">
              <a:spcBef>
                <a:spcPts val="533"/>
              </a:spcBef>
              <a:spcAft>
                <a:spcPts val="0"/>
              </a:spcAft>
              <a:buClr>
                <a:schemeClr val="dk1"/>
              </a:buClr>
              <a:buSzPts val="2000"/>
              <a:buFont typeface="Arial"/>
              <a:buChar char="•"/>
              <a:defRPr sz="2667" b="0" i="0" u="none" strike="noStrike" cap="none">
                <a:solidFill>
                  <a:schemeClr val="dk1"/>
                </a:solidFill>
                <a:latin typeface="Corbel"/>
                <a:ea typeface="Corbel"/>
                <a:cs typeface="Corbel"/>
                <a:sym typeface="Corbel"/>
              </a:defRPr>
            </a:lvl9pPr>
          </a:lstStyle>
          <a:p>
            <a:endParaRPr/>
          </a:p>
        </p:txBody>
      </p:sp>
      <p:sp>
        <p:nvSpPr>
          <p:cNvPr id="189" name="Google Shape;189;p34"/>
          <p:cNvSpPr txBox="1">
            <a:spLocks noGrp="1"/>
          </p:cNvSpPr>
          <p:nvPr>
            <p:ph type="body" idx="3"/>
          </p:nvPr>
        </p:nvSpPr>
        <p:spPr>
          <a:xfrm>
            <a:off x="571499" y="5269285"/>
            <a:ext cx="2054400" cy="991815"/>
          </a:xfrm>
          <a:prstGeom prst="rect">
            <a:avLst/>
          </a:prstGeom>
          <a:noFill/>
          <a:ln>
            <a:noFill/>
          </a:ln>
        </p:spPr>
        <p:txBody>
          <a:bodyPr spcFirstLastPara="1" wrap="square" lIns="0" tIns="0" rIns="0" bIns="0" anchor="t" anchorCtr="0"/>
          <a:lstStyle>
            <a:lvl1pPr marL="609585" lvl="0" indent="-304792" algn="l">
              <a:lnSpc>
                <a:spcPct val="100000"/>
              </a:lnSpc>
              <a:spcBef>
                <a:spcPts val="0"/>
              </a:spcBef>
              <a:spcAft>
                <a:spcPts val="0"/>
              </a:spcAft>
              <a:buClr>
                <a:schemeClr val="dk1"/>
              </a:buClr>
              <a:buSzPts val="1000"/>
              <a:buNone/>
              <a:defRPr sz="1333"/>
            </a:lvl1pPr>
            <a:lvl2pPr marL="1219170" lvl="1" indent="-457189" algn="l">
              <a:lnSpc>
                <a:spcPct val="100000"/>
              </a:lnSpc>
              <a:spcBef>
                <a:spcPts val="0"/>
              </a:spcBef>
              <a:spcAft>
                <a:spcPts val="0"/>
              </a:spcAft>
              <a:buClr>
                <a:schemeClr val="dk1"/>
              </a:buClr>
              <a:buSzPts val="1800"/>
              <a:buChar char="•"/>
              <a:defRPr/>
            </a:lvl2pPr>
            <a:lvl3pPr marL="1828754" lvl="2" indent="-457189" algn="l">
              <a:lnSpc>
                <a:spcPct val="100000"/>
              </a:lnSpc>
              <a:spcBef>
                <a:spcPts val="0"/>
              </a:spcBef>
              <a:spcAft>
                <a:spcPts val="0"/>
              </a:spcAft>
              <a:buClr>
                <a:schemeClr val="dk1"/>
              </a:buClr>
              <a:buSzPts val="1800"/>
              <a:buChar char="•"/>
              <a:defRPr/>
            </a:lvl3pPr>
            <a:lvl4pPr marL="2438339" lvl="3" indent="-457189" algn="l">
              <a:lnSpc>
                <a:spcPct val="100000"/>
              </a:lnSpc>
              <a:spcBef>
                <a:spcPts val="0"/>
              </a:spcBef>
              <a:spcAft>
                <a:spcPts val="0"/>
              </a:spcAft>
              <a:buClr>
                <a:schemeClr val="dk1"/>
              </a:buClr>
              <a:buSzPts val="1800"/>
              <a:buChar char="•"/>
              <a:defRPr/>
            </a:lvl4pPr>
            <a:lvl5pPr marL="3047924" lvl="4" indent="-457189" algn="l">
              <a:lnSpc>
                <a:spcPct val="100000"/>
              </a:lnSpc>
              <a:spcBef>
                <a:spcPts val="0"/>
              </a:spcBef>
              <a:spcAft>
                <a:spcPts val="0"/>
              </a:spcAft>
              <a:buClr>
                <a:schemeClr val="dk1"/>
              </a:buClr>
              <a:buSzPts val="1800"/>
              <a:buChar char="•"/>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190" name="Google Shape;190;p34"/>
          <p:cNvSpPr>
            <a:spLocks noGrp="1"/>
          </p:cNvSpPr>
          <p:nvPr>
            <p:ph type="pic" idx="4"/>
          </p:nvPr>
        </p:nvSpPr>
        <p:spPr>
          <a:xfrm>
            <a:off x="2819091" y="3284984"/>
            <a:ext cx="2054400" cy="1824203"/>
          </a:xfrm>
          <a:prstGeom prst="rect">
            <a:avLst/>
          </a:prstGeom>
          <a:solidFill>
            <a:srgbClr val="D8D8D8"/>
          </a:solidFill>
          <a:ln>
            <a:noFill/>
          </a:ln>
        </p:spPr>
        <p:txBody>
          <a:bodyPr spcFirstLastPara="1" wrap="square" lIns="0" tIns="0" rIns="0" bIns="0" anchor="ctr" anchorCtr="0"/>
          <a:lstStyle>
            <a:lvl1pPr marR="0" lvl="0" algn="ctr" rtl="0">
              <a:lnSpc>
                <a:spcPct val="100000"/>
              </a:lnSpc>
              <a:spcBef>
                <a:spcPts val="0"/>
              </a:spcBef>
              <a:spcAft>
                <a:spcPts val="0"/>
              </a:spcAft>
              <a:buClr>
                <a:schemeClr val="dk1"/>
              </a:buClr>
              <a:buSzPts val="1800"/>
              <a:buFont typeface="Arial"/>
              <a:buNone/>
              <a:defRPr sz="2400" b="0" i="0" u="none" strike="noStrike" cap="none">
                <a:solidFill>
                  <a:schemeClr val="dk1"/>
                </a:solidFill>
                <a:latin typeface="Corbel"/>
                <a:ea typeface="Corbel"/>
                <a:cs typeface="Corbel"/>
                <a:sym typeface="Corbel"/>
              </a:defRPr>
            </a:lvl1pPr>
            <a:lvl2pPr marR="0" lvl="1" algn="l" rtl="0">
              <a:lnSpc>
                <a:spcPct val="100000"/>
              </a:lnSpc>
              <a:spcBef>
                <a:spcPts val="0"/>
              </a:spcBef>
              <a:spcAft>
                <a:spcPts val="0"/>
              </a:spcAft>
              <a:buClr>
                <a:schemeClr val="dk1"/>
              </a:buClr>
              <a:buSzPts val="1800"/>
              <a:buFont typeface="Arial"/>
              <a:buChar char="•"/>
              <a:defRPr sz="2400" b="0" i="0" u="none" strike="noStrike" cap="none">
                <a:solidFill>
                  <a:schemeClr val="dk1"/>
                </a:solidFill>
                <a:latin typeface="Corbel"/>
                <a:ea typeface="Corbel"/>
                <a:cs typeface="Corbel"/>
                <a:sym typeface="Corbel"/>
              </a:defRPr>
            </a:lvl2pPr>
            <a:lvl3pPr marR="0" lvl="2" algn="l" rtl="0">
              <a:lnSpc>
                <a:spcPct val="100000"/>
              </a:lnSpc>
              <a:spcBef>
                <a:spcPts val="0"/>
              </a:spcBef>
              <a:spcAft>
                <a:spcPts val="0"/>
              </a:spcAft>
              <a:buClr>
                <a:schemeClr val="dk1"/>
              </a:buClr>
              <a:buSzPts val="1800"/>
              <a:buFont typeface="Arial"/>
              <a:buChar char="•"/>
              <a:defRPr sz="2400" b="0" i="0" u="none" strike="noStrike" cap="none">
                <a:solidFill>
                  <a:schemeClr val="dk1"/>
                </a:solidFill>
                <a:latin typeface="Corbel"/>
                <a:ea typeface="Corbel"/>
                <a:cs typeface="Corbel"/>
                <a:sym typeface="Corbel"/>
              </a:defRPr>
            </a:lvl3pPr>
            <a:lvl4pPr marR="0" lvl="3" algn="l" rtl="0">
              <a:lnSpc>
                <a:spcPct val="100000"/>
              </a:lnSpc>
              <a:spcBef>
                <a:spcPts val="0"/>
              </a:spcBef>
              <a:spcAft>
                <a:spcPts val="0"/>
              </a:spcAft>
              <a:buClr>
                <a:schemeClr val="dk1"/>
              </a:buClr>
              <a:buSzPts val="1800"/>
              <a:buFont typeface="Arial"/>
              <a:buChar char="•"/>
              <a:defRPr sz="2400" b="0" i="0" u="none" strike="noStrike" cap="none">
                <a:solidFill>
                  <a:schemeClr val="dk1"/>
                </a:solidFill>
                <a:latin typeface="Corbel"/>
                <a:ea typeface="Corbel"/>
                <a:cs typeface="Corbel"/>
                <a:sym typeface="Corbel"/>
              </a:defRPr>
            </a:lvl4pPr>
            <a:lvl5pPr marR="0" lvl="4" algn="l" rtl="0">
              <a:lnSpc>
                <a:spcPct val="100000"/>
              </a:lnSpc>
              <a:spcBef>
                <a:spcPts val="0"/>
              </a:spcBef>
              <a:spcAft>
                <a:spcPts val="0"/>
              </a:spcAft>
              <a:buClr>
                <a:schemeClr val="dk1"/>
              </a:buClr>
              <a:buSzPts val="1800"/>
              <a:buFont typeface="Arial"/>
              <a:buChar char="•"/>
              <a:defRPr sz="2400" b="0" i="0" u="none" strike="noStrike" cap="none">
                <a:solidFill>
                  <a:schemeClr val="dk1"/>
                </a:solidFill>
                <a:latin typeface="Corbel"/>
                <a:ea typeface="Corbel"/>
                <a:cs typeface="Corbel"/>
                <a:sym typeface="Corbel"/>
              </a:defRPr>
            </a:lvl5pPr>
            <a:lvl6pPr marR="0" lvl="5" algn="l" rtl="0">
              <a:spcBef>
                <a:spcPts val="533"/>
              </a:spcBef>
              <a:spcAft>
                <a:spcPts val="0"/>
              </a:spcAft>
              <a:buClr>
                <a:schemeClr val="dk1"/>
              </a:buClr>
              <a:buSzPts val="2000"/>
              <a:buFont typeface="Arial"/>
              <a:buChar char="•"/>
              <a:defRPr sz="2667" b="0" i="0" u="none" strike="noStrike" cap="none">
                <a:solidFill>
                  <a:schemeClr val="dk1"/>
                </a:solidFill>
                <a:latin typeface="Corbel"/>
                <a:ea typeface="Corbel"/>
                <a:cs typeface="Corbel"/>
                <a:sym typeface="Corbel"/>
              </a:defRPr>
            </a:lvl6pPr>
            <a:lvl7pPr marR="0" lvl="6" algn="l" rtl="0">
              <a:spcBef>
                <a:spcPts val="533"/>
              </a:spcBef>
              <a:spcAft>
                <a:spcPts val="0"/>
              </a:spcAft>
              <a:buClr>
                <a:schemeClr val="dk1"/>
              </a:buClr>
              <a:buSzPts val="2000"/>
              <a:buFont typeface="Arial"/>
              <a:buChar char="•"/>
              <a:defRPr sz="2667" b="0" i="0" u="none" strike="noStrike" cap="none">
                <a:solidFill>
                  <a:schemeClr val="dk1"/>
                </a:solidFill>
                <a:latin typeface="Corbel"/>
                <a:ea typeface="Corbel"/>
                <a:cs typeface="Corbel"/>
                <a:sym typeface="Corbel"/>
              </a:defRPr>
            </a:lvl7pPr>
            <a:lvl8pPr marR="0" lvl="7" algn="l" rtl="0">
              <a:spcBef>
                <a:spcPts val="533"/>
              </a:spcBef>
              <a:spcAft>
                <a:spcPts val="0"/>
              </a:spcAft>
              <a:buClr>
                <a:schemeClr val="dk1"/>
              </a:buClr>
              <a:buSzPts val="2000"/>
              <a:buFont typeface="Arial"/>
              <a:buChar char="•"/>
              <a:defRPr sz="2667" b="0" i="0" u="none" strike="noStrike" cap="none">
                <a:solidFill>
                  <a:schemeClr val="dk1"/>
                </a:solidFill>
                <a:latin typeface="Corbel"/>
                <a:ea typeface="Corbel"/>
                <a:cs typeface="Corbel"/>
                <a:sym typeface="Corbel"/>
              </a:defRPr>
            </a:lvl8pPr>
            <a:lvl9pPr marR="0" lvl="8" algn="l" rtl="0">
              <a:spcBef>
                <a:spcPts val="533"/>
              </a:spcBef>
              <a:spcAft>
                <a:spcPts val="0"/>
              </a:spcAft>
              <a:buClr>
                <a:schemeClr val="dk1"/>
              </a:buClr>
              <a:buSzPts val="2000"/>
              <a:buFont typeface="Arial"/>
              <a:buChar char="•"/>
              <a:defRPr sz="2667" b="0" i="0" u="none" strike="noStrike" cap="none">
                <a:solidFill>
                  <a:schemeClr val="dk1"/>
                </a:solidFill>
                <a:latin typeface="Corbel"/>
                <a:ea typeface="Corbel"/>
                <a:cs typeface="Corbel"/>
                <a:sym typeface="Corbel"/>
              </a:defRPr>
            </a:lvl9pPr>
          </a:lstStyle>
          <a:p>
            <a:endParaRPr/>
          </a:p>
        </p:txBody>
      </p:sp>
      <p:sp>
        <p:nvSpPr>
          <p:cNvPr id="191" name="Google Shape;191;p34"/>
          <p:cNvSpPr txBox="1">
            <a:spLocks noGrp="1"/>
          </p:cNvSpPr>
          <p:nvPr>
            <p:ph type="body" idx="5"/>
          </p:nvPr>
        </p:nvSpPr>
        <p:spPr>
          <a:xfrm>
            <a:off x="2819091" y="5269285"/>
            <a:ext cx="2054400" cy="991815"/>
          </a:xfrm>
          <a:prstGeom prst="rect">
            <a:avLst/>
          </a:prstGeom>
          <a:noFill/>
          <a:ln>
            <a:noFill/>
          </a:ln>
        </p:spPr>
        <p:txBody>
          <a:bodyPr spcFirstLastPara="1" wrap="square" lIns="0" tIns="0" rIns="0" bIns="0" anchor="t" anchorCtr="0"/>
          <a:lstStyle>
            <a:lvl1pPr marL="609585" lvl="0" indent="-304792" algn="l">
              <a:lnSpc>
                <a:spcPct val="100000"/>
              </a:lnSpc>
              <a:spcBef>
                <a:spcPts val="0"/>
              </a:spcBef>
              <a:spcAft>
                <a:spcPts val="0"/>
              </a:spcAft>
              <a:buClr>
                <a:schemeClr val="dk1"/>
              </a:buClr>
              <a:buSzPts val="1000"/>
              <a:buNone/>
              <a:defRPr sz="1333"/>
            </a:lvl1pPr>
            <a:lvl2pPr marL="1219170" lvl="1" indent="-457189" algn="l">
              <a:lnSpc>
                <a:spcPct val="100000"/>
              </a:lnSpc>
              <a:spcBef>
                <a:spcPts val="0"/>
              </a:spcBef>
              <a:spcAft>
                <a:spcPts val="0"/>
              </a:spcAft>
              <a:buClr>
                <a:schemeClr val="dk1"/>
              </a:buClr>
              <a:buSzPts val="1800"/>
              <a:buChar char="•"/>
              <a:defRPr/>
            </a:lvl2pPr>
            <a:lvl3pPr marL="1828754" lvl="2" indent="-457189" algn="l">
              <a:lnSpc>
                <a:spcPct val="100000"/>
              </a:lnSpc>
              <a:spcBef>
                <a:spcPts val="0"/>
              </a:spcBef>
              <a:spcAft>
                <a:spcPts val="0"/>
              </a:spcAft>
              <a:buClr>
                <a:schemeClr val="dk1"/>
              </a:buClr>
              <a:buSzPts val="1800"/>
              <a:buChar char="•"/>
              <a:defRPr/>
            </a:lvl3pPr>
            <a:lvl4pPr marL="2438339" lvl="3" indent="-457189" algn="l">
              <a:lnSpc>
                <a:spcPct val="100000"/>
              </a:lnSpc>
              <a:spcBef>
                <a:spcPts val="0"/>
              </a:spcBef>
              <a:spcAft>
                <a:spcPts val="0"/>
              </a:spcAft>
              <a:buClr>
                <a:schemeClr val="dk1"/>
              </a:buClr>
              <a:buSzPts val="1800"/>
              <a:buChar char="•"/>
              <a:defRPr/>
            </a:lvl4pPr>
            <a:lvl5pPr marL="3047924" lvl="4" indent="-457189" algn="l">
              <a:lnSpc>
                <a:spcPct val="100000"/>
              </a:lnSpc>
              <a:spcBef>
                <a:spcPts val="0"/>
              </a:spcBef>
              <a:spcAft>
                <a:spcPts val="0"/>
              </a:spcAft>
              <a:buClr>
                <a:schemeClr val="dk1"/>
              </a:buClr>
              <a:buSzPts val="1800"/>
              <a:buChar char="•"/>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192" name="Google Shape;192;p34"/>
          <p:cNvSpPr>
            <a:spLocks noGrp="1"/>
          </p:cNvSpPr>
          <p:nvPr>
            <p:ph type="pic" idx="6"/>
          </p:nvPr>
        </p:nvSpPr>
        <p:spPr>
          <a:xfrm>
            <a:off x="5066683" y="3284984"/>
            <a:ext cx="2054400" cy="1824203"/>
          </a:xfrm>
          <a:prstGeom prst="rect">
            <a:avLst/>
          </a:prstGeom>
          <a:solidFill>
            <a:srgbClr val="D8D8D8"/>
          </a:solidFill>
          <a:ln>
            <a:noFill/>
          </a:ln>
        </p:spPr>
        <p:txBody>
          <a:bodyPr spcFirstLastPara="1" wrap="square" lIns="0" tIns="0" rIns="0" bIns="0" anchor="ctr" anchorCtr="0"/>
          <a:lstStyle>
            <a:lvl1pPr marR="0" lvl="0" algn="ctr" rtl="0">
              <a:lnSpc>
                <a:spcPct val="100000"/>
              </a:lnSpc>
              <a:spcBef>
                <a:spcPts val="0"/>
              </a:spcBef>
              <a:spcAft>
                <a:spcPts val="0"/>
              </a:spcAft>
              <a:buClr>
                <a:schemeClr val="dk1"/>
              </a:buClr>
              <a:buSzPts val="1800"/>
              <a:buFont typeface="Arial"/>
              <a:buNone/>
              <a:defRPr sz="2400" b="0" i="0" u="none" strike="noStrike" cap="none">
                <a:solidFill>
                  <a:schemeClr val="dk1"/>
                </a:solidFill>
                <a:latin typeface="Corbel"/>
                <a:ea typeface="Corbel"/>
                <a:cs typeface="Corbel"/>
                <a:sym typeface="Corbel"/>
              </a:defRPr>
            </a:lvl1pPr>
            <a:lvl2pPr marR="0" lvl="1" algn="l" rtl="0">
              <a:lnSpc>
                <a:spcPct val="100000"/>
              </a:lnSpc>
              <a:spcBef>
                <a:spcPts val="0"/>
              </a:spcBef>
              <a:spcAft>
                <a:spcPts val="0"/>
              </a:spcAft>
              <a:buClr>
                <a:schemeClr val="dk1"/>
              </a:buClr>
              <a:buSzPts val="1800"/>
              <a:buFont typeface="Arial"/>
              <a:buChar char="•"/>
              <a:defRPr sz="2400" b="0" i="0" u="none" strike="noStrike" cap="none">
                <a:solidFill>
                  <a:schemeClr val="dk1"/>
                </a:solidFill>
                <a:latin typeface="Corbel"/>
                <a:ea typeface="Corbel"/>
                <a:cs typeface="Corbel"/>
                <a:sym typeface="Corbel"/>
              </a:defRPr>
            </a:lvl2pPr>
            <a:lvl3pPr marR="0" lvl="2" algn="l" rtl="0">
              <a:lnSpc>
                <a:spcPct val="100000"/>
              </a:lnSpc>
              <a:spcBef>
                <a:spcPts val="0"/>
              </a:spcBef>
              <a:spcAft>
                <a:spcPts val="0"/>
              </a:spcAft>
              <a:buClr>
                <a:schemeClr val="dk1"/>
              </a:buClr>
              <a:buSzPts val="1800"/>
              <a:buFont typeface="Arial"/>
              <a:buChar char="•"/>
              <a:defRPr sz="2400" b="0" i="0" u="none" strike="noStrike" cap="none">
                <a:solidFill>
                  <a:schemeClr val="dk1"/>
                </a:solidFill>
                <a:latin typeface="Corbel"/>
                <a:ea typeface="Corbel"/>
                <a:cs typeface="Corbel"/>
                <a:sym typeface="Corbel"/>
              </a:defRPr>
            </a:lvl3pPr>
            <a:lvl4pPr marR="0" lvl="3" algn="l" rtl="0">
              <a:lnSpc>
                <a:spcPct val="100000"/>
              </a:lnSpc>
              <a:spcBef>
                <a:spcPts val="0"/>
              </a:spcBef>
              <a:spcAft>
                <a:spcPts val="0"/>
              </a:spcAft>
              <a:buClr>
                <a:schemeClr val="dk1"/>
              </a:buClr>
              <a:buSzPts val="1800"/>
              <a:buFont typeface="Arial"/>
              <a:buChar char="•"/>
              <a:defRPr sz="2400" b="0" i="0" u="none" strike="noStrike" cap="none">
                <a:solidFill>
                  <a:schemeClr val="dk1"/>
                </a:solidFill>
                <a:latin typeface="Corbel"/>
                <a:ea typeface="Corbel"/>
                <a:cs typeface="Corbel"/>
                <a:sym typeface="Corbel"/>
              </a:defRPr>
            </a:lvl4pPr>
            <a:lvl5pPr marR="0" lvl="4" algn="l" rtl="0">
              <a:lnSpc>
                <a:spcPct val="100000"/>
              </a:lnSpc>
              <a:spcBef>
                <a:spcPts val="0"/>
              </a:spcBef>
              <a:spcAft>
                <a:spcPts val="0"/>
              </a:spcAft>
              <a:buClr>
                <a:schemeClr val="dk1"/>
              </a:buClr>
              <a:buSzPts val="1800"/>
              <a:buFont typeface="Arial"/>
              <a:buChar char="•"/>
              <a:defRPr sz="2400" b="0" i="0" u="none" strike="noStrike" cap="none">
                <a:solidFill>
                  <a:schemeClr val="dk1"/>
                </a:solidFill>
                <a:latin typeface="Corbel"/>
                <a:ea typeface="Corbel"/>
                <a:cs typeface="Corbel"/>
                <a:sym typeface="Corbel"/>
              </a:defRPr>
            </a:lvl5pPr>
            <a:lvl6pPr marR="0" lvl="5" algn="l" rtl="0">
              <a:spcBef>
                <a:spcPts val="533"/>
              </a:spcBef>
              <a:spcAft>
                <a:spcPts val="0"/>
              </a:spcAft>
              <a:buClr>
                <a:schemeClr val="dk1"/>
              </a:buClr>
              <a:buSzPts val="2000"/>
              <a:buFont typeface="Arial"/>
              <a:buChar char="•"/>
              <a:defRPr sz="2667" b="0" i="0" u="none" strike="noStrike" cap="none">
                <a:solidFill>
                  <a:schemeClr val="dk1"/>
                </a:solidFill>
                <a:latin typeface="Corbel"/>
                <a:ea typeface="Corbel"/>
                <a:cs typeface="Corbel"/>
                <a:sym typeface="Corbel"/>
              </a:defRPr>
            </a:lvl6pPr>
            <a:lvl7pPr marR="0" lvl="6" algn="l" rtl="0">
              <a:spcBef>
                <a:spcPts val="533"/>
              </a:spcBef>
              <a:spcAft>
                <a:spcPts val="0"/>
              </a:spcAft>
              <a:buClr>
                <a:schemeClr val="dk1"/>
              </a:buClr>
              <a:buSzPts val="2000"/>
              <a:buFont typeface="Arial"/>
              <a:buChar char="•"/>
              <a:defRPr sz="2667" b="0" i="0" u="none" strike="noStrike" cap="none">
                <a:solidFill>
                  <a:schemeClr val="dk1"/>
                </a:solidFill>
                <a:latin typeface="Corbel"/>
                <a:ea typeface="Corbel"/>
                <a:cs typeface="Corbel"/>
                <a:sym typeface="Corbel"/>
              </a:defRPr>
            </a:lvl7pPr>
            <a:lvl8pPr marR="0" lvl="7" algn="l" rtl="0">
              <a:spcBef>
                <a:spcPts val="533"/>
              </a:spcBef>
              <a:spcAft>
                <a:spcPts val="0"/>
              </a:spcAft>
              <a:buClr>
                <a:schemeClr val="dk1"/>
              </a:buClr>
              <a:buSzPts val="2000"/>
              <a:buFont typeface="Arial"/>
              <a:buChar char="•"/>
              <a:defRPr sz="2667" b="0" i="0" u="none" strike="noStrike" cap="none">
                <a:solidFill>
                  <a:schemeClr val="dk1"/>
                </a:solidFill>
                <a:latin typeface="Corbel"/>
                <a:ea typeface="Corbel"/>
                <a:cs typeface="Corbel"/>
                <a:sym typeface="Corbel"/>
              </a:defRPr>
            </a:lvl8pPr>
            <a:lvl9pPr marR="0" lvl="8" algn="l" rtl="0">
              <a:spcBef>
                <a:spcPts val="533"/>
              </a:spcBef>
              <a:spcAft>
                <a:spcPts val="0"/>
              </a:spcAft>
              <a:buClr>
                <a:schemeClr val="dk1"/>
              </a:buClr>
              <a:buSzPts val="2000"/>
              <a:buFont typeface="Arial"/>
              <a:buChar char="•"/>
              <a:defRPr sz="2667" b="0" i="0" u="none" strike="noStrike" cap="none">
                <a:solidFill>
                  <a:schemeClr val="dk1"/>
                </a:solidFill>
                <a:latin typeface="Corbel"/>
                <a:ea typeface="Corbel"/>
                <a:cs typeface="Corbel"/>
                <a:sym typeface="Corbel"/>
              </a:defRPr>
            </a:lvl9pPr>
          </a:lstStyle>
          <a:p>
            <a:endParaRPr/>
          </a:p>
        </p:txBody>
      </p:sp>
      <p:sp>
        <p:nvSpPr>
          <p:cNvPr id="193" name="Google Shape;193;p34"/>
          <p:cNvSpPr txBox="1">
            <a:spLocks noGrp="1"/>
          </p:cNvSpPr>
          <p:nvPr>
            <p:ph type="body" idx="7"/>
          </p:nvPr>
        </p:nvSpPr>
        <p:spPr>
          <a:xfrm>
            <a:off x="5066683" y="5269285"/>
            <a:ext cx="2054400" cy="991815"/>
          </a:xfrm>
          <a:prstGeom prst="rect">
            <a:avLst/>
          </a:prstGeom>
          <a:noFill/>
          <a:ln>
            <a:noFill/>
          </a:ln>
        </p:spPr>
        <p:txBody>
          <a:bodyPr spcFirstLastPara="1" wrap="square" lIns="0" tIns="0" rIns="0" bIns="0" anchor="t" anchorCtr="0"/>
          <a:lstStyle>
            <a:lvl1pPr marL="609585" lvl="0" indent="-304792" algn="l">
              <a:lnSpc>
                <a:spcPct val="100000"/>
              </a:lnSpc>
              <a:spcBef>
                <a:spcPts val="0"/>
              </a:spcBef>
              <a:spcAft>
                <a:spcPts val="0"/>
              </a:spcAft>
              <a:buClr>
                <a:schemeClr val="dk1"/>
              </a:buClr>
              <a:buSzPts val="1000"/>
              <a:buNone/>
              <a:defRPr sz="1333"/>
            </a:lvl1pPr>
            <a:lvl2pPr marL="1219170" lvl="1" indent="-457189" algn="l">
              <a:lnSpc>
                <a:spcPct val="100000"/>
              </a:lnSpc>
              <a:spcBef>
                <a:spcPts val="0"/>
              </a:spcBef>
              <a:spcAft>
                <a:spcPts val="0"/>
              </a:spcAft>
              <a:buClr>
                <a:schemeClr val="dk1"/>
              </a:buClr>
              <a:buSzPts val="1800"/>
              <a:buChar char="•"/>
              <a:defRPr/>
            </a:lvl2pPr>
            <a:lvl3pPr marL="1828754" lvl="2" indent="-457189" algn="l">
              <a:lnSpc>
                <a:spcPct val="100000"/>
              </a:lnSpc>
              <a:spcBef>
                <a:spcPts val="0"/>
              </a:spcBef>
              <a:spcAft>
                <a:spcPts val="0"/>
              </a:spcAft>
              <a:buClr>
                <a:schemeClr val="dk1"/>
              </a:buClr>
              <a:buSzPts val="1800"/>
              <a:buChar char="•"/>
              <a:defRPr/>
            </a:lvl3pPr>
            <a:lvl4pPr marL="2438339" lvl="3" indent="-457189" algn="l">
              <a:lnSpc>
                <a:spcPct val="100000"/>
              </a:lnSpc>
              <a:spcBef>
                <a:spcPts val="0"/>
              </a:spcBef>
              <a:spcAft>
                <a:spcPts val="0"/>
              </a:spcAft>
              <a:buClr>
                <a:schemeClr val="dk1"/>
              </a:buClr>
              <a:buSzPts val="1800"/>
              <a:buChar char="•"/>
              <a:defRPr/>
            </a:lvl4pPr>
            <a:lvl5pPr marL="3047924" lvl="4" indent="-457189" algn="l">
              <a:lnSpc>
                <a:spcPct val="100000"/>
              </a:lnSpc>
              <a:spcBef>
                <a:spcPts val="0"/>
              </a:spcBef>
              <a:spcAft>
                <a:spcPts val="0"/>
              </a:spcAft>
              <a:buClr>
                <a:schemeClr val="dk1"/>
              </a:buClr>
              <a:buSzPts val="1800"/>
              <a:buChar char="•"/>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194" name="Google Shape;194;p34"/>
          <p:cNvSpPr>
            <a:spLocks noGrp="1"/>
          </p:cNvSpPr>
          <p:nvPr>
            <p:ph type="pic" idx="8"/>
          </p:nvPr>
        </p:nvSpPr>
        <p:spPr>
          <a:xfrm>
            <a:off x="7314275" y="3284984"/>
            <a:ext cx="2054400" cy="1824203"/>
          </a:xfrm>
          <a:prstGeom prst="rect">
            <a:avLst/>
          </a:prstGeom>
          <a:solidFill>
            <a:srgbClr val="D8D8D8"/>
          </a:solidFill>
          <a:ln>
            <a:noFill/>
          </a:ln>
        </p:spPr>
        <p:txBody>
          <a:bodyPr spcFirstLastPara="1" wrap="square" lIns="0" tIns="0" rIns="0" bIns="0" anchor="ctr" anchorCtr="0"/>
          <a:lstStyle>
            <a:lvl1pPr marR="0" lvl="0" algn="ctr" rtl="0">
              <a:lnSpc>
                <a:spcPct val="100000"/>
              </a:lnSpc>
              <a:spcBef>
                <a:spcPts val="0"/>
              </a:spcBef>
              <a:spcAft>
                <a:spcPts val="0"/>
              </a:spcAft>
              <a:buClr>
                <a:schemeClr val="dk1"/>
              </a:buClr>
              <a:buSzPts val="1800"/>
              <a:buFont typeface="Arial"/>
              <a:buNone/>
              <a:defRPr sz="2400" b="0" i="0" u="none" strike="noStrike" cap="none">
                <a:solidFill>
                  <a:schemeClr val="dk1"/>
                </a:solidFill>
                <a:latin typeface="Corbel"/>
                <a:ea typeface="Corbel"/>
                <a:cs typeface="Corbel"/>
                <a:sym typeface="Corbel"/>
              </a:defRPr>
            </a:lvl1pPr>
            <a:lvl2pPr marR="0" lvl="1" algn="l" rtl="0">
              <a:lnSpc>
                <a:spcPct val="100000"/>
              </a:lnSpc>
              <a:spcBef>
                <a:spcPts val="0"/>
              </a:spcBef>
              <a:spcAft>
                <a:spcPts val="0"/>
              </a:spcAft>
              <a:buClr>
                <a:schemeClr val="dk1"/>
              </a:buClr>
              <a:buSzPts val="1800"/>
              <a:buFont typeface="Arial"/>
              <a:buChar char="•"/>
              <a:defRPr sz="2400" b="0" i="0" u="none" strike="noStrike" cap="none">
                <a:solidFill>
                  <a:schemeClr val="dk1"/>
                </a:solidFill>
                <a:latin typeface="Corbel"/>
                <a:ea typeface="Corbel"/>
                <a:cs typeface="Corbel"/>
                <a:sym typeface="Corbel"/>
              </a:defRPr>
            </a:lvl2pPr>
            <a:lvl3pPr marR="0" lvl="2" algn="l" rtl="0">
              <a:lnSpc>
                <a:spcPct val="100000"/>
              </a:lnSpc>
              <a:spcBef>
                <a:spcPts val="0"/>
              </a:spcBef>
              <a:spcAft>
                <a:spcPts val="0"/>
              </a:spcAft>
              <a:buClr>
                <a:schemeClr val="dk1"/>
              </a:buClr>
              <a:buSzPts val="1800"/>
              <a:buFont typeface="Arial"/>
              <a:buChar char="•"/>
              <a:defRPr sz="2400" b="0" i="0" u="none" strike="noStrike" cap="none">
                <a:solidFill>
                  <a:schemeClr val="dk1"/>
                </a:solidFill>
                <a:latin typeface="Corbel"/>
                <a:ea typeface="Corbel"/>
                <a:cs typeface="Corbel"/>
                <a:sym typeface="Corbel"/>
              </a:defRPr>
            </a:lvl3pPr>
            <a:lvl4pPr marR="0" lvl="3" algn="l" rtl="0">
              <a:lnSpc>
                <a:spcPct val="100000"/>
              </a:lnSpc>
              <a:spcBef>
                <a:spcPts val="0"/>
              </a:spcBef>
              <a:spcAft>
                <a:spcPts val="0"/>
              </a:spcAft>
              <a:buClr>
                <a:schemeClr val="dk1"/>
              </a:buClr>
              <a:buSzPts val="1800"/>
              <a:buFont typeface="Arial"/>
              <a:buChar char="•"/>
              <a:defRPr sz="2400" b="0" i="0" u="none" strike="noStrike" cap="none">
                <a:solidFill>
                  <a:schemeClr val="dk1"/>
                </a:solidFill>
                <a:latin typeface="Corbel"/>
                <a:ea typeface="Corbel"/>
                <a:cs typeface="Corbel"/>
                <a:sym typeface="Corbel"/>
              </a:defRPr>
            </a:lvl4pPr>
            <a:lvl5pPr marR="0" lvl="4" algn="l" rtl="0">
              <a:lnSpc>
                <a:spcPct val="100000"/>
              </a:lnSpc>
              <a:spcBef>
                <a:spcPts val="0"/>
              </a:spcBef>
              <a:spcAft>
                <a:spcPts val="0"/>
              </a:spcAft>
              <a:buClr>
                <a:schemeClr val="dk1"/>
              </a:buClr>
              <a:buSzPts val="1800"/>
              <a:buFont typeface="Arial"/>
              <a:buChar char="•"/>
              <a:defRPr sz="2400" b="0" i="0" u="none" strike="noStrike" cap="none">
                <a:solidFill>
                  <a:schemeClr val="dk1"/>
                </a:solidFill>
                <a:latin typeface="Corbel"/>
                <a:ea typeface="Corbel"/>
                <a:cs typeface="Corbel"/>
                <a:sym typeface="Corbel"/>
              </a:defRPr>
            </a:lvl5pPr>
            <a:lvl6pPr marR="0" lvl="5" algn="l" rtl="0">
              <a:spcBef>
                <a:spcPts val="533"/>
              </a:spcBef>
              <a:spcAft>
                <a:spcPts val="0"/>
              </a:spcAft>
              <a:buClr>
                <a:schemeClr val="dk1"/>
              </a:buClr>
              <a:buSzPts val="2000"/>
              <a:buFont typeface="Arial"/>
              <a:buChar char="•"/>
              <a:defRPr sz="2667" b="0" i="0" u="none" strike="noStrike" cap="none">
                <a:solidFill>
                  <a:schemeClr val="dk1"/>
                </a:solidFill>
                <a:latin typeface="Corbel"/>
                <a:ea typeface="Corbel"/>
                <a:cs typeface="Corbel"/>
                <a:sym typeface="Corbel"/>
              </a:defRPr>
            </a:lvl6pPr>
            <a:lvl7pPr marR="0" lvl="6" algn="l" rtl="0">
              <a:spcBef>
                <a:spcPts val="533"/>
              </a:spcBef>
              <a:spcAft>
                <a:spcPts val="0"/>
              </a:spcAft>
              <a:buClr>
                <a:schemeClr val="dk1"/>
              </a:buClr>
              <a:buSzPts val="2000"/>
              <a:buFont typeface="Arial"/>
              <a:buChar char="•"/>
              <a:defRPr sz="2667" b="0" i="0" u="none" strike="noStrike" cap="none">
                <a:solidFill>
                  <a:schemeClr val="dk1"/>
                </a:solidFill>
                <a:latin typeface="Corbel"/>
                <a:ea typeface="Corbel"/>
                <a:cs typeface="Corbel"/>
                <a:sym typeface="Corbel"/>
              </a:defRPr>
            </a:lvl7pPr>
            <a:lvl8pPr marR="0" lvl="7" algn="l" rtl="0">
              <a:spcBef>
                <a:spcPts val="533"/>
              </a:spcBef>
              <a:spcAft>
                <a:spcPts val="0"/>
              </a:spcAft>
              <a:buClr>
                <a:schemeClr val="dk1"/>
              </a:buClr>
              <a:buSzPts val="2000"/>
              <a:buFont typeface="Arial"/>
              <a:buChar char="•"/>
              <a:defRPr sz="2667" b="0" i="0" u="none" strike="noStrike" cap="none">
                <a:solidFill>
                  <a:schemeClr val="dk1"/>
                </a:solidFill>
                <a:latin typeface="Corbel"/>
                <a:ea typeface="Corbel"/>
                <a:cs typeface="Corbel"/>
                <a:sym typeface="Corbel"/>
              </a:defRPr>
            </a:lvl8pPr>
            <a:lvl9pPr marR="0" lvl="8" algn="l" rtl="0">
              <a:spcBef>
                <a:spcPts val="533"/>
              </a:spcBef>
              <a:spcAft>
                <a:spcPts val="0"/>
              </a:spcAft>
              <a:buClr>
                <a:schemeClr val="dk1"/>
              </a:buClr>
              <a:buSzPts val="2000"/>
              <a:buFont typeface="Arial"/>
              <a:buChar char="•"/>
              <a:defRPr sz="2667" b="0" i="0" u="none" strike="noStrike" cap="none">
                <a:solidFill>
                  <a:schemeClr val="dk1"/>
                </a:solidFill>
                <a:latin typeface="Corbel"/>
                <a:ea typeface="Corbel"/>
                <a:cs typeface="Corbel"/>
                <a:sym typeface="Corbel"/>
              </a:defRPr>
            </a:lvl9pPr>
          </a:lstStyle>
          <a:p>
            <a:endParaRPr/>
          </a:p>
        </p:txBody>
      </p:sp>
      <p:sp>
        <p:nvSpPr>
          <p:cNvPr id="195" name="Google Shape;195;p34"/>
          <p:cNvSpPr txBox="1">
            <a:spLocks noGrp="1"/>
          </p:cNvSpPr>
          <p:nvPr>
            <p:ph type="body" idx="9"/>
          </p:nvPr>
        </p:nvSpPr>
        <p:spPr>
          <a:xfrm>
            <a:off x="7314275" y="5269285"/>
            <a:ext cx="2054400" cy="991815"/>
          </a:xfrm>
          <a:prstGeom prst="rect">
            <a:avLst/>
          </a:prstGeom>
          <a:noFill/>
          <a:ln>
            <a:noFill/>
          </a:ln>
        </p:spPr>
        <p:txBody>
          <a:bodyPr spcFirstLastPara="1" wrap="square" lIns="0" tIns="0" rIns="0" bIns="0" anchor="t" anchorCtr="0"/>
          <a:lstStyle>
            <a:lvl1pPr marL="609585" lvl="0" indent="-304792" algn="l">
              <a:lnSpc>
                <a:spcPct val="100000"/>
              </a:lnSpc>
              <a:spcBef>
                <a:spcPts val="0"/>
              </a:spcBef>
              <a:spcAft>
                <a:spcPts val="0"/>
              </a:spcAft>
              <a:buClr>
                <a:schemeClr val="dk1"/>
              </a:buClr>
              <a:buSzPts val="1000"/>
              <a:buNone/>
              <a:defRPr sz="1333"/>
            </a:lvl1pPr>
            <a:lvl2pPr marL="1219170" lvl="1" indent="-457189" algn="l">
              <a:lnSpc>
                <a:spcPct val="100000"/>
              </a:lnSpc>
              <a:spcBef>
                <a:spcPts val="0"/>
              </a:spcBef>
              <a:spcAft>
                <a:spcPts val="0"/>
              </a:spcAft>
              <a:buClr>
                <a:schemeClr val="dk1"/>
              </a:buClr>
              <a:buSzPts val="1800"/>
              <a:buChar char="•"/>
              <a:defRPr/>
            </a:lvl2pPr>
            <a:lvl3pPr marL="1828754" lvl="2" indent="-457189" algn="l">
              <a:lnSpc>
                <a:spcPct val="100000"/>
              </a:lnSpc>
              <a:spcBef>
                <a:spcPts val="0"/>
              </a:spcBef>
              <a:spcAft>
                <a:spcPts val="0"/>
              </a:spcAft>
              <a:buClr>
                <a:schemeClr val="dk1"/>
              </a:buClr>
              <a:buSzPts val="1800"/>
              <a:buChar char="•"/>
              <a:defRPr/>
            </a:lvl3pPr>
            <a:lvl4pPr marL="2438339" lvl="3" indent="-457189" algn="l">
              <a:lnSpc>
                <a:spcPct val="100000"/>
              </a:lnSpc>
              <a:spcBef>
                <a:spcPts val="0"/>
              </a:spcBef>
              <a:spcAft>
                <a:spcPts val="0"/>
              </a:spcAft>
              <a:buClr>
                <a:schemeClr val="dk1"/>
              </a:buClr>
              <a:buSzPts val="1800"/>
              <a:buChar char="•"/>
              <a:defRPr/>
            </a:lvl4pPr>
            <a:lvl5pPr marL="3047924" lvl="4" indent="-457189" algn="l">
              <a:lnSpc>
                <a:spcPct val="100000"/>
              </a:lnSpc>
              <a:spcBef>
                <a:spcPts val="0"/>
              </a:spcBef>
              <a:spcAft>
                <a:spcPts val="0"/>
              </a:spcAft>
              <a:buClr>
                <a:schemeClr val="dk1"/>
              </a:buClr>
              <a:buSzPts val="1800"/>
              <a:buChar char="•"/>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196" name="Google Shape;196;p34"/>
          <p:cNvSpPr>
            <a:spLocks noGrp="1"/>
          </p:cNvSpPr>
          <p:nvPr>
            <p:ph type="pic" idx="13"/>
          </p:nvPr>
        </p:nvSpPr>
        <p:spPr>
          <a:xfrm>
            <a:off x="9561867" y="3284984"/>
            <a:ext cx="2054400" cy="1824203"/>
          </a:xfrm>
          <a:prstGeom prst="rect">
            <a:avLst/>
          </a:prstGeom>
          <a:solidFill>
            <a:srgbClr val="D8D8D8"/>
          </a:solidFill>
          <a:ln>
            <a:noFill/>
          </a:ln>
        </p:spPr>
        <p:txBody>
          <a:bodyPr spcFirstLastPara="1" wrap="square" lIns="0" tIns="0" rIns="0" bIns="0" anchor="ctr" anchorCtr="0"/>
          <a:lstStyle>
            <a:lvl1pPr marR="0" lvl="0" algn="ctr" rtl="0">
              <a:lnSpc>
                <a:spcPct val="100000"/>
              </a:lnSpc>
              <a:spcBef>
                <a:spcPts val="0"/>
              </a:spcBef>
              <a:spcAft>
                <a:spcPts val="0"/>
              </a:spcAft>
              <a:buClr>
                <a:schemeClr val="dk1"/>
              </a:buClr>
              <a:buSzPts val="1800"/>
              <a:buFont typeface="Arial"/>
              <a:buNone/>
              <a:defRPr sz="2400" b="0" i="0" u="none" strike="noStrike" cap="none">
                <a:solidFill>
                  <a:schemeClr val="dk1"/>
                </a:solidFill>
                <a:latin typeface="Corbel"/>
                <a:ea typeface="Corbel"/>
                <a:cs typeface="Corbel"/>
                <a:sym typeface="Corbel"/>
              </a:defRPr>
            </a:lvl1pPr>
            <a:lvl2pPr marR="0" lvl="1" algn="l" rtl="0">
              <a:lnSpc>
                <a:spcPct val="100000"/>
              </a:lnSpc>
              <a:spcBef>
                <a:spcPts val="0"/>
              </a:spcBef>
              <a:spcAft>
                <a:spcPts val="0"/>
              </a:spcAft>
              <a:buClr>
                <a:schemeClr val="dk1"/>
              </a:buClr>
              <a:buSzPts val="1800"/>
              <a:buFont typeface="Arial"/>
              <a:buChar char="•"/>
              <a:defRPr sz="2400" b="0" i="0" u="none" strike="noStrike" cap="none">
                <a:solidFill>
                  <a:schemeClr val="dk1"/>
                </a:solidFill>
                <a:latin typeface="Corbel"/>
                <a:ea typeface="Corbel"/>
                <a:cs typeface="Corbel"/>
                <a:sym typeface="Corbel"/>
              </a:defRPr>
            </a:lvl2pPr>
            <a:lvl3pPr marR="0" lvl="2" algn="l" rtl="0">
              <a:lnSpc>
                <a:spcPct val="100000"/>
              </a:lnSpc>
              <a:spcBef>
                <a:spcPts val="0"/>
              </a:spcBef>
              <a:spcAft>
                <a:spcPts val="0"/>
              </a:spcAft>
              <a:buClr>
                <a:schemeClr val="dk1"/>
              </a:buClr>
              <a:buSzPts val="1800"/>
              <a:buFont typeface="Arial"/>
              <a:buChar char="•"/>
              <a:defRPr sz="2400" b="0" i="0" u="none" strike="noStrike" cap="none">
                <a:solidFill>
                  <a:schemeClr val="dk1"/>
                </a:solidFill>
                <a:latin typeface="Corbel"/>
                <a:ea typeface="Corbel"/>
                <a:cs typeface="Corbel"/>
                <a:sym typeface="Corbel"/>
              </a:defRPr>
            </a:lvl3pPr>
            <a:lvl4pPr marR="0" lvl="3" algn="l" rtl="0">
              <a:lnSpc>
                <a:spcPct val="100000"/>
              </a:lnSpc>
              <a:spcBef>
                <a:spcPts val="0"/>
              </a:spcBef>
              <a:spcAft>
                <a:spcPts val="0"/>
              </a:spcAft>
              <a:buClr>
                <a:schemeClr val="dk1"/>
              </a:buClr>
              <a:buSzPts val="1800"/>
              <a:buFont typeface="Arial"/>
              <a:buChar char="•"/>
              <a:defRPr sz="2400" b="0" i="0" u="none" strike="noStrike" cap="none">
                <a:solidFill>
                  <a:schemeClr val="dk1"/>
                </a:solidFill>
                <a:latin typeface="Corbel"/>
                <a:ea typeface="Corbel"/>
                <a:cs typeface="Corbel"/>
                <a:sym typeface="Corbel"/>
              </a:defRPr>
            </a:lvl4pPr>
            <a:lvl5pPr marR="0" lvl="4" algn="l" rtl="0">
              <a:lnSpc>
                <a:spcPct val="100000"/>
              </a:lnSpc>
              <a:spcBef>
                <a:spcPts val="0"/>
              </a:spcBef>
              <a:spcAft>
                <a:spcPts val="0"/>
              </a:spcAft>
              <a:buClr>
                <a:schemeClr val="dk1"/>
              </a:buClr>
              <a:buSzPts val="1800"/>
              <a:buFont typeface="Arial"/>
              <a:buChar char="•"/>
              <a:defRPr sz="2400" b="0" i="0" u="none" strike="noStrike" cap="none">
                <a:solidFill>
                  <a:schemeClr val="dk1"/>
                </a:solidFill>
                <a:latin typeface="Corbel"/>
                <a:ea typeface="Corbel"/>
                <a:cs typeface="Corbel"/>
                <a:sym typeface="Corbel"/>
              </a:defRPr>
            </a:lvl5pPr>
            <a:lvl6pPr marR="0" lvl="5" algn="l" rtl="0">
              <a:spcBef>
                <a:spcPts val="533"/>
              </a:spcBef>
              <a:spcAft>
                <a:spcPts val="0"/>
              </a:spcAft>
              <a:buClr>
                <a:schemeClr val="dk1"/>
              </a:buClr>
              <a:buSzPts val="2000"/>
              <a:buFont typeface="Arial"/>
              <a:buChar char="•"/>
              <a:defRPr sz="2667" b="0" i="0" u="none" strike="noStrike" cap="none">
                <a:solidFill>
                  <a:schemeClr val="dk1"/>
                </a:solidFill>
                <a:latin typeface="Corbel"/>
                <a:ea typeface="Corbel"/>
                <a:cs typeface="Corbel"/>
                <a:sym typeface="Corbel"/>
              </a:defRPr>
            </a:lvl6pPr>
            <a:lvl7pPr marR="0" lvl="6" algn="l" rtl="0">
              <a:spcBef>
                <a:spcPts val="533"/>
              </a:spcBef>
              <a:spcAft>
                <a:spcPts val="0"/>
              </a:spcAft>
              <a:buClr>
                <a:schemeClr val="dk1"/>
              </a:buClr>
              <a:buSzPts val="2000"/>
              <a:buFont typeface="Arial"/>
              <a:buChar char="•"/>
              <a:defRPr sz="2667" b="0" i="0" u="none" strike="noStrike" cap="none">
                <a:solidFill>
                  <a:schemeClr val="dk1"/>
                </a:solidFill>
                <a:latin typeface="Corbel"/>
                <a:ea typeface="Corbel"/>
                <a:cs typeface="Corbel"/>
                <a:sym typeface="Corbel"/>
              </a:defRPr>
            </a:lvl7pPr>
            <a:lvl8pPr marR="0" lvl="7" algn="l" rtl="0">
              <a:spcBef>
                <a:spcPts val="533"/>
              </a:spcBef>
              <a:spcAft>
                <a:spcPts val="0"/>
              </a:spcAft>
              <a:buClr>
                <a:schemeClr val="dk1"/>
              </a:buClr>
              <a:buSzPts val="2000"/>
              <a:buFont typeface="Arial"/>
              <a:buChar char="•"/>
              <a:defRPr sz="2667" b="0" i="0" u="none" strike="noStrike" cap="none">
                <a:solidFill>
                  <a:schemeClr val="dk1"/>
                </a:solidFill>
                <a:latin typeface="Corbel"/>
                <a:ea typeface="Corbel"/>
                <a:cs typeface="Corbel"/>
                <a:sym typeface="Corbel"/>
              </a:defRPr>
            </a:lvl8pPr>
            <a:lvl9pPr marR="0" lvl="8" algn="l" rtl="0">
              <a:spcBef>
                <a:spcPts val="533"/>
              </a:spcBef>
              <a:spcAft>
                <a:spcPts val="0"/>
              </a:spcAft>
              <a:buClr>
                <a:schemeClr val="dk1"/>
              </a:buClr>
              <a:buSzPts val="2000"/>
              <a:buFont typeface="Arial"/>
              <a:buChar char="•"/>
              <a:defRPr sz="2667" b="0" i="0" u="none" strike="noStrike" cap="none">
                <a:solidFill>
                  <a:schemeClr val="dk1"/>
                </a:solidFill>
                <a:latin typeface="Corbel"/>
                <a:ea typeface="Corbel"/>
                <a:cs typeface="Corbel"/>
                <a:sym typeface="Corbel"/>
              </a:defRPr>
            </a:lvl9pPr>
          </a:lstStyle>
          <a:p>
            <a:endParaRPr/>
          </a:p>
        </p:txBody>
      </p:sp>
      <p:sp>
        <p:nvSpPr>
          <p:cNvPr id="197" name="Google Shape;197;p34"/>
          <p:cNvSpPr txBox="1">
            <a:spLocks noGrp="1"/>
          </p:cNvSpPr>
          <p:nvPr>
            <p:ph type="body" idx="14"/>
          </p:nvPr>
        </p:nvSpPr>
        <p:spPr>
          <a:xfrm>
            <a:off x="9561867" y="5269285"/>
            <a:ext cx="2054400" cy="991815"/>
          </a:xfrm>
          <a:prstGeom prst="rect">
            <a:avLst/>
          </a:prstGeom>
          <a:noFill/>
          <a:ln>
            <a:noFill/>
          </a:ln>
        </p:spPr>
        <p:txBody>
          <a:bodyPr spcFirstLastPara="1" wrap="square" lIns="0" tIns="0" rIns="0" bIns="0" anchor="t" anchorCtr="0"/>
          <a:lstStyle>
            <a:lvl1pPr marL="609585" lvl="0" indent="-304792" algn="l">
              <a:lnSpc>
                <a:spcPct val="100000"/>
              </a:lnSpc>
              <a:spcBef>
                <a:spcPts val="0"/>
              </a:spcBef>
              <a:spcAft>
                <a:spcPts val="0"/>
              </a:spcAft>
              <a:buClr>
                <a:schemeClr val="dk1"/>
              </a:buClr>
              <a:buSzPts val="1000"/>
              <a:buNone/>
              <a:defRPr sz="1333"/>
            </a:lvl1pPr>
            <a:lvl2pPr marL="1219170" lvl="1" indent="-457189" algn="l">
              <a:lnSpc>
                <a:spcPct val="100000"/>
              </a:lnSpc>
              <a:spcBef>
                <a:spcPts val="0"/>
              </a:spcBef>
              <a:spcAft>
                <a:spcPts val="0"/>
              </a:spcAft>
              <a:buClr>
                <a:schemeClr val="dk1"/>
              </a:buClr>
              <a:buSzPts val="1800"/>
              <a:buChar char="•"/>
              <a:defRPr/>
            </a:lvl2pPr>
            <a:lvl3pPr marL="1828754" lvl="2" indent="-457189" algn="l">
              <a:lnSpc>
                <a:spcPct val="100000"/>
              </a:lnSpc>
              <a:spcBef>
                <a:spcPts val="0"/>
              </a:spcBef>
              <a:spcAft>
                <a:spcPts val="0"/>
              </a:spcAft>
              <a:buClr>
                <a:schemeClr val="dk1"/>
              </a:buClr>
              <a:buSzPts val="1800"/>
              <a:buChar char="•"/>
              <a:defRPr/>
            </a:lvl3pPr>
            <a:lvl4pPr marL="2438339" lvl="3" indent="-457189" algn="l">
              <a:lnSpc>
                <a:spcPct val="100000"/>
              </a:lnSpc>
              <a:spcBef>
                <a:spcPts val="0"/>
              </a:spcBef>
              <a:spcAft>
                <a:spcPts val="0"/>
              </a:spcAft>
              <a:buClr>
                <a:schemeClr val="dk1"/>
              </a:buClr>
              <a:buSzPts val="1800"/>
              <a:buChar char="•"/>
              <a:defRPr/>
            </a:lvl4pPr>
            <a:lvl5pPr marL="3047924" lvl="4" indent="-457189" algn="l">
              <a:lnSpc>
                <a:spcPct val="100000"/>
              </a:lnSpc>
              <a:spcBef>
                <a:spcPts val="0"/>
              </a:spcBef>
              <a:spcAft>
                <a:spcPts val="0"/>
              </a:spcAft>
              <a:buClr>
                <a:schemeClr val="dk1"/>
              </a:buClr>
              <a:buSzPts val="1800"/>
              <a:buChar char="•"/>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198" name="Google Shape;198;p34"/>
          <p:cNvSpPr txBox="1">
            <a:spLocks noGrp="1"/>
          </p:cNvSpPr>
          <p:nvPr>
            <p:ph type="title"/>
          </p:nvPr>
        </p:nvSpPr>
        <p:spPr>
          <a:xfrm>
            <a:off x="575732" y="439968"/>
            <a:ext cx="8987368" cy="780787"/>
          </a:xfrm>
          <a:prstGeom prst="rect">
            <a:avLst/>
          </a:prstGeom>
          <a:noFill/>
          <a:ln>
            <a:noFill/>
          </a:ln>
        </p:spPr>
        <p:txBody>
          <a:bodyPr spcFirstLastPara="1" wrap="square" lIns="0" tIns="0" rIns="0" bIns="0" anchor="t" anchorCtr="0"/>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429048272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Image-chart 3/4 brushed ">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1"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3" name="Title 2"/>
          <p:cNvSpPr>
            <a:spLocks noGrp="1"/>
          </p:cNvSpPr>
          <p:nvPr>
            <p:ph type="title" hasCustomPrompt="1"/>
          </p:nvPr>
        </p:nvSpPr>
        <p:spPr>
          <a:xfrm>
            <a:off x="628323" y="288859"/>
            <a:ext cx="10932455" cy="1025684"/>
          </a:xfrm>
        </p:spPr>
        <p:txBody>
          <a:bodyPr wrap="square">
            <a:spAutoFit/>
          </a:bodyPr>
          <a:lstStyle>
            <a:lvl1pPr>
              <a:defRPr>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40476109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1140.xml><?xml version="1.0" encoding="utf-8"?>
<p:sldLayout xmlns:a="http://schemas.openxmlformats.org/drawingml/2006/main" xmlns:r="http://schemas.openxmlformats.org/officeDocument/2006/relationships" xmlns:p="http://schemas.openxmlformats.org/presentationml/2006/main" showMasterSp="0" userDrawn="1">
  <p:cSld name="4_Divider 2">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E064CE14-7E46-4B38-A576-1AC7795256DE}"/>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25701446"/>
      </p:ext>
    </p:extLst>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showMasterSp="0" userDrawn="1">
  <p:cSld name="5_Divider 2">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E064CE14-7E46-4B38-A576-1AC7795256DE}"/>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393668136"/>
      </p:ext>
    </p:extLst>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showMasterSp="0" userDrawn="1">
  <p:cSld name="6_Divider 2">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E064CE14-7E46-4B38-A576-1AC7795256DE}"/>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147163206"/>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preserve="1" userDrawn="1">
  <p:cSld name="Title Only ">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299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pyright" hidden="1"/>
          <p:cNvSpPr txBox="1"/>
          <p:nvPr userDrawn="1"/>
        </p:nvSpPr>
        <p:spPr>
          <a:xfrm rot="16200000">
            <a:off x="9894760" y="3895344"/>
            <a:ext cx="4318256" cy="98745"/>
          </a:xfrm>
          <a:prstGeom prst="rect">
            <a:avLst/>
          </a:prstGeom>
          <a:noFill/>
        </p:spPr>
        <p:txBody>
          <a:bodyPr wrap="square" lIns="0" tIns="0" rIns="0" bIns="0" rtlCol="0" anchor="t">
            <a:noAutofit/>
          </a:bodyPr>
          <a:lstStyle/>
          <a:p>
            <a:pPr>
              <a:lnSpc>
                <a:spcPct val="90000"/>
              </a:lnSpc>
              <a:spcAft>
                <a:spcPts val="600"/>
              </a:spcAft>
            </a:pPr>
            <a:r>
              <a:rPr lang="en-US" sz="700" smtClean="0">
                <a:solidFill>
                  <a:srgbClr val="FFFFFF">
                    <a:lumMod val="50000"/>
                  </a:srgbClr>
                </a:solidFill>
                <a:sym typeface="CorpoS" pitchFamily="2" charset="0"/>
              </a:rPr>
              <a:t>Copyright © 2019 by The Boston Consulting Group, Inc. All rights reserved.</a:t>
            </a:r>
            <a:endParaRPr lang="en-US" sz="700" dirty="0">
              <a:solidFill>
                <a:srgbClr val="FFFFFF">
                  <a:lumMod val="50000"/>
                </a:srgbClr>
              </a:solidFill>
              <a:sym typeface="CorpoS" pitchFamily="2" charset="0"/>
            </a:endParaRPr>
          </a:p>
        </p:txBody>
      </p:sp>
      <p:sp>
        <p:nvSpPr>
          <p:cNvPr id="5" name="Title 4"/>
          <p:cNvSpPr>
            <a:spLocks noGrp="1"/>
          </p:cNvSpPr>
          <p:nvPr>
            <p:ph type="title" hasCustomPrompt="1"/>
          </p:nvPr>
        </p:nvSpPr>
        <p:spPr>
          <a:xfrm>
            <a:off x="630000" y="622800"/>
            <a:ext cx="10933200" cy="48474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500" b="0" i="0" u="none" kern="1200" spc="0">
                <a:solidFill>
                  <a:srgbClr val="000000"/>
                </a:solidFill>
                <a:latin typeface="CorpoS" pitchFamily="2" charset="0"/>
                <a:sym typeface="CorpoS" pitchFamily="2" charset="0"/>
              </a:defRPr>
            </a:lvl1pPr>
          </a:lstStyle>
          <a:p>
            <a:pPr lvl="0"/>
            <a:r>
              <a:rPr lang="en-US" dirty="0" smtClean="0"/>
              <a:t>Click to add title</a:t>
            </a:r>
            <a:endParaRPr lang="en-US" dirty="0"/>
          </a:p>
        </p:txBody>
      </p:sp>
      <p:sp>
        <p:nvSpPr>
          <p:cNvPr id="8" name="Daimler AG (Wortmarke)"/>
          <p:cNvSpPr>
            <a:spLocks noChangeArrowheads="1"/>
          </p:cNvSpPr>
          <p:nvPr userDrawn="1"/>
        </p:nvSpPr>
        <p:spPr bwMode="auto">
          <a:xfrm>
            <a:off x="629672" y="6564880"/>
            <a:ext cx="4958328"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t>
            </a:r>
            <a:r>
              <a:rPr lang="de-DE" sz="1199" dirty="0" smtClean="0">
                <a:solidFill>
                  <a:prstClr val="black"/>
                </a:solidFill>
                <a:latin typeface="CorpoS"/>
                <a:cs typeface="Daimler CS"/>
              </a:rPr>
              <a:t>Financial Services</a:t>
            </a:r>
            <a:endParaRPr lang="en-US" sz="1200" dirty="0" smtClean="0">
              <a:solidFill>
                <a:srgbClr val="000000"/>
              </a:solidFill>
              <a:latin typeface="CorpoS" pitchFamily="2" charset="0"/>
              <a:cs typeface="Daimler CS"/>
              <a:sym typeface="CorpoS" pitchFamily="2" charset="0"/>
            </a:endParaRPr>
          </a:p>
          <a:p>
            <a:pPr defTabSz="1088415">
              <a:defRPr/>
            </a:pPr>
            <a:endParaRPr lang="de-DE" sz="1199" dirty="0">
              <a:solidFill>
                <a:prstClr val="black"/>
              </a:solidFill>
              <a:latin typeface="CorpoS"/>
              <a:cs typeface="Daimler CS"/>
            </a:endParaRPr>
          </a:p>
        </p:txBody>
      </p:sp>
      <p:cxnSp>
        <p:nvCxnSpPr>
          <p:cNvPr id="9"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Tree>
    <p:extLst>
      <p:ext uri="{BB962C8B-B14F-4D97-AF65-F5344CB8AC3E}">
        <p14:creationId xmlns:p14="http://schemas.microsoft.com/office/powerpoint/2010/main" val="5949248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144.xml><?xml version="1.0" encoding="utf-8"?>
<p:sldLayout xmlns:a="http://schemas.openxmlformats.org/drawingml/2006/main" xmlns:r="http://schemas.openxmlformats.org/officeDocument/2006/relationships" xmlns:p="http://schemas.openxmlformats.org/presentationml/2006/main" preserve="1" userDrawn="1">
  <p:cSld name="Title Only III">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401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pyright" hidden="1"/>
          <p:cNvSpPr txBox="1"/>
          <p:nvPr userDrawn="1"/>
        </p:nvSpPr>
        <p:spPr>
          <a:xfrm rot="16200000">
            <a:off x="9894760" y="3895344"/>
            <a:ext cx="4318256" cy="98745"/>
          </a:xfrm>
          <a:prstGeom prst="rect">
            <a:avLst/>
          </a:prstGeom>
          <a:noFill/>
        </p:spPr>
        <p:txBody>
          <a:bodyPr wrap="square" lIns="0" tIns="0" rIns="0" bIns="0" rtlCol="0" anchor="t">
            <a:noAutofit/>
          </a:bodyPr>
          <a:lstStyle/>
          <a:p>
            <a:pPr>
              <a:lnSpc>
                <a:spcPct val="90000"/>
              </a:lnSpc>
              <a:spcAft>
                <a:spcPts val="600"/>
              </a:spcAft>
            </a:pPr>
            <a:r>
              <a:rPr lang="en-US" sz="700" smtClean="0">
                <a:solidFill>
                  <a:srgbClr val="FFFFFF">
                    <a:lumMod val="50000"/>
                  </a:srgbClr>
                </a:solidFill>
                <a:sym typeface="CorpoS" pitchFamily="2" charset="0"/>
              </a:rPr>
              <a:t>Copyright © 2019 by The Boston Consulting Group, Inc. All rights reserved.</a:t>
            </a:r>
            <a:endParaRPr lang="en-US" sz="700" dirty="0">
              <a:solidFill>
                <a:srgbClr val="FFFFFF">
                  <a:lumMod val="50000"/>
                </a:srgbClr>
              </a:solidFill>
              <a:sym typeface="CorpoS" pitchFamily="2" charset="0"/>
            </a:endParaRPr>
          </a:p>
        </p:txBody>
      </p:sp>
      <p:sp>
        <p:nvSpPr>
          <p:cNvPr id="5" name="Title 4"/>
          <p:cNvSpPr>
            <a:spLocks noGrp="1"/>
          </p:cNvSpPr>
          <p:nvPr>
            <p:ph type="title" hasCustomPrompt="1"/>
          </p:nvPr>
        </p:nvSpPr>
        <p:spPr>
          <a:xfrm>
            <a:off x="630000" y="622800"/>
            <a:ext cx="10933200" cy="48474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500" b="0" i="0" u="none" kern="1200" spc="0">
                <a:solidFill>
                  <a:srgbClr val="000000"/>
                </a:solidFill>
                <a:latin typeface="CorpoS" pitchFamily="2" charset="0"/>
                <a:sym typeface="CorpoS" pitchFamily="2" charset="0"/>
              </a:defRPr>
            </a:lvl1pPr>
          </a:lstStyle>
          <a:p>
            <a:pPr lvl="0"/>
            <a:r>
              <a:rPr lang="en-US" dirty="0" smtClean="0"/>
              <a:t>Click to add title</a:t>
            </a:r>
            <a:endParaRPr lang="en-US" dirty="0"/>
          </a:p>
        </p:txBody>
      </p:sp>
    </p:spTree>
    <p:extLst>
      <p:ext uri="{BB962C8B-B14F-4D97-AF65-F5344CB8AC3E}">
        <p14:creationId xmlns:p14="http://schemas.microsoft.com/office/powerpoint/2010/main" val="1619962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14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504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3500">
                <a:solidFill>
                  <a:schemeClr val="bg1"/>
                </a:solidFill>
                <a:latin typeface="CorpoS" pitchFamily="2" charset="0"/>
                <a:sym typeface="CorpoS" pitchFamily="2" charset="0"/>
              </a:defRPr>
            </a:lvl1pPr>
          </a:lstStyle>
          <a:p>
            <a:r>
              <a:rPr lang="en-US" dirty="0" smtClean="0"/>
              <a:t>Click to add big statement text</a:t>
            </a:r>
            <a:endParaRPr lang="en-US" dirty="0"/>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1042554" y="6566400"/>
            <a:ext cx="720821" cy="215999"/>
          </a:xfrm>
          <a:prstGeom prst="rect">
            <a:avLst/>
          </a:prstGeom>
          <a:noFill/>
          <a:ln/>
          <a:effectLst/>
        </p:spPr>
        <p:txBody>
          <a:bodyPr wrap="none" lIns="0" tIns="0" rIns="0" bIns="0" rtlCol="0">
            <a:noAutofit/>
          </a:bodyPr>
          <a:lstStyle/>
          <a:p>
            <a:pPr>
              <a:defRPr/>
            </a:pPr>
            <a:r>
              <a:rPr lang="en-US" sz="1000" dirty="0" smtClean="0">
                <a:solidFill>
                  <a:srgbClr val="FFFFFF"/>
                </a:solidFill>
                <a:sym typeface="CorpoS" pitchFamily="2" charset="0"/>
              </a:rPr>
              <a:t>Page </a:t>
            </a:r>
            <a:fld id="{9D53E389-1311-4796-9190-1F74A8EADEA2}" type="slidenum">
              <a:rPr lang="en-US" sz="1000" smtClean="0">
                <a:solidFill>
                  <a:srgbClr val="FFFFFF"/>
                </a:solidFill>
                <a:sym typeface="CorpoS" pitchFamily="2" charset="0"/>
              </a:rPr>
              <a:pPr>
                <a:defRPr/>
              </a:pPr>
              <a:t>‹#›</a:t>
            </a:fld>
            <a:endParaRPr lang="en-US" sz="1000" dirty="0" smtClean="0">
              <a:solidFill>
                <a:srgbClr val="FFFFFF"/>
              </a:solidFill>
              <a:sym typeface="CorpoS" pitchFamily="2" charset="0"/>
            </a:endParaRPr>
          </a:p>
          <a:p>
            <a:endParaRPr lang="en-US" sz="1000" dirty="0" smtClean="0">
              <a:solidFill>
                <a:srgbClr val="FFFFFF"/>
              </a:solidFill>
              <a:latin typeface="Arial"/>
            </a:endParaRPr>
          </a:p>
        </p:txBody>
      </p:sp>
      <p:sp>
        <p:nvSpPr>
          <p:cNvPr id="8" name="Copyright" hidden="1"/>
          <p:cNvSpPr txBox="1"/>
          <p:nvPr userDrawn="1"/>
        </p:nvSpPr>
        <p:spPr>
          <a:xfrm rot="16200000">
            <a:off x="9894760" y="3895344"/>
            <a:ext cx="4318256" cy="98745"/>
          </a:xfrm>
          <a:prstGeom prst="rect">
            <a:avLst/>
          </a:prstGeom>
          <a:noFill/>
        </p:spPr>
        <p:txBody>
          <a:bodyPr wrap="square" lIns="0" tIns="0" rIns="0" bIns="0" rtlCol="0" anchor="t">
            <a:noAutofit/>
          </a:bodyPr>
          <a:lstStyle/>
          <a:p>
            <a:pPr>
              <a:lnSpc>
                <a:spcPct val="90000"/>
              </a:lnSpc>
              <a:spcAft>
                <a:spcPts val="600"/>
              </a:spcAft>
            </a:pPr>
            <a:r>
              <a:rPr lang="en-US" sz="700" smtClean="0">
                <a:solidFill>
                  <a:srgbClr val="FFFFFF"/>
                </a:solidFill>
                <a:sym typeface="CorpoS" pitchFamily="2" charset="0"/>
              </a:rPr>
              <a:t>Copyright © 2019 by The Boston Consulting Group, Inc. All rights reserved.</a:t>
            </a:r>
            <a:endParaRPr lang="en-US" sz="700" dirty="0">
              <a:solidFill>
                <a:srgbClr val="FFFFFF"/>
              </a:solidFill>
              <a:sym typeface="CorpoS" pitchFamily="2" charset="0"/>
            </a:endParaRPr>
          </a:p>
        </p:txBody>
      </p:sp>
    </p:spTree>
    <p:extLst>
      <p:ext uri="{BB962C8B-B14F-4D97-AF65-F5344CB8AC3E}">
        <p14:creationId xmlns:p14="http://schemas.microsoft.com/office/powerpoint/2010/main" val="601888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14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6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500">
                <a:solidFill>
                  <a:schemeClr val="bg1"/>
                </a:solidFill>
                <a:latin typeface="CorpoS" pitchFamily="2" charset="0"/>
                <a:sym typeface="CorpoS" pitchFamily="2" charset="0"/>
              </a:defRPr>
            </a:lvl1pPr>
          </a:lstStyle>
          <a:p>
            <a:r>
              <a:rPr lang="en-US" dirty="0" smtClean="0"/>
              <a:t>Click to add title</a:t>
            </a:r>
            <a:endParaRPr lang="en-US" dirty="0"/>
          </a:p>
        </p:txBody>
      </p:sp>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CorpoS" pitchFamily="2" charset="0"/>
            </a:endParaRPr>
          </a:p>
        </p:txBody>
      </p:sp>
      <p:sp>
        <p:nvSpPr>
          <p:cNvPr id="17" name="TextBox 16"/>
          <p:cNvSpPr txBox="1"/>
          <p:nvPr userDrawn="1"/>
        </p:nvSpPr>
        <p:spPr>
          <a:xfrm>
            <a:off x="11042554" y="6566400"/>
            <a:ext cx="720821" cy="215999"/>
          </a:xfrm>
          <a:prstGeom prst="rect">
            <a:avLst/>
          </a:prstGeom>
          <a:noFill/>
          <a:ln/>
          <a:effectLst/>
        </p:spPr>
        <p:txBody>
          <a:bodyPr wrap="none" lIns="0" tIns="0" rIns="0" bIns="0" rtlCol="0">
            <a:noAutofit/>
          </a:bodyPr>
          <a:lstStyle/>
          <a:p>
            <a:pPr>
              <a:defRPr/>
            </a:pPr>
            <a:r>
              <a:rPr lang="en-US" sz="1000" dirty="0" smtClean="0">
                <a:solidFill>
                  <a:srgbClr val="000000"/>
                </a:solidFill>
                <a:sym typeface="CorpoS" pitchFamily="2" charset="0"/>
              </a:rPr>
              <a:t>Page </a:t>
            </a:r>
            <a:fld id="{9D53E389-1311-4796-9190-1F74A8EADEA2}" type="slidenum">
              <a:rPr lang="en-US" sz="1000" smtClean="0">
                <a:solidFill>
                  <a:srgbClr val="000000"/>
                </a:solidFill>
                <a:sym typeface="CorpoS" pitchFamily="2" charset="0"/>
              </a:rPr>
              <a:pPr>
                <a:defRPr/>
              </a:pPr>
              <a:t>‹#›</a:t>
            </a:fld>
            <a:endParaRPr lang="en-US" sz="1000" dirty="0" smtClean="0">
              <a:solidFill>
                <a:srgbClr val="000000"/>
              </a:solidFill>
              <a:sym typeface="CorpoS" pitchFamily="2" charset="0"/>
            </a:endParaRPr>
          </a:p>
          <a:p>
            <a:endParaRPr lang="en-US" sz="1000" dirty="0" smtClean="0">
              <a:solidFill>
                <a:srgbClr val="000000"/>
              </a:solidFill>
              <a:latin typeface="Arial"/>
            </a:endParaRPr>
          </a:p>
        </p:txBody>
      </p:sp>
      <p:sp>
        <p:nvSpPr>
          <p:cNvPr id="18" name="Copyright" hidden="1"/>
          <p:cNvSpPr txBox="1"/>
          <p:nvPr userDrawn="1"/>
        </p:nvSpPr>
        <p:spPr>
          <a:xfrm rot="16200000">
            <a:off x="9894760" y="3895344"/>
            <a:ext cx="4318256" cy="98745"/>
          </a:xfrm>
          <a:prstGeom prst="rect">
            <a:avLst/>
          </a:prstGeom>
          <a:noFill/>
        </p:spPr>
        <p:txBody>
          <a:bodyPr wrap="square" lIns="0" tIns="0" rIns="0" bIns="0" rtlCol="0" anchor="t">
            <a:noAutofit/>
          </a:bodyPr>
          <a:lstStyle/>
          <a:p>
            <a:pPr>
              <a:lnSpc>
                <a:spcPct val="90000"/>
              </a:lnSpc>
              <a:spcAft>
                <a:spcPts val="600"/>
              </a:spcAft>
            </a:pPr>
            <a:r>
              <a:rPr lang="en-US" sz="700" smtClean="0">
                <a:solidFill>
                  <a:srgbClr val="FFFFFF">
                    <a:lumMod val="50000"/>
                  </a:srgbClr>
                </a:solidFill>
                <a:sym typeface="CorpoS" pitchFamily="2" charset="0"/>
              </a:rPr>
              <a:t>Copyright © 2019 by The Boston Consulting Group, Inc. All rights reserved.</a:t>
            </a:r>
            <a:endParaRPr lang="en-US" sz="700" dirty="0">
              <a:solidFill>
                <a:srgbClr val="FFFFFF">
                  <a:lumMod val="50000"/>
                </a:srgbClr>
              </a:solidFill>
              <a:sym typeface="CorpoS" pitchFamily="2" charset="0"/>
            </a:endParaRPr>
          </a:p>
        </p:txBody>
      </p:sp>
    </p:spTree>
    <p:extLst>
      <p:ext uri="{BB962C8B-B14F-4D97-AF65-F5344CB8AC3E}">
        <p14:creationId xmlns:p14="http://schemas.microsoft.com/office/powerpoint/2010/main" val="3985631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147.xml><?xml version="1.0" encoding="utf-8"?>
<p:sldLayout xmlns:a="http://schemas.openxmlformats.org/drawingml/2006/main" xmlns:r="http://schemas.openxmlformats.org/officeDocument/2006/relationships" xmlns:p="http://schemas.openxmlformats.org/presentationml/2006/main" showMasterSp="0" preserve="1" userDrawn="1">
  <p:cSld name="White two third">
    <p:bg bwMode="gray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09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CorpoS" pitchFamily="2"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CorpoS" pitchFamily="2" charset="0"/>
                <a:sym typeface="CorpoS" pitchFamily="2" charset="0"/>
              </a:defRPr>
            </a:lvl1pPr>
          </a:lstStyle>
          <a:p>
            <a:r>
              <a:rPr lang="en-US" dirty="0"/>
              <a:t>Click icon below to insert an image or remove this placeholder to use the whitespace in another way</a:t>
            </a:r>
          </a:p>
        </p:txBody>
      </p:sp>
      <p:sp>
        <p:nvSpPr>
          <p:cNvPr id="17" name="TextBox 16"/>
          <p:cNvSpPr txBox="1"/>
          <p:nvPr userDrawn="1"/>
        </p:nvSpPr>
        <p:spPr>
          <a:xfrm>
            <a:off x="11042554" y="6566400"/>
            <a:ext cx="720821" cy="215999"/>
          </a:xfrm>
          <a:prstGeom prst="rect">
            <a:avLst/>
          </a:prstGeom>
          <a:noFill/>
          <a:ln/>
          <a:effectLst/>
        </p:spPr>
        <p:txBody>
          <a:bodyPr wrap="none" lIns="0" tIns="0" rIns="0" bIns="0" rtlCol="0">
            <a:noAutofit/>
          </a:bodyPr>
          <a:lstStyle/>
          <a:p>
            <a:pPr>
              <a:defRPr/>
            </a:pPr>
            <a:r>
              <a:rPr lang="en-US" sz="1000" dirty="0" smtClean="0">
                <a:solidFill>
                  <a:srgbClr val="000000"/>
                </a:solidFill>
                <a:sym typeface="CorpoS" pitchFamily="2" charset="0"/>
              </a:rPr>
              <a:t>Page </a:t>
            </a:r>
            <a:fld id="{9D53E389-1311-4796-9190-1F74A8EADEA2}" type="slidenum">
              <a:rPr lang="en-US" sz="1000" smtClean="0">
                <a:solidFill>
                  <a:srgbClr val="000000"/>
                </a:solidFill>
                <a:sym typeface="CorpoS" pitchFamily="2" charset="0"/>
              </a:rPr>
              <a:pPr>
                <a:defRPr/>
              </a:pPr>
              <a:t>‹#›</a:t>
            </a:fld>
            <a:endParaRPr lang="en-US" sz="1000" dirty="0" smtClean="0">
              <a:solidFill>
                <a:srgbClr val="000000"/>
              </a:solidFill>
              <a:sym typeface="CorpoS" pitchFamily="2" charset="0"/>
            </a:endParaRPr>
          </a:p>
          <a:p>
            <a:endParaRPr lang="en-US" sz="1000" dirty="0" smtClean="0">
              <a:solidFill>
                <a:srgbClr val="000000"/>
              </a:solidFill>
              <a:latin typeface="Arial"/>
            </a:endParaRPr>
          </a:p>
        </p:txBody>
      </p:sp>
      <p:sp>
        <p:nvSpPr>
          <p:cNvPr id="13" name="Copyright" hidden="1"/>
          <p:cNvSpPr txBox="1"/>
          <p:nvPr userDrawn="1"/>
        </p:nvSpPr>
        <p:spPr>
          <a:xfrm rot="16200000">
            <a:off x="9894760" y="3895344"/>
            <a:ext cx="4318256" cy="98745"/>
          </a:xfrm>
          <a:prstGeom prst="rect">
            <a:avLst/>
          </a:prstGeom>
          <a:noFill/>
        </p:spPr>
        <p:txBody>
          <a:bodyPr wrap="square" lIns="0" tIns="0" rIns="0" bIns="0" rtlCol="0" anchor="t">
            <a:noAutofit/>
          </a:bodyPr>
          <a:lstStyle/>
          <a:p>
            <a:pPr>
              <a:lnSpc>
                <a:spcPct val="90000"/>
              </a:lnSpc>
              <a:spcAft>
                <a:spcPts val="600"/>
              </a:spcAft>
            </a:pPr>
            <a:r>
              <a:rPr lang="en-US" sz="700" smtClean="0">
                <a:solidFill>
                  <a:srgbClr val="FFFFFF">
                    <a:lumMod val="50000"/>
                  </a:srgbClr>
                </a:solidFill>
                <a:sym typeface="CorpoS" pitchFamily="2" charset="0"/>
              </a:rPr>
              <a:t>Copyright © 2019 by The Boston Consulting Group, Inc. All rights reserved.</a:t>
            </a:r>
            <a:endParaRPr lang="en-US" sz="700" dirty="0">
              <a:solidFill>
                <a:srgbClr val="FFFFFF">
                  <a:lumMod val="50000"/>
                </a:srgbClr>
              </a:solidFill>
              <a:sym typeface="CorpoS" pitchFamily="2" charset="0"/>
            </a:endParaRPr>
          </a:p>
        </p:txBody>
      </p:sp>
    </p:spTree>
    <p:extLst>
      <p:ext uri="{BB962C8B-B14F-4D97-AF65-F5344CB8AC3E}">
        <p14:creationId xmlns:p14="http://schemas.microsoft.com/office/powerpoint/2010/main" val="1690958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14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811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CorpoS" pitchFamily="2"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500" baseline="0">
                <a:solidFill>
                  <a:srgbClr val="FFFFFF"/>
                </a:solidFill>
                <a:latin typeface="CorpoS" pitchFamily="2" charset="0"/>
                <a:sym typeface="CorpoS" pitchFamily="2" charset="0"/>
              </a:defRPr>
            </a:lvl1pPr>
          </a:lstStyle>
          <a:p>
            <a:r>
              <a:rPr lang="en-US" dirty="0" smtClean="0"/>
              <a:t>Click to add title</a:t>
            </a:r>
            <a:endParaRPr lang="en-US" dirty="0"/>
          </a:p>
        </p:txBody>
      </p:sp>
      <p:pic>
        <p:nvPicPr>
          <p:cNvPr id="4" name="Picture 3"/>
          <p:cNvPicPr>
            <a:picLocks noChangeAspect="1"/>
          </p:cNvPicPr>
          <p:nvPr userDrawn="1"/>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0" name="TextBox 9"/>
          <p:cNvSpPr txBox="1"/>
          <p:nvPr userDrawn="1"/>
        </p:nvSpPr>
        <p:spPr>
          <a:xfrm>
            <a:off x="11042554" y="6566400"/>
            <a:ext cx="720821" cy="215999"/>
          </a:xfrm>
          <a:prstGeom prst="rect">
            <a:avLst/>
          </a:prstGeom>
          <a:noFill/>
          <a:ln/>
          <a:effectLst/>
        </p:spPr>
        <p:txBody>
          <a:bodyPr wrap="none" lIns="0" tIns="0" rIns="0" bIns="0" rtlCol="0">
            <a:noAutofit/>
          </a:bodyPr>
          <a:lstStyle/>
          <a:p>
            <a:pPr>
              <a:defRPr/>
            </a:pPr>
            <a:r>
              <a:rPr lang="en-US" sz="1000" dirty="0" smtClean="0">
                <a:solidFill>
                  <a:srgbClr val="000000"/>
                </a:solidFill>
                <a:sym typeface="CorpoS" pitchFamily="2" charset="0"/>
              </a:rPr>
              <a:t>Page </a:t>
            </a:r>
            <a:fld id="{9D53E389-1311-4796-9190-1F74A8EADEA2}" type="slidenum">
              <a:rPr lang="en-US" sz="1000" smtClean="0">
                <a:solidFill>
                  <a:srgbClr val="000000"/>
                </a:solidFill>
                <a:sym typeface="CorpoS" pitchFamily="2" charset="0"/>
              </a:rPr>
              <a:pPr>
                <a:defRPr/>
              </a:pPr>
              <a:t>‹#›</a:t>
            </a:fld>
            <a:endParaRPr lang="en-US" sz="1000" dirty="0" smtClean="0">
              <a:solidFill>
                <a:srgbClr val="000000"/>
              </a:solidFill>
              <a:sym typeface="CorpoS" pitchFamily="2" charset="0"/>
            </a:endParaRPr>
          </a:p>
          <a:p>
            <a:endParaRPr lang="en-US" sz="1000" dirty="0" smtClean="0">
              <a:solidFill>
                <a:srgbClr val="000000"/>
              </a:solidFill>
              <a:latin typeface="Arial"/>
            </a:endParaRPr>
          </a:p>
        </p:txBody>
      </p:sp>
      <p:sp>
        <p:nvSpPr>
          <p:cNvPr id="11" name="Copyright" hidden="1"/>
          <p:cNvSpPr txBox="1"/>
          <p:nvPr userDrawn="1"/>
        </p:nvSpPr>
        <p:spPr>
          <a:xfrm rot="16200000">
            <a:off x="9894760" y="3895344"/>
            <a:ext cx="4318256" cy="98745"/>
          </a:xfrm>
          <a:prstGeom prst="rect">
            <a:avLst/>
          </a:prstGeom>
          <a:noFill/>
        </p:spPr>
        <p:txBody>
          <a:bodyPr wrap="square" lIns="0" tIns="0" rIns="0" bIns="0" rtlCol="0" anchor="t">
            <a:noAutofit/>
          </a:bodyPr>
          <a:lstStyle/>
          <a:p>
            <a:pPr>
              <a:lnSpc>
                <a:spcPct val="90000"/>
              </a:lnSpc>
              <a:spcAft>
                <a:spcPts val="600"/>
              </a:spcAft>
            </a:pPr>
            <a:r>
              <a:rPr lang="en-US" sz="700" smtClean="0">
                <a:solidFill>
                  <a:srgbClr val="FFFFFF">
                    <a:lumMod val="50000"/>
                  </a:srgbClr>
                </a:solidFill>
                <a:sym typeface="CorpoS" pitchFamily="2" charset="0"/>
              </a:rPr>
              <a:t>Copyright © 2019 by The Boston Consulting Group, Inc. All rights reserved.</a:t>
            </a:r>
            <a:endParaRPr lang="en-US" sz="700" dirty="0">
              <a:solidFill>
                <a:srgbClr val="FFFFFF">
                  <a:lumMod val="50000"/>
                </a:srgbClr>
              </a:solidFill>
              <a:sym typeface="CorpoS" pitchFamily="2" charset="0"/>
            </a:endParaRPr>
          </a:p>
        </p:txBody>
      </p:sp>
    </p:spTree>
    <p:extLst>
      <p:ext uri="{BB962C8B-B14F-4D97-AF65-F5344CB8AC3E}">
        <p14:creationId xmlns:p14="http://schemas.microsoft.com/office/powerpoint/2010/main" val="582511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149.xml><?xml version="1.0" encoding="utf-8"?>
<p:sldLayout xmlns:a="http://schemas.openxmlformats.org/drawingml/2006/main" xmlns:r="http://schemas.openxmlformats.org/officeDocument/2006/relationships" xmlns:p="http://schemas.openxmlformats.org/presentationml/2006/main" showMasterSp="0" userDrawn="1">
  <p:cSld name="3_KITT_Blue">
    <p:bg>
      <p:bgPr>
        <a:solidFill>
          <a:srgbClr val="337693"/>
        </a:solidFill>
        <a:effectLst/>
      </p:bgPr>
    </p:bg>
    <p:spTree>
      <p:nvGrpSpPr>
        <p:cNvPr id="1" name=""/>
        <p:cNvGrpSpPr/>
        <p:nvPr/>
      </p:nvGrpSpPr>
      <p:grpSpPr>
        <a:xfrm>
          <a:off x="0" y="0"/>
          <a:ext cx="0" cy="0"/>
          <a:chOff x="0" y="0"/>
          <a:chExt cx="0" cy="0"/>
        </a:xfrm>
      </p:grpSpPr>
      <p:sp>
        <p:nvSpPr>
          <p:cNvPr id="8" name="Inhaltsplatzhalter 3">
            <a:extLst>
              <a:ext uri="{FF2B5EF4-FFF2-40B4-BE49-F238E27FC236}">
                <a16:creationId xmlns:a16="http://schemas.microsoft.com/office/drawing/2014/main" id="{964DCD15-F37F-47D8-A21E-6AE7697CC054}"/>
              </a:ext>
            </a:extLst>
          </p:cNvPr>
          <p:cNvSpPr>
            <a:spLocks noGrp="1"/>
          </p:cNvSpPr>
          <p:nvPr>
            <p:ph sz="quarter" idx="10" hasCustomPrompt="1"/>
          </p:nvPr>
        </p:nvSpPr>
        <p:spPr bwMode="gray">
          <a:xfrm>
            <a:off x="3" y="1"/>
            <a:ext cx="12203185" cy="1411817"/>
          </a:xfrm>
          <a:custGeom>
            <a:avLst/>
            <a:gdLst>
              <a:gd name="connsiteX0" fmla="*/ 0 w 9144000"/>
              <a:gd name="connsiteY0" fmla="*/ 0 h 1058863"/>
              <a:gd name="connsiteX1" fmla="*/ 9144000 w 9144000"/>
              <a:gd name="connsiteY1" fmla="*/ 0 h 1058863"/>
              <a:gd name="connsiteX2" fmla="*/ 9144000 w 9144000"/>
              <a:gd name="connsiteY2" fmla="*/ 1058863 h 1058863"/>
              <a:gd name="connsiteX3" fmla="*/ 0 w 9144000"/>
              <a:gd name="connsiteY3" fmla="*/ 1058863 h 1058863"/>
              <a:gd name="connsiteX4" fmla="*/ 0 w 9144000"/>
              <a:gd name="connsiteY4" fmla="*/ 0 h 1058863"/>
              <a:gd name="connsiteX0" fmla="*/ 0 w 9152389"/>
              <a:gd name="connsiteY0" fmla="*/ 0 h 1058863"/>
              <a:gd name="connsiteX1" fmla="*/ 9144000 w 9152389"/>
              <a:gd name="connsiteY1" fmla="*/ 0 h 1058863"/>
              <a:gd name="connsiteX2" fmla="*/ 9152389 w 9152389"/>
              <a:gd name="connsiteY2" fmla="*/ 723303 h 1058863"/>
              <a:gd name="connsiteX3" fmla="*/ 0 w 9152389"/>
              <a:gd name="connsiteY3" fmla="*/ 1058863 h 1058863"/>
              <a:gd name="connsiteX4" fmla="*/ 0 w 9152389"/>
              <a:gd name="connsiteY4" fmla="*/ 0 h 1058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2389" h="1058863">
                <a:moveTo>
                  <a:pt x="0" y="0"/>
                </a:moveTo>
                <a:lnTo>
                  <a:pt x="9144000" y="0"/>
                </a:lnTo>
                <a:cubicBezTo>
                  <a:pt x="9146796" y="241101"/>
                  <a:pt x="9149593" y="482202"/>
                  <a:pt x="9152389" y="723303"/>
                </a:cubicBezTo>
                <a:lnTo>
                  <a:pt x="0" y="1058863"/>
                </a:lnTo>
                <a:lnTo>
                  <a:pt x="0" y="0"/>
                </a:lnTo>
                <a:close/>
              </a:path>
            </a:pathLst>
          </a:custGeom>
          <a:ln>
            <a:noFill/>
          </a:ln>
          <a:effectLst>
            <a:outerShdw blurRad="635000" dist="1270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32000" tIns="144000" rtlCol="0" anchor="t" anchorCtr="0"/>
          <a:lstStyle>
            <a:lvl1pPr marL="0" indent="0">
              <a:buNone/>
              <a:defRPr lang="de-DE" sz="3198" b="1" cap="all" dirty="0" smtClean="0">
                <a:solidFill>
                  <a:schemeClr val="lt1"/>
                </a:solidFill>
              </a:defRPr>
            </a:lvl1pPr>
          </a:lstStyle>
          <a:p>
            <a:pPr marL="0" lvl="0"/>
            <a:r>
              <a:rPr lang="de-DE" dirty="0" err="1"/>
              <a:t>TitEl</a:t>
            </a:r>
            <a:endParaRPr lang="de-DE" dirty="0"/>
          </a:p>
        </p:txBody>
      </p:sp>
    </p:spTree>
    <p:extLst>
      <p:ext uri="{BB962C8B-B14F-4D97-AF65-F5344CB8AC3E}">
        <p14:creationId xmlns:p14="http://schemas.microsoft.com/office/powerpoint/2010/main" val="2280572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Image-chart 1/4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a:extLst>
              <a:ext uri="{28A0092B-C50C-407E-A947-70E740481C1C}">
                <a14:useLocalDpi xmlns:a14="http://schemas.microsoft.com/office/drawing/2010/main" val="0"/>
              </a:ext>
            </a:extLst>
          </a:blip>
          <a:srcRect b="5375"/>
          <a:stretch/>
        </p:blipFill>
        <p:spPr bwMode="white">
          <a:xfrm>
            <a:off x="0" y="-1"/>
            <a:ext cx="12190451" cy="6487839"/>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3" name="Title 2"/>
          <p:cNvSpPr>
            <a:spLocks noGrp="1"/>
          </p:cNvSpPr>
          <p:nvPr>
            <p:ph type="title" hasCustomPrompt="1"/>
          </p:nvPr>
        </p:nvSpPr>
        <p:spPr>
          <a:xfrm>
            <a:off x="630116" y="288857"/>
            <a:ext cx="10930662" cy="1151733"/>
          </a:xfrm>
        </p:spPr>
        <p:txBody>
          <a:bodyPr/>
          <a:lstStyle>
            <a:lvl1pPr>
              <a:defRPr baseline="0">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47113867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1150.xml><?xml version="1.0" encoding="utf-8"?>
<p:sldLayout xmlns:a="http://schemas.openxmlformats.org/drawingml/2006/main" xmlns:r="http://schemas.openxmlformats.org/officeDocument/2006/relationships" xmlns:p="http://schemas.openxmlformats.org/presentationml/2006/main" showMasterSp="0" userDrawn="1">
  <p:cSld name="Contengt_Gri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1BB0BABF-4D0B-4B50-B5DD-6F1B2C498084}"/>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rcRect/>
          <a:stretch/>
        </p:blipFill>
        <p:spPr>
          <a:xfrm>
            <a:off x="0" y="0"/>
            <a:ext cx="12192000" cy="6858000"/>
          </a:xfrm>
          <a:prstGeom prst="rect">
            <a:avLst/>
          </a:prstGeom>
        </p:spPr>
      </p:pic>
      <p:sp>
        <p:nvSpPr>
          <p:cNvPr id="4" name="Inhaltsplatzhalter 3">
            <a:extLst>
              <a:ext uri="{FF2B5EF4-FFF2-40B4-BE49-F238E27FC236}">
                <a16:creationId xmlns:a16="http://schemas.microsoft.com/office/drawing/2014/main" id="{E8622F02-2C07-425D-B92A-180577AD9FBD}"/>
              </a:ext>
            </a:extLst>
          </p:cNvPr>
          <p:cNvSpPr>
            <a:spLocks noGrp="1"/>
          </p:cNvSpPr>
          <p:nvPr>
            <p:ph sz="quarter" idx="10" hasCustomPrompt="1"/>
          </p:nvPr>
        </p:nvSpPr>
        <p:spPr bwMode="gray">
          <a:xfrm>
            <a:off x="3" y="1"/>
            <a:ext cx="12203185" cy="1411817"/>
          </a:xfrm>
          <a:custGeom>
            <a:avLst/>
            <a:gdLst>
              <a:gd name="connsiteX0" fmla="*/ 0 w 9144000"/>
              <a:gd name="connsiteY0" fmla="*/ 0 h 1058863"/>
              <a:gd name="connsiteX1" fmla="*/ 9144000 w 9144000"/>
              <a:gd name="connsiteY1" fmla="*/ 0 h 1058863"/>
              <a:gd name="connsiteX2" fmla="*/ 9144000 w 9144000"/>
              <a:gd name="connsiteY2" fmla="*/ 1058863 h 1058863"/>
              <a:gd name="connsiteX3" fmla="*/ 0 w 9144000"/>
              <a:gd name="connsiteY3" fmla="*/ 1058863 h 1058863"/>
              <a:gd name="connsiteX4" fmla="*/ 0 w 9144000"/>
              <a:gd name="connsiteY4" fmla="*/ 0 h 1058863"/>
              <a:gd name="connsiteX0" fmla="*/ 0 w 9152389"/>
              <a:gd name="connsiteY0" fmla="*/ 0 h 1058863"/>
              <a:gd name="connsiteX1" fmla="*/ 9144000 w 9152389"/>
              <a:gd name="connsiteY1" fmla="*/ 0 h 1058863"/>
              <a:gd name="connsiteX2" fmla="*/ 9152389 w 9152389"/>
              <a:gd name="connsiteY2" fmla="*/ 723303 h 1058863"/>
              <a:gd name="connsiteX3" fmla="*/ 0 w 9152389"/>
              <a:gd name="connsiteY3" fmla="*/ 1058863 h 1058863"/>
              <a:gd name="connsiteX4" fmla="*/ 0 w 9152389"/>
              <a:gd name="connsiteY4" fmla="*/ 0 h 1058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2389" h="1058863">
                <a:moveTo>
                  <a:pt x="0" y="0"/>
                </a:moveTo>
                <a:lnTo>
                  <a:pt x="9144000" y="0"/>
                </a:lnTo>
                <a:cubicBezTo>
                  <a:pt x="9146796" y="241101"/>
                  <a:pt x="9149593" y="482202"/>
                  <a:pt x="9152389" y="723303"/>
                </a:cubicBezTo>
                <a:lnTo>
                  <a:pt x="0" y="1058863"/>
                </a:lnTo>
                <a:lnTo>
                  <a:pt x="0" y="0"/>
                </a:lnTo>
                <a:close/>
              </a:path>
            </a:pathLst>
          </a:custGeom>
          <a:ln>
            <a:noFill/>
          </a:ln>
          <a:effectLst>
            <a:outerShdw blurRad="635000" dist="1270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32000" tIns="144000" rtlCol="0" anchor="t" anchorCtr="0"/>
          <a:lstStyle>
            <a:lvl1pPr marL="0" indent="0">
              <a:buNone/>
              <a:defRPr lang="de-DE" sz="3198" b="1" cap="all" dirty="0" smtClean="0">
                <a:solidFill>
                  <a:schemeClr val="lt1"/>
                </a:solidFill>
              </a:defRPr>
            </a:lvl1pPr>
          </a:lstStyle>
          <a:p>
            <a:pPr marL="0" lvl="0"/>
            <a:r>
              <a:rPr lang="de-DE" dirty="0" err="1"/>
              <a:t>TitEl</a:t>
            </a:r>
            <a:endParaRPr lang="de-DE" dirty="0"/>
          </a:p>
        </p:txBody>
      </p:sp>
    </p:spTree>
    <p:extLst>
      <p:ext uri="{BB962C8B-B14F-4D97-AF65-F5344CB8AC3E}">
        <p14:creationId xmlns:p14="http://schemas.microsoft.com/office/powerpoint/2010/main" val="1721229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Agenda 1/3 brushed">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2" name="Title 1"/>
          <p:cNvSpPr>
            <a:spLocks noGrp="1"/>
          </p:cNvSpPr>
          <p:nvPr>
            <p:ph type="title" hasCustomPrompt="1"/>
          </p:nvPr>
        </p:nvSpPr>
        <p:spPr>
          <a:xfrm>
            <a:off x="628323" y="288859"/>
            <a:ext cx="10932455" cy="1148857"/>
          </a:xfrm>
        </p:spPr>
        <p:txBody>
          <a:bodyPr/>
          <a:lstStyle>
            <a:lvl1pPr>
              <a:defRPr/>
            </a:lvl1pPr>
          </a:lstStyle>
          <a:p>
            <a:r>
              <a:rPr lang="en-GB" noProof="0" dirty="0"/>
              <a:t>Headline for Agenda in </a:t>
            </a:r>
            <a:r>
              <a:rPr lang="en-GB" noProof="0" dirty="0" err="1"/>
              <a:t>CorpoS</a:t>
            </a:r>
            <a:r>
              <a:rPr lang="en-GB" noProof="0" dirty="0"/>
              <a:t>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6" y="1504603"/>
            <a:ext cx="10930388" cy="3759916"/>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281499304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for Agenda in </a:t>
            </a:r>
            <a:r>
              <a:rPr lang="en-GB" noProof="0" dirty="0" err="1"/>
              <a:t>CorpoS</a:t>
            </a:r>
            <a:r>
              <a:rPr lang="en-GB" noProof="0" dirty="0"/>
              <a:t>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36387112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Headline two line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56123724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Headline two lines // Image">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a:t>
            </a:r>
            <a:r>
              <a:rPr lang="en-GB" noProof="0" dirty="0"/>
              <a:t> 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69330693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219049572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243733931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Headline // Image">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10306683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2 Images-chart 2/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416607907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2 Images-chart 1/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6" y="288859"/>
            <a:ext cx="10930662" cy="1148857"/>
          </a:xfrm>
        </p:spPr>
        <p:txBody>
          <a:bodyPr/>
          <a:lstStyle>
            <a:lvl1pPr>
              <a:defRPr>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27220049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2 Images-chart 1/3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06972075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2 Images-chart 2/3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err="1"/>
              <a:t>CorpoS</a:t>
            </a:r>
            <a:r>
              <a:rPr lang="en-GB" noProof="0" dirty="0"/>
              <a:t> (Body) 24 pt. (Mark-ups in Bold) </a:t>
            </a:r>
            <a:r>
              <a:rPr lang="en-GB" dirty="0"/>
              <a:t>// for Body text: Home // Paragraph// Increase List Level</a:t>
            </a:r>
          </a:p>
          <a:p>
            <a:pPr lvl="1"/>
            <a:r>
              <a:rPr lang="en-GB" dirty="0"/>
              <a:t>Second level (Body text)</a:t>
            </a:r>
          </a:p>
        </p:txBody>
      </p:sp>
    </p:spTree>
    <p:extLst>
      <p:ext uri="{BB962C8B-B14F-4D97-AF65-F5344CB8AC3E}">
        <p14:creationId xmlns:p14="http://schemas.microsoft.com/office/powerpoint/2010/main" val="145140023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2 Images-chart 3/3 brushed">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3"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err="1"/>
              <a:t>CorpoS</a:t>
            </a:r>
            <a:r>
              <a:rPr lang="en-GB" noProof="0" dirty="0"/>
              <a:t> (Body) 24 pt. (Mark-ups in Bold) </a:t>
            </a:r>
            <a:r>
              <a:rPr lang="en-GB" dirty="0"/>
              <a:t>// for Body text: Home // Paragraph// Increase List Level</a:t>
            </a:r>
          </a:p>
          <a:p>
            <a:pPr lvl="1"/>
            <a:r>
              <a:rPr lang="en-GB" dirty="0"/>
              <a:t>Second level (Body text)</a:t>
            </a:r>
          </a:p>
          <a:p>
            <a:pPr lvl="2"/>
            <a:r>
              <a:rPr lang="en-GB" dirty="0"/>
              <a:t>Third level</a:t>
            </a:r>
          </a:p>
          <a:p>
            <a:pPr lvl="3"/>
            <a:r>
              <a:rPr lang="en-GB" dirty="0"/>
              <a:t>Fourth level</a:t>
            </a:r>
          </a:p>
          <a:p>
            <a:pPr lvl="4"/>
            <a:r>
              <a:rPr lang="en-GB" dirty="0"/>
              <a:t>Fifth level</a:t>
            </a:r>
          </a:p>
          <a:p>
            <a:pPr lvl="5"/>
            <a:r>
              <a:rPr lang="en-GB" dirty="0"/>
              <a:t>Sixth level</a:t>
            </a:r>
          </a:p>
        </p:txBody>
      </p:sp>
    </p:spTree>
    <p:extLst>
      <p:ext uri="{BB962C8B-B14F-4D97-AF65-F5344CB8AC3E}">
        <p14:creationId xmlns:p14="http://schemas.microsoft.com/office/powerpoint/2010/main" val="65650114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Fullpage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11003447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Fullpage 3 image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6" name="Picture Placeholder 3"/>
          <p:cNvSpPr>
            <a:spLocks noGrp="1"/>
          </p:cNvSpPr>
          <p:nvPr>
            <p:ph type="pic" sz="quarter" idx="14" hasCustomPrompt="1"/>
          </p:nvPr>
        </p:nvSpPr>
        <p:spPr bwMode="gray">
          <a:xfrm>
            <a:off x="3911151" y="0"/>
            <a:ext cx="419992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44389756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a:t>
            </a:r>
            <a:r>
              <a:rPr lang="en-GB" noProof="0" dirty="0"/>
              <a:t> S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12737949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Headline // Image">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04482332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en-GB" dirty="0"/>
              <a:t>Insert text in </a:t>
            </a:r>
            <a:r>
              <a:rPr lang="en-GB" noProof="0" dirty="0" err="1"/>
              <a:t>CorpoS</a:t>
            </a:r>
            <a:r>
              <a:rPr lang="en-GB" noProof="0" dirty="0"/>
              <a:t>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35929143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small // Image">
    <p:spTree>
      <p:nvGrpSpPr>
        <p:cNvPr id="1" name=""/>
        <p:cNvGrpSpPr/>
        <p:nvPr/>
      </p:nvGrpSpPr>
      <p:grpSpPr>
        <a:xfrm>
          <a:off x="0" y="0"/>
          <a:ext cx="0" cy="0"/>
          <a:chOff x="0" y="0"/>
          <a:chExt cx="0" cy="0"/>
        </a:xfrm>
      </p:grpSpPr>
      <p:sp>
        <p:nvSpPr>
          <p:cNvPr id="10" name="Picture Placeholder 3"/>
          <p:cNvSpPr>
            <a:spLocks noGrp="1"/>
          </p:cNvSpPr>
          <p:nvPr>
            <p:ph type="pic" sz="quarter" idx="14" hasCustomPrompt="1"/>
          </p:nvPr>
        </p:nvSpPr>
        <p:spPr bwMode="gray">
          <a:xfrm>
            <a:off x="4848875" y="1504604"/>
            <a:ext cx="6711903" cy="4875669"/>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2" y="1504603"/>
            <a:ext cx="3857441" cy="4876681"/>
          </a:xfrm>
        </p:spPr>
        <p:txBody>
          <a:bodyPr>
            <a:normAutofit/>
          </a:bodyPr>
          <a:lstStyle>
            <a:lvl1pPr>
              <a:lnSpc>
                <a:spcPts val="2399"/>
              </a:lnSpc>
              <a:defRPr sz="1899" baseline="0"/>
            </a:lvl1pPr>
            <a:lvl2pPr>
              <a:lnSpc>
                <a:spcPts val="2399"/>
              </a:lnSpc>
              <a:defRPr sz="1899"/>
            </a:lvl2pPr>
            <a:lvl3pPr>
              <a:lnSpc>
                <a:spcPts val="2399"/>
              </a:lnSpc>
              <a:defRPr sz="1899"/>
            </a:lvl3pPr>
            <a:lvl4pPr>
              <a:lnSpc>
                <a:spcPts val="2399"/>
              </a:lnSpc>
              <a:defRPr sz="1899"/>
            </a:lvl4pPr>
            <a:lvl5pPr>
              <a:lnSpc>
                <a:spcPts val="2399"/>
              </a:lnSpc>
              <a:defRPr sz="1899"/>
            </a:lvl5pPr>
            <a:lvl6pPr>
              <a:lnSpc>
                <a:spcPts val="2399"/>
              </a:lnSpc>
              <a:defRPr sz="1899"/>
            </a:lvl6pPr>
            <a:lvl7pPr>
              <a:lnSpc>
                <a:spcPts val="2399"/>
              </a:lnSpc>
              <a:defRPr sz="1899"/>
            </a:lvl7pPr>
            <a:lvl8pPr>
              <a:lnSpc>
                <a:spcPts val="2399"/>
              </a:lnSpc>
              <a:defRPr sz="1899"/>
            </a:lvl8pPr>
            <a:lvl9pPr>
              <a:lnSpc>
                <a:spcPts val="2399"/>
              </a:lnSpc>
              <a:defRPr sz="1899"/>
            </a:lvl9pPr>
          </a:lstStyle>
          <a:p>
            <a:pPr lvl="0"/>
            <a:r>
              <a:rPr lang="en-GB" dirty="0"/>
              <a:t>Insert text in </a:t>
            </a:r>
            <a:r>
              <a:rPr lang="en-GB" noProof="0" dirty="0" err="1"/>
              <a:t>CorpoS</a:t>
            </a:r>
            <a:r>
              <a:rPr lang="en-GB" noProof="0" dirty="0"/>
              <a:t> (Body) 19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5" name="Title 4"/>
          <p:cNvSpPr>
            <a:spLocks noGrp="1"/>
          </p:cNvSpPr>
          <p:nvPr>
            <p:ph type="title" hasCustomPrompt="1"/>
          </p:nvPr>
        </p:nvSpPr>
        <p:spPr/>
        <p:txBody>
          <a:bodyPr/>
          <a:lstStyle/>
          <a:p>
            <a:r>
              <a:rPr lang="en-GB" noProof="0" dirty="0"/>
              <a:t>Headline in </a:t>
            </a:r>
            <a:r>
              <a:rPr lang="en-GB" noProof="0" dirty="0" err="1"/>
              <a:t>CorpoS</a:t>
            </a:r>
            <a:r>
              <a:rPr lang="en-GB" noProof="0" dirty="0"/>
              <a:t> (Body) 35 pt. for standard </a:t>
            </a:r>
            <a:br>
              <a:rPr lang="en-GB" noProof="0" dirty="0"/>
            </a:br>
            <a:r>
              <a:rPr lang="en-GB" noProof="0" dirty="0"/>
              <a:t>text-chart in two lines</a:t>
            </a:r>
            <a:endParaRPr lang="en-GB" dirty="0"/>
          </a:p>
        </p:txBody>
      </p:sp>
    </p:spTree>
    <p:extLst>
      <p:ext uri="{BB962C8B-B14F-4D97-AF65-F5344CB8AC3E}">
        <p14:creationId xmlns:p14="http://schemas.microsoft.com/office/powerpoint/2010/main" val="2233655901"/>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948">
          <p15:clr>
            <a:srgbClr val="FBAE40"/>
          </p15:clr>
        </p15:guide>
        <p15:guide id="3" orient="horz" pos="182">
          <p15:clr>
            <a:srgbClr val="FBAE40"/>
          </p15:clr>
        </p15:guide>
        <p15:guide id="4" pos="3056">
          <p15:clr>
            <a:srgbClr val="FBAE40"/>
          </p15:clr>
        </p15:guide>
        <p15:guide id="5" pos="2828">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ntents with head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en-GB" dirty="0"/>
              <a:t>Insert content or text in </a:t>
            </a:r>
            <a:r>
              <a:rPr lang="en-GB" noProof="0" dirty="0" err="1"/>
              <a:t>CorpoS</a:t>
            </a:r>
            <a:r>
              <a:rPr lang="en-GB" noProof="0" dirty="0"/>
              <a:t>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en-GB" dirty="0"/>
              <a:t>Insert content or text in </a:t>
            </a:r>
            <a:r>
              <a:rPr lang="en-GB" noProof="0" dirty="0" err="1"/>
              <a:t>Corpo</a:t>
            </a:r>
            <a:r>
              <a:rPr lang="en-GB" noProof="0" dirty="0"/>
              <a:t> 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Tree>
    <p:extLst>
      <p:ext uri="{BB962C8B-B14F-4D97-AF65-F5344CB8AC3E}">
        <p14:creationId xmlns:p14="http://schemas.microsoft.com/office/powerpoint/2010/main" val="2936380709"/>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 product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7"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Tree>
    <p:extLst>
      <p:ext uri="{BB962C8B-B14F-4D97-AF65-F5344CB8AC3E}">
        <p14:creationId xmlns:p14="http://schemas.microsoft.com/office/powerpoint/2010/main" val="258087765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Headline two lines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219834453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Headline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963576986"/>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Agenda without brushi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21797"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337198490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333563485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userDrawn="1">
  <p:cSld name="Agenda with brushin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 name="Title 1"/>
          <p:cNvSpPr>
            <a:spLocks noGrp="1"/>
          </p:cNvSpPr>
          <p:nvPr>
            <p:ph type="title" hasCustomPrompt="1"/>
          </p:nvPr>
        </p:nvSpPr>
        <p:spPr>
          <a:xfrm>
            <a:off x="628323" y="288859"/>
            <a:ext cx="10932455" cy="1148857"/>
          </a:xfrm>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7" y="1504603"/>
            <a:ext cx="10931023" cy="3386305"/>
          </a:xfrm>
          <a:custGeom>
            <a:avLst/>
            <a:gdLst>
              <a:gd name="connsiteX0" fmla="*/ 0 w 10936081"/>
              <a:gd name="connsiteY0" fmla="*/ 0 h 3384000"/>
              <a:gd name="connsiteX1" fmla="*/ 10936081 w 10936081"/>
              <a:gd name="connsiteY1" fmla="*/ 0 h 3384000"/>
              <a:gd name="connsiteX2" fmla="*/ 10936081 w 10936081"/>
              <a:gd name="connsiteY2" fmla="*/ 3384000 h 3384000"/>
              <a:gd name="connsiteX3" fmla="*/ 0 w 10936081"/>
              <a:gd name="connsiteY3" fmla="*/ 3384000 h 3384000"/>
              <a:gd name="connsiteX4" fmla="*/ 0 w 10936081"/>
              <a:gd name="connsiteY4" fmla="*/ 0 h 3384000"/>
              <a:gd name="connsiteX0" fmla="*/ 0 w 10936081"/>
              <a:gd name="connsiteY0" fmla="*/ 0 h 3387089"/>
              <a:gd name="connsiteX1" fmla="*/ 10936081 w 10936081"/>
              <a:gd name="connsiteY1" fmla="*/ 0 h 3387089"/>
              <a:gd name="connsiteX2" fmla="*/ 10936081 w 10936081"/>
              <a:gd name="connsiteY2" fmla="*/ 3384000 h 3387089"/>
              <a:gd name="connsiteX3" fmla="*/ 2006076 w 10936081"/>
              <a:gd name="connsiteY3" fmla="*/ 3387089 h 3387089"/>
              <a:gd name="connsiteX4" fmla="*/ 0 w 10936081"/>
              <a:gd name="connsiteY4" fmla="*/ 3384000 h 3387089"/>
              <a:gd name="connsiteX5" fmla="*/ 0 w 10936081"/>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10936081 w 10936716"/>
              <a:gd name="connsiteY3" fmla="*/ 3384000 h 3387089"/>
              <a:gd name="connsiteX4" fmla="*/ 2006076 w 10936716"/>
              <a:gd name="connsiteY4" fmla="*/ 3387089 h 3387089"/>
              <a:gd name="connsiteX5" fmla="*/ 0 w 10936716"/>
              <a:gd name="connsiteY5" fmla="*/ 3384000 h 3387089"/>
              <a:gd name="connsiteX6" fmla="*/ 0 w 10936716"/>
              <a:gd name="connsiteY6"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3387089">
                <a:moveTo>
                  <a:pt x="0" y="0"/>
                </a:moveTo>
                <a:lnTo>
                  <a:pt x="10936081" y="0"/>
                </a:lnTo>
                <a:cubicBezTo>
                  <a:pt x="10936293" y="852170"/>
                  <a:pt x="10936504" y="1704339"/>
                  <a:pt x="10936716" y="2556509"/>
                </a:cubicBezTo>
                <a:lnTo>
                  <a:pt x="2006076" y="3387089"/>
                </a:lnTo>
                <a:lnTo>
                  <a:pt x="0" y="3384000"/>
                </a:lnTo>
                <a:lnTo>
                  <a:pt x="0" y="0"/>
                </a:lnTo>
                <a:close/>
              </a:path>
            </a:pathLst>
          </a:custGeo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48817673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userDrawn="1">
  <p:cSld name="Full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27316670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 Images-chart 2/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19991992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userDrawn="1">
  <p:cSld name="2_Text/ image/ Headline 1 lin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2282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78" y="285982"/>
            <a:ext cx="10931106" cy="683842"/>
          </a:xfrm>
        </p:spPr>
        <p:txBody>
          <a:bodyPr/>
          <a:lstStyle/>
          <a:p>
            <a:r>
              <a:rPr lang="en-US" noProof="0" dirty="0"/>
              <a:t>Headline in </a:t>
            </a:r>
            <a:r>
              <a:rPr lang="en-US" noProof="0" dirty="0" err="1"/>
              <a:t>CorpoS</a:t>
            </a:r>
            <a:r>
              <a:rPr lang="en-US" noProof="0" dirty="0"/>
              <a:t> (Body) 35 pt.</a:t>
            </a:r>
            <a:endParaRPr lang="en-US" dirty="0"/>
          </a:p>
        </p:txBody>
      </p:sp>
      <p:sp>
        <p:nvSpPr>
          <p:cNvPr id="3" name="Footer Placeholder 2"/>
          <p:cNvSpPr>
            <a:spLocks noGrp="1"/>
          </p:cNvSpPr>
          <p:nvPr>
            <p:ph type="ftr" sz="quarter" idx="10"/>
          </p:nvPr>
        </p:nvSpPr>
        <p:spPr/>
        <p:txBody>
          <a:bodyPr/>
          <a:lstStyle/>
          <a:p>
            <a:r>
              <a:rPr lang="en-US" dirty="0">
                <a:solidFill>
                  <a:prstClr val="black"/>
                </a:solidFill>
              </a:rPr>
              <a:t>DFS BoM Meeting | January 2017 | </a:t>
            </a:r>
          </a:p>
        </p:txBody>
      </p:sp>
      <p:sp>
        <p:nvSpPr>
          <p:cNvPr id="4" name="Slide Number Placeholder 3"/>
          <p:cNvSpPr>
            <a:spLocks noGrp="1"/>
          </p:cNvSpPr>
          <p:nvPr>
            <p:ph type="sldNum" sz="quarter" idx="11"/>
          </p:nvPr>
        </p:nvSpPr>
        <p:spPr/>
        <p:txBody>
          <a:bodyPr/>
          <a:lstStyle/>
          <a:p>
            <a:r>
              <a:rPr lang="en-US" dirty="0">
                <a:solidFill>
                  <a:prstClr val="black"/>
                </a:solidFill>
              </a:rPr>
              <a:t>Page </a:t>
            </a:r>
            <a:fld id="{52531704-8F80-415D-BD2B-6B9991AE822F}" type="slidenum">
              <a:rPr lang="en-US" smtClean="0">
                <a:solidFill>
                  <a:prstClr val="black"/>
                </a:solidFill>
              </a:rPr>
              <a:pPr/>
              <a:t>‹#›</a:t>
            </a:fld>
            <a:endParaRPr lang="en-US" dirty="0">
              <a:solidFill>
                <a:prstClr val="black"/>
              </a:solidFill>
            </a:endParaRPr>
          </a:p>
        </p:txBody>
      </p:sp>
      <p:sp>
        <p:nvSpPr>
          <p:cNvPr id="17"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7417">
              <a:defRPr/>
            </a:pPr>
            <a:r>
              <a:rPr lang="en-US" sz="1199" dirty="0">
                <a:solidFill>
                  <a:prstClr val="black"/>
                </a:solidFill>
                <a:cs typeface="Daimler CS"/>
              </a:rPr>
              <a:t>Daimler Mobility Services GmbH</a:t>
            </a:r>
          </a:p>
        </p:txBody>
      </p:sp>
      <p:cxnSp>
        <p:nvCxnSpPr>
          <p:cNvPr id="16"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Tree>
    <p:extLst>
      <p:ext uri="{BB962C8B-B14F-4D97-AF65-F5344CB8AC3E}">
        <p14:creationId xmlns:p14="http://schemas.microsoft.com/office/powerpoint/2010/main" val="161780908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_daimler blanco">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2384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8" name="Foliennummernplatzhalter 3">
            <a:extLst>
              <a:ext uri="{FF2B5EF4-FFF2-40B4-BE49-F238E27FC236}">
                <a16:creationId xmlns:a16="http://schemas.microsoft.com/office/drawing/2014/main" id="{3E15A405-AB95-44E1-98C0-C8DC619077BB}"/>
              </a:ext>
            </a:extLst>
          </p:cNvPr>
          <p:cNvSpPr txBox="1">
            <a:spLocks/>
          </p:cNvSpPr>
          <p:nvPr userDrawn="1"/>
        </p:nvSpPr>
        <p:spPr>
          <a:xfrm>
            <a:off x="11442992" y="6506836"/>
            <a:ext cx="1155196" cy="215950"/>
          </a:xfrm>
          <a:prstGeom prst="rect">
            <a:avLst/>
          </a:prstGeom>
        </p:spPr>
        <p:txBody>
          <a:bodyPr vert="horz" lIns="0" tIns="0" rIns="0" bIns="0" rtlCol="0" anchor="t" anchorCtr="0"/>
          <a:lstStyle>
            <a:defPPr>
              <a:defRPr lang="de-DE"/>
            </a:defPPr>
            <a:lvl1pPr marL="0" indent="0" algn="l" defTabSz="1088959" rtl="0" eaLnBrk="1" latinLnBrk="0" hangingPunct="1">
              <a:spcBef>
                <a:spcPts val="0"/>
              </a:spcBef>
              <a:buFont typeface="Arial" panose="020B0604020202020204" pitchFamily="34" charset="0"/>
              <a:buNone/>
              <a:defRPr sz="1200" kern="1200">
                <a:solidFill>
                  <a:schemeClr val="tx1"/>
                </a:solidFill>
                <a:latin typeface="+mn-lt"/>
                <a:ea typeface="+mn-ea"/>
                <a:cs typeface="+mn-cs"/>
              </a:defRPr>
            </a:lvl1pPr>
            <a:lvl2pPr marL="0" indent="0" algn="l" defTabSz="1088959" rtl="0" eaLnBrk="1" latinLnBrk="0" hangingPunct="1">
              <a:spcBef>
                <a:spcPts val="0"/>
              </a:spcBef>
              <a:defRPr sz="1200" kern="1200">
                <a:solidFill>
                  <a:schemeClr val="tx1"/>
                </a:solidFill>
                <a:latin typeface="+mn-lt"/>
                <a:ea typeface="+mn-ea"/>
                <a:cs typeface="+mn-cs"/>
              </a:defRPr>
            </a:lvl2pPr>
            <a:lvl3pPr marL="0" indent="0" algn="l" defTabSz="1088959" rtl="0" eaLnBrk="1" latinLnBrk="0" hangingPunct="1">
              <a:spcBef>
                <a:spcPts val="0"/>
              </a:spcBef>
              <a:defRPr sz="1200" kern="1200">
                <a:solidFill>
                  <a:schemeClr val="tx1"/>
                </a:solidFill>
                <a:latin typeface="+mn-lt"/>
                <a:ea typeface="+mn-ea"/>
                <a:cs typeface="+mn-cs"/>
              </a:defRPr>
            </a:lvl3pPr>
            <a:lvl4pPr marL="0" indent="0" algn="l" defTabSz="1088959" rtl="0" eaLnBrk="1" latinLnBrk="0" hangingPunct="1">
              <a:spcBef>
                <a:spcPts val="0"/>
              </a:spcBef>
              <a:defRPr sz="1200" kern="1200">
                <a:solidFill>
                  <a:schemeClr val="tx1"/>
                </a:solidFill>
                <a:latin typeface="+mn-lt"/>
                <a:ea typeface="+mn-ea"/>
                <a:cs typeface="+mn-cs"/>
              </a:defRPr>
            </a:lvl4pPr>
            <a:lvl5pPr marL="0" indent="0" algn="l" defTabSz="1088959" rtl="0" eaLnBrk="1" latinLnBrk="0" hangingPunct="1">
              <a:spcBef>
                <a:spcPts val="0"/>
              </a:spcBef>
              <a:defRPr sz="1200" kern="1200">
                <a:solidFill>
                  <a:schemeClr val="tx1"/>
                </a:solidFill>
                <a:latin typeface="+mn-lt"/>
                <a:ea typeface="+mn-ea"/>
                <a:cs typeface="+mn-cs"/>
              </a:defRPr>
            </a:lvl5pPr>
            <a:lvl6pPr marL="0" indent="0" algn="l" defTabSz="1088959" rtl="0" eaLnBrk="1" latinLnBrk="0" hangingPunct="1">
              <a:spcBef>
                <a:spcPts val="0"/>
              </a:spcBef>
              <a:defRPr sz="1200" kern="1200">
                <a:solidFill>
                  <a:schemeClr val="tx1"/>
                </a:solidFill>
                <a:latin typeface="+mn-lt"/>
                <a:ea typeface="+mn-ea"/>
                <a:cs typeface="+mn-cs"/>
              </a:defRPr>
            </a:lvl6pPr>
            <a:lvl7pPr marL="0" indent="0" algn="l" defTabSz="1088959" rtl="0" eaLnBrk="1" latinLnBrk="0" hangingPunct="1">
              <a:spcBef>
                <a:spcPts val="0"/>
              </a:spcBef>
              <a:defRPr sz="1200" kern="1200">
                <a:solidFill>
                  <a:schemeClr val="tx1"/>
                </a:solidFill>
                <a:latin typeface="+mn-lt"/>
                <a:ea typeface="+mn-ea"/>
                <a:cs typeface="+mn-cs"/>
              </a:defRPr>
            </a:lvl7pPr>
            <a:lvl8pPr marL="0" indent="0" algn="l" defTabSz="1088959" rtl="0" eaLnBrk="1" latinLnBrk="0" hangingPunct="1">
              <a:spcBef>
                <a:spcPts val="0"/>
              </a:spcBef>
              <a:defRPr sz="1200" kern="1200">
                <a:solidFill>
                  <a:schemeClr val="tx1"/>
                </a:solidFill>
                <a:latin typeface="+mn-lt"/>
                <a:ea typeface="+mn-ea"/>
                <a:cs typeface="+mn-cs"/>
              </a:defRPr>
            </a:lvl8pPr>
            <a:lvl9pPr marL="0" indent="0" algn="l" defTabSz="1088959" rtl="0" eaLnBrk="1" latinLnBrk="0" hangingPunct="1">
              <a:spcBef>
                <a:spcPts val="0"/>
              </a:spcBef>
              <a:defRPr sz="1200" kern="1200">
                <a:solidFill>
                  <a:schemeClr val="tx1"/>
                </a:solidFill>
                <a:latin typeface="+mn-lt"/>
                <a:ea typeface="+mn-ea"/>
                <a:cs typeface="+mn-cs"/>
              </a:defRPr>
            </a:lvl9pPr>
          </a:lstStyle>
          <a:p>
            <a:r>
              <a:rPr lang="en-GB" sz="1199" b="1" dirty="0">
                <a:solidFill>
                  <a:prstClr val="black"/>
                </a:solidFill>
              </a:rPr>
              <a:t>PAGE </a:t>
            </a:r>
            <a:fld id="{52531704-8F80-415D-BD2B-6B9991AE822F}" type="slidenum">
              <a:rPr lang="en-GB" sz="1199" b="1" smtClean="0">
                <a:solidFill>
                  <a:prstClr val="black"/>
                </a:solidFill>
              </a:rPr>
              <a:pPr/>
              <a:t>‹#›</a:t>
            </a:fld>
            <a:endParaRPr lang="en-GB" sz="1199" b="1" dirty="0">
              <a:solidFill>
                <a:prstClr val="black"/>
              </a:solidFill>
            </a:endParaRPr>
          </a:p>
        </p:txBody>
      </p:sp>
    </p:spTree>
    <p:extLst>
      <p:ext uri="{BB962C8B-B14F-4D97-AF65-F5344CB8AC3E}">
        <p14:creationId xmlns:p14="http://schemas.microsoft.com/office/powerpoint/2010/main" val="117860322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66">
          <p15:clr>
            <a:srgbClr val="FBAE40"/>
          </p15:clr>
        </p15:guide>
        <p15:guide id="3" orient="horz" pos="754">
          <p15:clr>
            <a:srgbClr val="FBAE40"/>
          </p15:clr>
        </p15:guide>
        <p15:guide id="4" orient="horz" pos="845">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8415"/>
            <a:fld id="{896ACB37-748C-4671-8EE1-05B98108112A}" type="datetimeFigureOut">
              <a:rPr lang="en-US" sz="2099" smtClean="0">
                <a:solidFill>
                  <a:prstClr val="black"/>
                </a:solidFill>
              </a:rPr>
              <a:pPr defTabSz="1088415"/>
              <a:t>4/26/2019</a:t>
            </a:fld>
            <a:endParaRPr lang="en-US" sz="2099">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DA579563-9695-402D-AD0C-D8B123AFC4F2}"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46197001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3/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en-GB" dirty="0"/>
              <a:t>Referent’s name: </a:t>
            </a:r>
            <a:r>
              <a:rPr lang="en-GB" noProof="0" dirty="0" err="1"/>
              <a:t>CorpoS</a:t>
            </a:r>
            <a:r>
              <a:rPr lang="en-GB" noProof="0" dirty="0"/>
              <a:t> </a:t>
            </a:r>
            <a:r>
              <a:rPr lang="en-GB" dirty="0"/>
              <a:t>(Body) 35 pt. Presentation title</a:t>
            </a:r>
            <a:br>
              <a:rPr lang="en-GB" dirty="0"/>
            </a:br>
            <a:r>
              <a:rPr lang="en-GB" dirty="0"/>
              <a:t>in two lines of text, dd. </a:t>
            </a:r>
            <a:r>
              <a:rPr lang="en-GB" dirty="0" err="1"/>
              <a:t>mmmm</a:t>
            </a:r>
            <a:r>
              <a:rPr lang="en-GB" dirty="0"/>
              <a:t> </a:t>
            </a:r>
            <a:r>
              <a:rPr lang="en-GB" dirty="0" err="1"/>
              <a:t>yyyy</a:t>
            </a:r>
            <a:endParaRPr lang="en-GB"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4058101870"/>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2/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a:lvl1pPr>
          </a:lstStyle>
          <a:p>
            <a:r>
              <a:rPr lang="en-GB" dirty="0"/>
              <a:t>Referent’s name: </a:t>
            </a:r>
            <a:r>
              <a:rPr lang="en-GB" noProof="0" dirty="0" err="1"/>
              <a:t>CorpoS</a:t>
            </a:r>
            <a:r>
              <a:rPr lang="en-GB" noProof="0" dirty="0"/>
              <a:t> </a:t>
            </a:r>
            <a:r>
              <a:rPr lang="en-GB" dirty="0"/>
              <a:t>(Body) 35 pt. Presentation title</a:t>
            </a:r>
            <a:br>
              <a:rPr lang="en-GB" dirty="0"/>
            </a:br>
            <a:r>
              <a:rPr lang="en-GB" dirty="0"/>
              <a:t>in two or more lines of text, dd. </a:t>
            </a:r>
            <a:r>
              <a:rPr lang="en-GB" dirty="0" err="1"/>
              <a:t>mmmm</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22973624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1/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4608438"/>
            <a:ext cx="10930832" cy="1538527"/>
          </a:xfrm>
        </p:spPr>
        <p:txBody>
          <a:bodyPr wrap="square" anchor="b" anchorCtr="0">
            <a:spAutoFit/>
          </a:bodyPr>
          <a:lstStyle>
            <a:lvl1pPr>
              <a:defRPr baseline="0"/>
            </a:lvl1pPr>
          </a:lstStyle>
          <a:p>
            <a:r>
              <a:rPr lang="en-GB" dirty="0"/>
              <a:t>Referent’s name: </a:t>
            </a:r>
            <a:r>
              <a:rPr lang="en-GB" noProof="0" dirty="0" err="1"/>
              <a:t>CorpoS</a:t>
            </a:r>
            <a:r>
              <a:rPr lang="en-GB" noProof="0" dirty="0"/>
              <a:t> </a:t>
            </a:r>
            <a:r>
              <a:rPr lang="en-GB" dirty="0"/>
              <a:t>(Body) 35 pt.</a:t>
            </a:r>
            <a:br>
              <a:rPr lang="en-GB" dirty="0"/>
            </a:br>
            <a:r>
              <a:rPr lang="en-GB" dirty="0"/>
              <a:t>Presentation title in two lines or </a:t>
            </a:r>
            <a:br>
              <a:rPr lang="en-GB" dirty="0"/>
            </a:br>
            <a:r>
              <a:rPr lang="en-GB" dirty="0"/>
              <a:t>more lines of text, dd. </a:t>
            </a:r>
            <a:r>
              <a:rPr lang="en-GB" dirty="0" err="1"/>
              <a:t>mmmm</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66719098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3/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763324"/>
          </a:xfrm>
        </p:spPr>
        <p:txBody>
          <a:bodyPr wrap="square" anchor="t" anchorCtr="0">
            <a:noAutofit/>
          </a:bodyPr>
          <a:lstStyle>
            <a:lvl1pPr>
              <a:defRPr baseline="0">
                <a:solidFill>
                  <a:schemeClr val="bg1"/>
                </a:solidFill>
              </a:defRPr>
            </a:lvl1pPr>
          </a:lstStyle>
          <a:p>
            <a:r>
              <a:rPr lang="en-GB" dirty="0"/>
              <a:t>Referent’s name: </a:t>
            </a:r>
            <a:r>
              <a:rPr lang="en-GB" noProof="0" dirty="0" err="1"/>
              <a:t>CorpoS</a:t>
            </a:r>
            <a:r>
              <a:rPr lang="en-GB" noProof="0" dirty="0"/>
              <a:t>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340174522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2/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4433"/>
            <a:ext cx="10932181" cy="648964"/>
          </a:xfrm>
        </p:spPr>
        <p:txBody>
          <a:bodyPr wrap="square" anchor="t" anchorCtr="0">
            <a:noAutofit/>
          </a:bodyPr>
          <a:lstStyle>
            <a:lvl1pPr>
              <a:defRPr>
                <a:solidFill>
                  <a:schemeClr val="bg1"/>
                </a:solidFill>
              </a:defRPr>
            </a:lvl1pPr>
          </a:lstStyle>
          <a:p>
            <a:r>
              <a:rPr lang="en-GB" dirty="0"/>
              <a:t>Headline for presentation</a:t>
            </a:r>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80389738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Image-chart 3/4 brushed ">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1"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3" name="Title 2"/>
          <p:cNvSpPr>
            <a:spLocks noGrp="1"/>
          </p:cNvSpPr>
          <p:nvPr>
            <p:ph type="title" hasCustomPrompt="1"/>
          </p:nvPr>
        </p:nvSpPr>
        <p:spPr>
          <a:xfrm>
            <a:off x="628323" y="288859"/>
            <a:ext cx="10932455" cy="1025684"/>
          </a:xfrm>
        </p:spPr>
        <p:txBody>
          <a:bodyPr wrap="square">
            <a:spAutoFit/>
          </a:bodyPr>
          <a:lstStyle>
            <a:lvl1pPr>
              <a:defRPr>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16841233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Image-chart 1/4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a:extLst>
              <a:ext uri="{28A0092B-C50C-407E-A947-70E740481C1C}">
                <a14:useLocalDpi xmlns:a14="http://schemas.microsoft.com/office/drawing/2010/main" val="0"/>
              </a:ext>
            </a:extLst>
          </a:blip>
          <a:srcRect b="5375"/>
          <a:stretch/>
        </p:blipFill>
        <p:spPr bwMode="white">
          <a:xfrm>
            <a:off x="0" y="-1"/>
            <a:ext cx="12190451" cy="6487839"/>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3" name="Title 2"/>
          <p:cNvSpPr>
            <a:spLocks noGrp="1"/>
          </p:cNvSpPr>
          <p:nvPr>
            <p:ph type="title" hasCustomPrompt="1"/>
          </p:nvPr>
        </p:nvSpPr>
        <p:spPr>
          <a:xfrm>
            <a:off x="630116" y="288857"/>
            <a:ext cx="10930662" cy="1151733"/>
          </a:xfrm>
        </p:spPr>
        <p:txBody>
          <a:bodyPr/>
          <a:lstStyle>
            <a:lvl1pPr>
              <a:defRPr baseline="0">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50488936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 Images-chart 1/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6" y="288859"/>
            <a:ext cx="10930662" cy="1148857"/>
          </a:xfrm>
        </p:spPr>
        <p:txBody>
          <a:bodyPr/>
          <a:lstStyle>
            <a:lvl1pPr>
              <a:defRPr>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66120822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genda 1/3 brushed">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2" name="Title 1"/>
          <p:cNvSpPr>
            <a:spLocks noGrp="1"/>
          </p:cNvSpPr>
          <p:nvPr>
            <p:ph type="title" hasCustomPrompt="1"/>
          </p:nvPr>
        </p:nvSpPr>
        <p:spPr>
          <a:xfrm>
            <a:off x="628323" y="288859"/>
            <a:ext cx="10932455" cy="1148857"/>
          </a:xfrm>
        </p:spPr>
        <p:txBody>
          <a:bodyPr/>
          <a:lstStyle>
            <a:lvl1pPr>
              <a:defRPr/>
            </a:lvl1pPr>
          </a:lstStyle>
          <a:p>
            <a:r>
              <a:rPr lang="en-GB" noProof="0" dirty="0"/>
              <a:t>Headline for Agenda in </a:t>
            </a:r>
            <a:r>
              <a:rPr lang="en-GB" noProof="0" dirty="0" err="1"/>
              <a:t>CorpoS</a:t>
            </a:r>
            <a:r>
              <a:rPr lang="en-GB" noProof="0" dirty="0"/>
              <a:t>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6" y="1504603"/>
            <a:ext cx="10930388" cy="3759916"/>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336463034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for Agenda in </a:t>
            </a:r>
            <a:r>
              <a:rPr lang="en-GB" noProof="0" dirty="0" err="1"/>
              <a:t>CorpoS</a:t>
            </a:r>
            <a:r>
              <a:rPr lang="en-GB" noProof="0" dirty="0"/>
              <a:t>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47337339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Headline two line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304780698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Headline two lines // Image">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a:t>
            </a:r>
            <a:r>
              <a:rPr lang="en-GB" noProof="0" dirty="0"/>
              <a:t> 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50227048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Headlin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343326571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Headline // Image">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80552509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2 Images-chart 2/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18197697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2 Images-chart 1/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6" y="288859"/>
            <a:ext cx="10930662" cy="1148857"/>
          </a:xfrm>
        </p:spPr>
        <p:txBody>
          <a:bodyPr/>
          <a:lstStyle>
            <a:lvl1pPr>
              <a:defRPr>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44195184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2 Images-chart 1/3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97392422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2 Images-chart 2/3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err="1"/>
              <a:t>CorpoS</a:t>
            </a:r>
            <a:r>
              <a:rPr lang="en-GB" noProof="0" dirty="0"/>
              <a:t> (Body) 24 pt. (Mark-ups in Bold) </a:t>
            </a:r>
            <a:r>
              <a:rPr lang="en-GB" dirty="0"/>
              <a:t>// for Body text: Home // Paragraph// Increase List Level</a:t>
            </a:r>
          </a:p>
          <a:p>
            <a:pPr lvl="1"/>
            <a:r>
              <a:rPr lang="en-GB" dirty="0"/>
              <a:t>Second level (Body text)</a:t>
            </a:r>
          </a:p>
        </p:txBody>
      </p:sp>
    </p:spTree>
    <p:extLst>
      <p:ext uri="{BB962C8B-B14F-4D97-AF65-F5344CB8AC3E}">
        <p14:creationId xmlns:p14="http://schemas.microsoft.com/office/powerpoint/2010/main" val="32897097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 Images-chart 1/3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83032933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2 Images-chart 3/3 brushed">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3"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err="1"/>
              <a:t>CorpoS</a:t>
            </a:r>
            <a:r>
              <a:rPr lang="en-GB" noProof="0" dirty="0"/>
              <a:t> (Body) 24 pt. (Mark-ups in Bold) </a:t>
            </a:r>
            <a:r>
              <a:rPr lang="en-GB" dirty="0"/>
              <a:t>// for Body text: Home // Paragraph// Increase List Level</a:t>
            </a:r>
          </a:p>
          <a:p>
            <a:pPr lvl="1"/>
            <a:r>
              <a:rPr lang="en-GB" dirty="0"/>
              <a:t>Second level (Body text)</a:t>
            </a:r>
          </a:p>
          <a:p>
            <a:pPr lvl="2"/>
            <a:r>
              <a:rPr lang="en-GB" dirty="0"/>
              <a:t>Third level</a:t>
            </a:r>
          </a:p>
          <a:p>
            <a:pPr lvl="3"/>
            <a:r>
              <a:rPr lang="en-GB" dirty="0"/>
              <a:t>Fourth level</a:t>
            </a:r>
          </a:p>
          <a:p>
            <a:pPr lvl="4"/>
            <a:r>
              <a:rPr lang="en-GB" dirty="0"/>
              <a:t>Fifth level</a:t>
            </a:r>
          </a:p>
          <a:p>
            <a:pPr lvl="5"/>
            <a:r>
              <a:rPr lang="en-GB" dirty="0"/>
              <a:t>Sixth level</a:t>
            </a:r>
          </a:p>
        </p:txBody>
      </p:sp>
    </p:spTree>
    <p:extLst>
      <p:ext uri="{BB962C8B-B14F-4D97-AF65-F5344CB8AC3E}">
        <p14:creationId xmlns:p14="http://schemas.microsoft.com/office/powerpoint/2010/main" val="320973251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Fullpage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03486935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Fullpage 3 image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6" name="Picture Placeholder 3"/>
          <p:cNvSpPr>
            <a:spLocks noGrp="1"/>
          </p:cNvSpPr>
          <p:nvPr>
            <p:ph type="pic" sz="quarter" idx="14" hasCustomPrompt="1"/>
          </p:nvPr>
        </p:nvSpPr>
        <p:spPr bwMode="gray">
          <a:xfrm>
            <a:off x="3911151" y="0"/>
            <a:ext cx="419992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206001378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a:t>
            </a:r>
            <a:r>
              <a:rPr lang="en-GB" noProof="0" dirty="0"/>
              <a:t> S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47726586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en-GB" dirty="0"/>
              <a:t>Insert text in </a:t>
            </a:r>
            <a:r>
              <a:rPr lang="en-GB" noProof="0" dirty="0" err="1"/>
              <a:t>CorpoS</a:t>
            </a:r>
            <a:r>
              <a:rPr lang="en-GB" noProof="0" dirty="0"/>
              <a:t>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81295442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xt small // Image">
    <p:spTree>
      <p:nvGrpSpPr>
        <p:cNvPr id="1" name=""/>
        <p:cNvGrpSpPr/>
        <p:nvPr/>
      </p:nvGrpSpPr>
      <p:grpSpPr>
        <a:xfrm>
          <a:off x="0" y="0"/>
          <a:ext cx="0" cy="0"/>
          <a:chOff x="0" y="0"/>
          <a:chExt cx="0" cy="0"/>
        </a:xfrm>
      </p:grpSpPr>
      <p:sp>
        <p:nvSpPr>
          <p:cNvPr id="10" name="Picture Placeholder 3"/>
          <p:cNvSpPr>
            <a:spLocks noGrp="1"/>
          </p:cNvSpPr>
          <p:nvPr>
            <p:ph type="pic" sz="quarter" idx="14" hasCustomPrompt="1"/>
          </p:nvPr>
        </p:nvSpPr>
        <p:spPr bwMode="gray">
          <a:xfrm>
            <a:off x="4848875" y="1504604"/>
            <a:ext cx="6711903" cy="4875669"/>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2" y="1504603"/>
            <a:ext cx="3857441" cy="4876681"/>
          </a:xfrm>
        </p:spPr>
        <p:txBody>
          <a:bodyPr>
            <a:normAutofit/>
          </a:bodyPr>
          <a:lstStyle>
            <a:lvl1pPr>
              <a:lnSpc>
                <a:spcPts val="2399"/>
              </a:lnSpc>
              <a:defRPr sz="1899" baseline="0"/>
            </a:lvl1pPr>
            <a:lvl2pPr>
              <a:lnSpc>
                <a:spcPts val="2399"/>
              </a:lnSpc>
              <a:defRPr sz="1899"/>
            </a:lvl2pPr>
            <a:lvl3pPr>
              <a:lnSpc>
                <a:spcPts val="2399"/>
              </a:lnSpc>
              <a:defRPr sz="1899"/>
            </a:lvl3pPr>
            <a:lvl4pPr>
              <a:lnSpc>
                <a:spcPts val="2399"/>
              </a:lnSpc>
              <a:defRPr sz="1899"/>
            </a:lvl4pPr>
            <a:lvl5pPr>
              <a:lnSpc>
                <a:spcPts val="2399"/>
              </a:lnSpc>
              <a:defRPr sz="1899"/>
            </a:lvl5pPr>
            <a:lvl6pPr>
              <a:lnSpc>
                <a:spcPts val="2399"/>
              </a:lnSpc>
              <a:defRPr sz="1899"/>
            </a:lvl6pPr>
            <a:lvl7pPr>
              <a:lnSpc>
                <a:spcPts val="2399"/>
              </a:lnSpc>
              <a:defRPr sz="1899"/>
            </a:lvl7pPr>
            <a:lvl8pPr>
              <a:lnSpc>
                <a:spcPts val="2399"/>
              </a:lnSpc>
              <a:defRPr sz="1899"/>
            </a:lvl8pPr>
            <a:lvl9pPr>
              <a:lnSpc>
                <a:spcPts val="2399"/>
              </a:lnSpc>
              <a:defRPr sz="1899"/>
            </a:lvl9pPr>
          </a:lstStyle>
          <a:p>
            <a:pPr lvl="0"/>
            <a:r>
              <a:rPr lang="en-GB" dirty="0"/>
              <a:t>Insert text in </a:t>
            </a:r>
            <a:r>
              <a:rPr lang="en-GB" noProof="0" dirty="0" err="1"/>
              <a:t>CorpoS</a:t>
            </a:r>
            <a:r>
              <a:rPr lang="en-GB" noProof="0" dirty="0"/>
              <a:t> (Body) 19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5" name="Title 4"/>
          <p:cNvSpPr>
            <a:spLocks noGrp="1"/>
          </p:cNvSpPr>
          <p:nvPr>
            <p:ph type="title" hasCustomPrompt="1"/>
          </p:nvPr>
        </p:nvSpPr>
        <p:spPr/>
        <p:txBody>
          <a:bodyPr/>
          <a:lstStyle/>
          <a:p>
            <a:r>
              <a:rPr lang="en-GB" noProof="0" dirty="0"/>
              <a:t>Headline in </a:t>
            </a:r>
            <a:r>
              <a:rPr lang="en-GB" noProof="0" dirty="0" err="1"/>
              <a:t>CorpoS</a:t>
            </a:r>
            <a:r>
              <a:rPr lang="en-GB" noProof="0" dirty="0"/>
              <a:t> (Body) 35 pt. for standard </a:t>
            </a:r>
            <a:br>
              <a:rPr lang="en-GB" noProof="0" dirty="0"/>
            </a:br>
            <a:r>
              <a:rPr lang="en-GB" noProof="0" dirty="0"/>
              <a:t>text-chart in two lines</a:t>
            </a:r>
            <a:endParaRPr lang="en-GB" dirty="0"/>
          </a:p>
        </p:txBody>
      </p:sp>
    </p:spTree>
    <p:extLst>
      <p:ext uri="{BB962C8B-B14F-4D97-AF65-F5344CB8AC3E}">
        <p14:creationId xmlns:p14="http://schemas.microsoft.com/office/powerpoint/2010/main" val="2162658104"/>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948">
          <p15:clr>
            <a:srgbClr val="FBAE40"/>
          </p15:clr>
        </p15:guide>
        <p15:guide id="3" orient="horz" pos="182">
          <p15:clr>
            <a:srgbClr val="FBAE40"/>
          </p15:clr>
        </p15:guide>
        <p15:guide id="4" pos="3056">
          <p15:clr>
            <a:srgbClr val="FBAE40"/>
          </p15:clr>
        </p15:guide>
        <p15:guide id="5" pos="2828">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ntents with head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en-GB" dirty="0"/>
              <a:t>Insert content or text in </a:t>
            </a:r>
            <a:r>
              <a:rPr lang="en-GB" noProof="0" dirty="0" err="1"/>
              <a:t>CorpoS</a:t>
            </a:r>
            <a:r>
              <a:rPr lang="en-GB" noProof="0" dirty="0"/>
              <a:t>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en-GB" dirty="0"/>
              <a:t>Insert content or text in </a:t>
            </a:r>
            <a:r>
              <a:rPr lang="en-GB" noProof="0" dirty="0" err="1"/>
              <a:t>Corpo</a:t>
            </a:r>
            <a:r>
              <a:rPr lang="en-GB" noProof="0" dirty="0"/>
              <a:t> 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Tree>
    <p:extLst>
      <p:ext uri="{BB962C8B-B14F-4D97-AF65-F5344CB8AC3E}">
        <p14:creationId xmlns:p14="http://schemas.microsoft.com/office/powerpoint/2010/main" val="1367378067"/>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4 product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7"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Tree>
    <p:extLst>
      <p:ext uri="{BB962C8B-B14F-4D97-AF65-F5344CB8AC3E}">
        <p14:creationId xmlns:p14="http://schemas.microsoft.com/office/powerpoint/2010/main" val="312743393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Headline two lines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94374405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Headline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2733101749"/>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 Images-chart 2/3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err="1"/>
              <a:t>CorpoS</a:t>
            </a:r>
            <a:r>
              <a:rPr lang="en-GB" noProof="0" dirty="0"/>
              <a:t> (Body) 24 pt. (Mark-ups in Bold) </a:t>
            </a:r>
            <a:r>
              <a:rPr lang="en-GB" dirty="0"/>
              <a:t>// for Body text: Home // Paragraph// Increase List Level</a:t>
            </a:r>
          </a:p>
          <a:p>
            <a:pPr lvl="1"/>
            <a:r>
              <a:rPr lang="en-GB" dirty="0"/>
              <a:t>Second level (Body text)</a:t>
            </a:r>
          </a:p>
        </p:txBody>
      </p:sp>
    </p:spTree>
    <p:extLst>
      <p:ext uri="{BB962C8B-B14F-4D97-AF65-F5344CB8AC3E}">
        <p14:creationId xmlns:p14="http://schemas.microsoft.com/office/powerpoint/2010/main" val="272504369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Agenda without brushi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25893"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324651403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398450250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userDrawn="1">
  <p:cSld name="Agenda with brushin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 name="Title 1"/>
          <p:cNvSpPr>
            <a:spLocks noGrp="1"/>
          </p:cNvSpPr>
          <p:nvPr>
            <p:ph type="title" hasCustomPrompt="1"/>
          </p:nvPr>
        </p:nvSpPr>
        <p:spPr>
          <a:xfrm>
            <a:off x="628323" y="288859"/>
            <a:ext cx="10932455" cy="1148857"/>
          </a:xfrm>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7" y="1504603"/>
            <a:ext cx="10931023" cy="3386305"/>
          </a:xfrm>
          <a:custGeom>
            <a:avLst/>
            <a:gdLst>
              <a:gd name="connsiteX0" fmla="*/ 0 w 10936081"/>
              <a:gd name="connsiteY0" fmla="*/ 0 h 3384000"/>
              <a:gd name="connsiteX1" fmla="*/ 10936081 w 10936081"/>
              <a:gd name="connsiteY1" fmla="*/ 0 h 3384000"/>
              <a:gd name="connsiteX2" fmla="*/ 10936081 w 10936081"/>
              <a:gd name="connsiteY2" fmla="*/ 3384000 h 3384000"/>
              <a:gd name="connsiteX3" fmla="*/ 0 w 10936081"/>
              <a:gd name="connsiteY3" fmla="*/ 3384000 h 3384000"/>
              <a:gd name="connsiteX4" fmla="*/ 0 w 10936081"/>
              <a:gd name="connsiteY4" fmla="*/ 0 h 3384000"/>
              <a:gd name="connsiteX0" fmla="*/ 0 w 10936081"/>
              <a:gd name="connsiteY0" fmla="*/ 0 h 3387089"/>
              <a:gd name="connsiteX1" fmla="*/ 10936081 w 10936081"/>
              <a:gd name="connsiteY1" fmla="*/ 0 h 3387089"/>
              <a:gd name="connsiteX2" fmla="*/ 10936081 w 10936081"/>
              <a:gd name="connsiteY2" fmla="*/ 3384000 h 3387089"/>
              <a:gd name="connsiteX3" fmla="*/ 2006076 w 10936081"/>
              <a:gd name="connsiteY3" fmla="*/ 3387089 h 3387089"/>
              <a:gd name="connsiteX4" fmla="*/ 0 w 10936081"/>
              <a:gd name="connsiteY4" fmla="*/ 3384000 h 3387089"/>
              <a:gd name="connsiteX5" fmla="*/ 0 w 10936081"/>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10936081 w 10936716"/>
              <a:gd name="connsiteY3" fmla="*/ 3384000 h 3387089"/>
              <a:gd name="connsiteX4" fmla="*/ 2006076 w 10936716"/>
              <a:gd name="connsiteY4" fmla="*/ 3387089 h 3387089"/>
              <a:gd name="connsiteX5" fmla="*/ 0 w 10936716"/>
              <a:gd name="connsiteY5" fmla="*/ 3384000 h 3387089"/>
              <a:gd name="connsiteX6" fmla="*/ 0 w 10936716"/>
              <a:gd name="connsiteY6"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3387089">
                <a:moveTo>
                  <a:pt x="0" y="0"/>
                </a:moveTo>
                <a:lnTo>
                  <a:pt x="10936081" y="0"/>
                </a:lnTo>
                <a:cubicBezTo>
                  <a:pt x="10936293" y="852170"/>
                  <a:pt x="10936504" y="1704339"/>
                  <a:pt x="10936716" y="2556509"/>
                </a:cubicBezTo>
                <a:lnTo>
                  <a:pt x="2006076" y="3387089"/>
                </a:lnTo>
                <a:lnTo>
                  <a:pt x="0" y="3384000"/>
                </a:lnTo>
                <a:lnTo>
                  <a:pt x="0" y="0"/>
                </a:lnTo>
                <a:close/>
              </a:path>
            </a:pathLst>
          </a:custGeo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72291557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26917"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329908759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userDrawn="1">
  <p:cSld name="Full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84929237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44651178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2_Text/ image/ Headline 1 lin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2794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78" y="285982"/>
            <a:ext cx="10931106" cy="683842"/>
          </a:xfrm>
        </p:spPr>
        <p:txBody>
          <a:bodyPr/>
          <a:lstStyle/>
          <a:p>
            <a:r>
              <a:rPr lang="en-US" noProof="0" dirty="0"/>
              <a:t>Headline in </a:t>
            </a:r>
            <a:r>
              <a:rPr lang="en-US" noProof="0" dirty="0" err="1"/>
              <a:t>CorpoS</a:t>
            </a:r>
            <a:r>
              <a:rPr lang="en-US" noProof="0" dirty="0"/>
              <a:t> (Body) 35 pt.</a:t>
            </a:r>
            <a:endParaRPr lang="en-US" dirty="0"/>
          </a:p>
        </p:txBody>
      </p:sp>
      <p:sp>
        <p:nvSpPr>
          <p:cNvPr id="3" name="Footer Placeholder 2"/>
          <p:cNvSpPr>
            <a:spLocks noGrp="1"/>
          </p:cNvSpPr>
          <p:nvPr>
            <p:ph type="ftr" sz="quarter" idx="10"/>
          </p:nvPr>
        </p:nvSpPr>
        <p:spPr/>
        <p:txBody>
          <a:bodyPr/>
          <a:lstStyle/>
          <a:p>
            <a:r>
              <a:rPr lang="en-US" dirty="0">
                <a:solidFill>
                  <a:prstClr val="black"/>
                </a:solidFill>
              </a:rPr>
              <a:t>DFS BoM Meeting | January 2017 | </a:t>
            </a:r>
          </a:p>
        </p:txBody>
      </p:sp>
      <p:sp>
        <p:nvSpPr>
          <p:cNvPr id="4" name="Slide Number Placeholder 3"/>
          <p:cNvSpPr>
            <a:spLocks noGrp="1"/>
          </p:cNvSpPr>
          <p:nvPr>
            <p:ph type="sldNum" sz="quarter" idx="11"/>
          </p:nvPr>
        </p:nvSpPr>
        <p:spPr/>
        <p:txBody>
          <a:bodyPr/>
          <a:lstStyle/>
          <a:p>
            <a:r>
              <a:rPr lang="en-US" dirty="0">
                <a:solidFill>
                  <a:prstClr val="black"/>
                </a:solidFill>
              </a:rPr>
              <a:t>Page </a:t>
            </a:r>
            <a:fld id="{52531704-8F80-415D-BD2B-6B9991AE822F}" type="slidenum">
              <a:rPr lang="en-US" smtClean="0">
                <a:solidFill>
                  <a:prstClr val="black"/>
                </a:solidFill>
              </a:rPr>
              <a:pPr/>
              <a:t>‹#›</a:t>
            </a:fld>
            <a:endParaRPr lang="en-US" dirty="0">
              <a:solidFill>
                <a:prstClr val="black"/>
              </a:solidFill>
            </a:endParaRPr>
          </a:p>
        </p:txBody>
      </p:sp>
      <p:sp>
        <p:nvSpPr>
          <p:cNvPr id="17"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7417">
              <a:defRPr/>
            </a:pPr>
            <a:r>
              <a:rPr lang="en-US" sz="1199" dirty="0">
                <a:solidFill>
                  <a:prstClr val="black"/>
                </a:solidFill>
                <a:cs typeface="Daimler CS"/>
              </a:rPr>
              <a:t>Daimler Mobility Services GmbH</a:t>
            </a:r>
          </a:p>
        </p:txBody>
      </p:sp>
      <p:cxnSp>
        <p:nvCxnSpPr>
          <p:cNvPr id="16"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Tree>
    <p:extLst>
      <p:ext uri="{BB962C8B-B14F-4D97-AF65-F5344CB8AC3E}">
        <p14:creationId xmlns:p14="http://schemas.microsoft.com/office/powerpoint/2010/main" val="265642481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userDrawn="1">
  <p:cSld name="daimler blanco">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2896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75"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MS footprint | </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7" name="Daimler AG (Wortmarke)"/>
          <p:cNvSpPr>
            <a:spLocks noChangeArrowheads="1"/>
          </p:cNvSpPr>
          <p:nvPr userDrawn="1"/>
        </p:nvSpPr>
        <p:spPr bwMode="auto">
          <a:xfrm>
            <a:off x="629674" y="6564883"/>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7490">
              <a:defRPr/>
            </a:pPr>
            <a:r>
              <a:rPr lang="de-DE" sz="1199" dirty="0">
                <a:solidFill>
                  <a:prstClr val="black"/>
                </a:solidFill>
                <a:cs typeface="Daimler CS"/>
              </a:rPr>
              <a:t>Daimler Mobility Services GmbH</a:t>
            </a:r>
          </a:p>
        </p:txBody>
      </p:sp>
      <p:cxnSp>
        <p:nvCxnSpPr>
          <p:cNvPr id="16" name="Footerline"/>
          <p:cNvCxnSpPr/>
          <p:nvPr userDrawn="1"/>
        </p:nvCxnSpPr>
        <p:spPr bwMode="auto">
          <a:xfrm>
            <a:off x="629674"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Tree>
    <p:extLst>
      <p:ext uri="{BB962C8B-B14F-4D97-AF65-F5344CB8AC3E}">
        <p14:creationId xmlns:p14="http://schemas.microsoft.com/office/powerpoint/2010/main" val="280726894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66">
          <p15:clr>
            <a:srgbClr val="FBAE40"/>
          </p15:clr>
        </p15:guide>
        <p15:guide id="3" orient="horz" pos="754">
          <p15:clr>
            <a:srgbClr val="FBAE40"/>
          </p15:clr>
        </p15:guide>
        <p15:guide id="4" orient="horz" pos="845">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1_daimler blanco">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2998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8" name="Foliennummernplatzhalter 3">
            <a:extLst>
              <a:ext uri="{FF2B5EF4-FFF2-40B4-BE49-F238E27FC236}">
                <a16:creationId xmlns:a16="http://schemas.microsoft.com/office/drawing/2014/main" id="{3E15A405-AB95-44E1-98C0-C8DC619077BB}"/>
              </a:ext>
            </a:extLst>
          </p:cNvPr>
          <p:cNvSpPr txBox="1">
            <a:spLocks/>
          </p:cNvSpPr>
          <p:nvPr userDrawn="1"/>
        </p:nvSpPr>
        <p:spPr>
          <a:xfrm>
            <a:off x="11442992" y="6506836"/>
            <a:ext cx="1155196" cy="215950"/>
          </a:xfrm>
          <a:prstGeom prst="rect">
            <a:avLst/>
          </a:prstGeom>
        </p:spPr>
        <p:txBody>
          <a:bodyPr vert="horz" lIns="0" tIns="0" rIns="0" bIns="0" rtlCol="0" anchor="t" anchorCtr="0"/>
          <a:lstStyle>
            <a:defPPr>
              <a:defRPr lang="de-DE"/>
            </a:defPPr>
            <a:lvl1pPr marL="0" indent="0" algn="l" defTabSz="1088959" rtl="0" eaLnBrk="1" latinLnBrk="0" hangingPunct="1">
              <a:spcBef>
                <a:spcPts val="0"/>
              </a:spcBef>
              <a:buFont typeface="Arial" panose="020B0604020202020204" pitchFamily="34" charset="0"/>
              <a:buNone/>
              <a:defRPr sz="1200" kern="1200">
                <a:solidFill>
                  <a:schemeClr val="tx1"/>
                </a:solidFill>
                <a:latin typeface="+mn-lt"/>
                <a:ea typeface="+mn-ea"/>
                <a:cs typeface="+mn-cs"/>
              </a:defRPr>
            </a:lvl1pPr>
            <a:lvl2pPr marL="0" indent="0" algn="l" defTabSz="1088959" rtl="0" eaLnBrk="1" latinLnBrk="0" hangingPunct="1">
              <a:spcBef>
                <a:spcPts val="0"/>
              </a:spcBef>
              <a:defRPr sz="1200" kern="1200">
                <a:solidFill>
                  <a:schemeClr val="tx1"/>
                </a:solidFill>
                <a:latin typeface="+mn-lt"/>
                <a:ea typeface="+mn-ea"/>
                <a:cs typeface="+mn-cs"/>
              </a:defRPr>
            </a:lvl2pPr>
            <a:lvl3pPr marL="0" indent="0" algn="l" defTabSz="1088959" rtl="0" eaLnBrk="1" latinLnBrk="0" hangingPunct="1">
              <a:spcBef>
                <a:spcPts val="0"/>
              </a:spcBef>
              <a:defRPr sz="1200" kern="1200">
                <a:solidFill>
                  <a:schemeClr val="tx1"/>
                </a:solidFill>
                <a:latin typeface="+mn-lt"/>
                <a:ea typeface="+mn-ea"/>
                <a:cs typeface="+mn-cs"/>
              </a:defRPr>
            </a:lvl3pPr>
            <a:lvl4pPr marL="0" indent="0" algn="l" defTabSz="1088959" rtl="0" eaLnBrk="1" latinLnBrk="0" hangingPunct="1">
              <a:spcBef>
                <a:spcPts val="0"/>
              </a:spcBef>
              <a:defRPr sz="1200" kern="1200">
                <a:solidFill>
                  <a:schemeClr val="tx1"/>
                </a:solidFill>
                <a:latin typeface="+mn-lt"/>
                <a:ea typeface="+mn-ea"/>
                <a:cs typeface="+mn-cs"/>
              </a:defRPr>
            </a:lvl4pPr>
            <a:lvl5pPr marL="0" indent="0" algn="l" defTabSz="1088959" rtl="0" eaLnBrk="1" latinLnBrk="0" hangingPunct="1">
              <a:spcBef>
                <a:spcPts val="0"/>
              </a:spcBef>
              <a:defRPr sz="1200" kern="1200">
                <a:solidFill>
                  <a:schemeClr val="tx1"/>
                </a:solidFill>
                <a:latin typeface="+mn-lt"/>
                <a:ea typeface="+mn-ea"/>
                <a:cs typeface="+mn-cs"/>
              </a:defRPr>
            </a:lvl5pPr>
            <a:lvl6pPr marL="0" indent="0" algn="l" defTabSz="1088959" rtl="0" eaLnBrk="1" latinLnBrk="0" hangingPunct="1">
              <a:spcBef>
                <a:spcPts val="0"/>
              </a:spcBef>
              <a:defRPr sz="1200" kern="1200">
                <a:solidFill>
                  <a:schemeClr val="tx1"/>
                </a:solidFill>
                <a:latin typeface="+mn-lt"/>
                <a:ea typeface="+mn-ea"/>
                <a:cs typeface="+mn-cs"/>
              </a:defRPr>
            </a:lvl6pPr>
            <a:lvl7pPr marL="0" indent="0" algn="l" defTabSz="1088959" rtl="0" eaLnBrk="1" latinLnBrk="0" hangingPunct="1">
              <a:spcBef>
                <a:spcPts val="0"/>
              </a:spcBef>
              <a:defRPr sz="1200" kern="1200">
                <a:solidFill>
                  <a:schemeClr val="tx1"/>
                </a:solidFill>
                <a:latin typeface="+mn-lt"/>
                <a:ea typeface="+mn-ea"/>
                <a:cs typeface="+mn-cs"/>
              </a:defRPr>
            </a:lvl7pPr>
            <a:lvl8pPr marL="0" indent="0" algn="l" defTabSz="1088959" rtl="0" eaLnBrk="1" latinLnBrk="0" hangingPunct="1">
              <a:spcBef>
                <a:spcPts val="0"/>
              </a:spcBef>
              <a:defRPr sz="1200" kern="1200">
                <a:solidFill>
                  <a:schemeClr val="tx1"/>
                </a:solidFill>
                <a:latin typeface="+mn-lt"/>
                <a:ea typeface="+mn-ea"/>
                <a:cs typeface="+mn-cs"/>
              </a:defRPr>
            </a:lvl8pPr>
            <a:lvl9pPr marL="0" indent="0" algn="l" defTabSz="1088959" rtl="0" eaLnBrk="1" latinLnBrk="0" hangingPunct="1">
              <a:spcBef>
                <a:spcPts val="0"/>
              </a:spcBef>
              <a:defRPr sz="1200" kern="1200">
                <a:solidFill>
                  <a:schemeClr val="tx1"/>
                </a:solidFill>
                <a:latin typeface="+mn-lt"/>
                <a:ea typeface="+mn-ea"/>
                <a:cs typeface="+mn-cs"/>
              </a:defRPr>
            </a:lvl9pPr>
          </a:lstStyle>
          <a:p>
            <a:r>
              <a:rPr lang="en-GB" sz="1199" b="1" dirty="0">
                <a:solidFill>
                  <a:prstClr val="black"/>
                </a:solidFill>
              </a:rPr>
              <a:t>PAGE </a:t>
            </a:r>
            <a:fld id="{52531704-8F80-415D-BD2B-6B9991AE822F}" type="slidenum">
              <a:rPr lang="en-GB" sz="1199" b="1" smtClean="0">
                <a:solidFill>
                  <a:prstClr val="black"/>
                </a:solidFill>
              </a:rPr>
              <a:pPr/>
              <a:t>‹#›</a:t>
            </a:fld>
            <a:endParaRPr lang="en-GB" sz="1199" b="1" dirty="0">
              <a:solidFill>
                <a:prstClr val="black"/>
              </a:solidFill>
            </a:endParaRPr>
          </a:p>
        </p:txBody>
      </p:sp>
    </p:spTree>
    <p:extLst>
      <p:ext uri="{BB962C8B-B14F-4D97-AF65-F5344CB8AC3E}">
        <p14:creationId xmlns:p14="http://schemas.microsoft.com/office/powerpoint/2010/main" val="371603194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66">
          <p15:clr>
            <a:srgbClr val="FBAE40"/>
          </p15:clr>
        </p15:guide>
        <p15:guide id="3" orient="horz" pos="754">
          <p15:clr>
            <a:srgbClr val="FBAE40"/>
          </p15:clr>
        </p15:guide>
        <p15:guide id="4" orient="horz" pos="845">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8415"/>
            <a:fld id="{896ACB37-748C-4671-8EE1-05B98108112A}" type="datetimeFigureOut">
              <a:rPr lang="en-US" sz="2099" smtClean="0">
                <a:solidFill>
                  <a:prstClr val="black"/>
                </a:solidFill>
              </a:rPr>
              <a:pPr defTabSz="1088415"/>
              <a:t>4/26/2019</a:t>
            </a:fld>
            <a:endParaRPr lang="en-US" sz="2099">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DA579563-9695-402D-AD0C-D8B123AFC4F2}"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7545857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 Images-chart 3/3 brushed">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3"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err="1"/>
              <a:t>CorpoS</a:t>
            </a:r>
            <a:r>
              <a:rPr lang="en-GB" noProof="0" dirty="0"/>
              <a:t> (Body) 24 pt. (Mark-ups in Bold) </a:t>
            </a:r>
            <a:r>
              <a:rPr lang="en-GB" dirty="0"/>
              <a:t>// for Body text: Home // Paragraph// Increase List Level</a:t>
            </a:r>
          </a:p>
          <a:p>
            <a:pPr lvl="1"/>
            <a:r>
              <a:rPr lang="en-GB" dirty="0"/>
              <a:t>Second level (Body text)</a:t>
            </a:r>
          </a:p>
          <a:p>
            <a:pPr lvl="2"/>
            <a:r>
              <a:rPr lang="en-GB" dirty="0"/>
              <a:t>Third level</a:t>
            </a:r>
          </a:p>
          <a:p>
            <a:pPr lvl="3"/>
            <a:r>
              <a:rPr lang="en-GB" dirty="0"/>
              <a:t>Fourth level</a:t>
            </a:r>
          </a:p>
          <a:p>
            <a:pPr lvl="4"/>
            <a:r>
              <a:rPr lang="en-GB" dirty="0"/>
              <a:t>Fifth level</a:t>
            </a:r>
          </a:p>
          <a:p>
            <a:pPr lvl="5"/>
            <a:r>
              <a:rPr lang="en-GB" dirty="0"/>
              <a:t>Sixth level</a:t>
            </a:r>
          </a:p>
        </p:txBody>
      </p:sp>
    </p:spTree>
    <p:extLst>
      <p:ext uri="{BB962C8B-B14F-4D97-AF65-F5344CB8AC3E}">
        <p14:creationId xmlns:p14="http://schemas.microsoft.com/office/powerpoint/2010/main" val="408691204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3/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en-GB" dirty="0"/>
              <a:t>Referent’s name: </a:t>
            </a:r>
            <a:r>
              <a:rPr lang="en-GB" noProof="0" dirty="0" err="1"/>
              <a:t>CorpoS</a:t>
            </a:r>
            <a:r>
              <a:rPr lang="en-GB" noProof="0" dirty="0"/>
              <a:t> </a:t>
            </a:r>
            <a:r>
              <a:rPr lang="en-GB" dirty="0"/>
              <a:t>(Body) 35 pt. Presentation title</a:t>
            </a:r>
            <a:br>
              <a:rPr lang="en-GB" dirty="0"/>
            </a:br>
            <a:r>
              <a:rPr lang="en-GB" dirty="0"/>
              <a:t>in two lines of text, dd. </a:t>
            </a:r>
            <a:r>
              <a:rPr lang="en-GB" dirty="0" err="1"/>
              <a:t>mmmm</a:t>
            </a:r>
            <a:r>
              <a:rPr lang="en-GB" dirty="0"/>
              <a:t> </a:t>
            </a:r>
            <a:r>
              <a:rPr lang="en-GB" dirty="0" err="1"/>
              <a:t>yyyy</a:t>
            </a:r>
            <a:endParaRPr lang="en-GB"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917706153"/>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itle 2/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a:lvl1pPr>
          </a:lstStyle>
          <a:p>
            <a:r>
              <a:rPr lang="en-GB" dirty="0"/>
              <a:t>Referent’s name: </a:t>
            </a:r>
            <a:r>
              <a:rPr lang="en-GB" noProof="0" dirty="0" err="1"/>
              <a:t>CorpoS</a:t>
            </a:r>
            <a:r>
              <a:rPr lang="en-GB" noProof="0" dirty="0"/>
              <a:t> </a:t>
            </a:r>
            <a:r>
              <a:rPr lang="en-GB" dirty="0"/>
              <a:t>(Body) 35 pt. Presentation title</a:t>
            </a:r>
            <a:br>
              <a:rPr lang="en-GB" dirty="0"/>
            </a:br>
            <a:r>
              <a:rPr lang="en-GB" dirty="0"/>
              <a:t>in two or more lines of text, dd. </a:t>
            </a:r>
            <a:r>
              <a:rPr lang="en-GB" dirty="0" err="1"/>
              <a:t>mmmm</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11661333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1/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4608438"/>
            <a:ext cx="10930832" cy="1538527"/>
          </a:xfrm>
        </p:spPr>
        <p:txBody>
          <a:bodyPr wrap="square" anchor="b" anchorCtr="0">
            <a:spAutoFit/>
          </a:bodyPr>
          <a:lstStyle>
            <a:lvl1pPr>
              <a:defRPr baseline="0"/>
            </a:lvl1pPr>
          </a:lstStyle>
          <a:p>
            <a:r>
              <a:rPr lang="en-GB" dirty="0"/>
              <a:t>Referent’s name: </a:t>
            </a:r>
            <a:r>
              <a:rPr lang="en-GB" noProof="0" dirty="0" err="1"/>
              <a:t>CorpoS</a:t>
            </a:r>
            <a:r>
              <a:rPr lang="en-GB" noProof="0" dirty="0"/>
              <a:t> </a:t>
            </a:r>
            <a:r>
              <a:rPr lang="en-GB" dirty="0"/>
              <a:t>(Body) 35 pt.</a:t>
            </a:r>
            <a:br>
              <a:rPr lang="en-GB" dirty="0"/>
            </a:br>
            <a:r>
              <a:rPr lang="en-GB" dirty="0"/>
              <a:t>Presentation title in two lines or </a:t>
            </a:r>
            <a:br>
              <a:rPr lang="en-GB" dirty="0"/>
            </a:br>
            <a:r>
              <a:rPr lang="en-GB" dirty="0"/>
              <a:t>more lines of text, dd. </a:t>
            </a:r>
            <a:r>
              <a:rPr lang="en-GB" dirty="0" err="1"/>
              <a:t>mmmm</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66089920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3/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763324"/>
          </a:xfrm>
        </p:spPr>
        <p:txBody>
          <a:bodyPr wrap="square" anchor="t" anchorCtr="0">
            <a:noAutofit/>
          </a:bodyPr>
          <a:lstStyle>
            <a:lvl1pPr>
              <a:defRPr baseline="0">
                <a:solidFill>
                  <a:schemeClr val="bg1"/>
                </a:solidFill>
              </a:defRPr>
            </a:lvl1pPr>
          </a:lstStyle>
          <a:p>
            <a:r>
              <a:rPr lang="en-GB" dirty="0"/>
              <a:t>Referent’s name: </a:t>
            </a:r>
            <a:r>
              <a:rPr lang="en-GB" noProof="0" dirty="0" err="1"/>
              <a:t>CorpoS</a:t>
            </a:r>
            <a:r>
              <a:rPr lang="en-GB" noProof="0" dirty="0"/>
              <a:t>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4945370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2/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4433"/>
            <a:ext cx="10932181" cy="648964"/>
          </a:xfrm>
        </p:spPr>
        <p:txBody>
          <a:bodyPr wrap="square" anchor="t" anchorCtr="0">
            <a:noAutofit/>
          </a:bodyPr>
          <a:lstStyle>
            <a:lvl1pPr>
              <a:defRPr>
                <a:solidFill>
                  <a:schemeClr val="bg1"/>
                </a:solidFill>
              </a:defRPr>
            </a:lvl1pPr>
          </a:lstStyle>
          <a:p>
            <a:r>
              <a:rPr lang="en-GB" dirty="0"/>
              <a:t>Headline for presentation</a:t>
            </a:r>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5136704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Image-chart 3/4 brushed ">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1"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3" name="Title 2"/>
          <p:cNvSpPr>
            <a:spLocks noGrp="1"/>
          </p:cNvSpPr>
          <p:nvPr>
            <p:ph type="title" hasCustomPrompt="1"/>
          </p:nvPr>
        </p:nvSpPr>
        <p:spPr>
          <a:xfrm>
            <a:off x="628323" y="288859"/>
            <a:ext cx="10932455" cy="1025684"/>
          </a:xfrm>
        </p:spPr>
        <p:txBody>
          <a:bodyPr wrap="square">
            <a:spAutoFit/>
          </a:bodyPr>
          <a:lstStyle>
            <a:lvl1pPr>
              <a:defRPr>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235052668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Image-chart 1/4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a:extLst>
              <a:ext uri="{28A0092B-C50C-407E-A947-70E740481C1C}">
                <a14:useLocalDpi xmlns:a14="http://schemas.microsoft.com/office/drawing/2010/main" val="0"/>
              </a:ext>
            </a:extLst>
          </a:blip>
          <a:srcRect b="5375"/>
          <a:stretch/>
        </p:blipFill>
        <p:spPr bwMode="white">
          <a:xfrm>
            <a:off x="0" y="-1"/>
            <a:ext cx="12190451" cy="6487839"/>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3" name="Title 2"/>
          <p:cNvSpPr>
            <a:spLocks noGrp="1"/>
          </p:cNvSpPr>
          <p:nvPr>
            <p:ph type="title" hasCustomPrompt="1"/>
          </p:nvPr>
        </p:nvSpPr>
        <p:spPr>
          <a:xfrm>
            <a:off x="630116" y="288857"/>
            <a:ext cx="10930662" cy="1151733"/>
          </a:xfrm>
        </p:spPr>
        <p:txBody>
          <a:bodyPr/>
          <a:lstStyle>
            <a:lvl1pPr>
              <a:defRPr baseline="0">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82730061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Agenda 1/3 brushed">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2" name="Title 1"/>
          <p:cNvSpPr>
            <a:spLocks noGrp="1"/>
          </p:cNvSpPr>
          <p:nvPr>
            <p:ph type="title" hasCustomPrompt="1"/>
          </p:nvPr>
        </p:nvSpPr>
        <p:spPr>
          <a:xfrm>
            <a:off x="628323" y="288859"/>
            <a:ext cx="10932455" cy="1148857"/>
          </a:xfrm>
        </p:spPr>
        <p:txBody>
          <a:bodyPr/>
          <a:lstStyle>
            <a:lvl1pPr>
              <a:defRPr/>
            </a:lvl1pPr>
          </a:lstStyle>
          <a:p>
            <a:r>
              <a:rPr lang="en-GB" noProof="0" dirty="0"/>
              <a:t>Headline for Agenda in </a:t>
            </a:r>
            <a:r>
              <a:rPr lang="en-GB" noProof="0" dirty="0" err="1"/>
              <a:t>CorpoS</a:t>
            </a:r>
            <a:r>
              <a:rPr lang="en-GB" noProof="0" dirty="0"/>
              <a:t>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6" y="1504603"/>
            <a:ext cx="10930388" cy="3759916"/>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72070194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for Agenda in </a:t>
            </a:r>
            <a:r>
              <a:rPr lang="en-GB" noProof="0" dirty="0" err="1"/>
              <a:t>CorpoS</a:t>
            </a:r>
            <a:r>
              <a:rPr lang="en-GB" noProof="0" dirty="0"/>
              <a:t>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162536923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Headline two line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97029390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ullpage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53384237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Headline two lines // Image">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a:t>
            </a:r>
            <a:r>
              <a:rPr lang="en-GB" noProof="0" dirty="0"/>
              <a:t> 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84296818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Headlin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230706115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Headline // Image">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249206446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2 Images-chart 2/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92056702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2 Images-chart 1/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6" y="288859"/>
            <a:ext cx="10930662" cy="1148857"/>
          </a:xfrm>
        </p:spPr>
        <p:txBody>
          <a:bodyPr/>
          <a:lstStyle>
            <a:lvl1pPr>
              <a:defRPr>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8466815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2 Images-chart 1/3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8287424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2 Images-chart 2/3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err="1"/>
              <a:t>CorpoS</a:t>
            </a:r>
            <a:r>
              <a:rPr lang="en-GB" noProof="0" dirty="0"/>
              <a:t> (Body) 24 pt. (Mark-ups in Bold) </a:t>
            </a:r>
            <a:r>
              <a:rPr lang="en-GB" dirty="0"/>
              <a:t>// for Body text: Home // Paragraph// Increase List Level</a:t>
            </a:r>
          </a:p>
          <a:p>
            <a:pPr lvl="1"/>
            <a:r>
              <a:rPr lang="en-GB" dirty="0"/>
              <a:t>Second level (Body text)</a:t>
            </a:r>
          </a:p>
        </p:txBody>
      </p:sp>
    </p:spTree>
    <p:extLst>
      <p:ext uri="{BB962C8B-B14F-4D97-AF65-F5344CB8AC3E}">
        <p14:creationId xmlns:p14="http://schemas.microsoft.com/office/powerpoint/2010/main" val="331237693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2 Images-chart 3/3 brushed">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3"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err="1"/>
              <a:t>CorpoS</a:t>
            </a:r>
            <a:r>
              <a:rPr lang="en-GB" noProof="0" dirty="0"/>
              <a:t> (Body) 24 pt. (Mark-ups in Bold) </a:t>
            </a:r>
            <a:r>
              <a:rPr lang="en-GB" dirty="0"/>
              <a:t>// for Body text: Home // Paragraph// Increase List Level</a:t>
            </a:r>
          </a:p>
          <a:p>
            <a:pPr lvl="1"/>
            <a:r>
              <a:rPr lang="en-GB" dirty="0"/>
              <a:t>Second level (Body text)</a:t>
            </a:r>
          </a:p>
          <a:p>
            <a:pPr lvl="2"/>
            <a:r>
              <a:rPr lang="en-GB" dirty="0"/>
              <a:t>Third level</a:t>
            </a:r>
          </a:p>
          <a:p>
            <a:pPr lvl="3"/>
            <a:r>
              <a:rPr lang="en-GB" dirty="0"/>
              <a:t>Fourth level</a:t>
            </a:r>
          </a:p>
          <a:p>
            <a:pPr lvl="4"/>
            <a:r>
              <a:rPr lang="en-GB" dirty="0"/>
              <a:t>Fifth level</a:t>
            </a:r>
          </a:p>
          <a:p>
            <a:pPr lvl="5"/>
            <a:r>
              <a:rPr lang="en-GB" dirty="0"/>
              <a:t>Sixth level</a:t>
            </a:r>
          </a:p>
        </p:txBody>
      </p:sp>
    </p:spTree>
    <p:extLst>
      <p:ext uri="{BB962C8B-B14F-4D97-AF65-F5344CB8AC3E}">
        <p14:creationId xmlns:p14="http://schemas.microsoft.com/office/powerpoint/2010/main" val="370623428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Fullpage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82174590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Fullpage 3 image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6" name="Picture Placeholder 3"/>
          <p:cNvSpPr>
            <a:spLocks noGrp="1"/>
          </p:cNvSpPr>
          <p:nvPr>
            <p:ph type="pic" sz="quarter" idx="14" hasCustomPrompt="1"/>
          </p:nvPr>
        </p:nvSpPr>
        <p:spPr bwMode="gray">
          <a:xfrm>
            <a:off x="3911151" y="0"/>
            <a:ext cx="419992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43636782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a:lvl1pPr>
          </a:lstStyle>
          <a:p>
            <a:r>
              <a:rPr lang="en-GB" dirty="0"/>
              <a:t>Referent’s name: </a:t>
            </a:r>
            <a:r>
              <a:rPr lang="en-GB" noProof="0" dirty="0" err="1"/>
              <a:t>CorpoS</a:t>
            </a:r>
            <a:r>
              <a:rPr lang="en-GB" noProof="0" dirty="0"/>
              <a:t> </a:t>
            </a:r>
            <a:r>
              <a:rPr lang="en-GB" dirty="0"/>
              <a:t>(Body) 35 pt. Presentation title</a:t>
            </a:r>
            <a:br>
              <a:rPr lang="en-GB" dirty="0"/>
            </a:br>
            <a:r>
              <a:rPr lang="en-GB" dirty="0"/>
              <a:t>in two or more lines of text, dd. </a:t>
            </a:r>
            <a:r>
              <a:rPr lang="en-GB" dirty="0" err="1"/>
              <a:t>mmmm</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49757541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Fullpage 3 image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6" name="Picture Placeholder 3"/>
          <p:cNvSpPr>
            <a:spLocks noGrp="1"/>
          </p:cNvSpPr>
          <p:nvPr>
            <p:ph type="pic" sz="quarter" idx="14" hasCustomPrompt="1"/>
          </p:nvPr>
        </p:nvSpPr>
        <p:spPr bwMode="gray">
          <a:xfrm>
            <a:off x="3911151" y="0"/>
            <a:ext cx="419992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95394660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a:t>
            </a:r>
            <a:r>
              <a:rPr lang="en-GB" noProof="0" dirty="0"/>
              <a:t> S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17460065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en-GB" dirty="0"/>
              <a:t>Insert text in </a:t>
            </a:r>
            <a:r>
              <a:rPr lang="en-GB" noProof="0" dirty="0" err="1"/>
              <a:t>CorpoS</a:t>
            </a:r>
            <a:r>
              <a:rPr lang="en-GB" noProof="0" dirty="0"/>
              <a:t>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45191965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 small // Image">
    <p:spTree>
      <p:nvGrpSpPr>
        <p:cNvPr id="1" name=""/>
        <p:cNvGrpSpPr/>
        <p:nvPr/>
      </p:nvGrpSpPr>
      <p:grpSpPr>
        <a:xfrm>
          <a:off x="0" y="0"/>
          <a:ext cx="0" cy="0"/>
          <a:chOff x="0" y="0"/>
          <a:chExt cx="0" cy="0"/>
        </a:xfrm>
      </p:grpSpPr>
      <p:sp>
        <p:nvSpPr>
          <p:cNvPr id="10" name="Picture Placeholder 3"/>
          <p:cNvSpPr>
            <a:spLocks noGrp="1"/>
          </p:cNvSpPr>
          <p:nvPr>
            <p:ph type="pic" sz="quarter" idx="14" hasCustomPrompt="1"/>
          </p:nvPr>
        </p:nvSpPr>
        <p:spPr bwMode="gray">
          <a:xfrm>
            <a:off x="4848875" y="1504604"/>
            <a:ext cx="6711903" cy="4875669"/>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2" y="1504603"/>
            <a:ext cx="3857441" cy="4876681"/>
          </a:xfrm>
        </p:spPr>
        <p:txBody>
          <a:bodyPr>
            <a:normAutofit/>
          </a:bodyPr>
          <a:lstStyle>
            <a:lvl1pPr>
              <a:lnSpc>
                <a:spcPts val="2399"/>
              </a:lnSpc>
              <a:defRPr sz="1899" baseline="0"/>
            </a:lvl1pPr>
            <a:lvl2pPr>
              <a:lnSpc>
                <a:spcPts val="2399"/>
              </a:lnSpc>
              <a:defRPr sz="1899"/>
            </a:lvl2pPr>
            <a:lvl3pPr>
              <a:lnSpc>
                <a:spcPts val="2399"/>
              </a:lnSpc>
              <a:defRPr sz="1899"/>
            </a:lvl3pPr>
            <a:lvl4pPr>
              <a:lnSpc>
                <a:spcPts val="2399"/>
              </a:lnSpc>
              <a:defRPr sz="1899"/>
            </a:lvl4pPr>
            <a:lvl5pPr>
              <a:lnSpc>
                <a:spcPts val="2399"/>
              </a:lnSpc>
              <a:defRPr sz="1899"/>
            </a:lvl5pPr>
            <a:lvl6pPr>
              <a:lnSpc>
                <a:spcPts val="2399"/>
              </a:lnSpc>
              <a:defRPr sz="1899"/>
            </a:lvl6pPr>
            <a:lvl7pPr>
              <a:lnSpc>
                <a:spcPts val="2399"/>
              </a:lnSpc>
              <a:defRPr sz="1899"/>
            </a:lvl7pPr>
            <a:lvl8pPr>
              <a:lnSpc>
                <a:spcPts val="2399"/>
              </a:lnSpc>
              <a:defRPr sz="1899"/>
            </a:lvl8pPr>
            <a:lvl9pPr>
              <a:lnSpc>
                <a:spcPts val="2399"/>
              </a:lnSpc>
              <a:defRPr sz="1899"/>
            </a:lvl9pPr>
          </a:lstStyle>
          <a:p>
            <a:pPr lvl="0"/>
            <a:r>
              <a:rPr lang="en-GB" dirty="0"/>
              <a:t>Insert text in </a:t>
            </a:r>
            <a:r>
              <a:rPr lang="en-GB" noProof="0" dirty="0" err="1"/>
              <a:t>CorpoS</a:t>
            </a:r>
            <a:r>
              <a:rPr lang="en-GB" noProof="0" dirty="0"/>
              <a:t> (Body) 19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5" name="Title 4"/>
          <p:cNvSpPr>
            <a:spLocks noGrp="1"/>
          </p:cNvSpPr>
          <p:nvPr>
            <p:ph type="title" hasCustomPrompt="1"/>
          </p:nvPr>
        </p:nvSpPr>
        <p:spPr/>
        <p:txBody>
          <a:bodyPr/>
          <a:lstStyle/>
          <a:p>
            <a:r>
              <a:rPr lang="en-GB" noProof="0" dirty="0"/>
              <a:t>Headline in </a:t>
            </a:r>
            <a:r>
              <a:rPr lang="en-GB" noProof="0" dirty="0" err="1"/>
              <a:t>CorpoS</a:t>
            </a:r>
            <a:r>
              <a:rPr lang="en-GB" noProof="0" dirty="0"/>
              <a:t> (Body) 35 pt. for standard </a:t>
            </a:r>
            <a:br>
              <a:rPr lang="en-GB" noProof="0" dirty="0"/>
            </a:br>
            <a:r>
              <a:rPr lang="en-GB" noProof="0" dirty="0"/>
              <a:t>text-chart in two lines</a:t>
            </a:r>
            <a:endParaRPr lang="en-GB" dirty="0"/>
          </a:p>
        </p:txBody>
      </p:sp>
    </p:spTree>
    <p:extLst>
      <p:ext uri="{BB962C8B-B14F-4D97-AF65-F5344CB8AC3E}">
        <p14:creationId xmlns:p14="http://schemas.microsoft.com/office/powerpoint/2010/main" val="735657053"/>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948">
          <p15:clr>
            <a:srgbClr val="FBAE40"/>
          </p15:clr>
        </p15:guide>
        <p15:guide id="3" orient="horz" pos="182">
          <p15:clr>
            <a:srgbClr val="FBAE40"/>
          </p15:clr>
        </p15:guide>
        <p15:guide id="4" pos="3056">
          <p15:clr>
            <a:srgbClr val="FBAE40"/>
          </p15:clr>
        </p15:guide>
        <p15:guide id="5" pos="2828">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wo contents with head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en-GB" dirty="0"/>
              <a:t>Insert content or text in </a:t>
            </a:r>
            <a:r>
              <a:rPr lang="en-GB" noProof="0" dirty="0" err="1"/>
              <a:t>CorpoS</a:t>
            </a:r>
            <a:r>
              <a:rPr lang="en-GB" noProof="0" dirty="0"/>
              <a:t>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en-GB" dirty="0"/>
              <a:t>Insert content or text in </a:t>
            </a:r>
            <a:r>
              <a:rPr lang="en-GB" noProof="0" dirty="0" err="1"/>
              <a:t>Corpo</a:t>
            </a:r>
            <a:r>
              <a:rPr lang="en-GB" noProof="0" dirty="0"/>
              <a:t> 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Tree>
    <p:extLst>
      <p:ext uri="{BB962C8B-B14F-4D97-AF65-F5344CB8AC3E}">
        <p14:creationId xmlns:p14="http://schemas.microsoft.com/office/powerpoint/2010/main" val="507350537"/>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4 product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7"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Tree>
    <p:extLst>
      <p:ext uri="{BB962C8B-B14F-4D97-AF65-F5344CB8AC3E}">
        <p14:creationId xmlns:p14="http://schemas.microsoft.com/office/powerpoint/2010/main" val="189535296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Headline two lines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73009942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Headline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3596321553"/>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Agenda without brushi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32037"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233690882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332670869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userDrawn="1">
  <p:cSld name="Agenda with brushin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 name="Title 1"/>
          <p:cNvSpPr>
            <a:spLocks noGrp="1"/>
          </p:cNvSpPr>
          <p:nvPr>
            <p:ph type="title" hasCustomPrompt="1"/>
          </p:nvPr>
        </p:nvSpPr>
        <p:spPr>
          <a:xfrm>
            <a:off x="628323" y="288859"/>
            <a:ext cx="10932455" cy="1148857"/>
          </a:xfrm>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7" y="1504603"/>
            <a:ext cx="10931023" cy="3386305"/>
          </a:xfrm>
          <a:custGeom>
            <a:avLst/>
            <a:gdLst>
              <a:gd name="connsiteX0" fmla="*/ 0 w 10936081"/>
              <a:gd name="connsiteY0" fmla="*/ 0 h 3384000"/>
              <a:gd name="connsiteX1" fmla="*/ 10936081 w 10936081"/>
              <a:gd name="connsiteY1" fmla="*/ 0 h 3384000"/>
              <a:gd name="connsiteX2" fmla="*/ 10936081 w 10936081"/>
              <a:gd name="connsiteY2" fmla="*/ 3384000 h 3384000"/>
              <a:gd name="connsiteX3" fmla="*/ 0 w 10936081"/>
              <a:gd name="connsiteY3" fmla="*/ 3384000 h 3384000"/>
              <a:gd name="connsiteX4" fmla="*/ 0 w 10936081"/>
              <a:gd name="connsiteY4" fmla="*/ 0 h 3384000"/>
              <a:gd name="connsiteX0" fmla="*/ 0 w 10936081"/>
              <a:gd name="connsiteY0" fmla="*/ 0 h 3387089"/>
              <a:gd name="connsiteX1" fmla="*/ 10936081 w 10936081"/>
              <a:gd name="connsiteY1" fmla="*/ 0 h 3387089"/>
              <a:gd name="connsiteX2" fmla="*/ 10936081 w 10936081"/>
              <a:gd name="connsiteY2" fmla="*/ 3384000 h 3387089"/>
              <a:gd name="connsiteX3" fmla="*/ 2006076 w 10936081"/>
              <a:gd name="connsiteY3" fmla="*/ 3387089 h 3387089"/>
              <a:gd name="connsiteX4" fmla="*/ 0 w 10936081"/>
              <a:gd name="connsiteY4" fmla="*/ 3384000 h 3387089"/>
              <a:gd name="connsiteX5" fmla="*/ 0 w 10936081"/>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10936081 w 10936716"/>
              <a:gd name="connsiteY3" fmla="*/ 3384000 h 3387089"/>
              <a:gd name="connsiteX4" fmla="*/ 2006076 w 10936716"/>
              <a:gd name="connsiteY4" fmla="*/ 3387089 h 3387089"/>
              <a:gd name="connsiteX5" fmla="*/ 0 w 10936716"/>
              <a:gd name="connsiteY5" fmla="*/ 3384000 h 3387089"/>
              <a:gd name="connsiteX6" fmla="*/ 0 w 10936716"/>
              <a:gd name="connsiteY6"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3387089">
                <a:moveTo>
                  <a:pt x="0" y="0"/>
                </a:moveTo>
                <a:lnTo>
                  <a:pt x="10936081" y="0"/>
                </a:lnTo>
                <a:cubicBezTo>
                  <a:pt x="10936293" y="852170"/>
                  <a:pt x="10936504" y="1704339"/>
                  <a:pt x="10936716" y="2556509"/>
                </a:cubicBezTo>
                <a:lnTo>
                  <a:pt x="2006076" y="3387089"/>
                </a:lnTo>
                <a:lnTo>
                  <a:pt x="0" y="3384000"/>
                </a:lnTo>
                <a:lnTo>
                  <a:pt x="0" y="0"/>
                </a:lnTo>
                <a:close/>
              </a:path>
            </a:pathLst>
          </a:custGeo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64325274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a:t>
            </a:r>
            <a:r>
              <a:rPr lang="en-GB" noProof="0" dirty="0"/>
              <a:t> S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6515396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33061"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62090940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userDrawn="1">
  <p:cSld name="Full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74470261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383509044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userDrawn="1">
  <p:cSld name="2_Text/ image/ Headline 1 lin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3408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78" y="285982"/>
            <a:ext cx="10931106" cy="683842"/>
          </a:xfrm>
        </p:spPr>
        <p:txBody>
          <a:bodyPr/>
          <a:lstStyle/>
          <a:p>
            <a:r>
              <a:rPr lang="en-US" noProof="0" dirty="0"/>
              <a:t>Headline in </a:t>
            </a:r>
            <a:r>
              <a:rPr lang="en-US" noProof="0" dirty="0" err="1"/>
              <a:t>CorpoS</a:t>
            </a:r>
            <a:r>
              <a:rPr lang="en-US" noProof="0" dirty="0"/>
              <a:t> (Body) 35 pt.</a:t>
            </a:r>
            <a:endParaRPr lang="en-US" dirty="0"/>
          </a:p>
        </p:txBody>
      </p:sp>
      <p:sp>
        <p:nvSpPr>
          <p:cNvPr id="3" name="Footer Placeholder 2"/>
          <p:cNvSpPr>
            <a:spLocks noGrp="1"/>
          </p:cNvSpPr>
          <p:nvPr>
            <p:ph type="ftr" sz="quarter" idx="10"/>
          </p:nvPr>
        </p:nvSpPr>
        <p:spPr/>
        <p:txBody>
          <a:bodyPr/>
          <a:lstStyle/>
          <a:p>
            <a:r>
              <a:rPr lang="en-US" dirty="0">
                <a:solidFill>
                  <a:prstClr val="black"/>
                </a:solidFill>
              </a:rPr>
              <a:t>DFS BoM Meeting | January 2017 | </a:t>
            </a:r>
          </a:p>
        </p:txBody>
      </p:sp>
      <p:sp>
        <p:nvSpPr>
          <p:cNvPr id="4" name="Slide Number Placeholder 3"/>
          <p:cNvSpPr>
            <a:spLocks noGrp="1"/>
          </p:cNvSpPr>
          <p:nvPr>
            <p:ph type="sldNum" sz="quarter" idx="11"/>
          </p:nvPr>
        </p:nvSpPr>
        <p:spPr/>
        <p:txBody>
          <a:bodyPr/>
          <a:lstStyle/>
          <a:p>
            <a:r>
              <a:rPr lang="en-US" dirty="0">
                <a:solidFill>
                  <a:prstClr val="black"/>
                </a:solidFill>
              </a:rPr>
              <a:t>Page </a:t>
            </a:r>
            <a:fld id="{52531704-8F80-415D-BD2B-6B9991AE822F}" type="slidenum">
              <a:rPr lang="en-US" smtClean="0">
                <a:solidFill>
                  <a:prstClr val="black"/>
                </a:solidFill>
              </a:rPr>
              <a:pPr/>
              <a:t>‹#›</a:t>
            </a:fld>
            <a:endParaRPr lang="en-US" dirty="0">
              <a:solidFill>
                <a:prstClr val="black"/>
              </a:solidFill>
            </a:endParaRPr>
          </a:p>
        </p:txBody>
      </p:sp>
      <p:sp>
        <p:nvSpPr>
          <p:cNvPr id="17"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7417">
              <a:defRPr/>
            </a:pPr>
            <a:r>
              <a:rPr lang="en-US" sz="1199" dirty="0">
                <a:solidFill>
                  <a:prstClr val="black"/>
                </a:solidFill>
                <a:cs typeface="Daimler CS"/>
              </a:rPr>
              <a:t>Daimler Mobility Services GmbH</a:t>
            </a:r>
          </a:p>
        </p:txBody>
      </p:sp>
      <p:cxnSp>
        <p:nvCxnSpPr>
          <p:cNvPr id="16"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Tree>
    <p:extLst>
      <p:ext uri="{BB962C8B-B14F-4D97-AF65-F5344CB8AC3E}">
        <p14:creationId xmlns:p14="http://schemas.microsoft.com/office/powerpoint/2010/main" val="102518386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userDrawn="1">
  <p:cSld name="daimler blanco">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3510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75"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MS footprint | </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7" name="Daimler AG (Wortmarke)"/>
          <p:cNvSpPr>
            <a:spLocks noChangeArrowheads="1"/>
          </p:cNvSpPr>
          <p:nvPr userDrawn="1"/>
        </p:nvSpPr>
        <p:spPr bwMode="auto">
          <a:xfrm>
            <a:off x="629674" y="6564883"/>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7490">
              <a:defRPr/>
            </a:pPr>
            <a:r>
              <a:rPr lang="de-DE" sz="1199" dirty="0">
                <a:solidFill>
                  <a:prstClr val="black"/>
                </a:solidFill>
                <a:cs typeface="Daimler CS"/>
              </a:rPr>
              <a:t>Daimler Mobility Services GmbH</a:t>
            </a:r>
          </a:p>
        </p:txBody>
      </p:sp>
      <p:cxnSp>
        <p:nvCxnSpPr>
          <p:cNvPr id="16" name="Footerline"/>
          <p:cNvCxnSpPr/>
          <p:nvPr userDrawn="1"/>
        </p:nvCxnSpPr>
        <p:spPr bwMode="auto">
          <a:xfrm>
            <a:off x="629674"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Tree>
    <p:extLst>
      <p:ext uri="{BB962C8B-B14F-4D97-AF65-F5344CB8AC3E}">
        <p14:creationId xmlns:p14="http://schemas.microsoft.com/office/powerpoint/2010/main" val="90362585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66">
          <p15:clr>
            <a:srgbClr val="FBAE40"/>
          </p15:clr>
        </p15:guide>
        <p15:guide id="3" orient="horz" pos="754">
          <p15:clr>
            <a:srgbClr val="FBAE40"/>
          </p15:clr>
        </p15:guide>
        <p15:guide id="4" orient="horz" pos="845">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_daimler blanco">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3613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8" name="Foliennummernplatzhalter 3">
            <a:extLst>
              <a:ext uri="{FF2B5EF4-FFF2-40B4-BE49-F238E27FC236}">
                <a16:creationId xmlns:a16="http://schemas.microsoft.com/office/drawing/2014/main" id="{3E15A405-AB95-44E1-98C0-C8DC619077BB}"/>
              </a:ext>
            </a:extLst>
          </p:cNvPr>
          <p:cNvSpPr txBox="1">
            <a:spLocks/>
          </p:cNvSpPr>
          <p:nvPr userDrawn="1"/>
        </p:nvSpPr>
        <p:spPr>
          <a:xfrm>
            <a:off x="11442992" y="6506836"/>
            <a:ext cx="1155196" cy="215950"/>
          </a:xfrm>
          <a:prstGeom prst="rect">
            <a:avLst/>
          </a:prstGeom>
        </p:spPr>
        <p:txBody>
          <a:bodyPr vert="horz" lIns="0" tIns="0" rIns="0" bIns="0" rtlCol="0" anchor="t" anchorCtr="0"/>
          <a:lstStyle>
            <a:defPPr>
              <a:defRPr lang="de-DE"/>
            </a:defPPr>
            <a:lvl1pPr marL="0" indent="0" algn="l" defTabSz="1088959" rtl="0" eaLnBrk="1" latinLnBrk="0" hangingPunct="1">
              <a:spcBef>
                <a:spcPts val="0"/>
              </a:spcBef>
              <a:buFont typeface="Arial" panose="020B0604020202020204" pitchFamily="34" charset="0"/>
              <a:buNone/>
              <a:defRPr sz="1200" kern="1200">
                <a:solidFill>
                  <a:schemeClr val="tx1"/>
                </a:solidFill>
                <a:latin typeface="+mn-lt"/>
                <a:ea typeface="+mn-ea"/>
                <a:cs typeface="+mn-cs"/>
              </a:defRPr>
            </a:lvl1pPr>
            <a:lvl2pPr marL="0" indent="0" algn="l" defTabSz="1088959" rtl="0" eaLnBrk="1" latinLnBrk="0" hangingPunct="1">
              <a:spcBef>
                <a:spcPts val="0"/>
              </a:spcBef>
              <a:defRPr sz="1200" kern="1200">
                <a:solidFill>
                  <a:schemeClr val="tx1"/>
                </a:solidFill>
                <a:latin typeface="+mn-lt"/>
                <a:ea typeface="+mn-ea"/>
                <a:cs typeface="+mn-cs"/>
              </a:defRPr>
            </a:lvl2pPr>
            <a:lvl3pPr marL="0" indent="0" algn="l" defTabSz="1088959" rtl="0" eaLnBrk="1" latinLnBrk="0" hangingPunct="1">
              <a:spcBef>
                <a:spcPts val="0"/>
              </a:spcBef>
              <a:defRPr sz="1200" kern="1200">
                <a:solidFill>
                  <a:schemeClr val="tx1"/>
                </a:solidFill>
                <a:latin typeface="+mn-lt"/>
                <a:ea typeface="+mn-ea"/>
                <a:cs typeface="+mn-cs"/>
              </a:defRPr>
            </a:lvl3pPr>
            <a:lvl4pPr marL="0" indent="0" algn="l" defTabSz="1088959" rtl="0" eaLnBrk="1" latinLnBrk="0" hangingPunct="1">
              <a:spcBef>
                <a:spcPts val="0"/>
              </a:spcBef>
              <a:defRPr sz="1200" kern="1200">
                <a:solidFill>
                  <a:schemeClr val="tx1"/>
                </a:solidFill>
                <a:latin typeface="+mn-lt"/>
                <a:ea typeface="+mn-ea"/>
                <a:cs typeface="+mn-cs"/>
              </a:defRPr>
            </a:lvl4pPr>
            <a:lvl5pPr marL="0" indent="0" algn="l" defTabSz="1088959" rtl="0" eaLnBrk="1" latinLnBrk="0" hangingPunct="1">
              <a:spcBef>
                <a:spcPts val="0"/>
              </a:spcBef>
              <a:defRPr sz="1200" kern="1200">
                <a:solidFill>
                  <a:schemeClr val="tx1"/>
                </a:solidFill>
                <a:latin typeface="+mn-lt"/>
                <a:ea typeface="+mn-ea"/>
                <a:cs typeface="+mn-cs"/>
              </a:defRPr>
            </a:lvl5pPr>
            <a:lvl6pPr marL="0" indent="0" algn="l" defTabSz="1088959" rtl="0" eaLnBrk="1" latinLnBrk="0" hangingPunct="1">
              <a:spcBef>
                <a:spcPts val="0"/>
              </a:spcBef>
              <a:defRPr sz="1200" kern="1200">
                <a:solidFill>
                  <a:schemeClr val="tx1"/>
                </a:solidFill>
                <a:latin typeface="+mn-lt"/>
                <a:ea typeface="+mn-ea"/>
                <a:cs typeface="+mn-cs"/>
              </a:defRPr>
            </a:lvl6pPr>
            <a:lvl7pPr marL="0" indent="0" algn="l" defTabSz="1088959" rtl="0" eaLnBrk="1" latinLnBrk="0" hangingPunct="1">
              <a:spcBef>
                <a:spcPts val="0"/>
              </a:spcBef>
              <a:defRPr sz="1200" kern="1200">
                <a:solidFill>
                  <a:schemeClr val="tx1"/>
                </a:solidFill>
                <a:latin typeface="+mn-lt"/>
                <a:ea typeface="+mn-ea"/>
                <a:cs typeface="+mn-cs"/>
              </a:defRPr>
            </a:lvl7pPr>
            <a:lvl8pPr marL="0" indent="0" algn="l" defTabSz="1088959" rtl="0" eaLnBrk="1" latinLnBrk="0" hangingPunct="1">
              <a:spcBef>
                <a:spcPts val="0"/>
              </a:spcBef>
              <a:defRPr sz="1200" kern="1200">
                <a:solidFill>
                  <a:schemeClr val="tx1"/>
                </a:solidFill>
                <a:latin typeface="+mn-lt"/>
                <a:ea typeface="+mn-ea"/>
                <a:cs typeface="+mn-cs"/>
              </a:defRPr>
            </a:lvl8pPr>
            <a:lvl9pPr marL="0" indent="0" algn="l" defTabSz="1088959" rtl="0" eaLnBrk="1" latinLnBrk="0" hangingPunct="1">
              <a:spcBef>
                <a:spcPts val="0"/>
              </a:spcBef>
              <a:defRPr sz="1200" kern="1200">
                <a:solidFill>
                  <a:schemeClr val="tx1"/>
                </a:solidFill>
                <a:latin typeface="+mn-lt"/>
                <a:ea typeface="+mn-ea"/>
                <a:cs typeface="+mn-cs"/>
              </a:defRPr>
            </a:lvl9pPr>
          </a:lstStyle>
          <a:p>
            <a:r>
              <a:rPr lang="en-GB" sz="1199" b="1" dirty="0">
                <a:solidFill>
                  <a:prstClr val="black"/>
                </a:solidFill>
              </a:rPr>
              <a:t>PAGE </a:t>
            </a:r>
            <a:fld id="{52531704-8F80-415D-BD2B-6B9991AE822F}" type="slidenum">
              <a:rPr lang="en-GB" sz="1199" b="1" smtClean="0">
                <a:solidFill>
                  <a:prstClr val="black"/>
                </a:solidFill>
              </a:rPr>
              <a:pPr/>
              <a:t>‹#›</a:t>
            </a:fld>
            <a:endParaRPr lang="en-GB" sz="1199" b="1" dirty="0">
              <a:solidFill>
                <a:prstClr val="black"/>
              </a:solidFill>
            </a:endParaRPr>
          </a:p>
        </p:txBody>
      </p:sp>
    </p:spTree>
    <p:extLst>
      <p:ext uri="{BB962C8B-B14F-4D97-AF65-F5344CB8AC3E}">
        <p14:creationId xmlns:p14="http://schemas.microsoft.com/office/powerpoint/2010/main" val="30365422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66">
          <p15:clr>
            <a:srgbClr val="FBAE40"/>
          </p15:clr>
        </p15:guide>
        <p15:guide id="3" orient="horz" pos="754">
          <p15:clr>
            <a:srgbClr val="FBAE40"/>
          </p15:clr>
        </p15:guide>
        <p15:guide id="4" orient="horz" pos="845">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8415"/>
            <a:fld id="{896ACB37-748C-4671-8EE1-05B98108112A}" type="datetimeFigureOut">
              <a:rPr lang="en-US" sz="2099" smtClean="0">
                <a:solidFill>
                  <a:prstClr val="black"/>
                </a:solidFill>
              </a:rPr>
              <a:pPr defTabSz="1088415"/>
              <a:t>4/26/2019</a:t>
            </a:fld>
            <a:endParaRPr lang="en-US" sz="2099">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DA579563-9695-402D-AD0C-D8B123AFC4F2}"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23063266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itle 3/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1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1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0" name="Hinweise links"/>
            <p:cNvGrpSpPr/>
            <p:nvPr userDrawn="1"/>
          </p:nvGrpSpPr>
          <p:grpSpPr>
            <a:xfrm>
              <a:off x="-2088000" y="0"/>
              <a:ext cx="1980000" cy="3528000"/>
              <a:chOff x="-2088000" y="0"/>
              <a:chExt cx="1980000" cy="3528000"/>
            </a:xfrm>
          </p:grpSpPr>
          <p:sp>
            <p:nvSpPr>
              <p:cNvPr id="2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2" name="Listenebenen"/>
              <p:cNvGrpSpPr/>
              <p:nvPr userDrawn="1"/>
            </p:nvGrpSpPr>
            <p:grpSpPr>
              <a:xfrm>
                <a:off x="-1692000" y="2232000"/>
                <a:ext cx="1548000" cy="792000"/>
                <a:chOff x="-1692000" y="2160000"/>
                <a:chExt cx="1548000" cy="792000"/>
              </a:xfrm>
            </p:grpSpPr>
            <p:sp>
              <p:nvSpPr>
                <p:cNvPr id="2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25"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26"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de-DE" dirty="0"/>
              <a:t>Name des Vortragenden: </a:t>
            </a:r>
            <a:r>
              <a:rPr lang="de-DE" noProof="0" dirty="0" err="1"/>
              <a:t>CorpoS</a:t>
            </a:r>
            <a:r>
              <a:rPr lang="de-DE" noProof="0" dirty="0"/>
              <a:t> </a:t>
            </a:r>
            <a:r>
              <a:rPr lang="de-DE" dirty="0"/>
              <a:t>(Textkörper) 35 pt.</a:t>
            </a:r>
            <a:br>
              <a:rPr lang="de-DE" dirty="0"/>
            </a:br>
            <a:r>
              <a:rPr lang="de-DE" dirty="0"/>
              <a:t>Präsentationstitel in zwei Zeilen Text, </a:t>
            </a:r>
            <a:r>
              <a:rPr lang="de-DE" dirty="0" err="1"/>
              <a:t>dd</a:t>
            </a:r>
            <a:r>
              <a:rPr lang="de-DE" dirty="0"/>
              <a:t>. </a:t>
            </a:r>
            <a:r>
              <a:rPr lang="de-DE" dirty="0" err="1"/>
              <a:t>mmmm</a:t>
            </a:r>
            <a:r>
              <a:rPr lang="de-DE" dirty="0"/>
              <a:t> </a:t>
            </a:r>
            <a:r>
              <a:rPr lang="de-DE" dirty="0" err="1"/>
              <a:t>yyyy</a:t>
            </a:r>
            <a:endParaRPr lang="de-DE"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428452893"/>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itle 2/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1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1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0" name="Hinweise links"/>
            <p:cNvGrpSpPr/>
            <p:nvPr userDrawn="1"/>
          </p:nvGrpSpPr>
          <p:grpSpPr>
            <a:xfrm>
              <a:off x="-2088000" y="0"/>
              <a:ext cx="1980000" cy="3528000"/>
              <a:chOff x="-2088000" y="0"/>
              <a:chExt cx="1980000" cy="3528000"/>
            </a:xfrm>
          </p:grpSpPr>
          <p:sp>
            <p:nvSpPr>
              <p:cNvPr id="2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2" name="Listenebenen"/>
              <p:cNvGrpSpPr/>
              <p:nvPr userDrawn="1"/>
            </p:nvGrpSpPr>
            <p:grpSpPr>
              <a:xfrm>
                <a:off x="-1692000" y="2232000"/>
                <a:ext cx="1548000" cy="792000"/>
                <a:chOff x="-1692000" y="2160000"/>
                <a:chExt cx="1548000" cy="792000"/>
              </a:xfrm>
            </p:grpSpPr>
            <p:sp>
              <p:nvSpPr>
                <p:cNvPr id="2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25"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26"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4608438"/>
            <a:ext cx="10932181" cy="1538527"/>
          </a:xfrm>
        </p:spPr>
        <p:txBody>
          <a:bodyPr wrap="square" anchor="b" anchorCtr="0">
            <a:spAutoFit/>
          </a:bodyPr>
          <a:lstStyle>
            <a:lvl1pPr>
              <a:defRPr/>
            </a:lvl1pPr>
          </a:lstStyle>
          <a:p>
            <a:r>
              <a:rPr lang="de-DE" dirty="0"/>
              <a:t>Name des Vortragenden: </a:t>
            </a:r>
            <a:r>
              <a:rPr lang="de-DE" noProof="0" dirty="0" err="1"/>
              <a:t>CorpoS</a:t>
            </a:r>
            <a:r>
              <a:rPr lang="de-DE" noProof="0" dirty="0"/>
              <a:t> </a:t>
            </a:r>
            <a:r>
              <a:rPr lang="de-DE" dirty="0"/>
              <a:t>(Textkörper) 35 pt.</a:t>
            </a:r>
            <a:br>
              <a:rPr lang="de-DE" dirty="0"/>
            </a:br>
            <a:r>
              <a:rPr lang="de-DE" dirty="0"/>
              <a:t>Präsentationstitel in zwei oder mehreren </a:t>
            </a:r>
            <a:br>
              <a:rPr lang="de-DE" dirty="0"/>
            </a:br>
            <a:r>
              <a:rPr lang="de-DE" dirty="0"/>
              <a:t>Zeilen Text, </a:t>
            </a:r>
            <a:r>
              <a:rPr lang="de-DE" dirty="0" err="1"/>
              <a:t>dd</a:t>
            </a:r>
            <a:r>
              <a:rPr lang="de-DE" dirty="0"/>
              <a:t>. </a:t>
            </a:r>
            <a:r>
              <a:rPr lang="de-DE" dirty="0" err="1"/>
              <a:t>mmmm</a:t>
            </a:r>
            <a:r>
              <a:rPr lang="de-DE" dirty="0"/>
              <a:t> </a:t>
            </a:r>
            <a:r>
              <a:rPr lang="de-DE" dirty="0" err="1"/>
              <a:t>yyyy</a:t>
            </a:r>
            <a:endParaRPr lang="de-DE"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53553790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le 1/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1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1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0" name="Hinweise links"/>
            <p:cNvGrpSpPr/>
            <p:nvPr userDrawn="1"/>
          </p:nvGrpSpPr>
          <p:grpSpPr>
            <a:xfrm>
              <a:off x="-2088000" y="0"/>
              <a:ext cx="1980000" cy="3528000"/>
              <a:chOff x="-2088000" y="0"/>
              <a:chExt cx="1980000" cy="3528000"/>
            </a:xfrm>
          </p:grpSpPr>
          <p:sp>
            <p:nvSpPr>
              <p:cNvPr id="2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2" name="Listenebenen"/>
              <p:cNvGrpSpPr/>
              <p:nvPr userDrawn="1"/>
            </p:nvGrpSpPr>
            <p:grpSpPr>
              <a:xfrm>
                <a:off x="-1692000" y="2232000"/>
                <a:ext cx="1548000" cy="792000"/>
                <a:chOff x="-1692000" y="2160000"/>
                <a:chExt cx="1548000" cy="792000"/>
              </a:xfrm>
            </p:grpSpPr>
            <p:sp>
              <p:nvSpPr>
                <p:cNvPr id="2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25"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26"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4608438"/>
            <a:ext cx="10930832" cy="1538527"/>
          </a:xfrm>
        </p:spPr>
        <p:txBody>
          <a:bodyPr wrap="square" anchor="b" anchorCtr="0">
            <a:spAutoFit/>
          </a:bodyPr>
          <a:lstStyle>
            <a:lvl1pPr>
              <a:defRPr baseline="0"/>
            </a:lvl1pPr>
          </a:lstStyle>
          <a:p>
            <a:r>
              <a:rPr lang="de-DE" dirty="0"/>
              <a:t>Name des Vortragenden: </a:t>
            </a:r>
            <a:r>
              <a:rPr lang="de-DE" noProof="0" dirty="0" err="1"/>
              <a:t>CorpoS</a:t>
            </a:r>
            <a:r>
              <a:rPr lang="de-DE" noProof="0" dirty="0"/>
              <a:t> </a:t>
            </a:r>
            <a:r>
              <a:rPr lang="de-DE" dirty="0"/>
              <a:t>(Textkörper) 35 pt.</a:t>
            </a:r>
            <a:br>
              <a:rPr lang="de-DE" dirty="0"/>
            </a:br>
            <a:r>
              <a:rPr lang="de-DE" dirty="0"/>
              <a:t>Präsentationstitel in zwei oder drei </a:t>
            </a:r>
            <a:br>
              <a:rPr lang="de-DE" dirty="0"/>
            </a:br>
            <a:r>
              <a:rPr lang="de-DE" dirty="0"/>
              <a:t>Zeilen Text, </a:t>
            </a:r>
            <a:r>
              <a:rPr lang="de-DE" dirty="0" err="1"/>
              <a:t>dd</a:t>
            </a:r>
            <a:r>
              <a:rPr lang="de-DE" dirty="0"/>
              <a:t>. </a:t>
            </a:r>
            <a:r>
              <a:rPr lang="de-DE" dirty="0" err="1"/>
              <a:t>mmmm</a:t>
            </a:r>
            <a:r>
              <a:rPr lang="de-DE" dirty="0"/>
              <a:t> </a:t>
            </a:r>
            <a:r>
              <a:rPr lang="de-DE" dirty="0" err="1"/>
              <a:t>yyyy</a:t>
            </a:r>
            <a:endParaRPr lang="de-DE"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53608989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en-GB" dirty="0"/>
              <a:t>Insert text in </a:t>
            </a:r>
            <a:r>
              <a:rPr lang="en-GB" noProof="0" dirty="0" err="1"/>
              <a:t>CorpoS</a:t>
            </a:r>
            <a:r>
              <a:rPr lang="en-GB" noProof="0" dirty="0"/>
              <a:t>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4477554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3/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26"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27"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Titel 1"/>
          <p:cNvSpPr>
            <a:spLocks noGrp="1"/>
          </p:cNvSpPr>
          <p:nvPr>
            <p:ph type="ctrTitle" hasCustomPrompt="1"/>
          </p:nvPr>
        </p:nvSpPr>
        <p:spPr>
          <a:xfrm>
            <a:off x="628323" y="2045814"/>
            <a:ext cx="10932181" cy="1763324"/>
          </a:xfrm>
        </p:spPr>
        <p:txBody>
          <a:bodyPr wrap="square" anchor="t" anchorCtr="0">
            <a:noAutofit/>
          </a:bodyPr>
          <a:lstStyle>
            <a:lvl1pPr>
              <a:defRPr baseline="0">
                <a:solidFill>
                  <a:schemeClr val="bg1"/>
                </a:solidFill>
              </a:defRPr>
            </a:lvl1pPr>
          </a:lstStyle>
          <a:p>
            <a:r>
              <a:rPr lang="de-DE" dirty="0"/>
              <a:t>Name des Vortragenden: </a:t>
            </a:r>
            <a:r>
              <a:rPr lang="de-DE" noProof="0" dirty="0" err="1"/>
              <a:t>CorpoS</a:t>
            </a:r>
            <a:r>
              <a:rPr lang="de-DE" noProof="0" dirty="0"/>
              <a:t> </a:t>
            </a:r>
            <a:r>
              <a:rPr lang="de-DE" dirty="0"/>
              <a:t>(Textkörper) 35 pt.</a:t>
            </a:r>
            <a:br>
              <a:rPr lang="de-DE" dirty="0"/>
            </a:br>
            <a:r>
              <a:rPr lang="de-DE" dirty="0"/>
              <a:t>Präsentationstitel in zwei oder drei </a:t>
            </a:r>
            <a:br>
              <a:rPr lang="de-DE" dirty="0"/>
            </a:br>
            <a:r>
              <a:rPr lang="de-DE" dirty="0"/>
              <a:t>Zeilen Text, </a:t>
            </a:r>
            <a:r>
              <a:rPr lang="de-DE" dirty="0" err="1"/>
              <a:t>dd</a:t>
            </a:r>
            <a:r>
              <a:rPr lang="de-DE" dirty="0"/>
              <a:t>. </a:t>
            </a:r>
            <a:r>
              <a:rPr lang="de-DE" dirty="0" err="1"/>
              <a:t>mmmm</a:t>
            </a:r>
            <a:r>
              <a:rPr lang="de-DE" dirty="0"/>
              <a:t> </a:t>
            </a:r>
            <a:r>
              <a:rPr lang="de-DE" dirty="0" err="1"/>
              <a:t>yyyy</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68770225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itle 2/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26"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27"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Titel 1"/>
          <p:cNvSpPr>
            <a:spLocks noGrp="1"/>
          </p:cNvSpPr>
          <p:nvPr>
            <p:ph type="ctrTitle" hasCustomPrompt="1"/>
          </p:nvPr>
        </p:nvSpPr>
        <p:spPr>
          <a:xfrm>
            <a:off x="628323" y="2044433"/>
            <a:ext cx="10932181" cy="648964"/>
          </a:xfrm>
        </p:spPr>
        <p:txBody>
          <a:bodyPr wrap="square" anchor="t" anchorCtr="0">
            <a:noAutofit/>
          </a:bodyPr>
          <a:lstStyle>
            <a:lvl1pPr>
              <a:defRPr>
                <a:solidFill>
                  <a:schemeClr val="bg1"/>
                </a:solidFill>
              </a:defRPr>
            </a:lvl1pPr>
          </a:lstStyle>
          <a:p>
            <a:r>
              <a:rPr lang="de-DE" dirty="0"/>
              <a:t>Headline der Präsentation</a:t>
            </a:r>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335869918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Image-chart 3/4 brushed ">
    <p:bg>
      <p:bgRef idx="1001">
        <a:schemeClr val="bg1"/>
      </p:bgRef>
    </p:bg>
    <p:spTree>
      <p:nvGrpSpPr>
        <p:cNvPr id="1" name=""/>
        <p:cNvGrpSpPr/>
        <p:nvPr/>
      </p:nvGrpSpPr>
      <p:grpSpPr>
        <a:xfrm>
          <a:off x="0" y="0"/>
          <a:ext cx="0" cy="0"/>
          <a:chOff x="0" y="0"/>
          <a:chExt cx="0" cy="0"/>
        </a:xfrm>
      </p:grpSpPr>
      <p:grpSp>
        <p:nvGrpSpPr>
          <p:cNvPr id="26" name="Regieanweisungen"/>
          <p:cNvGrpSpPr/>
          <p:nvPr userDrawn="1"/>
        </p:nvGrpSpPr>
        <p:grpSpPr>
          <a:xfrm>
            <a:off x="-2086913" y="-467892"/>
            <a:ext cx="13647691" cy="7792196"/>
            <a:chOff x="-2088000" y="-468000"/>
            <a:chExt cx="13654799" cy="7794000"/>
          </a:xfrm>
        </p:grpSpPr>
        <p:sp>
          <p:nvSpPr>
            <p:cNvPr id="2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9" name="Hinweise links"/>
            <p:cNvGrpSpPr/>
            <p:nvPr userDrawn="1"/>
          </p:nvGrpSpPr>
          <p:grpSpPr>
            <a:xfrm>
              <a:off x="-2088000" y="0"/>
              <a:ext cx="1980000" cy="3528000"/>
              <a:chOff x="-2088000" y="0"/>
              <a:chExt cx="1980000" cy="3528000"/>
            </a:xfrm>
          </p:grpSpPr>
          <p:sp>
            <p:nvSpPr>
              <p:cNvPr id="30"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4"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1"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3" name="Title 2"/>
          <p:cNvSpPr>
            <a:spLocks noGrp="1"/>
          </p:cNvSpPr>
          <p:nvPr>
            <p:ph type="title" hasCustomPrompt="1"/>
          </p:nvPr>
        </p:nvSpPr>
        <p:spPr>
          <a:xfrm>
            <a:off x="628323" y="288859"/>
            <a:ext cx="10932455" cy="1025684"/>
          </a:xfrm>
        </p:spPr>
        <p:txBody>
          <a:bodyPr wrap="square">
            <a:spAutoFit/>
          </a:bodyPr>
          <a:lstStyle>
            <a:lvl1pPr>
              <a:defRPr baseline="0">
                <a:solidFill>
                  <a:schemeClr val="bg1"/>
                </a:solidFill>
              </a:defRPr>
            </a:lvl1pPr>
          </a:lstStyle>
          <a:p>
            <a:r>
              <a:rPr lang="de-DE" dirty="0"/>
              <a:t>Bilder Folie, Headline </a:t>
            </a:r>
            <a:r>
              <a:rPr lang="de-DE" noProof="0" dirty="0" err="1"/>
              <a:t>CorpoS</a:t>
            </a:r>
            <a:r>
              <a:rPr lang="de-DE" noProof="0" dirty="0"/>
              <a:t> </a:t>
            </a:r>
            <a:r>
              <a:rPr lang="de-DE" dirty="0"/>
              <a:t>(Textkörper) 35 pt. </a:t>
            </a:r>
            <a:br>
              <a:rPr lang="de-DE" dirty="0"/>
            </a:br>
            <a:r>
              <a:rPr lang="de-DE" dirty="0"/>
              <a:t>in zwei oder mehr Zeilen</a:t>
            </a: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4"/>
          </p:nvPr>
        </p:nvSpPr>
        <p:spPr/>
        <p:txBody>
          <a:bodyPr/>
          <a:lstStyle/>
          <a:p>
            <a:r>
              <a:rPr lang="de-DE" dirty="0">
                <a:solidFill>
                  <a:prstClr val="black"/>
                </a:solidFill>
              </a:rPr>
              <a:t>Titel der Präsentation / Abteilung / Datum /</a:t>
            </a:r>
          </a:p>
        </p:txBody>
      </p:sp>
      <p:sp>
        <p:nvSpPr>
          <p:cNvPr id="4" name="Foliennummernplatzhalter 3"/>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48187864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Image-chart 1/4 brushed">
    <p:bg>
      <p:bgRef idx="1001">
        <a:schemeClr val="bg1"/>
      </p:bgRef>
    </p:bg>
    <p:spTree>
      <p:nvGrpSpPr>
        <p:cNvPr id="1" name=""/>
        <p:cNvGrpSpPr/>
        <p:nvPr/>
      </p:nvGrpSpPr>
      <p:grpSpPr>
        <a:xfrm>
          <a:off x="0" y="0"/>
          <a:ext cx="0" cy="0"/>
          <a:chOff x="0" y="0"/>
          <a:chExt cx="0" cy="0"/>
        </a:xfrm>
      </p:grpSpPr>
      <p:grpSp>
        <p:nvGrpSpPr>
          <p:cNvPr id="26" name="Regieanweisungen"/>
          <p:cNvGrpSpPr/>
          <p:nvPr userDrawn="1"/>
        </p:nvGrpSpPr>
        <p:grpSpPr>
          <a:xfrm>
            <a:off x="-2086913" y="-467892"/>
            <a:ext cx="13647691" cy="7792196"/>
            <a:chOff x="-2088000" y="-468000"/>
            <a:chExt cx="13654799" cy="7794000"/>
          </a:xfrm>
        </p:grpSpPr>
        <p:sp>
          <p:nvSpPr>
            <p:cNvPr id="2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9" name="Hinweise links"/>
            <p:cNvGrpSpPr/>
            <p:nvPr userDrawn="1"/>
          </p:nvGrpSpPr>
          <p:grpSpPr>
            <a:xfrm>
              <a:off x="-2088000" y="0"/>
              <a:ext cx="1980000" cy="3528000"/>
              <a:chOff x="-2088000" y="0"/>
              <a:chExt cx="1980000" cy="3528000"/>
            </a:xfrm>
          </p:grpSpPr>
          <p:sp>
            <p:nvSpPr>
              <p:cNvPr id="30"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4"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a:extLst>
              <a:ext uri="{28A0092B-C50C-407E-A947-70E740481C1C}">
                <a14:useLocalDpi xmlns:a14="http://schemas.microsoft.com/office/drawing/2010/main" val="0"/>
              </a:ext>
            </a:extLst>
          </a:blip>
          <a:srcRect b="5375"/>
          <a:stretch/>
        </p:blipFill>
        <p:spPr bwMode="white">
          <a:xfrm>
            <a:off x="0" y="-1"/>
            <a:ext cx="12190451" cy="6487839"/>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3" name="Title 2"/>
          <p:cNvSpPr>
            <a:spLocks noGrp="1"/>
          </p:cNvSpPr>
          <p:nvPr>
            <p:ph type="title" hasCustomPrompt="1"/>
          </p:nvPr>
        </p:nvSpPr>
        <p:spPr>
          <a:xfrm>
            <a:off x="630116" y="288857"/>
            <a:ext cx="10930662" cy="1151733"/>
          </a:xfrm>
        </p:spPr>
        <p:txBody>
          <a:bodyPr/>
          <a:lstStyle>
            <a:lvl1pPr>
              <a:defRPr baseline="0">
                <a:solidFill>
                  <a:schemeClr val="bg1"/>
                </a:solidFill>
              </a:defRPr>
            </a:lvl1pPr>
          </a:lstStyle>
          <a:p>
            <a:r>
              <a:rPr lang="de-DE" dirty="0"/>
              <a:t>Bilder Folie, Headline </a:t>
            </a:r>
            <a:r>
              <a:rPr lang="de-DE" noProof="0" dirty="0" err="1"/>
              <a:t>CorpoS</a:t>
            </a:r>
            <a:r>
              <a:rPr lang="de-DE" noProof="0" dirty="0"/>
              <a:t> </a:t>
            </a:r>
            <a:r>
              <a:rPr lang="de-DE" dirty="0"/>
              <a:t>(Textkörper) 35 pt. </a:t>
            </a:r>
            <a:br>
              <a:rPr lang="de-DE" dirty="0"/>
            </a:br>
            <a:r>
              <a:rPr lang="de-DE" dirty="0"/>
              <a:t>in zwei Zeilen</a:t>
            </a: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4"/>
          </p:nvPr>
        </p:nvSpPr>
        <p:spPr/>
        <p:txBody>
          <a:bodyPr/>
          <a:lstStyle/>
          <a:p>
            <a:r>
              <a:rPr lang="de-DE" dirty="0">
                <a:solidFill>
                  <a:prstClr val="black"/>
                </a:solidFill>
              </a:rPr>
              <a:t>Titel der Präsentation / Abteilung / Datum /</a:t>
            </a:r>
          </a:p>
        </p:txBody>
      </p:sp>
      <p:sp>
        <p:nvSpPr>
          <p:cNvPr id="4" name="Foliennummernplatzhalter 3"/>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6112703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Agenda 1/3 brushed">
    <p:spTree>
      <p:nvGrpSpPr>
        <p:cNvPr id="1" name=""/>
        <p:cNvGrpSpPr/>
        <p:nvPr/>
      </p:nvGrpSpPr>
      <p:grpSpPr>
        <a:xfrm>
          <a:off x="0" y="0"/>
          <a:ext cx="0" cy="0"/>
          <a:chOff x="0" y="0"/>
          <a:chExt cx="0" cy="0"/>
        </a:xfrm>
      </p:grpSpPr>
      <p:pic>
        <p:nvPicPr>
          <p:cNvPr id="32" name="Buerstung U_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a:xfrm>
            <a:off x="628323" y="288859"/>
            <a:ext cx="10932455" cy="1148857"/>
          </a:xfrm>
        </p:spPr>
        <p:txBody>
          <a:bodyPr/>
          <a:lstStyle>
            <a:lvl1pPr>
              <a:defRPr/>
            </a:lvl1pPr>
          </a:lstStyle>
          <a:p>
            <a:r>
              <a:rPr lang="de-DE" noProof="0" dirty="0"/>
              <a:t>Headline für Agenda in </a:t>
            </a:r>
            <a:r>
              <a:rPr lang="de-DE" noProof="0" dirty="0" err="1"/>
              <a:t>CorpoS</a:t>
            </a:r>
            <a:r>
              <a:rPr lang="de-DE" noProof="0" dirty="0"/>
              <a:t> (Textkörper) 35 pt. </a:t>
            </a:r>
            <a:br>
              <a:rPr lang="de-DE" noProof="0" dirty="0"/>
            </a:br>
            <a:r>
              <a:rPr lang="de-DE" noProof="0" dirty="0"/>
              <a:t>in ein oder zwei Zeilen</a:t>
            </a:r>
            <a:endParaRPr lang="de-DE" dirty="0"/>
          </a:p>
        </p:txBody>
      </p:sp>
      <p:sp>
        <p:nvSpPr>
          <p:cNvPr id="6" name="Text Placeholder 5"/>
          <p:cNvSpPr>
            <a:spLocks noGrp="1"/>
          </p:cNvSpPr>
          <p:nvPr>
            <p:ph type="body" sz="quarter" idx="12" hasCustomPrompt="1"/>
          </p:nvPr>
        </p:nvSpPr>
        <p:spPr>
          <a:xfrm>
            <a:off x="630116" y="1504603"/>
            <a:ext cx="10930388" cy="3759916"/>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Agenda Punkt einfügen</a:t>
            </a:r>
          </a:p>
          <a:p>
            <a:pPr lvl="1"/>
            <a:r>
              <a:rPr lang="de-DE" dirty="0"/>
              <a:t>Zweite Ebene</a:t>
            </a:r>
          </a:p>
          <a:p>
            <a:pPr lvl="2"/>
            <a:r>
              <a:rPr lang="de-DE" dirty="0"/>
              <a:t>Dritte Ebene </a:t>
            </a:r>
          </a:p>
          <a:p>
            <a:pPr lvl="3"/>
            <a:r>
              <a:rPr lang="de-DE" dirty="0"/>
              <a:t>Vierte Ebene </a:t>
            </a:r>
          </a:p>
          <a:p>
            <a:pPr lvl="4"/>
            <a:r>
              <a:rPr lang="de-DE" dirty="0"/>
              <a:t>Fünfte Ebene </a:t>
            </a:r>
          </a:p>
          <a:p>
            <a:pPr lvl="5"/>
            <a:r>
              <a:rPr lang="de-DE" dirty="0"/>
              <a:t>Sechste Ebene </a:t>
            </a:r>
          </a:p>
          <a:p>
            <a:pPr lvl="6"/>
            <a:r>
              <a:rPr lang="de-DE" dirty="0"/>
              <a:t>Siebte Ebene </a:t>
            </a:r>
          </a:p>
          <a:p>
            <a:pPr lvl="7"/>
            <a:r>
              <a:rPr lang="de-DE" dirty="0"/>
              <a:t>Achte Ebene </a:t>
            </a:r>
          </a:p>
          <a:p>
            <a:pPr lvl="8"/>
            <a:r>
              <a:rPr lang="de-DE" dirty="0"/>
              <a:t>Neunte Ebene </a:t>
            </a:r>
          </a:p>
        </p:txBody>
      </p:sp>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29"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5" name="Fußzeilenplatzhalter 4"/>
          <p:cNvSpPr>
            <a:spLocks noGrp="1"/>
          </p:cNvSpPr>
          <p:nvPr>
            <p:ph type="ftr" sz="quarter" idx="13"/>
          </p:nvPr>
        </p:nvSpPr>
        <p:spPr/>
        <p:txBody>
          <a:bodyPr/>
          <a:lstStyle/>
          <a:p>
            <a:r>
              <a:rPr lang="de-DE" dirty="0">
                <a:solidFill>
                  <a:prstClr val="black"/>
                </a:solidFill>
              </a:rPr>
              <a:t>Titel der Präsentation / Abteilung / Datum /</a:t>
            </a:r>
          </a:p>
        </p:txBody>
      </p:sp>
      <p:sp>
        <p:nvSpPr>
          <p:cNvPr id="7" name="Foliennummernplatzhalter 6"/>
          <p:cNvSpPr>
            <a:spLocks noGrp="1"/>
          </p:cNvSpPr>
          <p:nvPr>
            <p:ph type="sldNum" sz="quarter" idx="14"/>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82410252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de-DE" noProof="0" dirty="0"/>
              <a:t>Headline für Agenda in </a:t>
            </a:r>
            <a:r>
              <a:rPr lang="de-DE" noProof="0" dirty="0" err="1"/>
              <a:t>CorpoS</a:t>
            </a:r>
            <a:r>
              <a:rPr lang="de-DE" noProof="0" dirty="0"/>
              <a:t> (Textkörper) 35 pt. </a:t>
            </a:r>
            <a:br>
              <a:rPr lang="de-DE" noProof="0" dirty="0"/>
            </a:br>
            <a:r>
              <a:rPr lang="de-DE" noProof="0" dirty="0"/>
              <a:t>in ein oder zwei Zeilen</a:t>
            </a:r>
            <a:endParaRPr lang="de-DE" dirty="0"/>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baseline="0">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Agenda Punkt einfügen</a:t>
            </a:r>
          </a:p>
          <a:p>
            <a:pPr lvl="1"/>
            <a:r>
              <a:rPr lang="de-DE" dirty="0"/>
              <a:t>Zweite Ebene</a:t>
            </a:r>
          </a:p>
          <a:p>
            <a:pPr lvl="2"/>
            <a:r>
              <a:rPr lang="de-DE" dirty="0"/>
              <a:t>Dritte Ebene </a:t>
            </a:r>
          </a:p>
          <a:p>
            <a:pPr lvl="3"/>
            <a:r>
              <a:rPr lang="de-DE" dirty="0"/>
              <a:t>Vierte Ebene </a:t>
            </a:r>
          </a:p>
          <a:p>
            <a:pPr lvl="4"/>
            <a:r>
              <a:rPr lang="de-DE" dirty="0"/>
              <a:t>Fünfte Ebene </a:t>
            </a:r>
          </a:p>
          <a:p>
            <a:pPr lvl="5"/>
            <a:r>
              <a:rPr lang="de-DE" dirty="0"/>
              <a:t>Sechste Ebene </a:t>
            </a:r>
          </a:p>
          <a:p>
            <a:pPr lvl="6"/>
            <a:r>
              <a:rPr lang="de-DE" dirty="0"/>
              <a:t>Siebte Ebene </a:t>
            </a:r>
          </a:p>
          <a:p>
            <a:pPr lvl="7"/>
            <a:r>
              <a:rPr lang="de-DE" dirty="0"/>
              <a:t>Achte Ebene </a:t>
            </a:r>
          </a:p>
          <a:p>
            <a:pPr lvl="8"/>
            <a:r>
              <a:rPr lang="de-DE" dirty="0"/>
              <a:t>Neunte Ebene </a:t>
            </a:r>
          </a:p>
        </p:txBody>
      </p:sp>
      <p:sp>
        <p:nvSpPr>
          <p:cNvPr id="5" name="Fußzeilenplatzhalter 4"/>
          <p:cNvSpPr>
            <a:spLocks noGrp="1"/>
          </p:cNvSpPr>
          <p:nvPr>
            <p:ph type="ftr" sz="quarter" idx="13"/>
          </p:nvPr>
        </p:nvSpPr>
        <p:spPr/>
        <p:txBody>
          <a:bodyPr/>
          <a:lstStyle/>
          <a:p>
            <a:r>
              <a:rPr lang="de-DE" dirty="0">
                <a:solidFill>
                  <a:prstClr val="black"/>
                </a:solidFill>
              </a:rPr>
              <a:t>Titel der Präsentation / Abteilung / Datum /</a:t>
            </a:r>
          </a:p>
        </p:txBody>
      </p:sp>
      <p:sp>
        <p:nvSpPr>
          <p:cNvPr id="7" name="Foliennummernplatzhalter 6"/>
          <p:cNvSpPr>
            <a:spLocks noGrp="1"/>
          </p:cNvSpPr>
          <p:nvPr>
            <p:ph type="sldNum" sz="quarter" idx="14"/>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4446899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Headline two line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Textkörper) 35 pt.</a:t>
            </a:r>
            <a:br>
              <a:rPr lang="de-DE" noProof="0" dirty="0"/>
            </a:br>
            <a:r>
              <a:rPr lang="de-DE" noProof="0" dirty="0"/>
              <a:t>über zwei Zeilen</a:t>
            </a:r>
            <a:endParaRPr lang="de-DE" dirty="0"/>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dirty="0"/>
              <a:t>Text oder Inhalt einfügen in </a:t>
            </a:r>
            <a:r>
              <a:rPr lang="de-DE" noProof="0" dirty="0" err="1"/>
              <a:t>CorpoS</a:t>
            </a:r>
            <a:r>
              <a:rPr lang="de-DE" noProof="0" dirty="0"/>
              <a:t> (Body) 24 pt. (Mark-</a:t>
            </a:r>
            <a:r>
              <a:rPr lang="de-DE" noProof="0" dirty="0" err="1"/>
              <a:t>ups</a:t>
            </a:r>
            <a:r>
              <a:rPr lang="de-DE" noProof="0" dirty="0"/>
              <a:t> in Fett) </a:t>
            </a:r>
            <a:r>
              <a:rPr lang="de-DE" dirty="0"/>
              <a:t>// für Zusammenfassung oder kurzes Highlight: Start // Absatz // Listenebene erhöhen</a:t>
            </a:r>
          </a:p>
          <a:p>
            <a:pPr lvl="1"/>
            <a:r>
              <a:rPr lang="de-DE" dirty="0"/>
              <a:t>Zweite Ebene (Zusammenfassung oder kurzes Highlight)</a:t>
            </a:r>
          </a:p>
          <a:p>
            <a:pPr lvl="2"/>
            <a:r>
              <a:rPr lang="de-DE" dirty="0"/>
              <a:t>Dritte Ebene </a:t>
            </a:r>
          </a:p>
          <a:p>
            <a:pPr lvl="3"/>
            <a:r>
              <a:rPr lang="de-DE" dirty="0"/>
              <a:t>Vierte Ebene </a:t>
            </a:r>
          </a:p>
          <a:p>
            <a:pPr lvl="4"/>
            <a:r>
              <a:rPr lang="de-DE" dirty="0"/>
              <a:t>Fünfte Ebene </a:t>
            </a:r>
          </a:p>
          <a:p>
            <a:pPr lvl="5"/>
            <a:r>
              <a:rPr lang="de-DE" dirty="0"/>
              <a:t>Sechste Ebene </a:t>
            </a:r>
          </a:p>
          <a:p>
            <a:pPr lvl="6"/>
            <a:r>
              <a:rPr lang="de-DE" dirty="0"/>
              <a:t>Siebte Ebene </a:t>
            </a:r>
          </a:p>
          <a:p>
            <a:pPr lvl="7"/>
            <a:r>
              <a:rPr lang="de-DE" dirty="0"/>
              <a:t>Achte Ebene </a:t>
            </a:r>
          </a:p>
          <a:p>
            <a:pPr lvl="8"/>
            <a:r>
              <a:rPr lang="de-DE" dirty="0"/>
              <a:t>Neunte Ebene </a:t>
            </a:r>
          </a:p>
        </p:txBody>
      </p:sp>
      <p:sp>
        <p:nvSpPr>
          <p:cNvPr id="5" name="Fußzeilenplatzhalter 4"/>
          <p:cNvSpPr>
            <a:spLocks noGrp="1"/>
          </p:cNvSpPr>
          <p:nvPr>
            <p:ph type="ftr" sz="quarter" idx="13"/>
          </p:nvPr>
        </p:nvSpPr>
        <p:spPr/>
        <p:txBody>
          <a:bodyPr/>
          <a:lstStyle/>
          <a:p>
            <a:r>
              <a:rPr lang="de-DE" dirty="0">
                <a:solidFill>
                  <a:prstClr val="black"/>
                </a:solidFill>
              </a:rPr>
              <a:t>Titel der Präsentation / Abteilung / Datum /</a:t>
            </a:r>
          </a:p>
        </p:txBody>
      </p:sp>
      <p:sp>
        <p:nvSpPr>
          <p:cNvPr id="7" name="Foliennummernplatzhalter 6"/>
          <p:cNvSpPr>
            <a:spLocks noGrp="1"/>
          </p:cNvSpPr>
          <p:nvPr>
            <p:ph type="sldNum" sz="quarter" idx="14"/>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81706061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Headline two lines // Image">
    <p:spTree>
      <p:nvGrpSpPr>
        <p:cNvPr id="1" name=""/>
        <p:cNvGrpSpPr/>
        <p:nvPr/>
      </p:nvGrpSpPr>
      <p:grpSpPr>
        <a:xfrm>
          <a:off x="0" y="0"/>
          <a:ext cx="0" cy="0"/>
          <a:chOff x="0" y="0"/>
          <a:chExt cx="0" cy="0"/>
        </a:xfrm>
      </p:grpSpPr>
      <p:sp>
        <p:nvSpPr>
          <p:cNvPr id="1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Textkörper) 35 pt.</a:t>
            </a:r>
            <a:br>
              <a:rPr lang="de-DE" noProof="0" dirty="0"/>
            </a:br>
            <a:r>
              <a:rPr lang="de-DE" noProof="0" dirty="0"/>
              <a:t>über zwei Zeilen</a:t>
            </a:r>
            <a:endParaRPr lang="de-DE" dirty="0"/>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a:t>
            </a:r>
            <a:r>
              <a:rPr lang="de-DE" noProof="0" dirty="0"/>
              <a:t> S (Body) 24 p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1" name="Hinweise links"/>
            <p:cNvGrpSpPr/>
            <p:nvPr userDrawn="1"/>
          </p:nvGrpSpPr>
          <p:grpSpPr>
            <a:xfrm>
              <a:off x="-2088000" y="0"/>
              <a:ext cx="1980000" cy="3528000"/>
              <a:chOff x="-2088000" y="0"/>
              <a:chExt cx="1980000" cy="3528000"/>
            </a:xfrm>
          </p:grpSpPr>
          <p:sp>
            <p:nvSpPr>
              <p:cNvPr id="3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3" name="Listenebenen"/>
              <p:cNvGrpSpPr/>
              <p:nvPr userDrawn="1"/>
            </p:nvGrpSpPr>
            <p:grpSpPr>
              <a:xfrm>
                <a:off x="-1692000" y="2232000"/>
                <a:ext cx="1548000" cy="792000"/>
                <a:chOff x="-1692000" y="2160000"/>
                <a:chExt cx="1548000" cy="792000"/>
              </a:xfrm>
            </p:grpSpPr>
            <p:sp>
              <p:nvSpPr>
                <p:cNvPr id="3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6"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7"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5" name="Fußzeilenplatzhalter 4"/>
          <p:cNvSpPr>
            <a:spLocks noGrp="1"/>
          </p:cNvSpPr>
          <p:nvPr>
            <p:ph type="ftr" sz="quarter" idx="14"/>
          </p:nvPr>
        </p:nvSpPr>
        <p:spPr/>
        <p:txBody>
          <a:bodyPr/>
          <a:lstStyle/>
          <a:p>
            <a:r>
              <a:rPr lang="de-DE" dirty="0">
                <a:solidFill>
                  <a:prstClr val="black"/>
                </a:solidFill>
              </a:rPr>
              <a:t>Titel der Präsentation / Abteilung / Datum /</a:t>
            </a:r>
          </a:p>
        </p:txBody>
      </p:sp>
      <p:sp>
        <p:nvSpPr>
          <p:cNvPr id="8" name="Foliennummernplatzhalter 7"/>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54211125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Headlin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Textkörper) 35 pt.</a:t>
            </a:r>
            <a:endParaRPr lang="de-DE" dirty="0"/>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de-DE" dirty="0"/>
              <a:t>Text oder Inhalt einfügen in </a:t>
            </a:r>
            <a:r>
              <a:rPr lang="de-DE" noProof="0" dirty="0"/>
              <a:t>CorpoS (Body) 24 pt. (mark-</a:t>
            </a:r>
            <a:r>
              <a:rPr lang="de-DE" noProof="0" dirty="0" err="1"/>
              <a:t>ups</a:t>
            </a:r>
            <a:r>
              <a:rPr lang="de-DE" noProof="0" dirty="0"/>
              <a:t> in Fett) </a:t>
            </a:r>
            <a:r>
              <a:rPr lang="de-DE" dirty="0"/>
              <a:t>// für Zusammenfassung oder kurzes Highlight: Start // Absatz // Listenebene erhöhen</a:t>
            </a:r>
          </a:p>
          <a:p>
            <a:pPr lvl="1"/>
            <a:r>
              <a:rPr lang="de-DE" dirty="0"/>
              <a:t>Zweite Ebene (Zusammenfassung oder kurzes Highlight)</a:t>
            </a:r>
          </a:p>
          <a:p>
            <a:pPr lvl="2"/>
            <a:r>
              <a:rPr lang="de-DE" dirty="0"/>
              <a:t>Dritte Ebene </a:t>
            </a:r>
          </a:p>
          <a:p>
            <a:pPr lvl="3"/>
            <a:r>
              <a:rPr lang="de-DE" dirty="0"/>
              <a:t>Vierte Ebene </a:t>
            </a:r>
          </a:p>
          <a:p>
            <a:pPr lvl="4"/>
            <a:r>
              <a:rPr lang="de-DE" dirty="0"/>
              <a:t>Fünfte Ebene </a:t>
            </a:r>
          </a:p>
          <a:p>
            <a:pPr lvl="5"/>
            <a:r>
              <a:rPr lang="de-DE" dirty="0"/>
              <a:t>Sechste Ebene </a:t>
            </a:r>
          </a:p>
          <a:p>
            <a:pPr lvl="6"/>
            <a:r>
              <a:rPr lang="de-DE" dirty="0"/>
              <a:t>Siebte Ebene </a:t>
            </a:r>
          </a:p>
          <a:p>
            <a:pPr lvl="7"/>
            <a:r>
              <a:rPr lang="de-DE" dirty="0"/>
              <a:t>Achte Ebene </a:t>
            </a:r>
          </a:p>
          <a:p>
            <a:pPr lvl="8"/>
            <a:r>
              <a:rPr lang="de-DE" dirty="0"/>
              <a:t>Neunte Ebene </a:t>
            </a:r>
          </a:p>
        </p:txBody>
      </p:sp>
      <p:sp>
        <p:nvSpPr>
          <p:cNvPr id="5" name="Fußzeilenplatzhalter 4"/>
          <p:cNvSpPr>
            <a:spLocks noGrp="1"/>
          </p:cNvSpPr>
          <p:nvPr>
            <p:ph type="ftr" sz="quarter" idx="13"/>
          </p:nvPr>
        </p:nvSpPr>
        <p:spPr/>
        <p:txBody>
          <a:bodyPr/>
          <a:lstStyle/>
          <a:p>
            <a:r>
              <a:rPr lang="de-DE" dirty="0">
                <a:solidFill>
                  <a:prstClr val="black"/>
                </a:solidFill>
              </a:rPr>
              <a:t>Titel der Präsentation / Abteilung / Datum /</a:t>
            </a:r>
          </a:p>
        </p:txBody>
      </p:sp>
      <p:sp>
        <p:nvSpPr>
          <p:cNvPr id="7" name="Foliennummernplatzhalter 6"/>
          <p:cNvSpPr>
            <a:spLocks noGrp="1"/>
          </p:cNvSpPr>
          <p:nvPr>
            <p:ph type="sldNum" sz="quarter" idx="14"/>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37688743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Headline // Image">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2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3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1" name="Hinweise links"/>
            <p:cNvGrpSpPr/>
            <p:nvPr userDrawn="1"/>
          </p:nvGrpSpPr>
          <p:grpSpPr>
            <a:xfrm>
              <a:off x="-2088000" y="0"/>
              <a:ext cx="1980000" cy="3528000"/>
              <a:chOff x="-2088000" y="0"/>
              <a:chExt cx="1980000" cy="3528000"/>
            </a:xfrm>
          </p:grpSpPr>
          <p:sp>
            <p:nvSpPr>
              <p:cNvPr id="3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3" name="Listenebenen"/>
              <p:cNvGrpSpPr/>
              <p:nvPr userDrawn="1"/>
            </p:nvGrpSpPr>
            <p:grpSpPr>
              <a:xfrm>
                <a:off x="-1692000" y="2232000"/>
                <a:ext cx="1548000" cy="792000"/>
                <a:chOff x="-1692000" y="2160000"/>
                <a:chExt cx="1548000" cy="792000"/>
              </a:xfrm>
            </p:grpSpPr>
            <p:sp>
              <p:nvSpPr>
                <p:cNvPr id="3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6"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7"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Textkörper) 35 pt.</a:t>
            </a:r>
            <a:endParaRPr lang="de-DE" dirty="0"/>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4"/>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1905512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small // Image">
    <p:spTree>
      <p:nvGrpSpPr>
        <p:cNvPr id="1" name=""/>
        <p:cNvGrpSpPr/>
        <p:nvPr/>
      </p:nvGrpSpPr>
      <p:grpSpPr>
        <a:xfrm>
          <a:off x="0" y="0"/>
          <a:ext cx="0" cy="0"/>
          <a:chOff x="0" y="0"/>
          <a:chExt cx="0" cy="0"/>
        </a:xfrm>
      </p:grpSpPr>
      <p:sp>
        <p:nvSpPr>
          <p:cNvPr id="10" name="Picture Placeholder 3"/>
          <p:cNvSpPr>
            <a:spLocks noGrp="1"/>
          </p:cNvSpPr>
          <p:nvPr>
            <p:ph type="pic" sz="quarter" idx="14" hasCustomPrompt="1"/>
          </p:nvPr>
        </p:nvSpPr>
        <p:spPr bwMode="gray">
          <a:xfrm>
            <a:off x="4848875" y="1504604"/>
            <a:ext cx="6711903" cy="4875669"/>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2" y="1504603"/>
            <a:ext cx="3857441" cy="4876681"/>
          </a:xfrm>
        </p:spPr>
        <p:txBody>
          <a:bodyPr>
            <a:normAutofit/>
          </a:bodyPr>
          <a:lstStyle>
            <a:lvl1pPr>
              <a:lnSpc>
                <a:spcPts val="2399"/>
              </a:lnSpc>
              <a:defRPr sz="1899" baseline="0"/>
            </a:lvl1pPr>
            <a:lvl2pPr>
              <a:lnSpc>
                <a:spcPts val="2399"/>
              </a:lnSpc>
              <a:defRPr sz="1899"/>
            </a:lvl2pPr>
            <a:lvl3pPr>
              <a:lnSpc>
                <a:spcPts val="2399"/>
              </a:lnSpc>
              <a:defRPr sz="1899"/>
            </a:lvl3pPr>
            <a:lvl4pPr>
              <a:lnSpc>
                <a:spcPts val="2399"/>
              </a:lnSpc>
              <a:defRPr sz="1899"/>
            </a:lvl4pPr>
            <a:lvl5pPr>
              <a:lnSpc>
                <a:spcPts val="2399"/>
              </a:lnSpc>
              <a:defRPr sz="1899"/>
            </a:lvl5pPr>
            <a:lvl6pPr>
              <a:lnSpc>
                <a:spcPts val="2399"/>
              </a:lnSpc>
              <a:defRPr sz="1899"/>
            </a:lvl6pPr>
            <a:lvl7pPr>
              <a:lnSpc>
                <a:spcPts val="2399"/>
              </a:lnSpc>
              <a:defRPr sz="1899"/>
            </a:lvl7pPr>
            <a:lvl8pPr>
              <a:lnSpc>
                <a:spcPts val="2399"/>
              </a:lnSpc>
              <a:defRPr sz="1899"/>
            </a:lvl8pPr>
            <a:lvl9pPr>
              <a:lnSpc>
                <a:spcPts val="2399"/>
              </a:lnSpc>
              <a:defRPr sz="1899"/>
            </a:lvl9pPr>
          </a:lstStyle>
          <a:p>
            <a:pPr lvl="0"/>
            <a:r>
              <a:rPr lang="en-GB" dirty="0"/>
              <a:t>Insert text in </a:t>
            </a:r>
            <a:r>
              <a:rPr lang="en-GB" noProof="0" dirty="0" err="1"/>
              <a:t>CorpoS</a:t>
            </a:r>
            <a:r>
              <a:rPr lang="en-GB" noProof="0" dirty="0"/>
              <a:t> (Body) 19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5" name="Title 4"/>
          <p:cNvSpPr>
            <a:spLocks noGrp="1"/>
          </p:cNvSpPr>
          <p:nvPr>
            <p:ph type="title" hasCustomPrompt="1"/>
          </p:nvPr>
        </p:nvSpPr>
        <p:spPr/>
        <p:txBody>
          <a:bodyPr/>
          <a:lstStyle/>
          <a:p>
            <a:r>
              <a:rPr lang="en-GB" noProof="0" dirty="0"/>
              <a:t>Headline in </a:t>
            </a:r>
            <a:r>
              <a:rPr lang="en-GB" noProof="0" dirty="0" err="1"/>
              <a:t>CorpoS</a:t>
            </a:r>
            <a:r>
              <a:rPr lang="en-GB" noProof="0" dirty="0"/>
              <a:t> (Body) 35 pt. for standard </a:t>
            </a:r>
            <a:br>
              <a:rPr lang="en-GB" noProof="0" dirty="0"/>
            </a:br>
            <a:r>
              <a:rPr lang="en-GB" noProof="0" dirty="0"/>
              <a:t>text-chart in two lines</a:t>
            </a:r>
            <a:endParaRPr lang="en-GB" dirty="0"/>
          </a:p>
        </p:txBody>
      </p:sp>
    </p:spTree>
    <p:extLst>
      <p:ext uri="{BB962C8B-B14F-4D97-AF65-F5344CB8AC3E}">
        <p14:creationId xmlns:p14="http://schemas.microsoft.com/office/powerpoint/2010/main" val="4064800074"/>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948">
          <p15:clr>
            <a:srgbClr val="FBAE40"/>
          </p15:clr>
        </p15:guide>
        <p15:guide id="3" orient="horz" pos="182">
          <p15:clr>
            <a:srgbClr val="FBAE40"/>
          </p15:clr>
        </p15:guide>
        <p15:guide id="4" pos="3056">
          <p15:clr>
            <a:srgbClr val="FBAE40"/>
          </p15:clr>
        </p15:guide>
        <p15:guide id="5" pos="2828">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2 Images-chart 2/4 brushed">
    <p:bg>
      <p:bgRef idx="1001">
        <a:schemeClr val="bg1"/>
      </p:bgRef>
    </p:bg>
    <p:spTree>
      <p:nvGrpSpPr>
        <p:cNvPr id="1" name=""/>
        <p:cNvGrpSpPr/>
        <p:nvPr/>
      </p:nvGrpSpPr>
      <p:grpSpPr>
        <a:xfrm>
          <a:off x="0" y="0"/>
          <a:ext cx="0" cy="0"/>
          <a:chOff x="0" y="0"/>
          <a:chExt cx="0" cy="0"/>
        </a:xfrm>
      </p:grpSpPr>
      <p:grpSp>
        <p:nvGrpSpPr>
          <p:cNvPr id="25" name="Regieanweisungen"/>
          <p:cNvGrpSpPr/>
          <p:nvPr userDrawn="1"/>
        </p:nvGrpSpPr>
        <p:grpSpPr>
          <a:xfrm>
            <a:off x="-2086913" y="-467892"/>
            <a:ext cx="13647691" cy="7792196"/>
            <a:chOff x="-2088000" y="-468000"/>
            <a:chExt cx="13654799" cy="7794000"/>
          </a:xfrm>
        </p:grpSpPr>
        <p:sp>
          <p:nvSpPr>
            <p:cNvPr id="2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3"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de-DE" dirty="0"/>
              <a:t>Bilder Folie, Headline </a:t>
            </a:r>
            <a:r>
              <a:rPr lang="de-DE" noProof="0" dirty="0" err="1"/>
              <a:t>CorpoS</a:t>
            </a:r>
            <a:r>
              <a:rPr lang="de-DE" noProof="0" dirty="0"/>
              <a:t> </a:t>
            </a:r>
            <a:r>
              <a:rPr lang="de-DE" dirty="0"/>
              <a:t>(Textkörper) 35 pt. </a:t>
            </a:r>
            <a:br>
              <a:rPr lang="de-DE" dirty="0"/>
            </a:br>
            <a:r>
              <a:rPr lang="de-DE" dirty="0"/>
              <a:t>in zwei oder mehr Zeilen</a:t>
            </a: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4"/>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2634905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2 Images-chart 1/4 brushed">
    <p:bg>
      <p:bgRef idx="1001">
        <a:schemeClr val="bg1"/>
      </p:bgRef>
    </p:bg>
    <p:spTree>
      <p:nvGrpSpPr>
        <p:cNvPr id="1" name=""/>
        <p:cNvGrpSpPr/>
        <p:nvPr/>
      </p:nvGrpSpPr>
      <p:grpSpPr>
        <a:xfrm>
          <a:off x="0" y="0"/>
          <a:ext cx="0" cy="0"/>
          <a:chOff x="0" y="0"/>
          <a:chExt cx="0" cy="0"/>
        </a:xfrm>
      </p:grpSpPr>
      <p:grpSp>
        <p:nvGrpSpPr>
          <p:cNvPr id="24" name="Regieanweisungen"/>
          <p:cNvGrpSpPr/>
          <p:nvPr userDrawn="1"/>
        </p:nvGrpSpPr>
        <p:grpSpPr>
          <a:xfrm>
            <a:off x="-2086913" y="-467892"/>
            <a:ext cx="13647691" cy="7792196"/>
            <a:chOff x="-2088000" y="-468000"/>
            <a:chExt cx="13654799" cy="7794000"/>
          </a:xfrm>
        </p:grpSpPr>
        <p:sp>
          <p:nvSpPr>
            <p:cNvPr id="2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9" name="Listenebenen"/>
              <p:cNvGrpSpPr/>
              <p:nvPr userDrawn="1"/>
            </p:nvGrpSpPr>
            <p:grpSpPr>
              <a:xfrm>
                <a:off x="-1692000" y="2232000"/>
                <a:ext cx="1548000" cy="792000"/>
                <a:chOff x="-1692000" y="2160000"/>
                <a:chExt cx="1548000" cy="792000"/>
              </a:xfrm>
            </p:grpSpPr>
            <p:sp>
              <p:nvSpPr>
                <p:cNvPr id="30"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1"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2"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3"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3" name="Title 2"/>
          <p:cNvSpPr>
            <a:spLocks noGrp="1"/>
          </p:cNvSpPr>
          <p:nvPr>
            <p:ph type="title" hasCustomPrompt="1"/>
          </p:nvPr>
        </p:nvSpPr>
        <p:spPr>
          <a:xfrm>
            <a:off x="630116" y="288859"/>
            <a:ext cx="10930662" cy="1148857"/>
          </a:xfrm>
        </p:spPr>
        <p:txBody>
          <a:bodyPr/>
          <a:lstStyle>
            <a:lvl1pPr>
              <a:defRPr>
                <a:solidFill>
                  <a:schemeClr val="bg1"/>
                </a:solidFill>
              </a:defRPr>
            </a:lvl1pPr>
          </a:lstStyle>
          <a:p>
            <a:r>
              <a:rPr lang="de-DE" dirty="0"/>
              <a:t>Bilder Folie, Headline </a:t>
            </a:r>
            <a:r>
              <a:rPr lang="de-DE" noProof="0" dirty="0" err="1"/>
              <a:t>CorpoS</a:t>
            </a:r>
            <a:r>
              <a:rPr lang="de-DE" noProof="0" dirty="0"/>
              <a:t> </a:t>
            </a:r>
            <a:r>
              <a:rPr lang="de-DE" dirty="0"/>
              <a:t>(Textkörper) 35 pt. </a:t>
            </a:r>
            <a:br>
              <a:rPr lang="de-DE" dirty="0"/>
            </a:br>
            <a:r>
              <a:rPr lang="de-DE" dirty="0"/>
              <a:t>in zwei Zeilen</a:t>
            </a: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4"/>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13782219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2 Images-chart 1/3 brushed">
    <p:bg>
      <p:bgRef idx="1001">
        <a:schemeClr val="bg1"/>
      </p:bgRef>
    </p:bg>
    <p:spTree>
      <p:nvGrpSpPr>
        <p:cNvPr id="1" name=""/>
        <p:cNvGrpSpPr/>
        <p:nvPr/>
      </p:nvGrpSpPr>
      <p:grpSpPr>
        <a:xfrm>
          <a:off x="0" y="0"/>
          <a:ext cx="0" cy="0"/>
          <a:chOff x="0" y="0"/>
          <a:chExt cx="0" cy="0"/>
        </a:xfrm>
      </p:grpSpPr>
      <p:grpSp>
        <p:nvGrpSpPr>
          <p:cNvPr id="24" name="Regieanweisungen"/>
          <p:cNvGrpSpPr/>
          <p:nvPr userDrawn="1"/>
        </p:nvGrpSpPr>
        <p:grpSpPr>
          <a:xfrm>
            <a:off x="-2086913" y="-467892"/>
            <a:ext cx="13647691" cy="7792196"/>
            <a:chOff x="-2088000" y="-468000"/>
            <a:chExt cx="13654799" cy="7794000"/>
          </a:xfrm>
        </p:grpSpPr>
        <p:sp>
          <p:nvSpPr>
            <p:cNvPr id="2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9" name="Listenebenen"/>
              <p:cNvGrpSpPr/>
              <p:nvPr userDrawn="1"/>
            </p:nvGrpSpPr>
            <p:grpSpPr>
              <a:xfrm>
                <a:off x="-1692000" y="2232000"/>
                <a:ext cx="1548000" cy="792000"/>
                <a:chOff x="-1692000" y="2160000"/>
                <a:chExt cx="1548000" cy="792000"/>
              </a:xfrm>
            </p:grpSpPr>
            <p:sp>
              <p:nvSpPr>
                <p:cNvPr id="30"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1"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2"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3"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5"/>
          </p:nvPr>
        </p:nvSpPr>
        <p:spPr/>
        <p:txBody>
          <a:bodyPr/>
          <a:lstStyle/>
          <a:p>
            <a:r>
              <a:rPr lang="de-DE" dirty="0">
                <a:solidFill>
                  <a:prstClr val="black"/>
                </a:solidFill>
              </a:rPr>
              <a:t>Titel der Präsentation / Abteilung / Datum /</a:t>
            </a:r>
          </a:p>
        </p:txBody>
      </p:sp>
      <p:sp>
        <p:nvSpPr>
          <p:cNvPr id="4" name="Foliennummernplatzhalter 3"/>
          <p:cNvSpPr>
            <a:spLocks noGrp="1"/>
          </p:cNvSpPr>
          <p:nvPr>
            <p:ph type="sldNum" sz="quarter" idx="16"/>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95009232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2 Images-chart 2/3 brushed">
    <p:bg>
      <p:bgRef idx="1001">
        <a:schemeClr val="bg1"/>
      </p:bgRef>
    </p:bg>
    <p:spTree>
      <p:nvGrpSpPr>
        <p:cNvPr id="1" name=""/>
        <p:cNvGrpSpPr/>
        <p:nvPr/>
      </p:nvGrpSpPr>
      <p:grpSpPr>
        <a:xfrm>
          <a:off x="0" y="0"/>
          <a:ext cx="0" cy="0"/>
          <a:chOff x="0" y="0"/>
          <a:chExt cx="0" cy="0"/>
        </a:xfrm>
      </p:grpSpPr>
      <p:grpSp>
        <p:nvGrpSpPr>
          <p:cNvPr id="27" name="Regieanweisungen"/>
          <p:cNvGrpSpPr/>
          <p:nvPr userDrawn="1"/>
        </p:nvGrpSpPr>
        <p:grpSpPr>
          <a:xfrm>
            <a:off x="-2086913" y="-467892"/>
            <a:ext cx="13647691" cy="7792196"/>
            <a:chOff x="-2088000" y="-468000"/>
            <a:chExt cx="13654799" cy="7794000"/>
          </a:xfrm>
        </p:grpSpPr>
        <p:sp>
          <p:nvSpPr>
            <p:cNvPr id="2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0"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Insert </a:t>
            </a:r>
            <a:r>
              <a:rPr lang="de-DE" dirty="0" err="1"/>
              <a:t>text</a:t>
            </a:r>
            <a:r>
              <a:rPr lang="de-DE" dirty="0"/>
              <a:t> in </a:t>
            </a:r>
            <a:r>
              <a:rPr lang="de-DE" noProof="0" dirty="0" err="1"/>
              <a:t>CorpoS</a:t>
            </a:r>
            <a:r>
              <a:rPr lang="de-DE" noProof="0" dirty="0"/>
              <a:t> (Body) 24 p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Body </a:t>
            </a:r>
            <a:r>
              <a:rPr lang="de-DE" dirty="0" err="1"/>
              <a:t>text</a:t>
            </a:r>
            <a:r>
              <a:rPr lang="de-DE" dirty="0"/>
              <a:t>: Home // Paragraph// </a:t>
            </a:r>
            <a:r>
              <a:rPr lang="de-DE" dirty="0" err="1"/>
              <a:t>Increase</a:t>
            </a:r>
            <a:r>
              <a:rPr lang="de-DE" dirty="0"/>
              <a:t> List Level</a:t>
            </a:r>
          </a:p>
          <a:p>
            <a:pPr lvl="1"/>
            <a:r>
              <a:rPr lang="de-DE" dirty="0"/>
              <a:t>Second </a:t>
            </a:r>
            <a:r>
              <a:rPr lang="de-DE" dirty="0" err="1"/>
              <a:t>level</a:t>
            </a:r>
            <a:r>
              <a:rPr lang="de-DE" dirty="0"/>
              <a:t> (Body </a:t>
            </a:r>
            <a:r>
              <a:rPr lang="de-DE" dirty="0" err="1"/>
              <a:t>text</a:t>
            </a:r>
            <a:r>
              <a:rPr lang="de-DE" dirty="0"/>
              <a:t>)</a:t>
            </a:r>
          </a:p>
        </p:txBody>
      </p:sp>
      <p:sp>
        <p:nvSpPr>
          <p:cNvPr id="2" name="Fußzeilenplatzhalter 1"/>
          <p:cNvSpPr>
            <a:spLocks noGrp="1"/>
          </p:cNvSpPr>
          <p:nvPr>
            <p:ph type="ftr" sz="quarter" idx="16"/>
          </p:nvPr>
        </p:nvSpPr>
        <p:spPr/>
        <p:txBody>
          <a:bodyPr/>
          <a:lstStyle/>
          <a:p>
            <a:r>
              <a:rPr lang="de-DE" dirty="0">
                <a:solidFill>
                  <a:prstClr val="black"/>
                </a:solidFill>
              </a:rPr>
              <a:t>Titel der Präsentation / Abteilung / Datum /</a:t>
            </a:r>
          </a:p>
        </p:txBody>
      </p:sp>
      <p:sp>
        <p:nvSpPr>
          <p:cNvPr id="5" name="Foliennummernplatzhalter 4"/>
          <p:cNvSpPr>
            <a:spLocks noGrp="1"/>
          </p:cNvSpPr>
          <p:nvPr>
            <p:ph type="sldNum" sz="quarter" idx="17"/>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63137595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2 Images-chart 3/3 brushed">
    <p:bg>
      <p:bgRef idx="1001">
        <a:schemeClr val="bg1"/>
      </p:bgRef>
    </p:bg>
    <p:spTree>
      <p:nvGrpSpPr>
        <p:cNvPr id="1" name=""/>
        <p:cNvGrpSpPr/>
        <p:nvPr/>
      </p:nvGrpSpPr>
      <p:grpSpPr>
        <a:xfrm>
          <a:off x="0" y="0"/>
          <a:ext cx="0" cy="0"/>
          <a:chOff x="0" y="0"/>
          <a:chExt cx="0" cy="0"/>
        </a:xfrm>
      </p:grpSpPr>
      <p:grpSp>
        <p:nvGrpSpPr>
          <p:cNvPr id="26" name="Regieanweisungen"/>
          <p:cNvGrpSpPr/>
          <p:nvPr userDrawn="1"/>
        </p:nvGrpSpPr>
        <p:grpSpPr>
          <a:xfrm>
            <a:off x="-2086913" y="-467892"/>
            <a:ext cx="13647691" cy="7792196"/>
            <a:chOff x="-2088000" y="-468000"/>
            <a:chExt cx="13654799" cy="7794000"/>
          </a:xfrm>
        </p:grpSpPr>
        <p:sp>
          <p:nvSpPr>
            <p:cNvPr id="2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9" name="Hinweise links"/>
            <p:cNvGrpSpPr/>
            <p:nvPr userDrawn="1"/>
          </p:nvGrpSpPr>
          <p:grpSpPr>
            <a:xfrm>
              <a:off x="-2088000" y="0"/>
              <a:ext cx="1980000" cy="3528000"/>
              <a:chOff x="-2088000" y="0"/>
              <a:chExt cx="1980000" cy="3528000"/>
            </a:xfrm>
          </p:grpSpPr>
          <p:sp>
            <p:nvSpPr>
              <p:cNvPr id="30"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4"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Insert </a:t>
            </a:r>
            <a:r>
              <a:rPr lang="de-DE" dirty="0" err="1"/>
              <a:t>text</a:t>
            </a:r>
            <a:r>
              <a:rPr lang="de-DE" dirty="0"/>
              <a:t> in </a:t>
            </a:r>
            <a:r>
              <a:rPr lang="de-DE" noProof="0" dirty="0"/>
              <a:t>CorpoS (Body) 24 p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Body </a:t>
            </a:r>
            <a:r>
              <a:rPr lang="de-DE" dirty="0" err="1"/>
              <a:t>text</a:t>
            </a:r>
            <a:r>
              <a:rPr lang="de-DE" dirty="0"/>
              <a:t>: Home // Paragraph// </a:t>
            </a:r>
            <a:r>
              <a:rPr lang="de-DE" dirty="0" err="1"/>
              <a:t>Increase</a:t>
            </a:r>
            <a:r>
              <a:rPr lang="de-DE" dirty="0"/>
              <a:t> List Level</a:t>
            </a:r>
          </a:p>
          <a:p>
            <a:pPr lvl="1"/>
            <a:r>
              <a:rPr lang="de-DE" dirty="0"/>
              <a:t>Second </a:t>
            </a:r>
            <a:r>
              <a:rPr lang="de-DE" dirty="0" err="1"/>
              <a:t>level</a:t>
            </a:r>
            <a:r>
              <a:rPr lang="de-DE" dirty="0"/>
              <a:t> (Body </a:t>
            </a:r>
            <a:r>
              <a:rPr lang="de-DE" dirty="0" err="1"/>
              <a:t>tex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3" name="Fußzeilenplatzhalter 2"/>
          <p:cNvSpPr>
            <a:spLocks noGrp="1"/>
          </p:cNvSpPr>
          <p:nvPr>
            <p:ph type="ftr" sz="quarter" idx="16"/>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7"/>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74910143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Fullpage image">
    <p:bg>
      <p:bgRef idx="1001">
        <a:schemeClr val="bg1"/>
      </p:bgRef>
    </p:bg>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4"/>
          </p:nvPr>
        </p:nvSpPr>
        <p:spPr/>
        <p:txBody>
          <a:bodyPr/>
          <a:lstStyle/>
          <a:p>
            <a:r>
              <a:rPr lang="de-DE" dirty="0">
                <a:solidFill>
                  <a:prstClr val="black"/>
                </a:solidFill>
              </a:rPr>
              <a:t>Titel der Präsentation / Abteilung / Datum /</a:t>
            </a:r>
          </a:p>
        </p:txBody>
      </p:sp>
      <p:sp>
        <p:nvSpPr>
          <p:cNvPr id="3" name="Foliennummernplatzhalter 2"/>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77018811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Fullpage 3 images">
    <p:bg>
      <p:bgRef idx="1001">
        <a:schemeClr val="bg1"/>
      </p:bgRef>
    </p:bg>
    <p:spTree>
      <p:nvGrpSpPr>
        <p:cNvPr id="1" name=""/>
        <p:cNvGrpSpPr/>
        <p:nvPr/>
      </p:nvGrpSpPr>
      <p:grpSpPr>
        <a:xfrm>
          <a:off x="0" y="0"/>
          <a:ext cx="0" cy="0"/>
          <a:chOff x="0" y="0"/>
          <a:chExt cx="0" cy="0"/>
        </a:xfrm>
      </p:grpSpPr>
      <p:grpSp>
        <p:nvGrpSpPr>
          <p:cNvPr id="25" name="Regieanweisungen"/>
          <p:cNvGrpSpPr/>
          <p:nvPr userDrawn="1"/>
        </p:nvGrpSpPr>
        <p:grpSpPr>
          <a:xfrm>
            <a:off x="-2086913" y="-467892"/>
            <a:ext cx="13647691" cy="7792196"/>
            <a:chOff x="-2088000" y="-468000"/>
            <a:chExt cx="13654799" cy="7794000"/>
          </a:xfrm>
        </p:grpSpPr>
        <p:sp>
          <p:nvSpPr>
            <p:cNvPr id="2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3"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6" name="Picture Placeholder 3"/>
          <p:cNvSpPr>
            <a:spLocks noGrp="1"/>
          </p:cNvSpPr>
          <p:nvPr>
            <p:ph type="pic" sz="quarter" idx="14" hasCustomPrompt="1"/>
          </p:nvPr>
        </p:nvSpPr>
        <p:spPr bwMode="gray">
          <a:xfrm>
            <a:off x="3911151" y="0"/>
            <a:ext cx="4199925"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6"/>
          </p:nvPr>
        </p:nvSpPr>
        <p:spPr/>
        <p:txBody>
          <a:bodyPr/>
          <a:lstStyle/>
          <a:p>
            <a:r>
              <a:rPr lang="de-DE" dirty="0">
                <a:solidFill>
                  <a:prstClr val="black"/>
                </a:solidFill>
              </a:rPr>
              <a:t>Titel der Präsentation / Abteilung / Datum /</a:t>
            </a:r>
          </a:p>
        </p:txBody>
      </p:sp>
      <p:sp>
        <p:nvSpPr>
          <p:cNvPr id="3" name="Foliennummernplatzhalter 2"/>
          <p:cNvSpPr>
            <a:spLocks noGrp="1"/>
          </p:cNvSpPr>
          <p:nvPr>
            <p:ph type="sldNum" sz="quarter" idx="17"/>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89898258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Textkörper) 35 pt.</a:t>
            </a:r>
            <a:endParaRPr lang="de-DE" dirty="0"/>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de-DE" dirty="0"/>
              <a:t>Text einfügen </a:t>
            </a:r>
            <a:r>
              <a:rPr lang="de-DE" noProof="0" dirty="0"/>
              <a:t>(mark-</a:t>
            </a:r>
            <a:r>
              <a:rPr lang="de-DE" noProof="0" dirty="0" err="1"/>
              <a:t>ups</a:t>
            </a:r>
            <a:r>
              <a:rPr lang="de-DE" noProof="0" dirty="0"/>
              <a:t> in Fett) </a:t>
            </a:r>
            <a:r>
              <a:rPr lang="de-DE" dirty="0"/>
              <a:t>// für Zusammenfassung: Listenebene erhöhen</a:t>
            </a:r>
          </a:p>
          <a:p>
            <a:pPr lvl="1"/>
            <a:r>
              <a:rPr lang="de-DE" dirty="0"/>
              <a:t>Zweite Ebene (Zusammenfassung oder kurzes Highlight)</a:t>
            </a:r>
          </a:p>
        </p:txBody>
      </p:sp>
      <p:sp>
        <p:nvSpPr>
          <p:cNvPr id="9" name="Text Placeholder 7"/>
          <p:cNvSpPr>
            <a:spLocks noGrp="1"/>
          </p:cNvSpPr>
          <p:nvPr>
            <p:ph type="body" sz="quarter" idx="13" hasCustomPrompt="1"/>
          </p:nvPr>
        </p:nvSpPr>
        <p:spPr>
          <a:xfrm>
            <a:off x="6096000" y="4966850"/>
            <a:ext cx="5464504" cy="1414434"/>
          </a:xfrm>
        </p:spPr>
        <p:txBody>
          <a:bodyPr/>
          <a:lstStyle>
            <a:lvl1pPr>
              <a:defRPr/>
            </a:lvl1pPr>
            <a:lvl2pPr>
              <a:defRPr/>
            </a:lvl2pPr>
          </a:lstStyle>
          <a:p>
            <a:pPr lvl="0"/>
            <a:r>
              <a:rPr lang="de-DE" dirty="0"/>
              <a:t>Text einfügen </a:t>
            </a:r>
            <a:r>
              <a:rPr lang="de-DE" noProof="0" dirty="0"/>
              <a:t>(mark-</a:t>
            </a:r>
            <a:r>
              <a:rPr lang="de-DE" noProof="0" dirty="0" err="1"/>
              <a:t>ups</a:t>
            </a:r>
            <a:r>
              <a:rPr lang="de-DE" noProof="0" dirty="0"/>
              <a:t> in Fett) </a:t>
            </a:r>
            <a:r>
              <a:rPr lang="de-DE" dirty="0"/>
              <a:t>// für Zusammenfassung: Listenebene erhöhen</a:t>
            </a:r>
          </a:p>
          <a:p>
            <a:pPr lvl="1"/>
            <a:r>
              <a:rPr lang="de-DE" dirty="0"/>
              <a:t>Zweite Ebene (Zusammenfassung oder kurzes Highlight)</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7"/>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8"/>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16083754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Textkörper) 35 pt.</a:t>
            </a:r>
            <a:endParaRPr lang="de-DE" dirty="0"/>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de-DE" dirty="0"/>
              <a:t>Text einfügen in </a:t>
            </a:r>
            <a:r>
              <a:rPr lang="de-DE" noProof="0" dirty="0"/>
              <a:t>CorpoS (Body) 24 pt. (mark-</a:t>
            </a:r>
            <a:r>
              <a:rPr lang="de-DE" noProof="0" dirty="0" err="1"/>
              <a:t>ups</a:t>
            </a:r>
            <a:r>
              <a:rPr lang="de-DE" noProof="0" dirty="0"/>
              <a:t> in Fett) </a:t>
            </a:r>
            <a:r>
              <a:rPr lang="de-DE" dirty="0"/>
              <a:t>// für Zusammenfassung oder kurzes Highlight: Start // Absatz // Listenebene erhöhen</a:t>
            </a:r>
          </a:p>
          <a:p>
            <a:pPr lvl="1"/>
            <a:r>
              <a:rPr lang="de-DE" dirty="0"/>
              <a:t>Zweite Ebene (Zusammenfassung oder kurzes Highlight)</a:t>
            </a:r>
          </a:p>
          <a:p>
            <a:pPr lvl="2"/>
            <a:r>
              <a:rPr lang="de-DE" dirty="0"/>
              <a:t>Dritte Ebene </a:t>
            </a:r>
          </a:p>
          <a:p>
            <a:pPr lvl="3"/>
            <a:r>
              <a:rPr lang="de-DE" dirty="0"/>
              <a:t>Vierte Ebene </a:t>
            </a:r>
          </a:p>
          <a:p>
            <a:pPr lvl="4"/>
            <a:r>
              <a:rPr lang="de-DE" dirty="0"/>
              <a:t>Fünfte Ebene </a:t>
            </a:r>
          </a:p>
          <a:p>
            <a:pPr lvl="5"/>
            <a:r>
              <a:rPr lang="de-DE" dirty="0"/>
              <a:t>Sechste Ebene </a:t>
            </a:r>
          </a:p>
          <a:p>
            <a:pPr lvl="6"/>
            <a:r>
              <a:rPr lang="de-DE" dirty="0"/>
              <a:t>Siebte Ebene </a:t>
            </a:r>
          </a:p>
          <a:p>
            <a:pPr lvl="7"/>
            <a:r>
              <a:rPr lang="de-DE" dirty="0"/>
              <a:t>Achte Ebene </a:t>
            </a:r>
          </a:p>
          <a:p>
            <a:pPr lvl="8"/>
            <a:r>
              <a:rPr lang="de-DE" dirty="0"/>
              <a:t>Neunte Ebene </a:t>
            </a:r>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7"/>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8"/>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77861019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ext small // Image">
    <p:spTree>
      <p:nvGrpSpPr>
        <p:cNvPr id="1" name=""/>
        <p:cNvGrpSpPr/>
        <p:nvPr/>
      </p:nvGrpSpPr>
      <p:grpSpPr>
        <a:xfrm>
          <a:off x="0" y="0"/>
          <a:ext cx="0" cy="0"/>
          <a:chOff x="0" y="0"/>
          <a:chExt cx="0" cy="0"/>
        </a:xfrm>
      </p:grpSpPr>
      <p:sp>
        <p:nvSpPr>
          <p:cNvPr id="10" name="Picture Placeholder 3"/>
          <p:cNvSpPr>
            <a:spLocks noGrp="1"/>
          </p:cNvSpPr>
          <p:nvPr>
            <p:ph type="pic" sz="quarter" idx="14" hasCustomPrompt="1"/>
          </p:nvPr>
        </p:nvSpPr>
        <p:spPr bwMode="gray">
          <a:xfrm>
            <a:off x="4848875" y="1504604"/>
            <a:ext cx="6711903" cy="4875669"/>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8" name="Text Placeholder 7"/>
          <p:cNvSpPr>
            <a:spLocks noGrp="1"/>
          </p:cNvSpPr>
          <p:nvPr>
            <p:ph type="body" sz="quarter" idx="12" hasCustomPrompt="1"/>
          </p:nvPr>
        </p:nvSpPr>
        <p:spPr>
          <a:xfrm>
            <a:off x="629672" y="1504603"/>
            <a:ext cx="3857441" cy="4876681"/>
          </a:xfrm>
        </p:spPr>
        <p:txBody>
          <a:bodyPr>
            <a:normAutofit/>
          </a:bodyPr>
          <a:lstStyle>
            <a:lvl1pPr>
              <a:lnSpc>
                <a:spcPts val="2399"/>
              </a:lnSpc>
              <a:defRPr sz="1899" baseline="0"/>
            </a:lvl1pPr>
            <a:lvl2pPr>
              <a:lnSpc>
                <a:spcPts val="2399"/>
              </a:lnSpc>
              <a:defRPr sz="1899"/>
            </a:lvl2pPr>
            <a:lvl3pPr>
              <a:lnSpc>
                <a:spcPts val="2399"/>
              </a:lnSpc>
              <a:defRPr sz="1899"/>
            </a:lvl3pPr>
            <a:lvl4pPr>
              <a:lnSpc>
                <a:spcPts val="2399"/>
              </a:lnSpc>
              <a:defRPr sz="1899"/>
            </a:lvl4pPr>
            <a:lvl5pPr>
              <a:lnSpc>
                <a:spcPts val="2399"/>
              </a:lnSpc>
              <a:defRPr sz="1899"/>
            </a:lvl5pPr>
            <a:lvl6pPr>
              <a:lnSpc>
                <a:spcPts val="2399"/>
              </a:lnSpc>
              <a:defRPr sz="1899"/>
            </a:lvl6pPr>
            <a:lvl7pPr>
              <a:lnSpc>
                <a:spcPts val="2399"/>
              </a:lnSpc>
              <a:defRPr sz="1899"/>
            </a:lvl7pPr>
            <a:lvl8pPr>
              <a:lnSpc>
                <a:spcPts val="2399"/>
              </a:lnSpc>
              <a:defRPr sz="1899"/>
            </a:lvl8pPr>
            <a:lvl9pPr>
              <a:lnSpc>
                <a:spcPts val="2399"/>
              </a:lnSpc>
              <a:defRPr sz="1899"/>
            </a:lvl9pPr>
          </a:lstStyle>
          <a:p>
            <a:pPr lvl="0"/>
            <a:r>
              <a:rPr lang="de-DE" dirty="0"/>
              <a:t>Text einfügen in </a:t>
            </a:r>
            <a:r>
              <a:rPr lang="de-DE" noProof="0" dirty="0"/>
              <a:t>CorpoS (Body) 19 pt. (mark-</a:t>
            </a:r>
            <a:r>
              <a:rPr lang="de-DE" noProof="0" dirty="0" err="1"/>
              <a:t>ups</a:t>
            </a:r>
            <a:r>
              <a:rPr lang="de-DE" noProof="0" dirty="0"/>
              <a:t> in Fett) </a:t>
            </a:r>
            <a:r>
              <a:rPr lang="de-DE" dirty="0"/>
              <a:t>// für Zusammenfassung oder kurzes Highlight: Start // Absatz // Listenebene erhöhen</a:t>
            </a:r>
          </a:p>
          <a:p>
            <a:pPr lvl="1"/>
            <a:r>
              <a:rPr lang="de-DE" dirty="0"/>
              <a:t>Zweite Ebene (Zusammenfassung oder kurzes Highlight)</a:t>
            </a:r>
          </a:p>
          <a:p>
            <a:pPr lvl="2"/>
            <a:r>
              <a:rPr lang="de-DE" dirty="0"/>
              <a:t>Dritte Ebene </a:t>
            </a:r>
          </a:p>
          <a:p>
            <a:pPr lvl="3"/>
            <a:r>
              <a:rPr lang="de-DE" dirty="0"/>
              <a:t>Vierte Ebene </a:t>
            </a:r>
          </a:p>
          <a:p>
            <a:pPr lvl="4"/>
            <a:r>
              <a:rPr lang="de-DE" dirty="0"/>
              <a:t>Fünfte Ebene </a:t>
            </a:r>
          </a:p>
          <a:p>
            <a:pPr lvl="5"/>
            <a:r>
              <a:rPr lang="de-DE" dirty="0"/>
              <a:t>Sechste Ebene </a:t>
            </a:r>
          </a:p>
          <a:p>
            <a:pPr lvl="6"/>
            <a:r>
              <a:rPr lang="de-DE" dirty="0"/>
              <a:t>Siebte Ebene </a:t>
            </a:r>
          </a:p>
          <a:p>
            <a:pPr lvl="7"/>
            <a:r>
              <a:rPr lang="de-DE" dirty="0"/>
              <a:t>Achte Ebene </a:t>
            </a:r>
          </a:p>
          <a:p>
            <a:pPr lvl="8"/>
            <a:r>
              <a:rPr lang="de-DE" dirty="0"/>
              <a:t>Neunte Ebene </a:t>
            </a:r>
          </a:p>
        </p:txBody>
      </p:sp>
      <p:sp>
        <p:nvSpPr>
          <p:cNvPr id="5" name="Title 4"/>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Textkörper) 35 pt. für Standard </a:t>
            </a:r>
            <a:br>
              <a:rPr lang="de-DE" noProof="0" dirty="0"/>
            </a:br>
            <a:r>
              <a:rPr lang="de-DE" noProof="0" dirty="0"/>
              <a:t>Text-Folie in zwei Zeilen</a:t>
            </a:r>
            <a:endParaRPr lang="de-DE" dirty="0"/>
          </a:p>
        </p:txBody>
      </p:sp>
      <p:sp>
        <p:nvSpPr>
          <p:cNvPr id="2" name="Fußzeilenplatzhalter 1"/>
          <p:cNvSpPr>
            <a:spLocks noGrp="1"/>
          </p:cNvSpPr>
          <p:nvPr>
            <p:ph type="ftr" sz="quarter" idx="15"/>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6"/>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467602870"/>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948">
          <p15:clr>
            <a:srgbClr val="FBAE40"/>
          </p15:clr>
        </p15:guide>
        <p15:guide id="3" orient="horz" pos="182">
          <p15:clr>
            <a:srgbClr val="FBAE40"/>
          </p15:clr>
        </p15:guide>
        <p15:guide id="4" pos="3056">
          <p15:clr>
            <a:srgbClr val="FBAE40"/>
          </p15:clr>
        </p15:guide>
        <p15:guide id="5" pos="282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s with head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en-GB" dirty="0"/>
              <a:t>Insert content or text in </a:t>
            </a:r>
            <a:r>
              <a:rPr lang="en-GB" noProof="0" dirty="0" err="1"/>
              <a:t>CorpoS</a:t>
            </a:r>
            <a:r>
              <a:rPr lang="en-GB" noProof="0" dirty="0"/>
              <a:t>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en-GB" dirty="0"/>
              <a:t>Insert content or text in </a:t>
            </a:r>
            <a:r>
              <a:rPr lang="en-GB" noProof="0" dirty="0" err="1"/>
              <a:t>Corpo</a:t>
            </a:r>
            <a:r>
              <a:rPr lang="en-GB" noProof="0" dirty="0"/>
              <a:t> 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Tree>
    <p:extLst>
      <p:ext uri="{BB962C8B-B14F-4D97-AF65-F5344CB8AC3E}">
        <p14:creationId xmlns:p14="http://schemas.microsoft.com/office/powerpoint/2010/main" val="3059869804"/>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wo contents with head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Textkörper) 35 pt.</a:t>
            </a:r>
            <a:br>
              <a:rPr lang="de-DE" noProof="0" dirty="0"/>
            </a:br>
            <a:r>
              <a:rPr lang="de-DE" noProof="0" dirty="0"/>
              <a:t>über zwei Zeilen</a:t>
            </a:r>
            <a:endParaRPr lang="de-DE" dirty="0"/>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de-DE" dirty="0"/>
              <a:t>Text oder Inhalt einfügen in </a:t>
            </a:r>
            <a:r>
              <a:rPr lang="de-DE" noProof="0" dirty="0"/>
              <a:t>CorpoS (Body) 24 pt. (mark-</a:t>
            </a:r>
            <a:r>
              <a:rPr lang="de-DE" noProof="0" dirty="0" err="1"/>
              <a:t>ups</a:t>
            </a:r>
            <a:r>
              <a:rPr lang="de-DE" noProof="0" dirty="0"/>
              <a:t> in Fett) </a:t>
            </a:r>
            <a:r>
              <a:rPr lang="de-DE" dirty="0"/>
              <a:t>// für Zusammenfassung oder kurzes Highlight: Start // Absatz // Listenebene erhöhen</a:t>
            </a:r>
          </a:p>
          <a:p>
            <a:pPr lvl="1"/>
            <a:r>
              <a:rPr lang="de-DE" dirty="0"/>
              <a:t>Zweite Ebene (Zusammenfassung oder kurzes Highlight)</a:t>
            </a:r>
          </a:p>
          <a:p>
            <a:pPr lvl="2"/>
            <a:r>
              <a:rPr lang="de-DE" dirty="0"/>
              <a:t>Dritte Ebene</a:t>
            </a:r>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a:t>Headline einfügen</a:t>
            </a:r>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a:t>Headline einfügen</a:t>
            </a:r>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de-DE" dirty="0"/>
              <a:t>Text oder Inhalt einfügen in </a:t>
            </a:r>
            <a:r>
              <a:rPr lang="de-DE" noProof="0" dirty="0"/>
              <a:t>CorpoS (Body) 24 pt. (mark-</a:t>
            </a:r>
            <a:r>
              <a:rPr lang="de-DE" noProof="0" dirty="0" err="1"/>
              <a:t>ups</a:t>
            </a:r>
            <a:r>
              <a:rPr lang="de-DE" noProof="0" dirty="0"/>
              <a:t> in Fett) </a:t>
            </a:r>
            <a:r>
              <a:rPr lang="de-DE" dirty="0"/>
              <a:t>// für Zusammenfassung oder kurzes Highlight: Start // Absatz // Listenebene erhöhen</a:t>
            </a:r>
          </a:p>
          <a:p>
            <a:pPr lvl="1"/>
            <a:r>
              <a:rPr lang="de-DE" dirty="0"/>
              <a:t>Zweite Ebene (Zusammenfassung oder kurzes Highlight)</a:t>
            </a:r>
          </a:p>
          <a:p>
            <a:pPr lvl="2"/>
            <a:r>
              <a:rPr lang="de-DE" dirty="0"/>
              <a:t>Dritte Ebene</a:t>
            </a:r>
          </a:p>
        </p:txBody>
      </p:sp>
      <p:sp>
        <p:nvSpPr>
          <p:cNvPr id="5" name="Fußzeilenplatzhalter 4"/>
          <p:cNvSpPr>
            <a:spLocks noGrp="1"/>
          </p:cNvSpPr>
          <p:nvPr>
            <p:ph type="ftr" sz="quarter" idx="16"/>
          </p:nvPr>
        </p:nvSpPr>
        <p:spPr/>
        <p:txBody>
          <a:bodyPr/>
          <a:lstStyle/>
          <a:p>
            <a:r>
              <a:rPr lang="de-DE" dirty="0">
                <a:solidFill>
                  <a:prstClr val="black"/>
                </a:solidFill>
              </a:rPr>
              <a:t>Titel der Präsentation / Abteilung / Datum /</a:t>
            </a:r>
          </a:p>
        </p:txBody>
      </p:sp>
      <p:sp>
        <p:nvSpPr>
          <p:cNvPr id="12" name="Foliennummernplatzhalter 11"/>
          <p:cNvSpPr>
            <a:spLocks noGrp="1"/>
          </p:cNvSpPr>
          <p:nvPr>
            <p:ph type="sldNum" sz="quarter" idx="17"/>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6306732"/>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4 products">
    <p:spTree>
      <p:nvGrpSpPr>
        <p:cNvPr id="1" name=""/>
        <p:cNvGrpSpPr/>
        <p:nvPr/>
      </p:nvGrpSpPr>
      <p:grpSpPr>
        <a:xfrm>
          <a:off x="0" y="0"/>
          <a:ext cx="0" cy="0"/>
          <a:chOff x="0" y="0"/>
          <a:chExt cx="0" cy="0"/>
        </a:xfrm>
      </p:grpSpPr>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Text einfügen</a:t>
            </a:r>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Text einfügen</a:t>
            </a:r>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Text einfügen</a:t>
            </a:r>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Text einfügen</a:t>
            </a:r>
          </a:p>
        </p:txBody>
      </p:sp>
      <p:sp>
        <p:nvSpPr>
          <p:cNvPr id="47"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Textkörper) 35 pt.</a:t>
            </a:r>
            <a:endParaRPr lang="de-DE" dirty="0"/>
          </a:p>
        </p:txBody>
      </p:sp>
      <p:sp>
        <p:nvSpPr>
          <p:cNvPr id="2" name="Fußzeilenplatzhalter 1"/>
          <p:cNvSpPr>
            <a:spLocks noGrp="1"/>
          </p:cNvSpPr>
          <p:nvPr>
            <p:ph type="ftr" sz="quarter" idx="43"/>
          </p:nvPr>
        </p:nvSpPr>
        <p:spPr/>
        <p:txBody>
          <a:bodyPr/>
          <a:lstStyle/>
          <a:p>
            <a:r>
              <a:rPr lang="de-DE" dirty="0">
                <a:solidFill>
                  <a:prstClr val="black"/>
                </a:solidFill>
              </a:rPr>
              <a:t>Titel der Präsentation / Abteilung / Datum /</a:t>
            </a:r>
          </a:p>
        </p:txBody>
      </p:sp>
      <p:sp>
        <p:nvSpPr>
          <p:cNvPr id="8" name="Foliennummernplatzhalter 7"/>
          <p:cNvSpPr>
            <a:spLocks noGrp="1"/>
          </p:cNvSpPr>
          <p:nvPr>
            <p:ph type="sldNum" sz="quarter" idx="44"/>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41840804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Headline two lines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Textkörper) 35 pt.</a:t>
            </a:r>
            <a:br>
              <a:rPr lang="de-DE" noProof="0" dirty="0"/>
            </a:br>
            <a:r>
              <a:rPr lang="de-DE" noProof="0" dirty="0"/>
              <a:t>über zwei Zeilen</a:t>
            </a:r>
            <a:endParaRPr lang="de-DE" dirty="0"/>
          </a:p>
        </p:txBody>
      </p:sp>
      <p:sp>
        <p:nvSpPr>
          <p:cNvPr id="5" name="Fußzeilenplatzhalter 4"/>
          <p:cNvSpPr>
            <a:spLocks noGrp="1"/>
          </p:cNvSpPr>
          <p:nvPr>
            <p:ph type="ftr" sz="quarter" idx="10"/>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1"/>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39464847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Headline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Textkörper) 35 pt.</a:t>
            </a:r>
            <a:endParaRPr lang="de-DE" dirty="0"/>
          </a:p>
        </p:txBody>
      </p:sp>
      <p:sp>
        <p:nvSpPr>
          <p:cNvPr id="5" name="Fußzeilenplatzhalter 4"/>
          <p:cNvSpPr>
            <a:spLocks noGrp="1"/>
          </p:cNvSpPr>
          <p:nvPr>
            <p:ph type="ftr" sz="quarter" idx="10"/>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1"/>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759941430"/>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type="tx">
  <p:cSld name="Einleitungstext, dark grey">
    <p:bg>
      <p:bgPr>
        <a:solidFill>
          <a:srgbClr val="25262E"/>
        </a:solidFill>
        <a:effectLst/>
      </p:bgPr>
    </p:bg>
    <p:spTree>
      <p:nvGrpSpPr>
        <p:cNvPr id="1" name=""/>
        <p:cNvGrpSpPr/>
        <p:nvPr/>
      </p:nvGrpSpPr>
      <p:grpSpPr>
        <a:xfrm>
          <a:off x="0" y="0"/>
          <a:ext cx="0" cy="0"/>
          <a:chOff x="0" y="0"/>
          <a:chExt cx="0" cy="0"/>
        </a:xfrm>
      </p:grpSpPr>
      <p:pic>
        <p:nvPicPr>
          <p:cNvPr id="354" name="Shape 172" descr="Shape 172"/>
          <p:cNvPicPr>
            <a:picLocks noChangeAspect="1"/>
          </p:cNvPicPr>
          <p:nvPr/>
        </p:nvPicPr>
        <p:blipFill>
          <a:blip r:embed="rId2">
            <a:extLst/>
          </a:blip>
          <a:stretch>
            <a:fillRect/>
          </a:stretch>
        </p:blipFill>
        <p:spPr>
          <a:xfrm>
            <a:off x="0" y="0"/>
            <a:ext cx="12192000" cy="6858000"/>
          </a:xfrm>
          <a:prstGeom prst="rect">
            <a:avLst/>
          </a:prstGeom>
          <a:ln w="12700">
            <a:miter lim="400000"/>
          </a:ln>
        </p:spPr>
      </p:pic>
      <p:sp>
        <p:nvSpPr>
          <p:cNvPr id="355" name="Foliennummer"/>
          <p:cNvSpPr>
            <a:spLocks noGrp="1"/>
          </p:cNvSpPr>
          <p:nvPr>
            <p:ph type="sldNum" sz="quarter" idx="2"/>
          </p:nvPr>
        </p:nvSpPr>
        <p:spPr>
          <a:xfrm>
            <a:off x="11183344" y="6219192"/>
            <a:ext cx="307617" cy="184623"/>
          </a:xfrm>
          <a:prstGeom prst="rect">
            <a:avLst/>
          </a:prstGeom>
        </p:spPr>
        <p:txBody>
          <a:bodyPr lIns="0" tIns="0" rIns="0" bIns="0"/>
          <a:lstStyle>
            <a:lvl1pPr algn="r">
              <a:defRPr>
                <a:solidFill>
                  <a:srgbClr val="00B7BF"/>
                </a:solidFill>
                <a:latin typeface="+mj-lt"/>
                <a:ea typeface="+mj-ea"/>
                <a:cs typeface="+mj-cs"/>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1314379747"/>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type="tx">
  <p:cSld name="photo half Kopie">
    <p:bg>
      <p:bgPr>
        <a:solidFill>
          <a:srgbClr val="24262F"/>
        </a:solidFill>
        <a:effectLst/>
      </p:bgPr>
    </p:bg>
    <p:spTree>
      <p:nvGrpSpPr>
        <p:cNvPr id="1" name=""/>
        <p:cNvGrpSpPr/>
        <p:nvPr/>
      </p:nvGrpSpPr>
      <p:grpSpPr>
        <a:xfrm>
          <a:off x="0" y="0"/>
          <a:ext cx="0" cy="0"/>
          <a:chOff x="0" y="0"/>
          <a:chExt cx="0" cy="0"/>
        </a:xfrm>
      </p:grpSpPr>
      <p:sp>
        <p:nvSpPr>
          <p:cNvPr id="395" name="Shape 395"/>
          <p:cNvSpPr>
            <a:spLocks noGrp="1"/>
          </p:cNvSpPr>
          <p:nvPr>
            <p:ph type="title"/>
          </p:nvPr>
        </p:nvSpPr>
        <p:spPr>
          <a:xfrm>
            <a:off x="628983" y="653999"/>
            <a:ext cx="4888052" cy="1110005"/>
          </a:xfrm>
          <a:prstGeom prst="rect">
            <a:avLst/>
          </a:prstGeom>
        </p:spPr>
        <p:txBody>
          <a:bodyPr lIns="0" tIns="0" rIns="0" bIns="0" anchor="t">
            <a:noAutofit/>
          </a:bodyPr>
          <a:lstStyle>
            <a:lvl1pPr defTabSz="292025">
              <a:defRPr sz="4498" spc="-45">
                <a:solidFill>
                  <a:srgbClr val="00BEB3"/>
                </a:solidFill>
                <a:latin typeface="Helvetica"/>
                <a:ea typeface="Helvetica"/>
                <a:cs typeface="Helvetica"/>
                <a:sym typeface="Helvetica"/>
              </a:defRPr>
            </a:lvl1pPr>
          </a:lstStyle>
          <a:p>
            <a:r>
              <a:t>Title Text</a:t>
            </a:r>
          </a:p>
        </p:txBody>
      </p:sp>
      <p:sp>
        <p:nvSpPr>
          <p:cNvPr id="396" name="Shape 396"/>
          <p:cNvSpPr>
            <a:spLocks noGrp="1"/>
          </p:cNvSpPr>
          <p:nvPr>
            <p:ph type="body" sz="half" idx="1"/>
          </p:nvPr>
        </p:nvSpPr>
        <p:spPr>
          <a:xfrm>
            <a:off x="628983" y="1780298"/>
            <a:ext cx="4888052" cy="4543409"/>
          </a:xfrm>
          <a:prstGeom prst="rect">
            <a:avLst/>
          </a:prstGeom>
        </p:spPr>
        <p:txBody>
          <a:bodyPr lIns="26796" tIns="26796" rIns="26796" bIns="26796" anchor="t">
            <a:noAutofit/>
          </a:bodyPr>
          <a:lstStyle>
            <a:lvl1pPr marL="233887" indent="-233887" defTabSz="317418">
              <a:spcBef>
                <a:spcPts val="1499"/>
              </a:spcBef>
              <a:defRPr sz="1999" spc="60">
                <a:latin typeface="Helvetica"/>
                <a:ea typeface="Helvetica"/>
                <a:cs typeface="Helvetica"/>
                <a:sym typeface="Helvetica"/>
              </a:defRPr>
            </a:lvl1pPr>
            <a:lvl2pPr marL="456079" indent="-233887" defTabSz="317418">
              <a:spcBef>
                <a:spcPts val="1499"/>
              </a:spcBef>
              <a:defRPr sz="1999" spc="60">
                <a:latin typeface="Helvetica"/>
                <a:ea typeface="Helvetica"/>
                <a:cs typeface="Helvetica"/>
                <a:sym typeface="Helvetica"/>
              </a:defRPr>
            </a:lvl2pPr>
            <a:lvl3pPr marL="678272" indent="-233887" defTabSz="317418">
              <a:spcBef>
                <a:spcPts val="1499"/>
              </a:spcBef>
              <a:defRPr sz="1999" spc="60">
                <a:latin typeface="Helvetica"/>
                <a:ea typeface="Helvetica"/>
                <a:cs typeface="Helvetica"/>
                <a:sym typeface="Helvetica"/>
              </a:defRPr>
            </a:lvl3pPr>
            <a:lvl4pPr marL="900465" indent="-233887" defTabSz="317418">
              <a:spcBef>
                <a:spcPts val="1499"/>
              </a:spcBef>
              <a:defRPr sz="1999" spc="60">
                <a:latin typeface="Helvetica"/>
                <a:ea typeface="Helvetica"/>
                <a:cs typeface="Helvetica"/>
                <a:sym typeface="Helvetica"/>
              </a:defRPr>
            </a:lvl4pPr>
            <a:lvl5pPr marL="1122656" indent="-233887" defTabSz="317418">
              <a:spcBef>
                <a:spcPts val="1499"/>
              </a:spcBef>
              <a:defRPr sz="1999" spc="60">
                <a:latin typeface="Helvetica"/>
                <a:ea typeface="Helvetica"/>
                <a:cs typeface="Helvetica"/>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397" name="Shape 397"/>
          <p:cNvSpPr>
            <a:spLocks noGrp="1"/>
          </p:cNvSpPr>
          <p:nvPr>
            <p:ph type="sldNum" sz="quarter" idx="2"/>
          </p:nvPr>
        </p:nvSpPr>
        <p:spPr>
          <a:xfrm>
            <a:off x="11560066" y="4802"/>
            <a:ext cx="632888" cy="238767"/>
          </a:xfrm>
          <a:prstGeom prst="rect">
            <a:avLst/>
          </a:prstGeom>
          <a:extLst>
            <a:ext uri="{C572A759-6A51-4108-AA02-DFA0A04FC94B}">
              <ma14:wrappingTextBoxFlag xmlns="" xmlns:ma14="http://schemas.microsoft.com/office/mac/drawingml/2011/main" val="1"/>
            </a:ext>
          </a:extLst>
        </p:spPr>
        <p:txBody>
          <a:bodyPr wrap="square" lIns="26796" tIns="26796" rIns="26796" bIns="26796"/>
          <a:lstStyle>
            <a:lvl1pPr algn="ctr" defTabSz="292025">
              <a:defRPr>
                <a:solidFill>
                  <a:srgbClr val="FFFFFF"/>
                </a:solidFill>
                <a:latin typeface="Helvetica"/>
                <a:ea typeface="Helvetica"/>
                <a:cs typeface="Helvetica"/>
                <a:sym typeface="Helvetica"/>
              </a:defRPr>
            </a:lvl1pPr>
          </a:lstStyle>
          <a:p>
            <a:fld id="{86CB4B4D-7CA3-9044-876B-883B54F8677D}" type="slidenum">
              <a:rPr/>
              <a:pPr/>
              <a:t>‹#›</a:t>
            </a:fld>
            <a:endParaRPr/>
          </a:p>
        </p:txBody>
      </p:sp>
    </p:spTree>
    <p:extLst>
      <p:ext uri="{BB962C8B-B14F-4D97-AF65-F5344CB8AC3E}">
        <p14:creationId xmlns:p14="http://schemas.microsoft.com/office/powerpoint/2010/main" val="2344109633"/>
      </p:ext>
    </p:extLst>
  </p:cSld>
  <p:clrMapOvr>
    <a:masterClrMapping/>
  </p:clrMapOvr>
  <p:transition spd="med"/>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1.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en-GB" dirty="0"/>
              <a:t>Referent’s name: </a:t>
            </a:r>
            <a:r>
              <a:rPr lang="en-GB" noProof="0" dirty="0"/>
              <a:t>CorpoS </a:t>
            </a:r>
            <a:r>
              <a:rPr lang="en-GB" dirty="0"/>
              <a:t>(Body) 35 pt. Presentation title</a:t>
            </a:r>
            <a:br>
              <a:rPr lang="en-GB" dirty="0"/>
            </a:br>
            <a:r>
              <a:rPr lang="en-GB" dirty="0"/>
              <a:t>in two lines of text, dd. </a:t>
            </a:r>
            <a:r>
              <a:rPr lang="en-GB" dirty="0" err="1"/>
              <a:t>mmmm</a:t>
            </a:r>
            <a:r>
              <a:rPr lang="en-GB" dirty="0"/>
              <a:t> </a:t>
            </a:r>
            <a:r>
              <a:rPr lang="en-GB" dirty="0" err="1"/>
              <a:t>yyyy</a:t>
            </a:r>
            <a:endParaRPr lang="en-GB"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3000353786"/>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2.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a:lvl1pPr>
          </a:lstStyle>
          <a:p>
            <a:r>
              <a:rPr lang="en-GB" dirty="0"/>
              <a:t>Referent’s name: </a:t>
            </a:r>
            <a:r>
              <a:rPr lang="en-GB" noProof="0" dirty="0"/>
              <a:t>CorpoS </a:t>
            </a:r>
            <a:r>
              <a:rPr lang="en-GB" dirty="0"/>
              <a:t>(Body) 35 pt. Presentation title</a:t>
            </a:r>
            <a:br>
              <a:rPr lang="en-GB" dirty="0"/>
            </a:br>
            <a:r>
              <a:rPr lang="en-GB" dirty="0"/>
              <a:t>in two or more lines of text, dd. </a:t>
            </a:r>
            <a:r>
              <a:rPr lang="en-GB" dirty="0" err="1"/>
              <a:t>mmmm</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357763739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172974748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227"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4" name="Listenebene erhöhen"/>
                <p:cNvPicPr>
                  <a:picLocks noChangeAspect="1"/>
                </p:cNvPicPr>
                <p:nvPr userDrawn="1"/>
              </p:nvPicPr>
              <p:blipFill>
                <a:blip r:embed="rId7"/>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8"/>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4433"/>
            <a:ext cx="7232233" cy="648964"/>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en-GB" dirty="0"/>
              <a:t>Headline for presentation</a:t>
            </a:r>
          </a:p>
        </p:txBody>
      </p:sp>
      <p:pic>
        <p:nvPicPr>
          <p:cNvPr id="30" name="Wortmarke DAIMLER" descr="Daimler_RGB_100mm.png"/>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153078190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product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7"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Tree>
    <p:extLst>
      <p:ext uri="{BB962C8B-B14F-4D97-AF65-F5344CB8AC3E}">
        <p14:creationId xmlns:p14="http://schemas.microsoft.com/office/powerpoint/2010/main" val="148087439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Section chart">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1" y="0"/>
            <a:ext cx="12190451" cy="6487838"/>
          </a:xfrm>
          <a:prstGeom prst="rect">
            <a:avLst/>
          </a:prstGeom>
        </p:spPr>
      </p:pic>
      <p:sp>
        <p:nvSpPr>
          <p:cNvPr id="3" name="Title 2"/>
          <p:cNvSpPr>
            <a:spLocks noGrp="1"/>
          </p:cNvSpPr>
          <p:nvPr>
            <p:ph type="title" hasCustomPrompt="1"/>
          </p:nvPr>
        </p:nvSpPr>
        <p:spPr>
          <a:xfrm>
            <a:off x="628323" y="288859"/>
            <a:ext cx="10932455" cy="1025684"/>
          </a:xfrm>
        </p:spPr>
        <p:txBody>
          <a:bodyPr wrap="square">
            <a:spAutoFit/>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88673503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Text/ image brushing">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1"/>
            <a:ext cx="12190451" cy="6487839"/>
          </a:xfrm>
          <a:prstGeom prst="rect">
            <a:avLst/>
          </a:prstGeom>
        </p:spPr>
      </p:pic>
      <p:sp>
        <p:nvSpPr>
          <p:cNvPr id="3" name="Title 2"/>
          <p:cNvSpPr>
            <a:spLocks noGrp="1"/>
          </p:cNvSpPr>
          <p:nvPr>
            <p:ph type="title" hasCustomPrompt="1"/>
          </p:nvPr>
        </p:nvSpPr>
        <p:spPr>
          <a:xfrm>
            <a:off x="630116" y="288857"/>
            <a:ext cx="10930662" cy="1151733"/>
          </a:xfrm>
          <a:custGeom>
            <a:avLst/>
            <a:gdLst>
              <a:gd name="connsiteX0" fmla="*/ 0 w 10936355"/>
              <a:gd name="connsiteY0" fmla="*/ 0 h 1152000"/>
              <a:gd name="connsiteX1" fmla="*/ 10936355 w 10936355"/>
              <a:gd name="connsiteY1" fmla="*/ 0 h 1152000"/>
              <a:gd name="connsiteX2" fmla="*/ 10936355 w 10936355"/>
              <a:gd name="connsiteY2" fmla="*/ 1152000 h 1152000"/>
              <a:gd name="connsiteX3" fmla="*/ 0 w 10936355"/>
              <a:gd name="connsiteY3" fmla="*/ 1152000 h 1152000"/>
              <a:gd name="connsiteX4" fmla="*/ 0 w 10936355"/>
              <a:gd name="connsiteY4"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4948164 w 10936355"/>
              <a:gd name="connsiteY4" fmla="*/ 1147990 h 1152000"/>
              <a:gd name="connsiteX5" fmla="*/ 0 w 10936355"/>
              <a:gd name="connsiteY5" fmla="*/ 1152000 h 1152000"/>
              <a:gd name="connsiteX6" fmla="*/ 0 w 10936355"/>
              <a:gd name="connsiteY6"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355" h="1152000">
                <a:moveTo>
                  <a:pt x="0" y="0"/>
                </a:moveTo>
                <a:lnTo>
                  <a:pt x="10936355" y="0"/>
                </a:lnTo>
                <a:cubicBezTo>
                  <a:pt x="10935205" y="231775"/>
                  <a:pt x="10934056" y="463551"/>
                  <a:pt x="10932906" y="695326"/>
                </a:cubicBezTo>
                <a:lnTo>
                  <a:pt x="4948164" y="1147990"/>
                </a:lnTo>
                <a:lnTo>
                  <a:pt x="0" y="1152000"/>
                </a:lnTo>
                <a:lnTo>
                  <a:pt x="0" y="0"/>
                </a:lnTo>
                <a:close/>
              </a:path>
            </a:pathLst>
          </a:custGeom>
        </p:spPr>
        <p:txBody>
          <a:bodyPr/>
          <a:lstStyle>
            <a:lvl1pPr>
              <a:defRPr baseline="0">
                <a:solidFill>
                  <a:schemeClr val="bg1"/>
                </a:solidFill>
              </a:defRPr>
            </a:lvl1pPr>
          </a:lstStyle>
          <a:p>
            <a:r>
              <a:rPr lang="en-GB" dirty="0"/>
              <a:t>Image-chart, Headline </a:t>
            </a:r>
            <a:r>
              <a:rPr lang="en-GB" noProof="0" dirty="0"/>
              <a:t>CorpoS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97724304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Agenda with brushin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 name="Title 1"/>
          <p:cNvSpPr>
            <a:spLocks noGrp="1"/>
          </p:cNvSpPr>
          <p:nvPr>
            <p:ph type="title" hasCustomPrompt="1"/>
          </p:nvPr>
        </p:nvSpPr>
        <p:spPr>
          <a:xfrm>
            <a:off x="628323" y="288859"/>
            <a:ext cx="10932455" cy="1148857"/>
          </a:xfrm>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7" y="1504603"/>
            <a:ext cx="10931023" cy="3386305"/>
          </a:xfrm>
          <a:custGeom>
            <a:avLst/>
            <a:gdLst>
              <a:gd name="connsiteX0" fmla="*/ 0 w 10936081"/>
              <a:gd name="connsiteY0" fmla="*/ 0 h 3384000"/>
              <a:gd name="connsiteX1" fmla="*/ 10936081 w 10936081"/>
              <a:gd name="connsiteY1" fmla="*/ 0 h 3384000"/>
              <a:gd name="connsiteX2" fmla="*/ 10936081 w 10936081"/>
              <a:gd name="connsiteY2" fmla="*/ 3384000 h 3384000"/>
              <a:gd name="connsiteX3" fmla="*/ 0 w 10936081"/>
              <a:gd name="connsiteY3" fmla="*/ 3384000 h 3384000"/>
              <a:gd name="connsiteX4" fmla="*/ 0 w 10936081"/>
              <a:gd name="connsiteY4" fmla="*/ 0 h 3384000"/>
              <a:gd name="connsiteX0" fmla="*/ 0 w 10936081"/>
              <a:gd name="connsiteY0" fmla="*/ 0 h 3387089"/>
              <a:gd name="connsiteX1" fmla="*/ 10936081 w 10936081"/>
              <a:gd name="connsiteY1" fmla="*/ 0 h 3387089"/>
              <a:gd name="connsiteX2" fmla="*/ 10936081 w 10936081"/>
              <a:gd name="connsiteY2" fmla="*/ 3384000 h 3387089"/>
              <a:gd name="connsiteX3" fmla="*/ 2006076 w 10936081"/>
              <a:gd name="connsiteY3" fmla="*/ 3387089 h 3387089"/>
              <a:gd name="connsiteX4" fmla="*/ 0 w 10936081"/>
              <a:gd name="connsiteY4" fmla="*/ 3384000 h 3387089"/>
              <a:gd name="connsiteX5" fmla="*/ 0 w 10936081"/>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10936081 w 10936716"/>
              <a:gd name="connsiteY3" fmla="*/ 3384000 h 3387089"/>
              <a:gd name="connsiteX4" fmla="*/ 2006076 w 10936716"/>
              <a:gd name="connsiteY4" fmla="*/ 3387089 h 3387089"/>
              <a:gd name="connsiteX5" fmla="*/ 0 w 10936716"/>
              <a:gd name="connsiteY5" fmla="*/ 3384000 h 3387089"/>
              <a:gd name="connsiteX6" fmla="*/ 0 w 10936716"/>
              <a:gd name="connsiteY6"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3387089">
                <a:moveTo>
                  <a:pt x="0" y="0"/>
                </a:moveTo>
                <a:lnTo>
                  <a:pt x="10936081" y="0"/>
                </a:lnTo>
                <a:cubicBezTo>
                  <a:pt x="10936293" y="852170"/>
                  <a:pt x="10936504" y="1704339"/>
                  <a:pt x="10936716" y="2556509"/>
                </a:cubicBezTo>
                <a:lnTo>
                  <a:pt x="2006076" y="3387089"/>
                </a:lnTo>
                <a:lnTo>
                  <a:pt x="0" y="3384000"/>
                </a:lnTo>
                <a:lnTo>
                  <a:pt x="0" y="0"/>
                </a:lnTo>
                <a:close/>
              </a:path>
            </a:pathLst>
          </a:custGeo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75095183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5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181034394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58006843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2 lines">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a:t>
            </a:r>
            <a:r>
              <a:rPr lang="en-GB" noProof="0" dirty="0"/>
              <a:t> 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32989272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ext/ content/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199045397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1 line">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75474802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1.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24460049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2.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7" y="288858"/>
            <a:ext cx="10931023" cy="1115742"/>
          </a:xfrm>
          <a:custGeom>
            <a:avLst/>
            <a:gdLst>
              <a:gd name="connsiteX0" fmla="*/ 0 w 10936355"/>
              <a:gd name="connsiteY0" fmla="*/ 0 h 1116000"/>
              <a:gd name="connsiteX1" fmla="*/ 10936355 w 10936355"/>
              <a:gd name="connsiteY1" fmla="*/ 0 h 1116000"/>
              <a:gd name="connsiteX2" fmla="*/ 10936355 w 10936355"/>
              <a:gd name="connsiteY2" fmla="*/ 1116000 h 1116000"/>
              <a:gd name="connsiteX3" fmla="*/ 0 w 10936355"/>
              <a:gd name="connsiteY3" fmla="*/ 1116000 h 1116000"/>
              <a:gd name="connsiteX4" fmla="*/ 0 w 10936355"/>
              <a:gd name="connsiteY4" fmla="*/ 0 h 1116000"/>
              <a:gd name="connsiteX0" fmla="*/ 0 w 10936355"/>
              <a:gd name="connsiteY0" fmla="*/ 0 h 1116000"/>
              <a:gd name="connsiteX1" fmla="*/ 10936355 w 10936355"/>
              <a:gd name="connsiteY1" fmla="*/ 0 h 1116000"/>
              <a:gd name="connsiteX2" fmla="*/ 10936355 w 10936355"/>
              <a:gd name="connsiteY2" fmla="*/ 1116000 h 1116000"/>
              <a:gd name="connsiteX3" fmla="*/ 5793216 w 10936355"/>
              <a:gd name="connsiteY3" fmla="*/ 1113155 h 1116000"/>
              <a:gd name="connsiteX4" fmla="*/ 0 w 10936355"/>
              <a:gd name="connsiteY4" fmla="*/ 1116000 h 1116000"/>
              <a:gd name="connsiteX5" fmla="*/ 0 w 10936355"/>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10936355 w 10936716"/>
              <a:gd name="connsiteY3" fmla="*/ 1116000 h 1116000"/>
              <a:gd name="connsiteX4" fmla="*/ 5793216 w 10936716"/>
              <a:gd name="connsiteY4" fmla="*/ 1113155 h 1116000"/>
              <a:gd name="connsiteX5" fmla="*/ 0 w 10936716"/>
              <a:gd name="connsiteY5" fmla="*/ 1116000 h 1116000"/>
              <a:gd name="connsiteX6" fmla="*/ 0 w 10936716"/>
              <a:gd name="connsiteY6"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1116000">
                <a:moveTo>
                  <a:pt x="0" y="0"/>
                </a:moveTo>
                <a:lnTo>
                  <a:pt x="10936355" y="0"/>
                </a:lnTo>
                <a:cubicBezTo>
                  <a:pt x="10936475" y="226272"/>
                  <a:pt x="10936596" y="452543"/>
                  <a:pt x="10936716" y="678815"/>
                </a:cubicBezTo>
                <a:lnTo>
                  <a:pt x="5793216" y="1113155"/>
                </a:lnTo>
                <a:lnTo>
                  <a:pt x="0" y="1116000"/>
                </a:lnTo>
                <a:lnTo>
                  <a:pt x="0" y="0"/>
                </a:lnTo>
                <a:close/>
              </a:path>
            </a:pathLst>
          </a:custGeom>
        </p:spPr>
        <p:txBody>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78040114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line two lines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65409871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3. Brushing/ image 2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76568719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4.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a:t>CorpoS (Body) 24 pt. (Mark-ups in Bold) </a:t>
            </a:r>
            <a:r>
              <a:rPr lang="en-GB" dirty="0"/>
              <a:t>// for Body text: Home // Paragraph// Increase List Level</a:t>
            </a:r>
          </a:p>
          <a:p>
            <a:pPr lvl="1"/>
            <a:r>
              <a:rPr lang="en-GB" dirty="0"/>
              <a:t>Second level (Body text)</a:t>
            </a:r>
          </a:p>
        </p:txBody>
      </p:sp>
      <p:sp>
        <p:nvSpPr>
          <p:cNvPr id="2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77954041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5. Brushing/ image 3 columns">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3"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a:t>CorpoS (Body) 24 pt. (Mark-ups in Bold) </a:t>
            </a:r>
            <a:r>
              <a:rPr lang="en-GB" dirty="0"/>
              <a:t>// for Body text: Home // Paragraph// Increase List Level</a:t>
            </a:r>
          </a:p>
          <a:p>
            <a:pPr lvl="1"/>
            <a:r>
              <a:rPr lang="en-GB" dirty="0"/>
              <a:t>Second level (Body text)</a:t>
            </a:r>
          </a:p>
          <a:p>
            <a:pPr lvl="2"/>
            <a:r>
              <a:rPr lang="en-GB" dirty="0"/>
              <a:t>Third level</a:t>
            </a:r>
          </a:p>
          <a:p>
            <a:pPr lvl="3"/>
            <a:r>
              <a:rPr lang="en-GB" dirty="0"/>
              <a:t>Fourth level</a:t>
            </a:r>
          </a:p>
          <a:p>
            <a:pPr lvl="4"/>
            <a:r>
              <a:rPr lang="en-GB" dirty="0"/>
              <a:t>Fifth level</a:t>
            </a:r>
          </a:p>
          <a:p>
            <a:pPr lvl="5"/>
            <a:r>
              <a:rPr lang="en-GB" dirty="0"/>
              <a:t>Sixth level</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4213551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Full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22081344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Full image/ 2 columns">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605990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2" name="Picture Placeholder 3"/>
          <p:cNvSpPr>
            <a:spLocks noGrp="1"/>
          </p:cNvSpPr>
          <p:nvPr>
            <p:ph type="pic" sz="quarter" idx="14" hasCustomPrompt="1"/>
          </p:nvPr>
        </p:nvSpPr>
        <p:spPr bwMode="gray">
          <a:xfrm>
            <a:off x="6132096" y="0"/>
            <a:ext cx="605990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406931567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Full image/ 4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3279297"/>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2" name="Picture Placeholder 3"/>
          <p:cNvSpPr>
            <a:spLocks noGrp="1"/>
          </p:cNvSpPr>
          <p:nvPr>
            <p:ph type="pic" sz="quarter" idx="14" hasCustomPrompt="1"/>
          </p:nvPr>
        </p:nvSpPr>
        <p:spPr bwMode="gray">
          <a:xfrm>
            <a:off x="6132096" y="3279297"/>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Picture Placeholder 3"/>
          <p:cNvSpPr>
            <a:spLocks noGrp="1"/>
          </p:cNvSpPr>
          <p:nvPr>
            <p:ph type="pic" sz="quarter" idx="15" hasCustomPrompt="1"/>
          </p:nvPr>
        </p:nvSpPr>
        <p:spPr bwMode="gray">
          <a:xfrm>
            <a:off x="0" y="1"/>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3" name="Picture Placeholder 3"/>
          <p:cNvSpPr>
            <a:spLocks noGrp="1"/>
          </p:cNvSpPr>
          <p:nvPr>
            <p:ph type="pic" sz="quarter" idx="16" hasCustomPrompt="1"/>
          </p:nvPr>
        </p:nvSpPr>
        <p:spPr bwMode="gray">
          <a:xfrm>
            <a:off x="6132096" y="1"/>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45502344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Full image/ 3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6" name="Picture Placeholder 3"/>
          <p:cNvSpPr>
            <a:spLocks noGrp="1"/>
          </p:cNvSpPr>
          <p:nvPr>
            <p:ph type="pic" sz="quarter" idx="14" hasCustomPrompt="1"/>
          </p:nvPr>
        </p:nvSpPr>
        <p:spPr bwMode="gray">
          <a:xfrm>
            <a:off x="3913531" y="0"/>
            <a:ext cx="419992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92738886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Full image/ 6 image">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3279297"/>
            <a:ext cx="3841337"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6" name="Picture Placeholder 3"/>
          <p:cNvSpPr>
            <a:spLocks noGrp="1"/>
          </p:cNvSpPr>
          <p:nvPr>
            <p:ph type="pic" sz="quarter" idx="14" hasCustomPrompt="1"/>
          </p:nvPr>
        </p:nvSpPr>
        <p:spPr bwMode="gray">
          <a:xfrm>
            <a:off x="3913531" y="3279297"/>
            <a:ext cx="419992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7" name="Picture Placeholder 3"/>
          <p:cNvSpPr>
            <a:spLocks noGrp="1"/>
          </p:cNvSpPr>
          <p:nvPr>
            <p:ph type="pic" sz="quarter" idx="15" hasCustomPrompt="1"/>
          </p:nvPr>
        </p:nvSpPr>
        <p:spPr bwMode="gray">
          <a:xfrm>
            <a:off x="8185649" y="3279297"/>
            <a:ext cx="4006350"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Picture Placeholder 3"/>
          <p:cNvSpPr>
            <a:spLocks noGrp="1"/>
          </p:cNvSpPr>
          <p:nvPr>
            <p:ph type="pic" sz="quarter" idx="16" hasCustomPrompt="1"/>
          </p:nvPr>
        </p:nvSpPr>
        <p:spPr bwMode="gray">
          <a:xfrm>
            <a:off x="0" y="1"/>
            <a:ext cx="3841337"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9" name="Picture Placeholder 3"/>
          <p:cNvSpPr>
            <a:spLocks noGrp="1"/>
          </p:cNvSpPr>
          <p:nvPr>
            <p:ph type="pic" sz="quarter" idx="17" hasCustomPrompt="1"/>
          </p:nvPr>
        </p:nvSpPr>
        <p:spPr bwMode="gray">
          <a:xfrm>
            <a:off x="8185650" y="1"/>
            <a:ext cx="4006350"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0" name="Picture Placeholder 3"/>
          <p:cNvSpPr>
            <a:spLocks noGrp="1"/>
          </p:cNvSpPr>
          <p:nvPr>
            <p:ph type="pic" sz="quarter" idx="18" hasCustomPrompt="1"/>
          </p:nvPr>
        </p:nvSpPr>
        <p:spPr bwMode="gray">
          <a:xfrm>
            <a:off x="3913531" y="1"/>
            <a:ext cx="419992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404136333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ext/ 3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70017435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ext/ 3 images/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52687198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line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717172843"/>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Tree>
    <p:extLst>
      <p:ext uri="{BB962C8B-B14F-4D97-AF65-F5344CB8AC3E}">
        <p14:creationId xmlns:p14="http://schemas.microsoft.com/office/powerpoint/2010/main" val="1882727921"/>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ablet/ 4 colum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7"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Tree>
    <p:extLst>
      <p:ext uri="{BB962C8B-B14F-4D97-AF65-F5344CB8AC3E}">
        <p14:creationId xmlns:p14="http://schemas.microsoft.com/office/powerpoint/2010/main" val="329869634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Blank/ Headline 1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27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628324" y="288858"/>
            <a:ext cx="10932454" cy="1148857"/>
          </a:xfrm>
        </p:spPr>
        <p:txBody>
          <a:bodyPr/>
          <a:lstStyle/>
          <a:p>
            <a:r>
              <a:rPr lang="en-GB" noProof="0" dirty="0"/>
              <a:t>Headline in CorpoS (Body) 35 pt.</a:t>
            </a:r>
            <a:br>
              <a:rPr lang="en-GB" noProof="0" dirty="0"/>
            </a:br>
            <a:r>
              <a:rPr lang="en-GB" noProof="0" dirty="0"/>
              <a:t>in two lines</a:t>
            </a:r>
            <a:endParaRPr lang="en-GB" dirty="0"/>
          </a:p>
        </p:txBody>
      </p:sp>
    </p:spTree>
    <p:extLst>
      <p:ext uri="{BB962C8B-B14F-4D97-AF65-F5344CB8AC3E}">
        <p14:creationId xmlns:p14="http://schemas.microsoft.com/office/powerpoint/2010/main" val="361791652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668738749"/>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userDrawn="1">
  <p:cSld name="3. Bürstung/ Bild 2-spaltig">
    <p:bg>
      <p:bgRef idx="1001">
        <a:schemeClr val="bg1"/>
      </p:bgRef>
    </p:bg>
    <p:spTree>
      <p:nvGrpSpPr>
        <p:cNvPr id="1" name=""/>
        <p:cNvGrpSpPr/>
        <p:nvPr/>
      </p:nvGrpSpPr>
      <p:grpSpPr>
        <a:xfrm>
          <a:off x="0" y="0"/>
          <a:ext cx="0" cy="0"/>
          <a:chOff x="0" y="0"/>
          <a:chExt cx="0" cy="0"/>
        </a:xfrm>
      </p:grpSpPr>
      <p:grpSp>
        <p:nvGrpSpPr>
          <p:cNvPr id="24" name="Regieanweisungen"/>
          <p:cNvGrpSpPr/>
          <p:nvPr userDrawn="1"/>
        </p:nvGrpSpPr>
        <p:grpSpPr>
          <a:xfrm>
            <a:off x="-2086913" y="-467892"/>
            <a:ext cx="13647691" cy="7792196"/>
            <a:chOff x="-2088000" y="-468000"/>
            <a:chExt cx="13654799" cy="7794000"/>
          </a:xfrm>
        </p:grpSpPr>
        <p:sp>
          <p:nvSpPr>
            <p:cNvPr id="2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9" name="Listenebenen"/>
              <p:cNvGrpSpPr/>
              <p:nvPr userDrawn="1"/>
            </p:nvGrpSpPr>
            <p:grpSpPr>
              <a:xfrm>
                <a:off x="-1692000" y="2232000"/>
                <a:ext cx="1548000" cy="792000"/>
                <a:chOff x="-1692000" y="2160000"/>
                <a:chExt cx="1548000" cy="792000"/>
              </a:xfrm>
            </p:grpSpPr>
            <p:sp>
              <p:nvSpPr>
                <p:cNvPr id="30"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1"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2"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3"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5"/>
          </p:nvPr>
        </p:nvSpPr>
        <p:spPr/>
        <p:txBody>
          <a:bodyPr/>
          <a:lstStyle/>
          <a:p>
            <a:r>
              <a:rPr lang="en-US">
                <a:solidFill>
                  <a:prstClr val="black"/>
                </a:solidFill>
              </a:rPr>
              <a:t>DFS Capital Market Day</a:t>
            </a:r>
            <a:endParaRPr lang="de-DE" dirty="0">
              <a:solidFill>
                <a:prstClr val="black"/>
              </a:solidFill>
            </a:endParaRPr>
          </a:p>
        </p:txBody>
      </p:sp>
      <p:sp>
        <p:nvSpPr>
          <p:cNvPr id="4" name="Foliennummernplatzhalter 3"/>
          <p:cNvSpPr>
            <a:spLocks noGrp="1"/>
          </p:cNvSpPr>
          <p:nvPr>
            <p:ph type="sldNum" sz="quarter" idx="16"/>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82260800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userDrawn="1">
  <p:cSld name="4. Bürstung/ Bild 2-spaltig">
    <p:bg>
      <p:bgRef idx="1001">
        <a:schemeClr val="bg1"/>
      </p:bgRef>
    </p:bg>
    <p:spTree>
      <p:nvGrpSpPr>
        <p:cNvPr id="1" name=""/>
        <p:cNvGrpSpPr/>
        <p:nvPr/>
      </p:nvGrpSpPr>
      <p:grpSpPr>
        <a:xfrm>
          <a:off x="0" y="0"/>
          <a:ext cx="0" cy="0"/>
          <a:chOff x="0" y="0"/>
          <a:chExt cx="0" cy="0"/>
        </a:xfrm>
      </p:grpSpPr>
      <p:grpSp>
        <p:nvGrpSpPr>
          <p:cNvPr id="27" name="Regieanweisungen"/>
          <p:cNvGrpSpPr/>
          <p:nvPr userDrawn="1"/>
        </p:nvGrpSpPr>
        <p:grpSpPr>
          <a:xfrm>
            <a:off x="-2086913" y="-467892"/>
            <a:ext cx="13647691" cy="7792196"/>
            <a:chOff x="-2088000" y="-468000"/>
            <a:chExt cx="13654799" cy="7794000"/>
          </a:xfrm>
        </p:grpSpPr>
        <p:sp>
          <p:nvSpPr>
            <p:cNvPr id="2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0"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Text oder Inhalt einfügen in </a:t>
            </a:r>
            <a:r>
              <a:rPr lang="de-DE" noProof="0" dirty="0"/>
              <a:t>CorpoS (Body) 24 pt. (Hervorhebungen in fett) </a:t>
            </a:r>
            <a:r>
              <a:rPr lang="de-DE" dirty="0"/>
              <a:t>// für Zusammenfassung oder kurzes Highlight: Start // Absatz // Listenebene erhöhen</a:t>
            </a:r>
          </a:p>
          <a:p>
            <a:pPr lvl="1"/>
            <a:r>
              <a:rPr lang="de-DE" dirty="0"/>
              <a:t>Zweite Ebene</a:t>
            </a:r>
          </a:p>
        </p:txBody>
      </p:sp>
      <p:sp>
        <p:nvSpPr>
          <p:cNvPr id="2" name="Fußzeilenplatzhalter 1"/>
          <p:cNvSpPr>
            <a:spLocks noGrp="1"/>
          </p:cNvSpPr>
          <p:nvPr>
            <p:ph type="ftr" sz="quarter" idx="16"/>
          </p:nvPr>
        </p:nvSpPr>
        <p:spPr/>
        <p:txBody>
          <a:bodyPr/>
          <a:lstStyle/>
          <a:p>
            <a:r>
              <a:rPr lang="en-US">
                <a:solidFill>
                  <a:prstClr val="black"/>
                </a:solidFill>
              </a:rPr>
              <a:t>DFS Capital Market Day</a:t>
            </a:r>
            <a:endParaRPr lang="de-DE" dirty="0">
              <a:solidFill>
                <a:prstClr val="black"/>
              </a:solidFill>
            </a:endParaRPr>
          </a:p>
        </p:txBody>
      </p:sp>
      <p:sp>
        <p:nvSpPr>
          <p:cNvPr id="5" name="Foliennummernplatzhalter 4"/>
          <p:cNvSpPr>
            <a:spLocks noGrp="1"/>
          </p:cNvSpPr>
          <p:nvPr>
            <p:ph type="sldNum" sz="quarter" idx="17"/>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618078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userDrawn="1">
  <p:cSld name="Text/ Bild/ Ü 1 Zeile ">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2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3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1" name="Hinweise links"/>
            <p:cNvGrpSpPr/>
            <p:nvPr userDrawn="1"/>
          </p:nvGrpSpPr>
          <p:grpSpPr>
            <a:xfrm>
              <a:off x="-2088000" y="0"/>
              <a:ext cx="1980000" cy="3528000"/>
              <a:chOff x="-2088000" y="0"/>
              <a:chExt cx="1980000" cy="3528000"/>
            </a:xfrm>
          </p:grpSpPr>
          <p:sp>
            <p:nvSpPr>
              <p:cNvPr id="3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3" name="Listenebenen"/>
              <p:cNvGrpSpPr/>
              <p:nvPr userDrawn="1"/>
            </p:nvGrpSpPr>
            <p:grpSpPr>
              <a:xfrm>
                <a:off x="-1692000" y="2232000"/>
                <a:ext cx="1548000" cy="792000"/>
                <a:chOff x="-1692000" y="2160000"/>
                <a:chExt cx="1548000" cy="792000"/>
              </a:xfrm>
            </p:grpSpPr>
            <p:sp>
              <p:nvSpPr>
                <p:cNvPr id="3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6"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7"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a:xfrm>
            <a:off x="629671" y="285982"/>
            <a:ext cx="10931106" cy="683842"/>
          </a:xfrm>
        </p:spPr>
        <p:txBody>
          <a:bodyPr/>
          <a:lstStyle/>
          <a:p>
            <a:r>
              <a:rPr lang="de-DE" noProof="0" dirty="0"/>
              <a:t>Headline in CorpoS (Textkörper) 35 pt.</a:t>
            </a:r>
            <a:endParaRPr lang="de-DE" dirty="0"/>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4"/>
          </p:nvPr>
        </p:nvSpPr>
        <p:spPr/>
        <p:txBody>
          <a:bodyPr/>
          <a:lstStyle/>
          <a:p>
            <a:r>
              <a:rPr lang="en-US">
                <a:solidFill>
                  <a:prstClr val="black"/>
                </a:solidFill>
              </a:rPr>
              <a:t>DFS Capital Market Day</a:t>
            </a:r>
            <a:endParaRPr lang="de-DE" dirty="0">
              <a:solidFill>
                <a:prstClr val="black"/>
              </a:solidFill>
            </a:endParaRPr>
          </a:p>
        </p:txBody>
      </p:sp>
      <p:sp>
        <p:nvSpPr>
          <p:cNvPr id="6" name="Foliennummernplatzhalter 5"/>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9579555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771939" y="6224373"/>
            <a:ext cx="424638" cy="329184"/>
          </a:xfrm>
        </p:spPr>
        <p:txBody>
          <a:bodyPr/>
          <a:lstStyle/>
          <a:p>
            <a:fld id="{96D389FB-5F15-6747-8C7C-A5F122A35A60}" type="slidenum">
              <a:rPr lang="en-US" smtClean="0">
                <a:solidFill>
                  <a:prstClr val="black"/>
                </a:solidFill>
              </a:rPr>
              <a:pPr/>
              <a:t>‹#›</a:t>
            </a:fld>
            <a:endParaRPr lang="en-US">
              <a:solidFill>
                <a:prstClr val="black"/>
              </a:solidFill>
            </a:endParaRPr>
          </a:p>
        </p:txBody>
      </p:sp>
      <p:sp>
        <p:nvSpPr>
          <p:cNvPr id="4" name="Title 3"/>
          <p:cNvSpPr>
            <a:spLocks noGrp="1"/>
          </p:cNvSpPr>
          <p:nvPr>
            <p:ph type="title"/>
          </p:nvPr>
        </p:nvSpPr>
        <p:spPr>
          <a:xfrm>
            <a:off x="838201" y="607274"/>
            <a:ext cx="10515600" cy="523220"/>
          </a:xfrm>
          <a:prstGeom prst="rect">
            <a:avLst/>
          </a:prstGeom>
        </p:spPr>
        <p:txBody>
          <a:bodyPr/>
          <a:lstStyle>
            <a:lvl1pPr algn="ctr">
              <a:defRPr sz="2800" b="0">
                <a:solidFill>
                  <a:srgbClr val="3F98FF"/>
                </a:solidFill>
                <a:latin typeface="Franklin Gothic Book" panose="020B0503020102020204" pitchFamily="34" charset="0"/>
              </a:defRPr>
            </a:lvl1pPr>
          </a:lstStyle>
          <a:p>
            <a:r>
              <a:rPr lang="en-US" dirty="0"/>
              <a:t>Click to edit Master title style</a:t>
            </a:r>
          </a:p>
        </p:txBody>
      </p:sp>
      <p:sp>
        <p:nvSpPr>
          <p:cNvPr id="8" name="Text Placeholder 7"/>
          <p:cNvSpPr>
            <a:spLocks noGrp="1"/>
          </p:cNvSpPr>
          <p:nvPr>
            <p:ph type="body" sz="quarter" idx="13"/>
          </p:nvPr>
        </p:nvSpPr>
        <p:spPr>
          <a:xfrm>
            <a:off x="533401" y="1854200"/>
            <a:ext cx="11070835" cy="4095750"/>
          </a:xfrm>
          <a:prstGeom prst="rect">
            <a:avLst/>
          </a:prstGeom>
        </p:spPr>
        <p:txBody>
          <a:bodyPr/>
          <a:lstStyle>
            <a:lvl1pPr>
              <a:defRPr sz="2399" b="1">
                <a:solidFill>
                  <a:schemeClr val="bg1">
                    <a:lumMod val="50000"/>
                  </a:schemeClr>
                </a:solidFill>
              </a:defRPr>
            </a:lvl1pPr>
            <a:lvl2pPr>
              <a:defRPr sz="1999">
                <a:solidFill>
                  <a:schemeClr val="bg1">
                    <a:lumMod val="50000"/>
                  </a:schemeClr>
                </a:solidFill>
              </a:defRPr>
            </a:lvl2pPr>
            <a:lvl3pPr>
              <a:defRPr sz="1999">
                <a:solidFill>
                  <a:schemeClr val="bg1">
                    <a:lumMod val="50000"/>
                  </a:schemeClr>
                </a:solidFill>
              </a:defRPr>
            </a:lvl3pPr>
            <a:lvl4pPr>
              <a:defRPr sz="1999">
                <a:solidFill>
                  <a:schemeClr val="bg1">
                    <a:lumMod val="50000"/>
                  </a:schemeClr>
                </a:solidFill>
              </a:defRPr>
            </a:lvl4pPr>
            <a:lvl5pPr>
              <a:defRPr sz="1999">
                <a:solidFill>
                  <a:schemeClr val="bg1">
                    <a:lumMod val="5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4"/>
          <p:cNvSpPr>
            <a:spLocks noGrp="1"/>
          </p:cNvSpPr>
          <p:nvPr>
            <p:ph type="body" sz="quarter" idx="14" hasCustomPrompt="1"/>
          </p:nvPr>
        </p:nvSpPr>
        <p:spPr>
          <a:xfrm>
            <a:off x="1896488" y="1215031"/>
            <a:ext cx="8460827" cy="400110"/>
          </a:xfrm>
          <a:prstGeom prst="rect">
            <a:avLst/>
          </a:prstGeom>
        </p:spPr>
        <p:txBody>
          <a:bodyPr/>
          <a:lstStyle>
            <a:lvl1pPr marL="0" indent="0" algn="ctr">
              <a:buNone/>
              <a:defRPr sz="1999" baseline="0">
                <a:solidFill>
                  <a:schemeClr val="bg1">
                    <a:lumMod val="50000"/>
                  </a:schemeClr>
                </a:solidFill>
              </a:defRPr>
            </a:lvl1pPr>
          </a:lstStyle>
          <a:p>
            <a:pPr algn="ctr"/>
            <a:r>
              <a:rPr lang="en-US" sz="1999" dirty="0">
                <a:solidFill>
                  <a:schemeClr val="tx1">
                    <a:lumMod val="50000"/>
                    <a:lumOff val="50000"/>
                  </a:schemeClr>
                </a:solidFill>
                <a:latin typeface="Calibri" charset="0"/>
                <a:ea typeface="Calibri" charset="0"/>
                <a:cs typeface="Calibri" charset="0"/>
              </a:rPr>
              <a:t>Click to edit Master subtitle style</a:t>
            </a:r>
          </a:p>
        </p:txBody>
      </p:sp>
    </p:spTree>
    <p:extLst>
      <p:ext uri="{BB962C8B-B14F-4D97-AF65-F5344CB8AC3E}">
        <p14:creationId xmlns:p14="http://schemas.microsoft.com/office/powerpoint/2010/main" val="88964491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Headline // Blank">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4432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4245802902"/>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1.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en-GB" dirty="0"/>
              <a:t>Referent’s name: </a:t>
            </a:r>
            <a:r>
              <a:rPr lang="en-GB" noProof="0" dirty="0"/>
              <a:t>CorpoS </a:t>
            </a:r>
            <a:r>
              <a:rPr lang="en-GB" dirty="0"/>
              <a:t>(Body) 35 pt. Presentation title</a:t>
            </a:r>
            <a:br>
              <a:rPr lang="en-GB" dirty="0"/>
            </a:br>
            <a:r>
              <a:rPr lang="en-GB" dirty="0"/>
              <a:t>in two lines of text, dd. </a:t>
            </a:r>
            <a:r>
              <a:rPr lang="en-GB" dirty="0" err="1"/>
              <a:t>mmmm</a:t>
            </a:r>
            <a:r>
              <a:rPr lang="en-GB" dirty="0"/>
              <a:t> </a:t>
            </a:r>
            <a:r>
              <a:rPr lang="en-GB" dirty="0" err="1"/>
              <a:t>yyyy</a:t>
            </a:r>
            <a:endParaRPr lang="en-GB"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2196671014"/>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296180846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2.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a:lvl1pPr>
          </a:lstStyle>
          <a:p>
            <a:r>
              <a:rPr lang="en-GB" dirty="0"/>
              <a:t>Referent’s name: </a:t>
            </a:r>
            <a:r>
              <a:rPr lang="en-GB" noProof="0" dirty="0"/>
              <a:t>CorpoS </a:t>
            </a:r>
            <a:r>
              <a:rPr lang="en-GB" dirty="0"/>
              <a:t>(Body) 35 pt. Presentation title</a:t>
            </a:r>
            <a:br>
              <a:rPr lang="en-GB" dirty="0"/>
            </a:br>
            <a:r>
              <a:rPr lang="en-GB" dirty="0"/>
              <a:t>in two or more lines of text, dd. </a:t>
            </a:r>
            <a:r>
              <a:rPr lang="en-GB" dirty="0" err="1"/>
              <a:t>mmmm</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348035674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202848964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37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4" name="Listenebene erhöhen"/>
                <p:cNvPicPr>
                  <a:picLocks noChangeAspect="1"/>
                </p:cNvPicPr>
                <p:nvPr userDrawn="1"/>
              </p:nvPicPr>
              <p:blipFill>
                <a:blip r:embed="rId7"/>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8"/>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4433"/>
            <a:ext cx="7232233" cy="648964"/>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en-GB" dirty="0"/>
              <a:t>Headline for presentation</a:t>
            </a:r>
          </a:p>
        </p:txBody>
      </p:sp>
      <p:pic>
        <p:nvPicPr>
          <p:cNvPr id="30" name="Wortmarke DAIMLER" descr="Daimler_RGB_100mm.png"/>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4795782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Section chart">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1" y="0"/>
            <a:ext cx="12190451" cy="6487838"/>
          </a:xfrm>
          <a:prstGeom prst="rect">
            <a:avLst/>
          </a:prstGeom>
        </p:spPr>
      </p:pic>
      <p:sp>
        <p:nvSpPr>
          <p:cNvPr id="3" name="Title 2"/>
          <p:cNvSpPr>
            <a:spLocks noGrp="1"/>
          </p:cNvSpPr>
          <p:nvPr>
            <p:ph type="title" hasCustomPrompt="1"/>
          </p:nvPr>
        </p:nvSpPr>
        <p:spPr>
          <a:xfrm>
            <a:off x="628323" y="288859"/>
            <a:ext cx="10932455" cy="1025684"/>
          </a:xfrm>
        </p:spPr>
        <p:txBody>
          <a:bodyPr wrap="square">
            <a:spAutoFit/>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03318245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Text/ image brushing">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1"/>
            <a:ext cx="12190451" cy="6487839"/>
          </a:xfrm>
          <a:prstGeom prst="rect">
            <a:avLst/>
          </a:prstGeom>
        </p:spPr>
      </p:pic>
      <p:sp>
        <p:nvSpPr>
          <p:cNvPr id="3" name="Title 2"/>
          <p:cNvSpPr>
            <a:spLocks noGrp="1"/>
          </p:cNvSpPr>
          <p:nvPr>
            <p:ph type="title" hasCustomPrompt="1"/>
          </p:nvPr>
        </p:nvSpPr>
        <p:spPr>
          <a:xfrm>
            <a:off x="630116" y="288857"/>
            <a:ext cx="10930662" cy="1151733"/>
          </a:xfrm>
          <a:custGeom>
            <a:avLst/>
            <a:gdLst>
              <a:gd name="connsiteX0" fmla="*/ 0 w 10936355"/>
              <a:gd name="connsiteY0" fmla="*/ 0 h 1152000"/>
              <a:gd name="connsiteX1" fmla="*/ 10936355 w 10936355"/>
              <a:gd name="connsiteY1" fmla="*/ 0 h 1152000"/>
              <a:gd name="connsiteX2" fmla="*/ 10936355 w 10936355"/>
              <a:gd name="connsiteY2" fmla="*/ 1152000 h 1152000"/>
              <a:gd name="connsiteX3" fmla="*/ 0 w 10936355"/>
              <a:gd name="connsiteY3" fmla="*/ 1152000 h 1152000"/>
              <a:gd name="connsiteX4" fmla="*/ 0 w 10936355"/>
              <a:gd name="connsiteY4"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4948164 w 10936355"/>
              <a:gd name="connsiteY4" fmla="*/ 1147990 h 1152000"/>
              <a:gd name="connsiteX5" fmla="*/ 0 w 10936355"/>
              <a:gd name="connsiteY5" fmla="*/ 1152000 h 1152000"/>
              <a:gd name="connsiteX6" fmla="*/ 0 w 10936355"/>
              <a:gd name="connsiteY6"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355" h="1152000">
                <a:moveTo>
                  <a:pt x="0" y="0"/>
                </a:moveTo>
                <a:lnTo>
                  <a:pt x="10936355" y="0"/>
                </a:lnTo>
                <a:cubicBezTo>
                  <a:pt x="10935205" y="231775"/>
                  <a:pt x="10934056" y="463551"/>
                  <a:pt x="10932906" y="695326"/>
                </a:cubicBezTo>
                <a:lnTo>
                  <a:pt x="4948164" y="1147990"/>
                </a:lnTo>
                <a:lnTo>
                  <a:pt x="0" y="1152000"/>
                </a:lnTo>
                <a:lnTo>
                  <a:pt x="0" y="0"/>
                </a:lnTo>
                <a:close/>
              </a:path>
            </a:pathLst>
          </a:custGeom>
        </p:spPr>
        <p:txBody>
          <a:bodyPr/>
          <a:lstStyle>
            <a:lvl1pPr>
              <a:defRPr baseline="0">
                <a:solidFill>
                  <a:schemeClr val="bg1"/>
                </a:solidFill>
              </a:defRPr>
            </a:lvl1pPr>
          </a:lstStyle>
          <a:p>
            <a:r>
              <a:rPr lang="en-GB" dirty="0"/>
              <a:t>Image-chart, Headline </a:t>
            </a:r>
            <a:r>
              <a:rPr lang="en-GB" noProof="0" dirty="0"/>
              <a:t>CorpoS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81020381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Agenda with brushin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 name="Title 1"/>
          <p:cNvSpPr>
            <a:spLocks noGrp="1"/>
          </p:cNvSpPr>
          <p:nvPr>
            <p:ph type="title" hasCustomPrompt="1"/>
          </p:nvPr>
        </p:nvSpPr>
        <p:spPr>
          <a:xfrm>
            <a:off x="628323" y="288859"/>
            <a:ext cx="10932455" cy="1148857"/>
          </a:xfrm>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7" y="1504603"/>
            <a:ext cx="10931023" cy="3386305"/>
          </a:xfrm>
          <a:custGeom>
            <a:avLst/>
            <a:gdLst>
              <a:gd name="connsiteX0" fmla="*/ 0 w 10936081"/>
              <a:gd name="connsiteY0" fmla="*/ 0 h 3384000"/>
              <a:gd name="connsiteX1" fmla="*/ 10936081 w 10936081"/>
              <a:gd name="connsiteY1" fmla="*/ 0 h 3384000"/>
              <a:gd name="connsiteX2" fmla="*/ 10936081 w 10936081"/>
              <a:gd name="connsiteY2" fmla="*/ 3384000 h 3384000"/>
              <a:gd name="connsiteX3" fmla="*/ 0 w 10936081"/>
              <a:gd name="connsiteY3" fmla="*/ 3384000 h 3384000"/>
              <a:gd name="connsiteX4" fmla="*/ 0 w 10936081"/>
              <a:gd name="connsiteY4" fmla="*/ 0 h 3384000"/>
              <a:gd name="connsiteX0" fmla="*/ 0 w 10936081"/>
              <a:gd name="connsiteY0" fmla="*/ 0 h 3387089"/>
              <a:gd name="connsiteX1" fmla="*/ 10936081 w 10936081"/>
              <a:gd name="connsiteY1" fmla="*/ 0 h 3387089"/>
              <a:gd name="connsiteX2" fmla="*/ 10936081 w 10936081"/>
              <a:gd name="connsiteY2" fmla="*/ 3384000 h 3387089"/>
              <a:gd name="connsiteX3" fmla="*/ 2006076 w 10936081"/>
              <a:gd name="connsiteY3" fmla="*/ 3387089 h 3387089"/>
              <a:gd name="connsiteX4" fmla="*/ 0 w 10936081"/>
              <a:gd name="connsiteY4" fmla="*/ 3384000 h 3387089"/>
              <a:gd name="connsiteX5" fmla="*/ 0 w 10936081"/>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10936081 w 10936716"/>
              <a:gd name="connsiteY3" fmla="*/ 3384000 h 3387089"/>
              <a:gd name="connsiteX4" fmla="*/ 2006076 w 10936716"/>
              <a:gd name="connsiteY4" fmla="*/ 3387089 h 3387089"/>
              <a:gd name="connsiteX5" fmla="*/ 0 w 10936716"/>
              <a:gd name="connsiteY5" fmla="*/ 3384000 h 3387089"/>
              <a:gd name="connsiteX6" fmla="*/ 0 w 10936716"/>
              <a:gd name="connsiteY6"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3387089">
                <a:moveTo>
                  <a:pt x="0" y="0"/>
                </a:moveTo>
                <a:lnTo>
                  <a:pt x="10936081" y="0"/>
                </a:lnTo>
                <a:cubicBezTo>
                  <a:pt x="10936293" y="852170"/>
                  <a:pt x="10936504" y="1704339"/>
                  <a:pt x="10936716" y="2556509"/>
                </a:cubicBezTo>
                <a:lnTo>
                  <a:pt x="2006076" y="3387089"/>
                </a:lnTo>
                <a:lnTo>
                  <a:pt x="0" y="3384000"/>
                </a:lnTo>
                <a:lnTo>
                  <a:pt x="0" y="0"/>
                </a:lnTo>
                <a:close/>
              </a:path>
            </a:pathLst>
          </a:custGeo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66796692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39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155842616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25640626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2 lines">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a:t>
            </a:r>
            <a:r>
              <a:rPr lang="en-GB" noProof="0" dirty="0"/>
              <a:t> 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06846461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ext/ content/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367433409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Agenda with brushin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 name="Title 1"/>
          <p:cNvSpPr>
            <a:spLocks noGrp="1"/>
          </p:cNvSpPr>
          <p:nvPr>
            <p:ph type="title" hasCustomPrompt="1"/>
          </p:nvPr>
        </p:nvSpPr>
        <p:spPr>
          <a:xfrm>
            <a:off x="628323" y="288859"/>
            <a:ext cx="10932455" cy="1148857"/>
          </a:xfrm>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7" y="1504603"/>
            <a:ext cx="10931023" cy="3386305"/>
          </a:xfrm>
          <a:custGeom>
            <a:avLst/>
            <a:gdLst>
              <a:gd name="connsiteX0" fmla="*/ 0 w 10936081"/>
              <a:gd name="connsiteY0" fmla="*/ 0 h 3384000"/>
              <a:gd name="connsiteX1" fmla="*/ 10936081 w 10936081"/>
              <a:gd name="connsiteY1" fmla="*/ 0 h 3384000"/>
              <a:gd name="connsiteX2" fmla="*/ 10936081 w 10936081"/>
              <a:gd name="connsiteY2" fmla="*/ 3384000 h 3384000"/>
              <a:gd name="connsiteX3" fmla="*/ 0 w 10936081"/>
              <a:gd name="connsiteY3" fmla="*/ 3384000 h 3384000"/>
              <a:gd name="connsiteX4" fmla="*/ 0 w 10936081"/>
              <a:gd name="connsiteY4" fmla="*/ 0 h 3384000"/>
              <a:gd name="connsiteX0" fmla="*/ 0 w 10936081"/>
              <a:gd name="connsiteY0" fmla="*/ 0 h 3387089"/>
              <a:gd name="connsiteX1" fmla="*/ 10936081 w 10936081"/>
              <a:gd name="connsiteY1" fmla="*/ 0 h 3387089"/>
              <a:gd name="connsiteX2" fmla="*/ 10936081 w 10936081"/>
              <a:gd name="connsiteY2" fmla="*/ 3384000 h 3387089"/>
              <a:gd name="connsiteX3" fmla="*/ 2006076 w 10936081"/>
              <a:gd name="connsiteY3" fmla="*/ 3387089 h 3387089"/>
              <a:gd name="connsiteX4" fmla="*/ 0 w 10936081"/>
              <a:gd name="connsiteY4" fmla="*/ 3384000 h 3387089"/>
              <a:gd name="connsiteX5" fmla="*/ 0 w 10936081"/>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10936081 w 10936716"/>
              <a:gd name="connsiteY3" fmla="*/ 3384000 h 3387089"/>
              <a:gd name="connsiteX4" fmla="*/ 2006076 w 10936716"/>
              <a:gd name="connsiteY4" fmla="*/ 3387089 h 3387089"/>
              <a:gd name="connsiteX5" fmla="*/ 0 w 10936716"/>
              <a:gd name="connsiteY5" fmla="*/ 3384000 h 3387089"/>
              <a:gd name="connsiteX6" fmla="*/ 0 w 10936716"/>
              <a:gd name="connsiteY6"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3387089">
                <a:moveTo>
                  <a:pt x="0" y="0"/>
                </a:moveTo>
                <a:lnTo>
                  <a:pt x="10936081" y="0"/>
                </a:lnTo>
                <a:cubicBezTo>
                  <a:pt x="10936293" y="852170"/>
                  <a:pt x="10936504" y="1704339"/>
                  <a:pt x="10936716" y="2556509"/>
                </a:cubicBezTo>
                <a:lnTo>
                  <a:pt x="2006076" y="3387089"/>
                </a:lnTo>
                <a:lnTo>
                  <a:pt x="0" y="3384000"/>
                </a:lnTo>
                <a:lnTo>
                  <a:pt x="0" y="0"/>
                </a:lnTo>
                <a:close/>
              </a:path>
            </a:pathLst>
          </a:custGeo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44513584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1 line">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49331655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1.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93803539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2.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7" y="288858"/>
            <a:ext cx="10931023" cy="1115742"/>
          </a:xfrm>
          <a:custGeom>
            <a:avLst/>
            <a:gdLst>
              <a:gd name="connsiteX0" fmla="*/ 0 w 10936355"/>
              <a:gd name="connsiteY0" fmla="*/ 0 h 1116000"/>
              <a:gd name="connsiteX1" fmla="*/ 10936355 w 10936355"/>
              <a:gd name="connsiteY1" fmla="*/ 0 h 1116000"/>
              <a:gd name="connsiteX2" fmla="*/ 10936355 w 10936355"/>
              <a:gd name="connsiteY2" fmla="*/ 1116000 h 1116000"/>
              <a:gd name="connsiteX3" fmla="*/ 0 w 10936355"/>
              <a:gd name="connsiteY3" fmla="*/ 1116000 h 1116000"/>
              <a:gd name="connsiteX4" fmla="*/ 0 w 10936355"/>
              <a:gd name="connsiteY4" fmla="*/ 0 h 1116000"/>
              <a:gd name="connsiteX0" fmla="*/ 0 w 10936355"/>
              <a:gd name="connsiteY0" fmla="*/ 0 h 1116000"/>
              <a:gd name="connsiteX1" fmla="*/ 10936355 w 10936355"/>
              <a:gd name="connsiteY1" fmla="*/ 0 h 1116000"/>
              <a:gd name="connsiteX2" fmla="*/ 10936355 w 10936355"/>
              <a:gd name="connsiteY2" fmla="*/ 1116000 h 1116000"/>
              <a:gd name="connsiteX3" fmla="*/ 5793216 w 10936355"/>
              <a:gd name="connsiteY3" fmla="*/ 1113155 h 1116000"/>
              <a:gd name="connsiteX4" fmla="*/ 0 w 10936355"/>
              <a:gd name="connsiteY4" fmla="*/ 1116000 h 1116000"/>
              <a:gd name="connsiteX5" fmla="*/ 0 w 10936355"/>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10936355 w 10936716"/>
              <a:gd name="connsiteY3" fmla="*/ 1116000 h 1116000"/>
              <a:gd name="connsiteX4" fmla="*/ 5793216 w 10936716"/>
              <a:gd name="connsiteY4" fmla="*/ 1113155 h 1116000"/>
              <a:gd name="connsiteX5" fmla="*/ 0 w 10936716"/>
              <a:gd name="connsiteY5" fmla="*/ 1116000 h 1116000"/>
              <a:gd name="connsiteX6" fmla="*/ 0 w 10936716"/>
              <a:gd name="connsiteY6"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1116000">
                <a:moveTo>
                  <a:pt x="0" y="0"/>
                </a:moveTo>
                <a:lnTo>
                  <a:pt x="10936355" y="0"/>
                </a:lnTo>
                <a:cubicBezTo>
                  <a:pt x="10936475" y="226272"/>
                  <a:pt x="10936596" y="452543"/>
                  <a:pt x="10936716" y="678815"/>
                </a:cubicBezTo>
                <a:lnTo>
                  <a:pt x="5793216" y="1113155"/>
                </a:lnTo>
                <a:lnTo>
                  <a:pt x="0" y="1116000"/>
                </a:lnTo>
                <a:lnTo>
                  <a:pt x="0" y="0"/>
                </a:lnTo>
                <a:close/>
              </a:path>
            </a:pathLst>
          </a:custGeom>
        </p:spPr>
        <p:txBody>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98991004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3. Brushing/ image 2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73183823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4.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a:t>CorpoS (Body) 24 pt. (Mark-ups in Bold) </a:t>
            </a:r>
            <a:r>
              <a:rPr lang="en-GB" dirty="0"/>
              <a:t>// for Body text: Home // Paragraph// Increase List Level</a:t>
            </a:r>
          </a:p>
          <a:p>
            <a:pPr lvl="1"/>
            <a:r>
              <a:rPr lang="en-GB" dirty="0"/>
              <a:t>Second level (Body text)</a:t>
            </a:r>
          </a:p>
        </p:txBody>
      </p:sp>
      <p:sp>
        <p:nvSpPr>
          <p:cNvPr id="2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45085400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5. Brushing/ image 3 columns">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3"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a:t>CorpoS (Body) 24 pt. (Mark-ups in Bold) </a:t>
            </a:r>
            <a:r>
              <a:rPr lang="en-GB" dirty="0"/>
              <a:t>// for Body text: Home // Paragraph// Increase List Level</a:t>
            </a:r>
          </a:p>
          <a:p>
            <a:pPr lvl="1"/>
            <a:r>
              <a:rPr lang="en-GB" dirty="0"/>
              <a:t>Second level (Body text)</a:t>
            </a:r>
          </a:p>
          <a:p>
            <a:pPr lvl="2"/>
            <a:r>
              <a:rPr lang="en-GB" dirty="0"/>
              <a:t>Third level</a:t>
            </a:r>
          </a:p>
          <a:p>
            <a:pPr lvl="3"/>
            <a:r>
              <a:rPr lang="en-GB" dirty="0"/>
              <a:t>Fourth level</a:t>
            </a:r>
          </a:p>
          <a:p>
            <a:pPr lvl="4"/>
            <a:r>
              <a:rPr lang="en-GB" dirty="0"/>
              <a:t>Fifth level</a:t>
            </a:r>
          </a:p>
          <a:p>
            <a:pPr lvl="5"/>
            <a:r>
              <a:rPr lang="en-GB" dirty="0"/>
              <a:t>Sixth level</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10879907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Full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49172555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Full image/ 2 columns">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605990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2" name="Picture Placeholder 3"/>
          <p:cNvSpPr>
            <a:spLocks noGrp="1"/>
          </p:cNvSpPr>
          <p:nvPr>
            <p:ph type="pic" sz="quarter" idx="14" hasCustomPrompt="1"/>
          </p:nvPr>
        </p:nvSpPr>
        <p:spPr bwMode="gray">
          <a:xfrm>
            <a:off x="6132096" y="0"/>
            <a:ext cx="605990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410457727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Full image/ 4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3279297"/>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2" name="Picture Placeholder 3"/>
          <p:cNvSpPr>
            <a:spLocks noGrp="1"/>
          </p:cNvSpPr>
          <p:nvPr>
            <p:ph type="pic" sz="quarter" idx="14" hasCustomPrompt="1"/>
          </p:nvPr>
        </p:nvSpPr>
        <p:spPr bwMode="gray">
          <a:xfrm>
            <a:off x="6132096" y="3279297"/>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Picture Placeholder 3"/>
          <p:cNvSpPr>
            <a:spLocks noGrp="1"/>
          </p:cNvSpPr>
          <p:nvPr>
            <p:ph type="pic" sz="quarter" idx="15" hasCustomPrompt="1"/>
          </p:nvPr>
        </p:nvSpPr>
        <p:spPr bwMode="gray">
          <a:xfrm>
            <a:off x="0" y="1"/>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3" name="Picture Placeholder 3"/>
          <p:cNvSpPr>
            <a:spLocks noGrp="1"/>
          </p:cNvSpPr>
          <p:nvPr>
            <p:ph type="pic" sz="quarter" idx="16" hasCustomPrompt="1"/>
          </p:nvPr>
        </p:nvSpPr>
        <p:spPr bwMode="gray">
          <a:xfrm>
            <a:off x="6132096" y="1"/>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426883671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Full image/ 3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6" name="Picture Placeholder 3"/>
          <p:cNvSpPr>
            <a:spLocks noGrp="1"/>
          </p:cNvSpPr>
          <p:nvPr>
            <p:ph type="pic" sz="quarter" idx="14" hasCustomPrompt="1"/>
          </p:nvPr>
        </p:nvSpPr>
        <p:spPr bwMode="gray">
          <a:xfrm>
            <a:off x="3913531" y="0"/>
            <a:ext cx="419992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12055830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1/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4608438"/>
            <a:ext cx="10930832" cy="1538527"/>
          </a:xfrm>
        </p:spPr>
        <p:txBody>
          <a:bodyPr wrap="square" anchor="b" anchorCtr="0">
            <a:spAutoFit/>
          </a:bodyPr>
          <a:lstStyle>
            <a:lvl1pPr>
              <a:defRPr baseline="0"/>
            </a:lvl1pPr>
          </a:lstStyle>
          <a:p>
            <a:r>
              <a:rPr lang="en-GB" dirty="0"/>
              <a:t>Referent’s name: </a:t>
            </a:r>
            <a:r>
              <a:rPr lang="en-GB" noProof="0" dirty="0" err="1"/>
              <a:t>CorpoS</a:t>
            </a:r>
            <a:r>
              <a:rPr lang="en-GB" noProof="0" dirty="0"/>
              <a:t> </a:t>
            </a:r>
            <a:r>
              <a:rPr lang="en-GB" dirty="0"/>
              <a:t>(Body) 35 pt.</a:t>
            </a:r>
            <a:br>
              <a:rPr lang="en-GB" dirty="0"/>
            </a:br>
            <a:r>
              <a:rPr lang="en-GB" dirty="0"/>
              <a:t>Presentation title in two lines or </a:t>
            </a:r>
            <a:br>
              <a:rPr lang="en-GB" dirty="0"/>
            </a:br>
            <a:r>
              <a:rPr lang="en-GB" dirty="0"/>
              <a:t>more lines of text, dd. </a:t>
            </a:r>
            <a:r>
              <a:rPr lang="en-GB" dirty="0" err="1"/>
              <a:t>mmmm</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08121126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3365"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350396554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Full image/ 6 image">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3279297"/>
            <a:ext cx="3841337"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6" name="Picture Placeholder 3"/>
          <p:cNvSpPr>
            <a:spLocks noGrp="1"/>
          </p:cNvSpPr>
          <p:nvPr>
            <p:ph type="pic" sz="quarter" idx="14" hasCustomPrompt="1"/>
          </p:nvPr>
        </p:nvSpPr>
        <p:spPr bwMode="gray">
          <a:xfrm>
            <a:off x="3913531" y="3279297"/>
            <a:ext cx="419992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7" name="Picture Placeholder 3"/>
          <p:cNvSpPr>
            <a:spLocks noGrp="1"/>
          </p:cNvSpPr>
          <p:nvPr>
            <p:ph type="pic" sz="quarter" idx="15" hasCustomPrompt="1"/>
          </p:nvPr>
        </p:nvSpPr>
        <p:spPr bwMode="gray">
          <a:xfrm>
            <a:off x="8185649" y="3279297"/>
            <a:ext cx="4006350"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Picture Placeholder 3"/>
          <p:cNvSpPr>
            <a:spLocks noGrp="1"/>
          </p:cNvSpPr>
          <p:nvPr>
            <p:ph type="pic" sz="quarter" idx="16" hasCustomPrompt="1"/>
          </p:nvPr>
        </p:nvSpPr>
        <p:spPr bwMode="gray">
          <a:xfrm>
            <a:off x="0" y="1"/>
            <a:ext cx="3841337"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9" name="Picture Placeholder 3"/>
          <p:cNvSpPr>
            <a:spLocks noGrp="1"/>
          </p:cNvSpPr>
          <p:nvPr>
            <p:ph type="pic" sz="quarter" idx="17" hasCustomPrompt="1"/>
          </p:nvPr>
        </p:nvSpPr>
        <p:spPr bwMode="gray">
          <a:xfrm>
            <a:off x="8185650" y="1"/>
            <a:ext cx="4006350"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0" name="Picture Placeholder 3"/>
          <p:cNvSpPr>
            <a:spLocks noGrp="1"/>
          </p:cNvSpPr>
          <p:nvPr>
            <p:ph type="pic" sz="quarter" idx="18" hasCustomPrompt="1"/>
          </p:nvPr>
        </p:nvSpPr>
        <p:spPr bwMode="gray">
          <a:xfrm>
            <a:off x="3913531" y="1"/>
            <a:ext cx="419992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59741624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ext/ 3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76954964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3 images/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62723537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Tree>
    <p:extLst>
      <p:ext uri="{BB962C8B-B14F-4D97-AF65-F5344CB8AC3E}">
        <p14:creationId xmlns:p14="http://schemas.microsoft.com/office/powerpoint/2010/main" val="3552948004"/>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ablet/ 4 colum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7"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Tree>
    <p:extLst>
      <p:ext uri="{BB962C8B-B14F-4D97-AF65-F5344CB8AC3E}">
        <p14:creationId xmlns:p14="http://schemas.microsoft.com/office/powerpoint/2010/main" val="94007570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Blank/ Headline 1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419"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628324" y="288858"/>
            <a:ext cx="10932454" cy="1148857"/>
          </a:xfrm>
        </p:spPr>
        <p:txBody>
          <a:bodyPr/>
          <a:lstStyle/>
          <a:p>
            <a:r>
              <a:rPr lang="en-GB" noProof="0" dirty="0"/>
              <a:t>Headline in CorpoS (Body) 35 pt.</a:t>
            </a:r>
            <a:br>
              <a:rPr lang="en-GB" noProof="0" dirty="0"/>
            </a:br>
            <a:r>
              <a:rPr lang="en-GB" noProof="0" dirty="0"/>
              <a:t>in two lines</a:t>
            </a:r>
            <a:endParaRPr lang="en-GB" dirty="0"/>
          </a:p>
        </p:txBody>
      </p:sp>
    </p:spTree>
    <p:extLst>
      <p:ext uri="{BB962C8B-B14F-4D97-AF65-F5344CB8AC3E}">
        <p14:creationId xmlns:p14="http://schemas.microsoft.com/office/powerpoint/2010/main" val="94407688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nk/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3711032663"/>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userDrawn="1">
  <p:cSld name="3. Bürstung/ Bild 2-spaltig">
    <p:bg>
      <p:bgRef idx="1001">
        <a:schemeClr val="bg1"/>
      </p:bgRef>
    </p:bg>
    <p:spTree>
      <p:nvGrpSpPr>
        <p:cNvPr id="1" name=""/>
        <p:cNvGrpSpPr/>
        <p:nvPr/>
      </p:nvGrpSpPr>
      <p:grpSpPr>
        <a:xfrm>
          <a:off x="0" y="0"/>
          <a:ext cx="0" cy="0"/>
          <a:chOff x="0" y="0"/>
          <a:chExt cx="0" cy="0"/>
        </a:xfrm>
      </p:grpSpPr>
      <p:grpSp>
        <p:nvGrpSpPr>
          <p:cNvPr id="24" name="Regieanweisungen"/>
          <p:cNvGrpSpPr/>
          <p:nvPr userDrawn="1"/>
        </p:nvGrpSpPr>
        <p:grpSpPr>
          <a:xfrm>
            <a:off x="-2086913" y="-467892"/>
            <a:ext cx="13647691" cy="7792196"/>
            <a:chOff x="-2088000" y="-468000"/>
            <a:chExt cx="13654799" cy="7794000"/>
          </a:xfrm>
        </p:grpSpPr>
        <p:sp>
          <p:nvSpPr>
            <p:cNvPr id="2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9" name="Listenebenen"/>
              <p:cNvGrpSpPr/>
              <p:nvPr userDrawn="1"/>
            </p:nvGrpSpPr>
            <p:grpSpPr>
              <a:xfrm>
                <a:off x="-1692000" y="2232000"/>
                <a:ext cx="1548000" cy="792000"/>
                <a:chOff x="-1692000" y="2160000"/>
                <a:chExt cx="1548000" cy="792000"/>
              </a:xfrm>
            </p:grpSpPr>
            <p:sp>
              <p:nvSpPr>
                <p:cNvPr id="30"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1"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2"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3"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5"/>
          </p:nvPr>
        </p:nvSpPr>
        <p:spPr/>
        <p:txBody>
          <a:bodyPr/>
          <a:lstStyle/>
          <a:p>
            <a:r>
              <a:rPr lang="en-US">
                <a:solidFill>
                  <a:prstClr val="black"/>
                </a:solidFill>
              </a:rPr>
              <a:t>DFS Capital Market Day</a:t>
            </a:r>
            <a:endParaRPr lang="de-DE" dirty="0">
              <a:solidFill>
                <a:prstClr val="black"/>
              </a:solidFill>
            </a:endParaRPr>
          </a:p>
        </p:txBody>
      </p:sp>
      <p:sp>
        <p:nvSpPr>
          <p:cNvPr id="4" name="Foliennummernplatzhalter 3"/>
          <p:cNvSpPr>
            <a:spLocks noGrp="1"/>
          </p:cNvSpPr>
          <p:nvPr>
            <p:ph type="sldNum" sz="quarter" idx="16"/>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53371960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userDrawn="1">
  <p:cSld name="4. Bürstung/ Bild 2-spaltig">
    <p:bg>
      <p:bgRef idx="1001">
        <a:schemeClr val="bg1"/>
      </p:bgRef>
    </p:bg>
    <p:spTree>
      <p:nvGrpSpPr>
        <p:cNvPr id="1" name=""/>
        <p:cNvGrpSpPr/>
        <p:nvPr/>
      </p:nvGrpSpPr>
      <p:grpSpPr>
        <a:xfrm>
          <a:off x="0" y="0"/>
          <a:ext cx="0" cy="0"/>
          <a:chOff x="0" y="0"/>
          <a:chExt cx="0" cy="0"/>
        </a:xfrm>
      </p:grpSpPr>
      <p:grpSp>
        <p:nvGrpSpPr>
          <p:cNvPr id="27" name="Regieanweisungen"/>
          <p:cNvGrpSpPr/>
          <p:nvPr userDrawn="1"/>
        </p:nvGrpSpPr>
        <p:grpSpPr>
          <a:xfrm>
            <a:off x="-2086913" y="-467892"/>
            <a:ext cx="13647691" cy="7792196"/>
            <a:chOff x="-2088000" y="-468000"/>
            <a:chExt cx="13654799" cy="7794000"/>
          </a:xfrm>
        </p:grpSpPr>
        <p:sp>
          <p:nvSpPr>
            <p:cNvPr id="2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0"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Text oder Inhalt einfügen in </a:t>
            </a:r>
            <a:r>
              <a:rPr lang="de-DE" noProof="0" dirty="0"/>
              <a:t>CorpoS (Body) 24 pt. (Hervorhebungen in fett) </a:t>
            </a:r>
            <a:r>
              <a:rPr lang="de-DE" dirty="0"/>
              <a:t>// für Zusammenfassung oder kurzes Highlight: Start // Absatz // Listenebene erhöhen</a:t>
            </a:r>
          </a:p>
          <a:p>
            <a:pPr lvl="1"/>
            <a:r>
              <a:rPr lang="de-DE" dirty="0"/>
              <a:t>Zweite Ebene</a:t>
            </a:r>
          </a:p>
        </p:txBody>
      </p:sp>
      <p:sp>
        <p:nvSpPr>
          <p:cNvPr id="2" name="Fußzeilenplatzhalter 1"/>
          <p:cNvSpPr>
            <a:spLocks noGrp="1"/>
          </p:cNvSpPr>
          <p:nvPr>
            <p:ph type="ftr" sz="quarter" idx="16"/>
          </p:nvPr>
        </p:nvSpPr>
        <p:spPr/>
        <p:txBody>
          <a:bodyPr/>
          <a:lstStyle/>
          <a:p>
            <a:r>
              <a:rPr lang="en-US">
                <a:solidFill>
                  <a:prstClr val="black"/>
                </a:solidFill>
              </a:rPr>
              <a:t>DFS Capital Market Day</a:t>
            </a:r>
            <a:endParaRPr lang="de-DE" dirty="0">
              <a:solidFill>
                <a:prstClr val="black"/>
              </a:solidFill>
            </a:endParaRPr>
          </a:p>
        </p:txBody>
      </p:sp>
      <p:sp>
        <p:nvSpPr>
          <p:cNvPr id="5" name="Foliennummernplatzhalter 4"/>
          <p:cNvSpPr>
            <a:spLocks noGrp="1"/>
          </p:cNvSpPr>
          <p:nvPr>
            <p:ph type="sldNum" sz="quarter" idx="17"/>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32613676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userDrawn="1">
  <p:cSld name="Text/ Bild/ Ü 1 Zeile ">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2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3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1" name="Hinweise links"/>
            <p:cNvGrpSpPr/>
            <p:nvPr userDrawn="1"/>
          </p:nvGrpSpPr>
          <p:grpSpPr>
            <a:xfrm>
              <a:off x="-2088000" y="0"/>
              <a:ext cx="1980000" cy="3528000"/>
              <a:chOff x="-2088000" y="0"/>
              <a:chExt cx="1980000" cy="3528000"/>
            </a:xfrm>
          </p:grpSpPr>
          <p:sp>
            <p:nvSpPr>
              <p:cNvPr id="3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3" name="Listenebenen"/>
              <p:cNvGrpSpPr/>
              <p:nvPr userDrawn="1"/>
            </p:nvGrpSpPr>
            <p:grpSpPr>
              <a:xfrm>
                <a:off x="-1692000" y="2232000"/>
                <a:ext cx="1548000" cy="792000"/>
                <a:chOff x="-1692000" y="2160000"/>
                <a:chExt cx="1548000" cy="792000"/>
              </a:xfrm>
            </p:grpSpPr>
            <p:sp>
              <p:nvSpPr>
                <p:cNvPr id="3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6"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7"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a:xfrm>
            <a:off x="629671" y="285982"/>
            <a:ext cx="10931106" cy="683842"/>
          </a:xfrm>
        </p:spPr>
        <p:txBody>
          <a:bodyPr/>
          <a:lstStyle/>
          <a:p>
            <a:r>
              <a:rPr lang="de-DE" noProof="0" dirty="0"/>
              <a:t>Headline in CorpoS (Textkörper) 35 pt.</a:t>
            </a:r>
            <a:endParaRPr lang="de-DE" dirty="0"/>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4"/>
          </p:nvPr>
        </p:nvSpPr>
        <p:spPr/>
        <p:txBody>
          <a:bodyPr/>
          <a:lstStyle/>
          <a:p>
            <a:r>
              <a:rPr lang="en-US">
                <a:solidFill>
                  <a:prstClr val="black"/>
                </a:solidFill>
              </a:rPr>
              <a:t>DFS Capital Market Day</a:t>
            </a:r>
            <a:endParaRPr lang="de-DE" dirty="0">
              <a:solidFill>
                <a:prstClr val="black"/>
              </a:solidFill>
            </a:endParaRPr>
          </a:p>
        </p:txBody>
      </p:sp>
      <p:sp>
        <p:nvSpPr>
          <p:cNvPr id="6" name="Foliennummernplatzhalter 5"/>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08743722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Full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37250449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771939" y="6224373"/>
            <a:ext cx="424638" cy="329184"/>
          </a:xfrm>
        </p:spPr>
        <p:txBody>
          <a:bodyPr/>
          <a:lstStyle/>
          <a:p>
            <a:fld id="{96D389FB-5F15-6747-8C7C-A5F122A35A60}" type="slidenum">
              <a:rPr lang="en-US" smtClean="0">
                <a:solidFill>
                  <a:prstClr val="black"/>
                </a:solidFill>
              </a:rPr>
              <a:pPr/>
              <a:t>‹#›</a:t>
            </a:fld>
            <a:endParaRPr lang="en-US">
              <a:solidFill>
                <a:prstClr val="black"/>
              </a:solidFill>
            </a:endParaRPr>
          </a:p>
        </p:txBody>
      </p:sp>
      <p:sp>
        <p:nvSpPr>
          <p:cNvPr id="4" name="Title 3"/>
          <p:cNvSpPr>
            <a:spLocks noGrp="1"/>
          </p:cNvSpPr>
          <p:nvPr>
            <p:ph type="title"/>
          </p:nvPr>
        </p:nvSpPr>
        <p:spPr>
          <a:xfrm>
            <a:off x="838201" y="607274"/>
            <a:ext cx="10515600" cy="523220"/>
          </a:xfrm>
          <a:prstGeom prst="rect">
            <a:avLst/>
          </a:prstGeom>
        </p:spPr>
        <p:txBody>
          <a:bodyPr/>
          <a:lstStyle>
            <a:lvl1pPr algn="ctr">
              <a:defRPr sz="2800" b="0">
                <a:solidFill>
                  <a:srgbClr val="3F98FF"/>
                </a:solidFill>
                <a:latin typeface="Franklin Gothic Book" panose="020B0503020102020204" pitchFamily="34" charset="0"/>
              </a:defRPr>
            </a:lvl1pPr>
          </a:lstStyle>
          <a:p>
            <a:r>
              <a:rPr lang="en-US" dirty="0"/>
              <a:t>Click to edit Master title style</a:t>
            </a:r>
          </a:p>
        </p:txBody>
      </p:sp>
      <p:sp>
        <p:nvSpPr>
          <p:cNvPr id="8" name="Text Placeholder 7"/>
          <p:cNvSpPr>
            <a:spLocks noGrp="1"/>
          </p:cNvSpPr>
          <p:nvPr>
            <p:ph type="body" sz="quarter" idx="13"/>
          </p:nvPr>
        </p:nvSpPr>
        <p:spPr>
          <a:xfrm>
            <a:off x="533401" y="1854200"/>
            <a:ext cx="11070835" cy="4095750"/>
          </a:xfrm>
          <a:prstGeom prst="rect">
            <a:avLst/>
          </a:prstGeom>
        </p:spPr>
        <p:txBody>
          <a:bodyPr/>
          <a:lstStyle>
            <a:lvl1pPr>
              <a:defRPr sz="2399" b="1">
                <a:solidFill>
                  <a:schemeClr val="bg1">
                    <a:lumMod val="50000"/>
                  </a:schemeClr>
                </a:solidFill>
              </a:defRPr>
            </a:lvl1pPr>
            <a:lvl2pPr>
              <a:defRPr sz="1999">
                <a:solidFill>
                  <a:schemeClr val="bg1">
                    <a:lumMod val="50000"/>
                  </a:schemeClr>
                </a:solidFill>
              </a:defRPr>
            </a:lvl2pPr>
            <a:lvl3pPr>
              <a:defRPr sz="1999">
                <a:solidFill>
                  <a:schemeClr val="bg1">
                    <a:lumMod val="50000"/>
                  </a:schemeClr>
                </a:solidFill>
              </a:defRPr>
            </a:lvl3pPr>
            <a:lvl4pPr>
              <a:defRPr sz="1999">
                <a:solidFill>
                  <a:schemeClr val="bg1">
                    <a:lumMod val="50000"/>
                  </a:schemeClr>
                </a:solidFill>
              </a:defRPr>
            </a:lvl4pPr>
            <a:lvl5pPr>
              <a:defRPr sz="1999">
                <a:solidFill>
                  <a:schemeClr val="bg1">
                    <a:lumMod val="5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4"/>
          <p:cNvSpPr>
            <a:spLocks noGrp="1"/>
          </p:cNvSpPr>
          <p:nvPr>
            <p:ph type="body" sz="quarter" idx="14" hasCustomPrompt="1"/>
          </p:nvPr>
        </p:nvSpPr>
        <p:spPr>
          <a:xfrm>
            <a:off x="1896488" y="1215031"/>
            <a:ext cx="8460827" cy="400110"/>
          </a:xfrm>
          <a:prstGeom prst="rect">
            <a:avLst/>
          </a:prstGeom>
        </p:spPr>
        <p:txBody>
          <a:bodyPr/>
          <a:lstStyle>
            <a:lvl1pPr marL="0" indent="0" algn="ctr">
              <a:buNone/>
              <a:defRPr sz="1999" baseline="0">
                <a:solidFill>
                  <a:schemeClr val="bg1">
                    <a:lumMod val="50000"/>
                  </a:schemeClr>
                </a:solidFill>
              </a:defRPr>
            </a:lvl1pPr>
          </a:lstStyle>
          <a:p>
            <a:pPr algn="ctr"/>
            <a:r>
              <a:rPr lang="en-US" sz="1999" dirty="0">
                <a:solidFill>
                  <a:schemeClr val="tx1">
                    <a:lumMod val="50000"/>
                    <a:lumOff val="50000"/>
                  </a:schemeClr>
                </a:solidFill>
                <a:latin typeface="Calibri" charset="0"/>
                <a:ea typeface="Calibri" charset="0"/>
                <a:cs typeface="Calibri" charset="0"/>
              </a:rPr>
              <a:t>Click to edit Master subtitle style</a:t>
            </a:r>
          </a:p>
        </p:txBody>
      </p:sp>
    </p:spTree>
    <p:extLst>
      <p:ext uri="{BB962C8B-B14F-4D97-AF65-F5344CB8AC3E}">
        <p14:creationId xmlns:p14="http://schemas.microsoft.com/office/powerpoint/2010/main" val="40070890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Headline // Blank">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5046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2140349241"/>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1.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en-GB" dirty="0"/>
              <a:t>Referent’s name: </a:t>
            </a:r>
            <a:r>
              <a:rPr lang="en-GB" noProof="0" dirty="0"/>
              <a:t>CorpoS </a:t>
            </a:r>
            <a:r>
              <a:rPr lang="en-GB" dirty="0"/>
              <a:t>(Body) 35 pt. Presentation title</a:t>
            </a:r>
            <a:br>
              <a:rPr lang="en-GB" dirty="0"/>
            </a:br>
            <a:r>
              <a:rPr lang="en-GB" dirty="0"/>
              <a:t>in two lines of text, dd. </a:t>
            </a:r>
            <a:r>
              <a:rPr lang="en-GB" dirty="0" err="1"/>
              <a:t>mmmm</a:t>
            </a:r>
            <a:r>
              <a:rPr lang="en-GB" dirty="0"/>
              <a:t> </a:t>
            </a:r>
            <a:r>
              <a:rPr lang="en-GB" dirty="0" err="1"/>
              <a:t>yyyy</a:t>
            </a:r>
            <a:endParaRPr lang="en-GB"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2760649208"/>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2.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a:lvl1pPr>
          </a:lstStyle>
          <a:p>
            <a:r>
              <a:rPr lang="en-GB" dirty="0"/>
              <a:t>Referent’s name: </a:t>
            </a:r>
            <a:r>
              <a:rPr lang="en-GB" noProof="0" dirty="0"/>
              <a:t>CorpoS </a:t>
            </a:r>
            <a:r>
              <a:rPr lang="en-GB" dirty="0"/>
              <a:t>(Body) 35 pt. Presentation title</a:t>
            </a:r>
            <a:br>
              <a:rPr lang="en-GB" dirty="0"/>
            </a:br>
            <a:r>
              <a:rPr lang="en-GB" dirty="0"/>
              <a:t>in two or more lines of text, dd. </a:t>
            </a:r>
            <a:r>
              <a:rPr lang="en-GB" dirty="0" err="1"/>
              <a:t>mmmm</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401165918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241635867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514"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4" name="Listenebene erhöhen"/>
                <p:cNvPicPr>
                  <a:picLocks noChangeAspect="1"/>
                </p:cNvPicPr>
                <p:nvPr userDrawn="1"/>
              </p:nvPicPr>
              <p:blipFill>
                <a:blip r:embed="rId7"/>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8"/>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4433"/>
            <a:ext cx="7232233" cy="648964"/>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en-GB" dirty="0"/>
              <a:t>Headline for presentation</a:t>
            </a:r>
          </a:p>
        </p:txBody>
      </p:sp>
      <p:pic>
        <p:nvPicPr>
          <p:cNvPr id="30" name="Wortmarke DAIMLER" descr="Daimler_RGB_100mm.png"/>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341201868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Section chart">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1" y="0"/>
            <a:ext cx="12190451" cy="6487838"/>
          </a:xfrm>
          <a:prstGeom prst="rect">
            <a:avLst/>
          </a:prstGeom>
        </p:spPr>
      </p:pic>
      <p:sp>
        <p:nvSpPr>
          <p:cNvPr id="3" name="Title 2"/>
          <p:cNvSpPr>
            <a:spLocks noGrp="1"/>
          </p:cNvSpPr>
          <p:nvPr>
            <p:ph type="title" hasCustomPrompt="1"/>
          </p:nvPr>
        </p:nvSpPr>
        <p:spPr>
          <a:xfrm>
            <a:off x="628323" y="288859"/>
            <a:ext cx="10932455" cy="1025684"/>
          </a:xfrm>
        </p:spPr>
        <p:txBody>
          <a:bodyPr wrap="square">
            <a:spAutoFit/>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43829464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Text/ image brushing">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1"/>
            <a:ext cx="12190451" cy="6487839"/>
          </a:xfrm>
          <a:prstGeom prst="rect">
            <a:avLst/>
          </a:prstGeom>
        </p:spPr>
      </p:pic>
      <p:sp>
        <p:nvSpPr>
          <p:cNvPr id="3" name="Title 2"/>
          <p:cNvSpPr>
            <a:spLocks noGrp="1"/>
          </p:cNvSpPr>
          <p:nvPr>
            <p:ph type="title" hasCustomPrompt="1"/>
          </p:nvPr>
        </p:nvSpPr>
        <p:spPr>
          <a:xfrm>
            <a:off x="630116" y="288857"/>
            <a:ext cx="10930662" cy="1151733"/>
          </a:xfrm>
          <a:custGeom>
            <a:avLst/>
            <a:gdLst>
              <a:gd name="connsiteX0" fmla="*/ 0 w 10936355"/>
              <a:gd name="connsiteY0" fmla="*/ 0 h 1152000"/>
              <a:gd name="connsiteX1" fmla="*/ 10936355 w 10936355"/>
              <a:gd name="connsiteY1" fmla="*/ 0 h 1152000"/>
              <a:gd name="connsiteX2" fmla="*/ 10936355 w 10936355"/>
              <a:gd name="connsiteY2" fmla="*/ 1152000 h 1152000"/>
              <a:gd name="connsiteX3" fmla="*/ 0 w 10936355"/>
              <a:gd name="connsiteY3" fmla="*/ 1152000 h 1152000"/>
              <a:gd name="connsiteX4" fmla="*/ 0 w 10936355"/>
              <a:gd name="connsiteY4"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4948164 w 10936355"/>
              <a:gd name="connsiteY4" fmla="*/ 1147990 h 1152000"/>
              <a:gd name="connsiteX5" fmla="*/ 0 w 10936355"/>
              <a:gd name="connsiteY5" fmla="*/ 1152000 h 1152000"/>
              <a:gd name="connsiteX6" fmla="*/ 0 w 10936355"/>
              <a:gd name="connsiteY6"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355" h="1152000">
                <a:moveTo>
                  <a:pt x="0" y="0"/>
                </a:moveTo>
                <a:lnTo>
                  <a:pt x="10936355" y="0"/>
                </a:lnTo>
                <a:cubicBezTo>
                  <a:pt x="10935205" y="231775"/>
                  <a:pt x="10934056" y="463551"/>
                  <a:pt x="10932906" y="695326"/>
                </a:cubicBezTo>
                <a:lnTo>
                  <a:pt x="4948164" y="1147990"/>
                </a:lnTo>
                <a:lnTo>
                  <a:pt x="0" y="1152000"/>
                </a:lnTo>
                <a:lnTo>
                  <a:pt x="0" y="0"/>
                </a:lnTo>
                <a:close/>
              </a:path>
            </a:pathLst>
          </a:custGeom>
        </p:spPr>
        <p:txBody>
          <a:bodyPr/>
          <a:lstStyle>
            <a:lvl1pPr>
              <a:defRPr baseline="0">
                <a:solidFill>
                  <a:schemeClr val="bg1"/>
                </a:solidFill>
              </a:defRPr>
            </a:lvl1pPr>
          </a:lstStyle>
          <a:p>
            <a:r>
              <a:rPr lang="en-GB" dirty="0"/>
              <a:t>Image-chart, Headline </a:t>
            </a:r>
            <a:r>
              <a:rPr lang="en-GB" noProof="0" dirty="0"/>
              <a:t>CorpoS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79614968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Agenda with brushin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 name="Title 1"/>
          <p:cNvSpPr>
            <a:spLocks noGrp="1"/>
          </p:cNvSpPr>
          <p:nvPr>
            <p:ph type="title" hasCustomPrompt="1"/>
          </p:nvPr>
        </p:nvSpPr>
        <p:spPr>
          <a:xfrm>
            <a:off x="628323" y="288859"/>
            <a:ext cx="10932455" cy="1148857"/>
          </a:xfrm>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7" y="1504603"/>
            <a:ext cx="10931023" cy="3386305"/>
          </a:xfrm>
          <a:custGeom>
            <a:avLst/>
            <a:gdLst>
              <a:gd name="connsiteX0" fmla="*/ 0 w 10936081"/>
              <a:gd name="connsiteY0" fmla="*/ 0 h 3384000"/>
              <a:gd name="connsiteX1" fmla="*/ 10936081 w 10936081"/>
              <a:gd name="connsiteY1" fmla="*/ 0 h 3384000"/>
              <a:gd name="connsiteX2" fmla="*/ 10936081 w 10936081"/>
              <a:gd name="connsiteY2" fmla="*/ 3384000 h 3384000"/>
              <a:gd name="connsiteX3" fmla="*/ 0 w 10936081"/>
              <a:gd name="connsiteY3" fmla="*/ 3384000 h 3384000"/>
              <a:gd name="connsiteX4" fmla="*/ 0 w 10936081"/>
              <a:gd name="connsiteY4" fmla="*/ 0 h 3384000"/>
              <a:gd name="connsiteX0" fmla="*/ 0 w 10936081"/>
              <a:gd name="connsiteY0" fmla="*/ 0 h 3387089"/>
              <a:gd name="connsiteX1" fmla="*/ 10936081 w 10936081"/>
              <a:gd name="connsiteY1" fmla="*/ 0 h 3387089"/>
              <a:gd name="connsiteX2" fmla="*/ 10936081 w 10936081"/>
              <a:gd name="connsiteY2" fmla="*/ 3384000 h 3387089"/>
              <a:gd name="connsiteX3" fmla="*/ 2006076 w 10936081"/>
              <a:gd name="connsiteY3" fmla="*/ 3387089 h 3387089"/>
              <a:gd name="connsiteX4" fmla="*/ 0 w 10936081"/>
              <a:gd name="connsiteY4" fmla="*/ 3384000 h 3387089"/>
              <a:gd name="connsiteX5" fmla="*/ 0 w 10936081"/>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10936081 w 10936716"/>
              <a:gd name="connsiteY3" fmla="*/ 3384000 h 3387089"/>
              <a:gd name="connsiteX4" fmla="*/ 2006076 w 10936716"/>
              <a:gd name="connsiteY4" fmla="*/ 3387089 h 3387089"/>
              <a:gd name="connsiteX5" fmla="*/ 0 w 10936716"/>
              <a:gd name="connsiteY5" fmla="*/ 3384000 h 3387089"/>
              <a:gd name="connsiteX6" fmla="*/ 0 w 10936716"/>
              <a:gd name="connsiteY6"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3387089">
                <a:moveTo>
                  <a:pt x="0" y="0"/>
                </a:moveTo>
                <a:lnTo>
                  <a:pt x="10936081" y="0"/>
                </a:lnTo>
                <a:cubicBezTo>
                  <a:pt x="10936293" y="852170"/>
                  <a:pt x="10936504" y="1704339"/>
                  <a:pt x="10936716" y="2556509"/>
                </a:cubicBezTo>
                <a:lnTo>
                  <a:pt x="2006076" y="3387089"/>
                </a:lnTo>
                <a:lnTo>
                  <a:pt x="0" y="3384000"/>
                </a:lnTo>
                <a:lnTo>
                  <a:pt x="0" y="0"/>
                </a:lnTo>
                <a:close/>
              </a:path>
            </a:pathLst>
          </a:custGeo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46480883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53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296035026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358383234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425952832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2 lines">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a:t>
            </a:r>
            <a:r>
              <a:rPr lang="en-GB" noProof="0" dirty="0"/>
              <a:t> 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90412225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ext/ content/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74386850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1 line">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419144368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1.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98240380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2.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7" y="288858"/>
            <a:ext cx="10931023" cy="1115742"/>
          </a:xfrm>
          <a:custGeom>
            <a:avLst/>
            <a:gdLst>
              <a:gd name="connsiteX0" fmla="*/ 0 w 10936355"/>
              <a:gd name="connsiteY0" fmla="*/ 0 h 1116000"/>
              <a:gd name="connsiteX1" fmla="*/ 10936355 w 10936355"/>
              <a:gd name="connsiteY1" fmla="*/ 0 h 1116000"/>
              <a:gd name="connsiteX2" fmla="*/ 10936355 w 10936355"/>
              <a:gd name="connsiteY2" fmla="*/ 1116000 h 1116000"/>
              <a:gd name="connsiteX3" fmla="*/ 0 w 10936355"/>
              <a:gd name="connsiteY3" fmla="*/ 1116000 h 1116000"/>
              <a:gd name="connsiteX4" fmla="*/ 0 w 10936355"/>
              <a:gd name="connsiteY4" fmla="*/ 0 h 1116000"/>
              <a:gd name="connsiteX0" fmla="*/ 0 w 10936355"/>
              <a:gd name="connsiteY0" fmla="*/ 0 h 1116000"/>
              <a:gd name="connsiteX1" fmla="*/ 10936355 w 10936355"/>
              <a:gd name="connsiteY1" fmla="*/ 0 h 1116000"/>
              <a:gd name="connsiteX2" fmla="*/ 10936355 w 10936355"/>
              <a:gd name="connsiteY2" fmla="*/ 1116000 h 1116000"/>
              <a:gd name="connsiteX3" fmla="*/ 5793216 w 10936355"/>
              <a:gd name="connsiteY3" fmla="*/ 1113155 h 1116000"/>
              <a:gd name="connsiteX4" fmla="*/ 0 w 10936355"/>
              <a:gd name="connsiteY4" fmla="*/ 1116000 h 1116000"/>
              <a:gd name="connsiteX5" fmla="*/ 0 w 10936355"/>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10936355 w 10936716"/>
              <a:gd name="connsiteY3" fmla="*/ 1116000 h 1116000"/>
              <a:gd name="connsiteX4" fmla="*/ 5793216 w 10936716"/>
              <a:gd name="connsiteY4" fmla="*/ 1113155 h 1116000"/>
              <a:gd name="connsiteX5" fmla="*/ 0 w 10936716"/>
              <a:gd name="connsiteY5" fmla="*/ 1116000 h 1116000"/>
              <a:gd name="connsiteX6" fmla="*/ 0 w 10936716"/>
              <a:gd name="connsiteY6"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1116000">
                <a:moveTo>
                  <a:pt x="0" y="0"/>
                </a:moveTo>
                <a:lnTo>
                  <a:pt x="10936355" y="0"/>
                </a:lnTo>
                <a:cubicBezTo>
                  <a:pt x="10936475" y="226272"/>
                  <a:pt x="10936596" y="452543"/>
                  <a:pt x="10936716" y="678815"/>
                </a:cubicBezTo>
                <a:lnTo>
                  <a:pt x="5793216" y="1113155"/>
                </a:lnTo>
                <a:lnTo>
                  <a:pt x="0" y="1116000"/>
                </a:lnTo>
                <a:lnTo>
                  <a:pt x="0" y="0"/>
                </a:lnTo>
                <a:close/>
              </a:path>
            </a:pathLst>
          </a:custGeom>
        </p:spPr>
        <p:txBody>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02950377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3. Brushing/ image 2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81578335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4.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a:t>CorpoS (Body) 24 pt. (Mark-ups in Bold) </a:t>
            </a:r>
            <a:r>
              <a:rPr lang="en-GB" dirty="0"/>
              <a:t>// for Body text: Home // Paragraph// Increase List Level</a:t>
            </a:r>
          </a:p>
          <a:p>
            <a:pPr lvl="1"/>
            <a:r>
              <a:rPr lang="en-GB" dirty="0"/>
              <a:t>Second level (Body text)</a:t>
            </a:r>
          </a:p>
        </p:txBody>
      </p:sp>
      <p:sp>
        <p:nvSpPr>
          <p:cNvPr id="2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77011367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5. Brushing/ image 3 columns">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3"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a:t>CorpoS (Body) 24 pt. (Mark-ups in Bold) </a:t>
            </a:r>
            <a:r>
              <a:rPr lang="en-GB" dirty="0"/>
              <a:t>// for Body text: Home // Paragraph// Increase List Level</a:t>
            </a:r>
          </a:p>
          <a:p>
            <a:pPr lvl="1"/>
            <a:r>
              <a:rPr lang="en-GB" dirty="0"/>
              <a:t>Second level (Body text)</a:t>
            </a:r>
          </a:p>
          <a:p>
            <a:pPr lvl="2"/>
            <a:r>
              <a:rPr lang="en-GB" dirty="0"/>
              <a:t>Third level</a:t>
            </a:r>
          </a:p>
          <a:p>
            <a:pPr lvl="3"/>
            <a:r>
              <a:rPr lang="en-GB" dirty="0"/>
              <a:t>Fourth level</a:t>
            </a:r>
          </a:p>
          <a:p>
            <a:pPr lvl="4"/>
            <a:r>
              <a:rPr lang="en-GB" dirty="0"/>
              <a:t>Fifth level</a:t>
            </a:r>
          </a:p>
          <a:p>
            <a:pPr lvl="5"/>
            <a:r>
              <a:rPr lang="en-GB" dirty="0"/>
              <a:t>Sixth level</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3588676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Full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51420864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2_Text/ image/ Headline 1 lin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438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78" y="285982"/>
            <a:ext cx="10931106" cy="683842"/>
          </a:xfrm>
        </p:spPr>
        <p:txBody>
          <a:bodyPr/>
          <a:lstStyle/>
          <a:p>
            <a:r>
              <a:rPr lang="en-US" noProof="0" dirty="0"/>
              <a:t>Headline in </a:t>
            </a:r>
            <a:r>
              <a:rPr lang="en-US" noProof="0" dirty="0" err="1"/>
              <a:t>CorpoS</a:t>
            </a:r>
            <a:r>
              <a:rPr lang="en-US" noProof="0" dirty="0"/>
              <a:t> (Body) 35 pt.</a:t>
            </a:r>
            <a:endParaRPr lang="en-US" dirty="0"/>
          </a:p>
        </p:txBody>
      </p:sp>
      <p:sp>
        <p:nvSpPr>
          <p:cNvPr id="3" name="Footer Placeholder 2"/>
          <p:cNvSpPr>
            <a:spLocks noGrp="1"/>
          </p:cNvSpPr>
          <p:nvPr>
            <p:ph type="ftr" sz="quarter" idx="10"/>
          </p:nvPr>
        </p:nvSpPr>
        <p:spPr/>
        <p:txBody>
          <a:bodyPr/>
          <a:lstStyle/>
          <a:p>
            <a:r>
              <a:rPr lang="en-US" dirty="0">
                <a:solidFill>
                  <a:prstClr val="black"/>
                </a:solidFill>
              </a:rPr>
              <a:t>DFS BoM Meeting | January 2017 | </a:t>
            </a:r>
          </a:p>
        </p:txBody>
      </p:sp>
      <p:sp>
        <p:nvSpPr>
          <p:cNvPr id="4" name="Slide Number Placeholder 3"/>
          <p:cNvSpPr>
            <a:spLocks noGrp="1"/>
          </p:cNvSpPr>
          <p:nvPr>
            <p:ph type="sldNum" sz="quarter" idx="11"/>
          </p:nvPr>
        </p:nvSpPr>
        <p:spPr/>
        <p:txBody>
          <a:bodyPr/>
          <a:lstStyle/>
          <a:p>
            <a:r>
              <a:rPr lang="en-US" dirty="0">
                <a:solidFill>
                  <a:prstClr val="black"/>
                </a:solidFill>
              </a:rPr>
              <a:t>Page </a:t>
            </a:r>
            <a:fld id="{52531704-8F80-415D-BD2B-6B9991AE822F}" type="slidenum">
              <a:rPr lang="en-US" smtClean="0">
                <a:solidFill>
                  <a:prstClr val="black"/>
                </a:solidFill>
              </a:rPr>
              <a:pPr/>
              <a:t>‹#›</a:t>
            </a:fld>
            <a:endParaRPr lang="en-US" dirty="0">
              <a:solidFill>
                <a:prstClr val="black"/>
              </a:solidFill>
            </a:endParaRPr>
          </a:p>
        </p:txBody>
      </p:sp>
      <p:sp>
        <p:nvSpPr>
          <p:cNvPr id="17"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7417">
              <a:defRPr/>
            </a:pPr>
            <a:r>
              <a:rPr lang="en-US" sz="1199" dirty="0">
                <a:solidFill>
                  <a:prstClr val="black"/>
                </a:solidFill>
                <a:cs typeface="Daimler CS"/>
              </a:rPr>
              <a:t>Daimler Mobility Services GmbH</a:t>
            </a:r>
          </a:p>
        </p:txBody>
      </p:sp>
      <p:cxnSp>
        <p:nvCxnSpPr>
          <p:cNvPr id="16"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Tree>
    <p:extLst>
      <p:ext uri="{BB962C8B-B14F-4D97-AF65-F5344CB8AC3E}">
        <p14:creationId xmlns:p14="http://schemas.microsoft.com/office/powerpoint/2010/main" val="70913999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Full image/ 2 columns">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605990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2" name="Picture Placeholder 3"/>
          <p:cNvSpPr>
            <a:spLocks noGrp="1"/>
          </p:cNvSpPr>
          <p:nvPr>
            <p:ph type="pic" sz="quarter" idx="14" hasCustomPrompt="1"/>
          </p:nvPr>
        </p:nvSpPr>
        <p:spPr bwMode="gray">
          <a:xfrm>
            <a:off x="6132096" y="0"/>
            <a:ext cx="605990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62258670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Full image/ 4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3279297"/>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2" name="Picture Placeholder 3"/>
          <p:cNvSpPr>
            <a:spLocks noGrp="1"/>
          </p:cNvSpPr>
          <p:nvPr>
            <p:ph type="pic" sz="quarter" idx="14" hasCustomPrompt="1"/>
          </p:nvPr>
        </p:nvSpPr>
        <p:spPr bwMode="gray">
          <a:xfrm>
            <a:off x="6132096" y="3279297"/>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Picture Placeholder 3"/>
          <p:cNvSpPr>
            <a:spLocks noGrp="1"/>
          </p:cNvSpPr>
          <p:nvPr>
            <p:ph type="pic" sz="quarter" idx="15" hasCustomPrompt="1"/>
          </p:nvPr>
        </p:nvSpPr>
        <p:spPr bwMode="gray">
          <a:xfrm>
            <a:off x="0" y="1"/>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3" name="Picture Placeholder 3"/>
          <p:cNvSpPr>
            <a:spLocks noGrp="1"/>
          </p:cNvSpPr>
          <p:nvPr>
            <p:ph type="pic" sz="quarter" idx="16" hasCustomPrompt="1"/>
          </p:nvPr>
        </p:nvSpPr>
        <p:spPr bwMode="gray">
          <a:xfrm>
            <a:off x="6132096" y="1"/>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57731632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Full image/ 3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6" name="Picture Placeholder 3"/>
          <p:cNvSpPr>
            <a:spLocks noGrp="1"/>
          </p:cNvSpPr>
          <p:nvPr>
            <p:ph type="pic" sz="quarter" idx="14" hasCustomPrompt="1"/>
          </p:nvPr>
        </p:nvSpPr>
        <p:spPr bwMode="gray">
          <a:xfrm>
            <a:off x="3913531" y="0"/>
            <a:ext cx="419992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07446193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Full image/ 6 image">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3279297"/>
            <a:ext cx="3841337"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6" name="Picture Placeholder 3"/>
          <p:cNvSpPr>
            <a:spLocks noGrp="1"/>
          </p:cNvSpPr>
          <p:nvPr>
            <p:ph type="pic" sz="quarter" idx="14" hasCustomPrompt="1"/>
          </p:nvPr>
        </p:nvSpPr>
        <p:spPr bwMode="gray">
          <a:xfrm>
            <a:off x="3913531" y="3279297"/>
            <a:ext cx="419992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7" name="Picture Placeholder 3"/>
          <p:cNvSpPr>
            <a:spLocks noGrp="1"/>
          </p:cNvSpPr>
          <p:nvPr>
            <p:ph type="pic" sz="quarter" idx="15" hasCustomPrompt="1"/>
          </p:nvPr>
        </p:nvSpPr>
        <p:spPr bwMode="gray">
          <a:xfrm>
            <a:off x="8185649" y="3279297"/>
            <a:ext cx="4006350"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Picture Placeholder 3"/>
          <p:cNvSpPr>
            <a:spLocks noGrp="1"/>
          </p:cNvSpPr>
          <p:nvPr>
            <p:ph type="pic" sz="quarter" idx="16" hasCustomPrompt="1"/>
          </p:nvPr>
        </p:nvSpPr>
        <p:spPr bwMode="gray">
          <a:xfrm>
            <a:off x="0" y="1"/>
            <a:ext cx="3841337"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9" name="Picture Placeholder 3"/>
          <p:cNvSpPr>
            <a:spLocks noGrp="1"/>
          </p:cNvSpPr>
          <p:nvPr>
            <p:ph type="pic" sz="quarter" idx="17" hasCustomPrompt="1"/>
          </p:nvPr>
        </p:nvSpPr>
        <p:spPr bwMode="gray">
          <a:xfrm>
            <a:off x="8185650" y="1"/>
            <a:ext cx="4006350"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0" name="Picture Placeholder 3"/>
          <p:cNvSpPr>
            <a:spLocks noGrp="1"/>
          </p:cNvSpPr>
          <p:nvPr>
            <p:ph type="pic" sz="quarter" idx="18" hasCustomPrompt="1"/>
          </p:nvPr>
        </p:nvSpPr>
        <p:spPr bwMode="gray">
          <a:xfrm>
            <a:off x="3913531" y="1"/>
            <a:ext cx="419992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404204997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ext/ 3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71565492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ext/ 3 images/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289128515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Tree>
    <p:extLst>
      <p:ext uri="{BB962C8B-B14F-4D97-AF65-F5344CB8AC3E}">
        <p14:creationId xmlns:p14="http://schemas.microsoft.com/office/powerpoint/2010/main" val="740811158"/>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ablet/ 4 colum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7"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Tree>
    <p:extLst>
      <p:ext uri="{BB962C8B-B14F-4D97-AF65-F5344CB8AC3E}">
        <p14:creationId xmlns:p14="http://schemas.microsoft.com/office/powerpoint/2010/main" val="370618851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Blank/ Headline 1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56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628324" y="288858"/>
            <a:ext cx="10932454" cy="1148857"/>
          </a:xfrm>
        </p:spPr>
        <p:txBody>
          <a:bodyPr/>
          <a:lstStyle/>
          <a:p>
            <a:r>
              <a:rPr lang="en-GB" noProof="0" dirty="0"/>
              <a:t>Headline in CorpoS (Body) 35 pt.</a:t>
            </a:r>
            <a:br>
              <a:rPr lang="en-GB" noProof="0" dirty="0"/>
            </a:br>
            <a:r>
              <a:rPr lang="en-GB" noProof="0" dirty="0"/>
              <a:t>in two lines</a:t>
            </a:r>
            <a:endParaRPr lang="en-GB" dirty="0"/>
          </a:p>
        </p:txBody>
      </p:sp>
    </p:spTree>
    <p:extLst>
      <p:ext uri="{BB962C8B-B14F-4D97-AF65-F5344CB8AC3E}">
        <p14:creationId xmlns:p14="http://schemas.microsoft.com/office/powerpoint/2010/main" val="405123156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2880409666"/>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daimler blanco">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541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75"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MS footprint | </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7" name="Daimler AG (Wortmarke)"/>
          <p:cNvSpPr>
            <a:spLocks noChangeArrowheads="1"/>
          </p:cNvSpPr>
          <p:nvPr userDrawn="1"/>
        </p:nvSpPr>
        <p:spPr bwMode="auto">
          <a:xfrm>
            <a:off x="629674" y="6564883"/>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7490">
              <a:defRPr/>
            </a:pPr>
            <a:r>
              <a:rPr lang="de-DE" sz="1199" dirty="0">
                <a:solidFill>
                  <a:prstClr val="black"/>
                </a:solidFill>
                <a:cs typeface="Daimler CS"/>
              </a:rPr>
              <a:t>Daimler Mobility Services GmbH</a:t>
            </a:r>
          </a:p>
        </p:txBody>
      </p:sp>
      <p:cxnSp>
        <p:nvCxnSpPr>
          <p:cNvPr id="16" name="Footerline"/>
          <p:cNvCxnSpPr/>
          <p:nvPr userDrawn="1"/>
        </p:nvCxnSpPr>
        <p:spPr bwMode="auto">
          <a:xfrm>
            <a:off x="629674"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Tree>
    <p:extLst>
      <p:ext uri="{BB962C8B-B14F-4D97-AF65-F5344CB8AC3E}">
        <p14:creationId xmlns:p14="http://schemas.microsoft.com/office/powerpoint/2010/main" val="275392218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66">
          <p15:clr>
            <a:srgbClr val="FBAE40"/>
          </p15:clr>
        </p15:guide>
        <p15:guide id="3" orient="horz" pos="754">
          <p15:clr>
            <a:srgbClr val="FBAE40"/>
          </p15:clr>
        </p15:guide>
        <p15:guide id="4" orient="horz" pos="845">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userDrawn="1">
  <p:cSld name="3. Bürstung/ Bild 2-spaltig">
    <p:bg>
      <p:bgRef idx="1001">
        <a:schemeClr val="bg1"/>
      </p:bgRef>
    </p:bg>
    <p:spTree>
      <p:nvGrpSpPr>
        <p:cNvPr id="1" name=""/>
        <p:cNvGrpSpPr/>
        <p:nvPr/>
      </p:nvGrpSpPr>
      <p:grpSpPr>
        <a:xfrm>
          <a:off x="0" y="0"/>
          <a:ext cx="0" cy="0"/>
          <a:chOff x="0" y="0"/>
          <a:chExt cx="0" cy="0"/>
        </a:xfrm>
      </p:grpSpPr>
      <p:grpSp>
        <p:nvGrpSpPr>
          <p:cNvPr id="24" name="Regieanweisungen"/>
          <p:cNvGrpSpPr/>
          <p:nvPr userDrawn="1"/>
        </p:nvGrpSpPr>
        <p:grpSpPr>
          <a:xfrm>
            <a:off x="-2086913" y="-467892"/>
            <a:ext cx="13647691" cy="7792196"/>
            <a:chOff x="-2088000" y="-468000"/>
            <a:chExt cx="13654799" cy="7794000"/>
          </a:xfrm>
        </p:grpSpPr>
        <p:sp>
          <p:nvSpPr>
            <p:cNvPr id="2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9" name="Listenebenen"/>
              <p:cNvGrpSpPr/>
              <p:nvPr userDrawn="1"/>
            </p:nvGrpSpPr>
            <p:grpSpPr>
              <a:xfrm>
                <a:off x="-1692000" y="2232000"/>
                <a:ext cx="1548000" cy="792000"/>
                <a:chOff x="-1692000" y="2160000"/>
                <a:chExt cx="1548000" cy="792000"/>
              </a:xfrm>
            </p:grpSpPr>
            <p:sp>
              <p:nvSpPr>
                <p:cNvPr id="30"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1"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2"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3"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5"/>
          </p:nvPr>
        </p:nvSpPr>
        <p:spPr/>
        <p:txBody>
          <a:bodyPr/>
          <a:lstStyle/>
          <a:p>
            <a:r>
              <a:rPr lang="en-US">
                <a:solidFill>
                  <a:prstClr val="black"/>
                </a:solidFill>
              </a:rPr>
              <a:t>DFS Capital Market Day</a:t>
            </a:r>
            <a:endParaRPr lang="de-DE" dirty="0">
              <a:solidFill>
                <a:prstClr val="black"/>
              </a:solidFill>
            </a:endParaRPr>
          </a:p>
        </p:txBody>
      </p:sp>
      <p:sp>
        <p:nvSpPr>
          <p:cNvPr id="4" name="Foliennummernplatzhalter 3"/>
          <p:cNvSpPr>
            <a:spLocks noGrp="1"/>
          </p:cNvSpPr>
          <p:nvPr>
            <p:ph type="sldNum" sz="quarter" idx="16"/>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90702936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userDrawn="1">
  <p:cSld name="4. Bürstung/ Bild 2-spaltig">
    <p:bg>
      <p:bgRef idx="1001">
        <a:schemeClr val="bg1"/>
      </p:bgRef>
    </p:bg>
    <p:spTree>
      <p:nvGrpSpPr>
        <p:cNvPr id="1" name=""/>
        <p:cNvGrpSpPr/>
        <p:nvPr/>
      </p:nvGrpSpPr>
      <p:grpSpPr>
        <a:xfrm>
          <a:off x="0" y="0"/>
          <a:ext cx="0" cy="0"/>
          <a:chOff x="0" y="0"/>
          <a:chExt cx="0" cy="0"/>
        </a:xfrm>
      </p:grpSpPr>
      <p:grpSp>
        <p:nvGrpSpPr>
          <p:cNvPr id="27" name="Regieanweisungen"/>
          <p:cNvGrpSpPr/>
          <p:nvPr userDrawn="1"/>
        </p:nvGrpSpPr>
        <p:grpSpPr>
          <a:xfrm>
            <a:off x="-2086913" y="-467892"/>
            <a:ext cx="13647691" cy="7792196"/>
            <a:chOff x="-2088000" y="-468000"/>
            <a:chExt cx="13654799" cy="7794000"/>
          </a:xfrm>
        </p:grpSpPr>
        <p:sp>
          <p:nvSpPr>
            <p:cNvPr id="2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0"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Text oder Inhalt einfügen in </a:t>
            </a:r>
            <a:r>
              <a:rPr lang="de-DE" noProof="0" dirty="0"/>
              <a:t>CorpoS (Body) 24 pt. (Hervorhebungen in fett) </a:t>
            </a:r>
            <a:r>
              <a:rPr lang="de-DE" dirty="0"/>
              <a:t>// für Zusammenfassung oder kurzes Highlight: Start // Absatz // Listenebene erhöhen</a:t>
            </a:r>
          </a:p>
          <a:p>
            <a:pPr lvl="1"/>
            <a:r>
              <a:rPr lang="de-DE" dirty="0"/>
              <a:t>Zweite Ebene</a:t>
            </a:r>
          </a:p>
        </p:txBody>
      </p:sp>
      <p:sp>
        <p:nvSpPr>
          <p:cNvPr id="2" name="Fußzeilenplatzhalter 1"/>
          <p:cNvSpPr>
            <a:spLocks noGrp="1"/>
          </p:cNvSpPr>
          <p:nvPr>
            <p:ph type="ftr" sz="quarter" idx="16"/>
          </p:nvPr>
        </p:nvSpPr>
        <p:spPr/>
        <p:txBody>
          <a:bodyPr/>
          <a:lstStyle/>
          <a:p>
            <a:r>
              <a:rPr lang="en-US">
                <a:solidFill>
                  <a:prstClr val="black"/>
                </a:solidFill>
              </a:rPr>
              <a:t>DFS Capital Market Day</a:t>
            </a:r>
            <a:endParaRPr lang="de-DE" dirty="0">
              <a:solidFill>
                <a:prstClr val="black"/>
              </a:solidFill>
            </a:endParaRPr>
          </a:p>
        </p:txBody>
      </p:sp>
      <p:sp>
        <p:nvSpPr>
          <p:cNvPr id="5" name="Foliennummernplatzhalter 4"/>
          <p:cNvSpPr>
            <a:spLocks noGrp="1"/>
          </p:cNvSpPr>
          <p:nvPr>
            <p:ph type="sldNum" sz="quarter" idx="17"/>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40579071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userDrawn="1">
  <p:cSld name="Text/ Bild/ Ü 1 Zeile ">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2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3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1" name="Hinweise links"/>
            <p:cNvGrpSpPr/>
            <p:nvPr userDrawn="1"/>
          </p:nvGrpSpPr>
          <p:grpSpPr>
            <a:xfrm>
              <a:off x="-2088000" y="0"/>
              <a:ext cx="1980000" cy="3528000"/>
              <a:chOff x="-2088000" y="0"/>
              <a:chExt cx="1980000" cy="3528000"/>
            </a:xfrm>
          </p:grpSpPr>
          <p:sp>
            <p:nvSpPr>
              <p:cNvPr id="3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3" name="Listenebenen"/>
              <p:cNvGrpSpPr/>
              <p:nvPr userDrawn="1"/>
            </p:nvGrpSpPr>
            <p:grpSpPr>
              <a:xfrm>
                <a:off x="-1692000" y="2232000"/>
                <a:ext cx="1548000" cy="792000"/>
                <a:chOff x="-1692000" y="2160000"/>
                <a:chExt cx="1548000" cy="792000"/>
              </a:xfrm>
            </p:grpSpPr>
            <p:sp>
              <p:nvSpPr>
                <p:cNvPr id="3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6"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7"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a:xfrm>
            <a:off x="629671" y="285982"/>
            <a:ext cx="10931106" cy="683842"/>
          </a:xfrm>
        </p:spPr>
        <p:txBody>
          <a:bodyPr/>
          <a:lstStyle/>
          <a:p>
            <a:r>
              <a:rPr lang="de-DE" noProof="0" dirty="0"/>
              <a:t>Headline in CorpoS (Textkörper) 35 pt.</a:t>
            </a:r>
            <a:endParaRPr lang="de-DE" dirty="0"/>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4"/>
          </p:nvPr>
        </p:nvSpPr>
        <p:spPr/>
        <p:txBody>
          <a:bodyPr/>
          <a:lstStyle/>
          <a:p>
            <a:r>
              <a:rPr lang="en-US">
                <a:solidFill>
                  <a:prstClr val="black"/>
                </a:solidFill>
              </a:rPr>
              <a:t>DFS Capital Market Day</a:t>
            </a:r>
            <a:endParaRPr lang="de-DE" dirty="0">
              <a:solidFill>
                <a:prstClr val="black"/>
              </a:solidFill>
            </a:endParaRPr>
          </a:p>
        </p:txBody>
      </p:sp>
      <p:sp>
        <p:nvSpPr>
          <p:cNvPr id="6" name="Foliennummernplatzhalter 5"/>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50243131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771939" y="6224373"/>
            <a:ext cx="424638" cy="329184"/>
          </a:xfrm>
        </p:spPr>
        <p:txBody>
          <a:bodyPr/>
          <a:lstStyle/>
          <a:p>
            <a:fld id="{96D389FB-5F15-6747-8C7C-A5F122A35A60}" type="slidenum">
              <a:rPr lang="en-US" smtClean="0">
                <a:solidFill>
                  <a:prstClr val="black"/>
                </a:solidFill>
              </a:rPr>
              <a:pPr/>
              <a:t>‹#›</a:t>
            </a:fld>
            <a:endParaRPr lang="en-US">
              <a:solidFill>
                <a:prstClr val="black"/>
              </a:solidFill>
            </a:endParaRPr>
          </a:p>
        </p:txBody>
      </p:sp>
      <p:sp>
        <p:nvSpPr>
          <p:cNvPr id="4" name="Title 3"/>
          <p:cNvSpPr>
            <a:spLocks noGrp="1"/>
          </p:cNvSpPr>
          <p:nvPr>
            <p:ph type="title"/>
          </p:nvPr>
        </p:nvSpPr>
        <p:spPr>
          <a:xfrm>
            <a:off x="838201" y="607274"/>
            <a:ext cx="10515600" cy="523220"/>
          </a:xfrm>
          <a:prstGeom prst="rect">
            <a:avLst/>
          </a:prstGeom>
        </p:spPr>
        <p:txBody>
          <a:bodyPr/>
          <a:lstStyle>
            <a:lvl1pPr algn="ctr">
              <a:defRPr sz="2800" b="0">
                <a:solidFill>
                  <a:srgbClr val="3F98FF"/>
                </a:solidFill>
                <a:latin typeface="Franklin Gothic Book" panose="020B0503020102020204" pitchFamily="34" charset="0"/>
              </a:defRPr>
            </a:lvl1pPr>
          </a:lstStyle>
          <a:p>
            <a:r>
              <a:rPr lang="en-US" dirty="0"/>
              <a:t>Click to edit Master title style</a:t>
            </a:r>
          </a:p>
        </p:txBody>
      </p:sp>
      <p:sp>
        <p:nvSpPr>
          <p:cNvPr id="8" name="Text Placeholder 7"/>
          <p:cNvSpPr>
            <a:spLocks noGrp="1"/>
          </p:cNvSpPr>
          <p:nvPr>
            <p:ph type="body" sz="quarter" idx="13"/>
          </p:nvPr>
        </p:nvSpPr>
        <p:spPr>
          <a:xfrm>
            <a:off x="533401" y="1854200"/>
            <a:ext cx="11070835" cy="4095750"/>
          </a:xfrm>
          <a:prstGeom prst="rect">
            <a:avLst/>
          </a:prstGeom>
        </p:spPr>
        <p:txBody>
          <a:bodyPr/>
          <a:lstStyle>
            <a:lvl1pPr>
              <a:defRPr sz="2399" b="1">
                <a:solidFill>
                  <a:schemeClr val="bg1">
                    <a:lumMod val="50000"/>
                  </a:schemeClr>
                </a:solidFill>
              </a:defRPr>
            </a:lvl1pPr>
            <a:lvl2pPr>
              <a:defRPr sz="1999">
                <a:solidFill>
                  <a:schemeClr val="bg1">
                    <a:lumMod val="50000"/>
                  </a:schemeClr>
                </a:solidFill>
              </a:defRPr>
            </a:lvl2pPr>
            <a:lvl3pPr>
              <a:defRPr sz="1999">
                <a:solidFill>
                  <a:schemeClr val="bg1">
                    <a:lumMod val="50000"/>
                  </a:schemeClr>
                </a:solidFill>
              </a:defRPr>
            </a:lvl3pPr>
            <a:lvl4pPr>
              <a:defRPr sz="1999">
                <a:solidFill>
                  <a:schemeClr val="bg1">
                    <a:lumMod val="50000"/>
                  </a:schemeClr>
                </a:solidFill>
              </a:defRPr>
            </a:lvl4pPr>
            <a:lvl5pPr>
              <a:defRPr sz="1999">
                <a:solidFill>
                  <a:schemeClr val="bg1">
                    <a:lumMod val="5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4"/>
          <p:cNvSpPr>
            <a:spLocks noGrp="1"/>
          </p:cNvSpPr>
          <p:nvPr>
            <p:ph type="body" sz="quarter" idx="14" hasCustomPrompt="1"/>
          </p:nvPr>
        </p:nvSpPr>
        <p:spPr>
          <a:xfrm>
            <a:off x="1896488" y="1215031"/>
            <a:ext cx="8460827" cy="400110"/>
          </a:xfrm>
          <a:prstGeom prst="rect">
            <a:avLst/>
          </a:prstGeom>
        </p:spPr>
        <p:txBody>
          <a:bodyPr/>
          <a:lstStyle>
            <a:lvl1pPr marL="0" indent="0" algn="ctr">
              <a:buNone/>
              <a:defRPr sz="1999" baseline="0">
                <a:solidFill>
                  <a:schemeClr val="bg1">
                    <a:lumMod val="50000"/>
                  </a:schemeClr>
                </a:solidFill>
              </a:defRPr>
            </a:lvl1pPr>
          </a:lstStyle>
          <a:p>
            <a:pPr algn="ctr"/>
            <a:r>
              <a:rPr lang="en-US" sz="1999" dirty="0">
                <a:solidFill>
                  <a:schemeClr val="tx1">
                    <a:lumMod val="50000"/>
                    <a:lumOff val="50000"/>
                  </a:schemeClr>
                </a:solidFill>
                <a:latin typeface="Calibri" charset="0"/>
                <a:ea typeface="Calibri" charset="0"/>
                <a:cs typeface="Calibri" charset="0"/>
              </a:rPr>
              <a:t>Click to edit Master subtitle style</a:t>
            </a:r>
          </a:p>
        </p:txBody>
      </p:sp>
    </p:spTree>
    <p:extLst>
      <p:ext uri="{BB962C8B-B14F-4D97-AF65-F5344CB8AC3E}">
        <p14:creationId xmlns:p14="http://schemas.microsoft.com/office/powerpoint/2010/main" val="392416010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Headline two lines //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586"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CAReer - Getting Started | DFS Global Strategy | 16.11.2016 |</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10" y="1504602"/>
            <a:ext cx="10930593" cy="4983236"/>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303888291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Headline // Blank">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5661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557041880"/>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2" name="Rechteck 11"/>
          <p:cNvSpPr/>
          <p:nvPr userDrawn="1"/>
        </p:nvSpPr>
        <p:spPr bwMode="black">
          <a:xfrm>
            <a:off x="2" y="0"/>
            <a:ext cx="121968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black"/>
              </a:solidFill>
            </a:endParaRPr>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32" y="0"/>
            <a:ext cx="12193523"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Titel 1"/>
          <p:cNvSpPr>
            <a:spLocks noGrp="1"/>
          </p:cNvSpPr>
          <p:nvPr>
            <p:ph type="ctrTitle" hasCustomPrompt="1"/>
          </p:nvPr>
        </p:nvSpPr>
        <p:spPr bwMode="gray">
          <a:xfrm>
            <a:off x="395287" y="3848402"/>
            <a:ext cx="8928000" cy="1044000"/>
          </a:xfrm>
        </p:spPr>
        <p:txBody>
          <a:bodyPr/>
          <a:lstStyle>
            <a:lvl1pPr>
              <a:lnSpc>
                <a:spcPts val="3999"/>
              </a:lnSpc>
              <a:defRPr sz="3000"/>
            </a:lvl1pPr>
          </a:lstStyle>
          <a:p>
            <a:r>
              <a:rPr lang="de-DE" noProof="0" dirty="0" smtClean="0"/>
              <a:t>Präsentationstitel 30 pt über eine Zeile.</a:t>
            </a:r>
            <a:br>
              <a:rPr lang="de-DE" noProof="0" dirty="0" smtClean="0"/>
            </a:br>
            <a:r>
              <a:rPr lang="de-DE" noProof="0" dirty="0" smtClean="0"/>
              <a:t>Zweite Zeile möglich.</a:t>
            </a:r>
            <a:endParaRPr lang="de-DE" noProof="0" dirty="0"/>
          </a:p>
        </p:txBody>
      </p:sp>
      <p:sp>
        <p:nvSpPr>
          <p:cNvPr id="15" name="Untertitel 2"/>
          <p:cNvSpPr>
            <a:spLocks noGrp="1"/>
          </p:cNvSpPr>
          <p:nvPr>
            <p:ph type="subTitle" idx="1" hasCustomPrompt="1"/>
          </p:nvPr>
        </p:nvSpPr>
        <p:spPr bwMode="gray">
          <a:xfrm>
            <a:off x="396000" y="4932000"/>
            <a:ext cx="8928000" cy="756000"/>
          </a:xfrm>
        </p:spPr>
        <p:txBody>
          <a:bodyPr/>
          <a:lstStyle>
            <a:lvl1pPr marL="0" indent="0" algn="l">
              <a:lnSpc>
                <a:spcPct val="100000"/>
              </a:lnSpc>
              <a:spcAft>
                <a:spcPts val="0"/>
              </a:spcAft>
              <a:buFont typeface="Arial" panose="020B0604020202020204" pitchFamily="34" charset="0"/>
              <a:buNone/>
              <a:defRPr sz="1500">
                <a:solidFill>
                  <a:schemeClr val="tx1"/>
                </a:solidFill>
                <a:latin typeface="+mn-lt"/>
              </a:defRPr>
            </a:lvl1pPr>
            <a:lvl2pPr marL="0" indent="0" algn="l">
              <a:lnSpc>
                <a:spcPct val="100000"/>
              </a:lnSpc>
              <a:spcAft>
                <a:spcPts val="0"/>
              </a:spcAft>
              <a:buFont typeface="Arial" panose="020B0604020202020204" pitchFamily="34" charset="0"/>
              <a:buNone/>
              <a:defRPr sz="1500">
                <a:solidFill>
                  <a:schemeClr val="tx1"/>
                </a:solidFill>
                <a:latin typeface="+mn-lt"/>
              </a:defRPr>
            </a:lvl2pPr>
            <a:lvl3pPr marL="0" indent="0" algn="l">
              <a:lnSpc>
                <a:spcPct val="100000"/>
              </a:lnSpc>
              <a:spcAft>
                <a:spcPts val="0"/>
              </a:spcAft>
              <a:buFont typeface="Arial" panose="020B0604020202020204" pitchFamily="34" charset="0"/>
              <a:buNone/>
              <a:defRPr sz="1500">
                <a:solidFill>
                  <a:schemeClr val="tx1"/>
                </a:solidFill>
                <a:latin typeface="+mn-lt"/>
              </a:defRPr>
            </a:lvl3pPr>
            <a:lvl4pPr marL="0" indent="0" algn="l">
              <a:lnSpc>
                <a:spcPct val="100000"/>
              </a:lnSpc>
              <a:spcAft>
                <a:spcPts val="0"/>
              </a:spcAft>
              <a:buFont typeface="Arial" panose="020B0604020202020204" pitchFamily="34" charset="0"/>
              <a:buNone/>
              <a:defRPr sz="1500">
                <a:solidFill>
                  <a:schemeClr val="tx1"/>
                </a:solidFill>
                <a:latin typeface="+mn-lt"/>
              </a:defRPr>
            </a:lvl4pPr>
            <a:lvl5pPr marL="0" indent="0" algn="l">
              <a:lnSpc>
                <a:spcPct val="100000"/>
              </a:lnSpc>
              <a:spcAft>
                <a:spcPts val="0"/>
              </a:spcAft>
              <a:buFont typeface="Arial" panose="020B0604020202020204" pitchFamily="34" charset="0"/>
              <a:buNone/>
              <a:defRPr sz="1500">
                <a:solidFill>
                  <a:schemeClr val="tx1"/>
                </a:solidFill>
                <a:latin typeface="+mn-lt"/>
              </a:defRPr>
            </a:lvl5pPr>
            <a:lvl6pPr marL="0" indent="0" algn="l">
              <a:lnSpc>
                <a:spcPct val="100000"/>
              </a:lnSpc>
              <a:spcAft>
                <a:spcPts val="0"/>
              </a:spcAft>
              <a:buFont typeface="Arial" panose="020B0604020202020204" pitchFamily="34" charset="0"/>
              <a:buNone/>
              <a:defRPr sz="1500">
                <a:solidFill>
                  <a:schemeClr val="tx1"/>
                </a:solidFill>
                <a:latin typeface="+mn-lt"/>
              </a:defRPr>
            </a:lvl6pPr>
            <a:lvl7pPr marL="0" indent="0" algn="l">
              <a:lnSpc>
                <a:spcPct val="100000"/>
              </a:lnSpc>
              <a:spcAft>
                <a:spcPts val="0"/>
              </a:spcAft>
              <a:buFont typeface="Arial" panose="020B0604020202020204" pitchFamily="34" charset="0"/>
              <a:buNone/>
              <a:defRPr sz="1500">
                <a:solidFill>
                  <a:schemeClr val="tx1"/>
                </a:solidFill>
                <a:latin typeface="+mn-lt"/>
              </a:defRPr>
            </a:lvl7pPr>
            <a:lvl8pPr marL="0" indent="0" algn="l">
              <a:lnSpc>
                <a:spcPct val="100000"/>
              </a:lnSpc>
              <a:spcAft>
                <a:spcPts val="0"/>
              </a:spcAft>
              <a:buFont typeface="Arial" panose="020B0604020202020204" pitchFamily="34" charset="0"/>
              <a:buNone/>
              <a:defRPr sz="1500">
                <a:solidFill>
                  <a:schemeClr val="tx1"/>
                </a:solidFill>
                <a:latin typeface="+mn-lt"/>
              </a:defRPr>
            </a:lvl8pPr>
            <a:lvl9pPr marL="0" indent="0" algn="l">
              <a:lnSpc>
                <a:spcPct val="100000"/>
              </a:lnSpc>
              <a:spcAft>
                <a:spcPts val="0"/>
              </a:spcAft>
              <a:buFont typeface="Arial" panose="020B0604020202020204" pitchFamily="34" charset="0"/>
              <a:buNone/>
              <a:defRPr sz="1500">
                <a:solidFill>
                  <a:schemeClr val="tx1"/>
                </a:solidFill>
                <a:latin typeface="+mn-lt"/>
              </a:defRPr>
            </a:lvl9pPr>
          </a:lstStyle>
          <a:p>
            <a:pPr lvl="0"/>
            <a:r>
              <a:rPr lang="de-DE" noProof="0" dirty="0" smtClean="0"/>
              <a:t>Zusatztext zur Präsentation 15 pt </a:t>
            </a:r>
            <a:br>
              <a:rPr lang="de-DE" noProof="0" dirty="0" smtClean="0"/>
            </a:br>
            <a:r>
              <a:rPr lang="de-DE" noProof="0" dirty="0" smtClean="0"/>
              <a:t>Referent, Abteilung, Ort, Datum</a:t>
            </a:r>
          </a:p>
        </p:txBody>
      </p:sp>
      <p:sp>
        <p:nvSpPr>
          <p:cNvPr id="16" name="Bildplatzhalter 8"/>
          <p:cNvSpPr>
            <a:spLocks noGrp="1"/>
          </p:cNvSpPr>
          <p:nvPr>
            <p:ph type="pic" sz="quarter" idx="10" hasCustomPrompt="1"/>
          </p:nvPr>
        </p:nvSpPr>
        <p:spPr bwMode="gray">
          <a:xfrm>
            <a:off x="4" y="313201"/>
            <a:ext cx="12193200" cy="34056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7" name="Textplatzhalter 3"/>
          <p:cNvSpPr>
            <a:spLocks noGrp="1"/>
          </p:cNvSpPr>
          <p:nvPr>
            <p:ph type="body" sz="quarter" idx="17"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8" name="Textplatzhalter 3"/>
          <p:cNvSpPr>
            <a:spLocks noGrp="1"/>
          </p:cNvSpPr>
          <p:nvPr>
            <p:ph type="body" sz="quarter" idx="18"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9" name="Textplatzhalter 3"/>
          <p:cNvSpPr>
            <a:spLocks noGrp="1"/>
          </p:cNvSpPr>
          <p:nvPr>
            <p:ph type="body" sz="quarter" idx="19"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grpSp>
        <p:nvGrpSpPr>
          <p:cNvPr id="10" name="Gruppieren 9"/>
          <p:cNvGrpSpPr/>
          <p:nvPr userDrawn="1"/>
        </p:nvGrpSpPr>
        <p:grpSpPr>
          <a:xfrm>
            <a:off x="-2087998" y="-467999"/>
            <a:ext cx="13875807" cy="7805374"/>
            <a:chOff x="-2088000" y="-468001"/>
            <a:chExt cx="13875807" cy="7805374"/>
          </a:xfrm>
        </p:grpSpPr>
        <p:sp>
          <p:nvSpPr>
            <p:cNvPr id="11" name="Folie Wechsel/Zurücksetzen/Textebenen"/>
            <p:cNvSpPr txBox="1"/>
            <p:nvPr userDrawn="1"/>
          </p:nvSpPr>
          <p:spPr>
            <a:xfrm rot="10800000" flipH="1" flipV="1">
              <a:off x="-2088000" y="1547999"/>
              <a:ext cx="1980000" cy="198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a:r>
                <a:rPr lang="de-DE" sz="1000" dirty="0" smtClean="0">
                  <a:solidFill>
                    <a:srgbClr val="333333"/>
                  </a:solidFill>
                </a:rPr>
                <a:t>Folie in Ursprungsform </a:t>
              </a:r>
            </a:p>
            <a:p>
              <a:pPr algn="r"/>
              <a:r>
                <a:rPr lang="de-DE" sz="1000" dirty="0" smtClean="0">
                  <a:solidFill>
                    <a:srgbClr val="333333"/>
                  </a:solidFill>
                </a:rPr>
                <a:t>bringen über Menu:</a:t>
              </a:r>
            </a:p>
            <a:p>
              <a:pPr algn="r"/>
              <a:r>
                <a:rPr lang="de-DE" sz="1000" dirty="0" smtClean="0">
                  <a:solidFill>
                    <a:srgbClr val="333333"/>
                  </a:solidFill>
                </a:rPr>
                <a:t>Start // Folien // Zurücksetzen</a:t>
              </a:r>
            </a:p>
            <a:p>
              <a:pPr algn="r"/>
              <a:endParaRPr lang="de-DE" sz="1000" dirty="0" smtClean="0">
                <a:solidFill>
                  <a:srgbClr val="333333"/>
                </a:solidFill>
              </a:endParaRPr>
            </a:p>
            <a:p>
              <a:pPr algn="r"/>
              <a:r>
                <a:rPr lang="de-DE" sz="1000" dirty="0" smtClean="0">
                  <a:solidFill>
                    <a:srgbClr val="333333"/>
                  </a:solidFill>
                </a:rPr>
                <a:t>Wechsel des Folienlayouts </a:t>
              </a:r>
              <a:br>
                <a:rPr lang="de-DE" sz="1000" dirty="0" smtClean="0">
                  <a:solidFill>
                    <a:srgbClr val="333333"/>
                  </a:solidFill>
                </a:rPr>
              </a:br>
              <a:r>
                <a:rPr lang="de-DE" sz="1000" dirty="0" smtClean="0">
                  <a:solidFill>
                    <a:srgbClr val="333333"/>
                  </a:solidFill>
                </a:rPr>
                <a:t>im Menü über:</a:t>
              </a:r>
            </a:p>
            <a:p>
              <a:pPr algn="r" defTabSz="914089">
                <a:defRPr/>
              </a:pPr>
              <a:r>
                <a:rPr lang="de-DE" sz="1000" dirty="0" smtClean="0">
                  <a:solidFill>
                    <a:srgbClr val="333333"/>
                  </a:solidFill>
                </a:rPr>
                <a:t>Start // Folien // Layout</a:t>
              </a:r>
            </a:p>
            <a:p>
              <a:pPr algn="r" defTabSz="914089">
                <a:defRPr/>
              </a:pPr>
              <a:endParaRPr lang="de-DE" sz="1000" dirty="0" smtClean="0">
                <a:solidFill>
                  <a:srgbClr val="333333"/>
                </a:solidFill>
              </a:endParaRPr>
            </a:p>
            <a:p>
              <a:pPr algn="r" defTabSz="914089">
                <a:defRPr/>
              </a:pPr>
              <a:r>
                <a:rPr lang="de-DE" sz="1000" dirty="0" smtClean="0">
                  <a:solidFill>
                    <a:srgbClr val="333333"/>
                  </a:solidFill>
                </a:rPr>
                <a:t>Wechsel der Textebene</a:t>
              </a:r>
            </a:p>
            <a:p>
              <a:pPr algn="r" defTabSz="914089">
                <a:defRPr/>
              </a:pPr>
              <a:r>
                <a:rPr lang="de-DE" sz="1000" dirty="0" smtClean="0">
                  <a:solidFill>
                    <a:srgbClr val="333333"/>
                  </a:solidFill>
                </a:rPr>
                <a:t>im Menü über: </a:t>
              </a:r>
              <a:br>
                <a:rPr lang="de-DE" sz="1000" dirty="0" smtClean="0">
                  <a:solidFill>
                    <a:srgbClr val="333333"/>
                  </a:solidFill>
                </a:rPr>
              </a:br>
              <a:r>
                <a:rPr lang="de-DE" sz="1000" dirty="0" smtClean="0">
                  <a:solidFill>
                    <a:srgbClr val="333333"/>
                  </a:solidFill>
                </a:rPr>
                <a:t>Start // Absatz // Listenebene erhöhen/verringern</a:t>
              </a:r>
            </a:p>
          </p:txBody>
        </p:sp>
        <p:sp>
          <p:nvSpPr>
            <p:cNvPr id="13" name="Design wechsel"/>
            <p:cNvSpPr txBox="1"/>
            <p:nvPr userDrawn="1"/>
          </p:nvSpPr>
          <p:spPr>
            <a:xfrm rot="10800000" flipH="1" flipV="1">
              <a:off x="-2088000" y="403199"/>
              <a:ext cx="1980000" cy="900000"/>
            </a:xfrm>
            <a:prstGeom prst="rect">
              <a:avLst/>
            </a:prstGeom>
            <a:noFill/>
            <a:ln w="12700">
              <a:noFill/>
            </a:ln>
          </p:spPr>
          <p:txBody>
            <a:bodyPr vert="horz"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e-DE" sz="1000" dirty="0" smtClean="0">
                  <a:solidFill>
                    <a:srgbClr val="333333"/>
                  </a:solidFill>
                </a:rPr>
                <a:t>Wechsel zwischen weißem und schwarzem Folienlayout über Menü: </a:t>
              </a:r>
              <a:br>
                <a:rPr lang="de-DE" sz="1000" dirty="0" smtClean="0">
                  <a:solidFill>
                    <a:srgbClr val="333333"/>
                  </a:solidFill>
                </a:rPr>
              </a:br>
              <a:r>
                <a:rPr lang="de-DE" sz="1000" dirty="0" smtClean="0">
                  <a:solidFill>
                    <a:srgbClr val="333333"/>
                  </a:solidFill>
                </a:rPr>
                <a:t>Entwurf // Designs</a:t>
              </a:r>
            </a:p>
            <a:p>
              <a:pPr algn="r"/>
              <a:r>
                <a:rPr lang="de-DE" sz="1000" dirty="0" smtClean="0">
                  <a:solidFill>
                    <a:srgbClr val="333333"/>
                  </a:solidFill>
                </a:rPr>
                <a:t>(Rechtsklick: </a:t>
              </a:r>
              <a:r>
                <a:rPr lang="de-DE" sz="1000" i="1" dirty="0" smtClean="0">
                  <a:solidFill>
                    <a:srgbClr val="333333"/>
                  </a:solidFill>
                </a:rPr>
                <a:t>Für alle Folien </a:t>
              </a:r>
              <a:r>
                <a:rPr lang="de-DE" sz="1000" dirty="0" smtClean="0">
                  <a:solidFill>
                    <a:srgbClr val="333333"/>
                  </a:solidFill>
                </a:rPr>
                <a:t>oder </a:t>
              </a:r>
              <a:br>
                <a:rPr lang="de-DE" sz="1000" dirty="0" smtClean="0">
                  <a:solidFill>
                    <a:srgbClr val="333333"/>
                  </a:solidFill>
                </a:rPr>
              </a:br>
              <a:r>
                <a:rPr lang="de-DE" sz="1000" i="1" dirty="0" smtClean="0">
                  <a:solidFill>
                    <a:srgbClr val="333333"/>
                  </a:solidFill>
                </a:rPr>
                <a:t>Für ausgewählte Folien </a:t>
              </a:r>
              <a:r>
                <a:rPr lang="de-DE" sz="1000" dirty="0" smtClean="0">
                  <a:solidFill>
                    <a:srgbClr val="333333"/>
                  </a:solidFill>
                </a:rPr>
                <a:t>übernehmen)</a:t>
              </a:r>
            </a:p>
          </p:txBody>
        </p:sp>
        <p:pic>
          <p:nvPicPr>
            <p:cNvPr id="20" name="Listenebene erhöhen"/>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5200" y="3563999"/>
              <a:ext cx="635538"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Listenebene verringern"/>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45200" y="4031999"/>
              <a:ext cx="635538" cy="32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ext // Listenebene erhöhen"/>
            <p:cNvSpPr txBox="1"/>
            <p:nvPr userDrawn="1"/>
          </p:nvSpPr>
          <p:spPr>
            <a:xfrm>
              <a:off x="-1548000" y="3563999"/>
              <a:ext cx="720000" cy="324000"/>
            </a:xfrm>
            <a:prstGeom prst="rect">
              <a:avLst/>
            </a:prstGeom>
            <a:noFill/>
          </p:spPr>
          <p:txBody>
            <a:bodyPr wrap="square" lIns="0" tIns="0" rIns="0" bIns="0" rtlCol="0">
              <a:noAutofit/>
            </a:bodyPr>
            <a:lstStyle/>
            <a:p>
              <a:pPr algn="r" defTabSz="914089">
                <a:defRPr/>
              </a:pPr>
              <a:r>
                <a:rPr lang="de-DE" sz="1000" dirty="0" smtClean="0">
                  <a:solidFill>
                    <a:srgbClr val="333333"/>
                  </a:solidFill>
                </a:rPr>
                <a:t>Listenebene</a:t>
              </a:r>
            </a:p>
            <a:p>
              <a:pPr algn="r" defTabSz="914089">
                <a:defRPr/>
              </a:pPr>
              <a:r>
                <a:rPr lang="de-DE" sz="1000" dirty="0" smtClean="0">
                  <a:solidFill>
                    <a:srgbClr val="333333"/>
                  </a:solidFill>
                </a:rPr>
                <a:t>erhöhen</a:t>
              </a:r>
            </a:p>
          </p:txBody>
        </p:sp>
        <p:sp>
          <p:nvSpPr>
            <p:cNvPr id="23" name="Text // Listenebene verringern"/>
            <p:cNvSpPr txBox="1"/>
            <p:nvPr userDrawn="1"/>
          </p:nvSpPr>
          <p:spPr>
            <a:xfrm>
              <a:off x="-1548000" y="4031999"/>
              <a:ext cx="720000" cy="324000"/>
            </a:xfrm>
            <a:prstGeom prst="rect">
              <a:avLst/>
            </a:prstGeom>
            <a:noFill/>
          </p:spPr>
          <p:txBody>
            <a:bodyPr wrap="square" lIns="0" tIns="0" rIns="0" bIns="0" rtlCol="0">
              <a:noAutofit/>
            </a:bodyPr>
            <a:lstStyle/>
            <a:p>
              <a:pPr algn="r" defTabSz="914089">
                <a:defRPr/>
              </a:pPr>
              <a:r>
                <a:rPr lang="de-DE" sz="1000" dirty="0" smtClean="0">
                  <a:solidFill>
                    <a:srgbClr val="333333"/>
                  </a:solidFill>
                </a:rPr>
                <a:t>Listenebene</a:t>
              </a:r>
            </a:p>
            <a:p>
              <a:pPr algn="r" defTabSz="914089">
                <a:defRPr/>
              </a:pPr>
              <a:r>
                <a:rPr lang="de-DE" sz="1000" dirty="0" smtClean="0">
                  <a:solidFill>
                    <a:srgbClr val="333333"/>
                  </a:solidFill>
                </a:rPr>
                <a:t>verringern</a:t>
              </a:r>
            </a:p>
          </p:txBody>
        </p:sp>
        <p:pic>
          <p:nvPicPr>
            <p:cNvPr id="24" name="Entwurfsvorlagen"/>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332000" y="-432001"/>
              <a:ext cx="1224000" cy="746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Hilfslinien"/>
            <p:cNvSpPr txBox="1"/>
            <p:nvPr userDrawn="1"/>
          </p:nvSpPr>
          <p:spPr>
            <a:xfrm rot="10800000" flipH="1" flipV="1">
              <a:off x="432775" y="-468001"/>
              <a:ext cx="5090336"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ctr" defTabSz="1042699">
                <a:defRPr/>
              </a:pPr>
              <a:r>
                <a:rPr lang="de-DE" sz="1000" dirty="0" smtClean="0">
                  <a:solidFill>
                    <a:srgbClr val="333333"/>
                  </a:solidFill>
                </a:rPr>
                <a:t>Hilfslinien anzeigen über Menu: Ansicht // Anzeigen // Haken bei Führungslinien setzen</a:t>
              </a:r>
            </a:p>
          </p:txBody>
        </p:sp>
        <p:sp>
          <p:nvSpPr>
            <p:cNvPr id="26" name="Hilfslinien"/>
            <p:cNvSpPr txBox="1"/>
            <p:nvPr userDrawn="1"/>
          </p:nvSpPr>
          <p:spPr>
            <a:xfrm rot="10800000" flipH="1" flipV="1">
              <a:off x="7107287" y="-468000"/>
              <a:ext cx="4680520" cy="360000"/>
            </a:xfrm>
            <a:prstGeom prst="rect">
              <a:avLst/>
            </a:prstGeom>
            <a:noFill/>
            <a:ln w="12700">
              <a:noFill/>
            </a:ln>
          </p:spPr>
          <p:txBody>
            <a:bodyPr vert="horz" wrap="square" lIns="0" tIns="0" rIns="0" bIns="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ctr" defTabSz="1042699">
                <a:defRPr/>
              </a:pPr>
              <a:r>
                <a:rPr lang="de-DE" sz="1000" dirty="0" smtClean="0">
                  <a:solidFill>
                    <a:srgbClr val="333333"/>
                  </a:solidFill>
                </a:rPr>
                <a:t>Reservierte Bereiche für Stempel oder Icons</a:t>
              </a:r>
            </a:p>
          </p:txBody>
        </p:sp>
        <p:sp>
          <p:nvSpPr>
            <p:cNvPr id="27" name="Fußzeile"/>
            <p:cNvSpPr txBox="1"/>
            <p:nvPr userDrawn="1"/>
          </p:nvSpPr>
          <p:spPr>
            <a:xfrm rot="10800000" flipH="1" flipV="1">
              <a:off x="432775" y="6977373"/>
              <a:ext cx="10993626" cy="360000"/>
            </a:xfrm>
            <a:prstGeom prst="rect">
              <a:avLst/>
            </a:prstGeom>
            <a:noFill/>
            <a:ln w="12700">
              <a:noFill/>
            </a:ln>
          </p:spPr>
          <p:txBody>
            <a:bodyPr vert="horz" wrap="square" lIns="0" tIns="0" rIns="0" bIns="0" rtlCol="0" anchor="t"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r" defTabSz="1042699">
                <a:defRPr/>
              </a:pPr>
              <a:r>
                <a:rPr lang="de-DE" sz="1000" dirty="0" smtClean="0">
                  <a:solidFill>
                    <a:srgbClr val="333333"/>
                  </a:solidFill>
                </a:rPr>
                <a:t>Fußzeile pro Folie oder für alle/mehrere anpassen über Menü: Einfügen // Text // Kopf- und Fußzeile</a:t>
              </a:r>
            </a:p>
          </p:txBody>
        </p:sp>
      </p:grpSp>
    </p:spTree>
    <p:extLst>
      <p:ext uri="{BB962C8B-B14F-4D97-AF65-F5344CB8AC3E}">
        <p14:creationId xmlns:p14="http://schemas.microsoft.com/office/powerpoint/2010/main" val="2906607540"/>
      </p:ext>
    </p:extLst>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Agenda (zwei Spalten)">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95289" y="368302"/>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3" name="Textplatzhalter 7"/>
          <p:cNvSpPr>
            <a:spLocks noGrp="1"/>
          </p:cNvSpPr>
          <p:nvPr>
            <p:ph type="body" sz="quarter" idx="13" hasCustomPrompt="1"/>
          </p:nvPr>
        </p:nvSpPr>
        <p:spPr>
          <a:xfrm>
            <a:off x="395289"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
        <p:nvSpPr>
          <p:cNvPr id="14" name="Textplatzhalter 3"/>
          <p:cNvSpPr>
            <a:spLocks noGrp="1"/>
          </p:cNvSpPr>
          <p:nvPr>
            <p:ph type="body" sz="quarter" idx="17"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5" name="Textplatzhalter 3"/>
          <p:cNvSpPr>
            <a:spLocks noGrp="1"/>
          </p:cNvSpPr>
          <p:nvPr>
            <p:ph type="body" sz="quarter" idx="18"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6" name="Textplatzhalter 3"/>
          <p:cNvSpPr>
            <a:spLocks noGrp="1"/>
          </p:cNvSpPr>
          <p:nvPr>
            <p:ph type="body" sz="quarter" idx="19"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7" name="Textplatzhalter 10"/>
          <p:cNvSpPr>
            <a:spLocks noGrp="1"/>
          </p:cNvSpPr>
          <p:nvPr>
            <p:ph type="body" sz="quarter" idx="20" hasCustomPrompt="1"/>
          </p:nvPr>
        </p:nvSpPr>
        <p:spPr>
          <a:xfrm>
            <a:off x="396001" y="1511302"/>
            <a:ext cx="11404800" cy="4140000"/>
          </a:xfrm>
        </p:spPr>
        <p:txBody>
          <a:bodyPr numCol="2" spcCol="244717"/>
          <a:lstStyle>
            <a:lvl1pPr marL="431853" indent="-431853">
              <a:buFont typeface="+mj-lt"/>
              <a:buAutoNum type="arabicPeriod"/>
              <a:defRPr baseline="0"/>
            </a:lvl1pPr>
            <a:lvl2pPr marL="863706" indent="-431853">
              <a:buFont typeface="+mj-lt"/>
              <a:buAutoNum type="alphaLcPeriod"/>
              <a:defRPr/>
            </a:lvl2pPr>
            <a:lvl3pPr marL="863706" indent="-431853">
              <a:buFont typeface="+mj-lt"/>
              <a:buAutoNum type="alphaLcPeriod"/>
              <a:defRPr sz="2000"/>
            </a:lvl3pPr>
            <a:lvl4pPr marL="863706" indent="-431853">
              <a:buFont typeface="+mj-lt"/>
              <a:buAutoNum type="alphaLcPeriod"/>
              <a:defRPr sz="2000"/>
            </a:lvl4pPr>
            <a:lvl5pPr marL="863706" indent="-431853">
              <a:buFont typeface="+mj-lt"/>
              <a:buAutoNum type="alphaLcPeriod"/>
              <a:defRPr sz="2000"/>
            </a:lvl5pPr>
            <a:lvl6pPr marL="863706" indent="-431853">
              <a:buFont typeface="+mj-lt"/>
              <a:buAutoNum type="alphaLcPeriod"/>
              <a:defRPr sz="2000"/>
            </a:lvl6pPr>
            <a:lvl7pPr marL="863706" indent="-431853">
              <a:buFont typeface="+mj-lt"/>
              <a:buAutoNum type="alphaLcPeriod"/>
              <a:defRPr sz="2000"/>
            </a:lvl7pPr>
            <a:lvl8pPr marL="863706" indent="-431853">
              <a:buFont typeface="+mj-lt"/>
              <a:buAutoNum type="alphaLcPeriod"/>
              <a:defRPr sz="2000"/>
            </a:lvl8pPr>
            <a:lvl9pPr marL="863706" indent="-431853">
              <a:buFont typeface="+mj-lt"/>
              <a:buAutoNum type="alphaLcPeriod"/>
              <a:defRPr sz="2000"/>
            </a:lvl9pPr>
          </a:lstStyle>
          <a:p>
            <a:pPr lvl="0"/>
            <a:r>
              <a:rPr lang="de-DE" noProof="0" dirty="0" smtClean="0"/>
              <a:t>Agenda Punkt in CorpoS (Textkörper) in 20 pt. einfügen // für Unterpunkt: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
        <p:nvSpPr>
          <p:cNvPr id="18" name="Fußzeilenplatzhalter 2"/>
          <p:cNvSpPr>
            <a:spLocks noGrp="1"/>
          </p:cNvSpPr>
          <p:nvPr>
            <p:ph type="ftr" sz="quarter" idx="21"/>
          </p:nvPr>
        </p:nvSpPr>
        <p:spPr>
          <a:xfrm>
            <a:off x="3578400" y="6552000"/>
            <a:ext cx="7848000" cy="306000"/>
          </a:xfrm>
        </p:spPr>
        <p:txBody>
          <a:bodyPr/>
          <a:lstStyle/>
          <a:p>
            <a:r>
              <a:rPr lang="de-DE" dirty="0" smtClean="0">
                <a:solidFill>
                  <a:prstClr val="white"/>
                </a:solidFill>
              </a:rPr>
              <a:t>Titel der Präsentation in CorpoS (Textkörper) 10pt | Abteilung | Datum</a:t>
            </a:r>
            <a:endParaRPr lang="de-DE" dirty="0">
              <a:solidFill>
                <a:prstClr val="white"/>
              </a:solidFill>
            </a:endParaRPr>
          </a:p>
        </p:txBody>
      </p:sp>
      <p:sp>
        <p:nvSpPr>
          <p:cNvPr id="19" name="Foliennummernplatzhalter 6"/>
          <p:cNvSpPr>
            <a:spLocks noGrp="1"/>
          </p:cNvSpPr>
          <p:nvPr>
            <p:ph type="sldNum" sz="quarter" idx="22"/>
          </p:nvPr>
        </p:nvSpPr>
        <p:spPr>
          <a:xfrm>
            <a:off x="11800803" y="6552000"/>
            <a:ext cx="323999" cy="306000"/>
          </a:xfrm>
        </p:spPr>
        <p:txBody>
          <a:bodyPr/>
          <a:lstStyle/>
          <a:p>
            <a:fld id="{AD1D1349-391B-44DC-865F-5996B3E40F26}" type="slidenum">
              <a:rPr lang="de-DE" smtClean="0">
                <a:solidFill>
                  <a:prstClr val="white"/>
                </a:solidFill>
              </a:rPr>
              <a:pPr/>
              <a:t>‹#›</a:t>
            </a:fld>
            <a:endParaRPr lang="de-DE" dirty="0">
              <a:solidFill>
                <a:prstClr val="white"/>
              </a:solidFill>
            </a:endParaRPr>
          </a:p>
        </p:txBody>
      </p:sp>
    </p:spTree>
    <p:extLst>
      <p:ext uri="{BB962C8B-B14F-4D97-AF65-F5344CB8AC3E}">
        <p14:creationId xmlns:p14="http://schemas.microsoft.com/office/powerpoint/2010/main" val="1399102628"/>
      </p:ext>
    </p:extLst>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Headline // Inhalt">
    <p:spTree>
      <p:nvGrpSpPr>
        <p:cNvPr id="1" name=""/>
        <p:cNvGrpSpPr/>
        <p:nvPr/>
      </p:nvGrpSpPr>
      <p:grpSpPr>
        <a:xfrm>
          <a:off x="0" y="0"/>
          <a:ext cx="0" cy="0"/>
          <a:chOff x="0" y="0"/>
          <a:chExt cx="0" cy="0"/>
        </a:xfrm>
      </p:grpSpPr>
      <p:sp>
        <p:nvSpPr>
          <p:cNvPr id="10" name="Titel 1"/>
          <p:cNvSpPr>
            <a:spLocks noGrp="1"/>
          </p:cNvSpPr>
          <p:nvPr>
            <p:ph type="title" hasCustomPrompt="1"/>
          </p:nvPr>
        </p:nvSpPr>
        <p:spPr>
          <a:xfrm>
            <a:off x="395289" y="368302"/>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1" name="Textplatzhalter 7"/>
          <p:cNvSpPr>
            <a:spLocks noGrp="1"/>
          </p:cNvSpPr>
          <p:nvPr>
            <p:ph type="body" sz="quarter" idx="13" hasCustomPrompt="1"/>
          </p:nvPr>
        </p:nvSpPr>
        <p:spPr>
          <a:xfrm>
            <a:off x="395289"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
        <p:nvSpPr>
          <p:cNvPr id="15" name="Inhaltsplatzhalter 6"/>
          <p:cNvSpPr>
            <a:spLocks noGrp="1"/>
          </p:cNvSpPr>
          <p:nvPr>
            <p:ph sz="quarter" idx="14" hasCustomPrompt="1"/>
          </p:nvPr>
        </p:nvSpPr>
        <p:spPr>
          <a:xfrm>
            <a:off x="395288" y="1511301"/>
            <a:ext cx="11406187" cy="4914900"/>
          </a:xfrm>
        </p:spPr>
        <p:txBody>
          <a:bodyPr/>
          <a:lstStyle>
            <a:lvl1pPr>
              <a:defRPr/>
            </a:lvl1pPr>
          </a:lstStyle>
          <a:p>
            <a:pPr lvl="0"/>
            <a:r>
              <a:rPr lang="de-DE" noProof="0" dirty="0" smtClean="0"/>
              <a:t>Inhalt oder 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
        <p:nvSpPr>
          <p:cNvPr id="16" name="Textplatzhalter 3"/>
          <p:cNvSpPr>
            <a:spLocks noGrp="1"/>
          </p:cNvSpPr>
          <p:nvPr>
            <p:ph type="body" sz="quarter" idx="17"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7" name="Textplatzhalter 3"/>
          <p:cNvSpPr>
            <a:spLocks noGrp="1"/>
          </p:cNvSpPr>
          <p:nvPr>
            <p:ph type="body" sz="quarter" idx="18"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8" name="Textplatzhalter 3"/>
          <p:cNvSpPr>
            <a:spLocks noGrp="1"/>
          </p:cNvSpPr>
          <p:nvPr>
            <p:ph type="body" sz="quarter" idx="29"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9" name="Fußzeilenplatzhalter 2"/>
          <p:cNvSpPr>
            <a:spLocks noGrp="1"/>
          </p:cNvSpPr>
          <p:nvPr>
            <p:ph type="ftr" sz="quarter" idx="30"/>
          </p:nvPr>
        </p:nvSpPr>
        <p:spPr>
          <a:xfrm>
            <a:off x="3578400" y="6552000"/>
            <a:ext cx="7848000" cy="306000"/>
          </a:xfrm>
        </p:spPr>
        <p:txBody>
          <a:bodyPr/>
          <a:lstStyle/>
          <a:p>
            <a:r>
              <a:rPr lang="de-DE" dirty="0" smtClean="0">
                <a:solidFill>
                  <a:prstClr val="white"/>
                </a:solidFill>
              </a:rPr>
              <a:t>Titel der Präsentation in CorpoS (Textkörper) 10pt | Abteilung | Datum</a:t>
            </a:r>
            <a:endParaRPr lang="de-DE" dirty="0">
              <a:solidFill>
                <a:prstClr val="white"/>
              </a:solidFill>
            </a:endParaRPr>
          </a:p>
        </p:txBody>
      </p:sp>
      <p:sp>
        <p:nvSpPr>
          <p:cNvPr id="20" name="Foliennummernplatzhalter 3"/>
          <p:cNvSpPr>
            <a:spLocks noGrp="1"/>
          </p:cNvSpPr>
          <p:nvPr>
            <p:ph type="sldNum" sz="quarter" idx="31"/>
          </p:nvPr>
        </p:nvSpPr>
        <p:spPr>
          <a:xfrm>
            <a:off x="11800803" y="6552000"/>
            <a:ext cx="323999" cy="306000"/>
          </a:xfrm>
        </p:spPr>
        <p:txBody>
          <a:bodyPr/>
          <a:lstStyle/>
          <a:p>
            <a:fld id="{AD1D1349-391B-44DC-865F-5996B3E40F26}" type="slidenum">
              <a:rPr lang="de-DE" smtClean="0">
                <a:solidFill>
                  <a:prstClr val="white"/>
                </a:solidFill>
              </a:rPr>
              <a:pPr/>
              <a:t>‹#›</a:t>
            </a:fld>
            <a:endParaRPr lang="de-DE" dirty="0">
              <a:solidFill>
                <a:prstClr val="white"/>
              </a:solidFill>
            </a:endParaRPr>
          </a:p>
        </p:txBody>
      </p:sp>
    </p:spTree>
    <p:extLst>
      <p:ext uri="{BB962C8B-B14F-4D97-AF65-F5344CB8AC3E}">
        <p14:creationId xmlns:p14="http://schemas.microsoft.com/office/powerpoint/2010/main" val="3426926280"/>
      </p:ext>
    </p:extLst>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Headline // Inhalt mit Unterschrift">
    <p:spTree>
      <p:nvGrpSpPr>
        <p:cNvPr id="1" name=""/>
        <p:cNvGrpSpPr/>
        <p:nvPr/>
      </p:nvGrpSpPr>
      <p:grpSpPr>
        <a:xfrm>
          <a:off x="0" y="0"/>
          <a:ext cx="0" cy="0"/>
          <a:chOff x="0" y="0"/>
          <a:chExt cx="0" cy="0"/>
        </a:xfrm>
      </p:grpSpPr>
      <p:sp>
        <p:nvSpPr>
          <p:cNvPr id="11" name="Titel 1"/>
          <p:cNvSpPr>
            <a:spLocks noGrp="1"/>
          </p:cNvSpPr>
          <p:nvPr>
            <p:ph type="title" hasCustomPrompt="1"/>
          </p:nvPr>
        </p:nvSpPr>
        <p:spPr>
          <a:xfrm>
            <a:off x="395289" y="368302"/>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2" name="Textplatzhalter 7"/>
          <p:cNvSpPr>
            <a:spLocks noGrp="1"/>
          </p:cNvSpPr>
          <p:nvPr>
            <p:ph type="body" sz="quarter" idx="13" hasCustomPrompt="1"/>
          </p:nvPr>
        </p:nvSpPr>
        <p:spPr>
          <a:xfrm>
            <a:off x="395289"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
        <p:nvSpPr>
          <p:cNvPr id="13" name="Inhaltsplatzhalter 6"/>
          <p:cNvSpPr>
            <a:spLocks noGrp="1"/>
          </p:cNvSpPr>
          <p:nvPr>
            <p:ph sz="quarter" idx="14" hasCustomPrompt="1"/>
          </p:nvPr>
        </p:nvSpPr>
        <p:spPr>
          <a:xfrm>
            <a:off x="395288" y="1511303"/>
            <a:ext cx="11406187" cy="4248499"/>
          </a:xfrm>
        </p:spPr>
        <p:txBody>
          <a:bodyPr/>
          <a:lstStyle>
            <a:lvl1pPr>
              <a:defRPr/>
            </a:lvl1pPr>
          </a:lstStyle>
          <a:p>
            <a:pPr lvl="0"/>
            <a:r>
              <a:rPr lang="de-DE" noProof="0" dirty="0" smtClean="0"/>
              <a:t>Inhalt oder 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
        <p:nvSpPr>
          <p:cNvPr id="14" name="Fußzeilenplatzhalter 4"/>
          <p:cNvSpPr>
            <a:spLocks noGrp="1"/>
          </p:cNvSpPr>
          <p:nvPr>
            <p:ph type="ftr" sz="quarter" idx="15"/>
          </p:nvPr>
        </p:nvSpPr>
        <p:spPr>
          <a:xfrm>
            <a:off x="3578400" y="6552000"/>
            <a:ext cx="7848000" cy="306000"/>
          </a:xfrm>
        </p:spPr>
        <p:txBody>
          <a:bodyPr/>
          <a:lstStyle/>
          <a:p>
            <a:r>
              <a:rPr lang="de-DE" dirty="0" smtClean="0">
                <a:solidFill>
                  <a:prstClr val="white"/>
                </a:solidFill>
              </a:rPr>
              <a:t>Titel der Präsentation in CorpoS (Textkörper) 10pt | Abteilung | Datum</a:t>
            </a:r>
            <a:endParaRPr lang="de-DE" dirty="0">
              <a:solidFill>
                <a:prstClr val="white"/>
              </a:solidFill>
            </a:endParaRPr>
          </a:p>
        </p:txBody>
      </p:sp>
      <p:sp>
        <p:nvSpPr>
          <p:cNvPr id="15" name="Foliennummernplatzhalter 5"/>
          <p:cNvSpPr>
            <a:spLocks noGrp="1"/>
          </p:cNvSpPr>
          <p:nvPr>
            <p:ph type="sldNum" sz="quarter" idx="16"/>
          </p:nvPr>
        </p:nvSpPr>
        <p:spPr>
          <a:xfrm>
            <a:off x="11800803" y="6552000"/>
            <a:ext cx="323999" cy="306000"/>
          </a:xfrm>
        </p:spPr>
        <p:txBody>
          <a:bodyPr/>
          <a:lstStyle/>
          <a:p>
            <a:fld id="{AD1D1349-391B-44DC-865F-5996B3E40F26}" type="slidenum">
              <a:rPr lang="de-DE" smtClean="0">
                <a:solidFill>
                  <a:prstClr val="white"/>
                </a:solidFill>
              </a:rPr>
              <a:pPr/>
              <a:t>‹#›</a:t>
            </a:fld>
            <a:endParaRPr lang="de-DE" dirty="0">
              <a:solidFill>
                <a:prstClr val="white"/>
              </a:solidFill>
            </a:endParaRPr>
          </a:p>
        </p:txBody>
      </p:sp>
      <p:sp>
        <p:nvSpPr>
          <p:cNvPr id="16" name="Textplatzhalter 3"/>
          <p:cNvSpPr>
            <a:spLocks noGrp="1"/>
          </p:cNvSpPr>
          <p:nvPr>
            <p:ph type="body" sz="quarter" idx="17"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7" name="Textplatzhalter 3"/>
          <p:cNvSpPr>
            <a:spLocks noGrp="1"/>
          </p:cNvSpPr>
          <p:nvPr>
            <p:ph type="body" sz="quarter" idx="18"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8" name="Textplatzhalter 3"/>
          <p:cNvSpPr>
            <a:spLocks noGrp="1"/>
          </p:cNvSpPr>
          <p:nvPr>
            <p:ph type="body" sz="quarter" idx="19"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0" name="Textplatzhalter 6"/>
          <p:cNvSpPr>
            <a:spLocks noGrp="1"/>
          </p:cNvSpPr>
          <p:nvPr>
            <p:ph type="body" sz="quarter" idx="22" hasCustomPrompt="1"/>
          </p:nvPr>
        </p:nvSpPr>
        <p:spPr>
          <a:xfrm>
            <a:off x="395291" y="5904000"/>
            <a:ext cx="11405511" cy="522000"/>
          </a:xfrm>
        </p:spPr>
        <p:txBody>
          <a:bodyPr/>
          <a:lstStyle>
            <a:lvl1pPr marL="0" indent="0">
              <a:spcAft>
                <a:spcPts val="0"/>
              </a:spcAft>
              <a:buFont typeface="Arial" panose="020B0604020202020204" pitchFamily="34" charset="0"/>
              <a:buNone/>
              <a:defRPr sz="1500"/>
            </a:lvl1pPr>
            <a:lvl2pPr marL="0" indent="0">
              <a:spcAft>
                <a:spcPts val="0"/>
              </a:spcAft>
              <a:buNone/>
              <a:defRPr sz="1500"/>
            </a:lvl2pPr>
            <a:lvl3pPr marL="0" indent="0">
              <a:spcAft>
                <a:spcPts val="0"/>
              </a:spcAft>
              <a:buNone/>
              <a:defRPr sz="1500"/>
            </a:lvl3pPr>
            <a:lvl4pPr marL="0" indent="0">
              <a:spcAft>
                <a:spcPts val="0"/>
              </a:spcAft>
              <a:buNone/>
              <a:defRPr sz="1500"/>
            </a:lvl4pPr>
            <a:lvl5pPr marL="0" indent="0">
              <a:spcAft>
                <a:spcPts val="0"/>
              </a:spcAft>
              <a:buNone/>
              <a:defRPr sz="1500"/>
            </a:lvl5pPr>
            <a:lvl6pPr marL="0" indent="0">
              <a:spcAft>
                <a:spcPts val="0"/>
              </a:spcAft>
              <a:buNone/>
              <a:defRPr sz="1500"/>
            </a:lvl6pPr>
            <a:lvl7pPr marL="0" indent="0">
              <a:spcAft>
                <a:spcPts val="0"/>
              </a:spcAft>
              <a:buNone/>
              <a:defRPr sz="1500"/>
            </a:lvl7pPr>
            <a:lvl8pPr marL="0" indent="0">
              <a:spcAft>
                <a:spcPts val="0"/>
              </a:spcAft>
              <a:buNone/>
              <a:defRPr sz="1500"/>
            </a:lvl8pPr>
            <a:lvl9pPr marL="0" indent="0">
              <a:spcAft>
                <a:spcPts val="0"/>
              </a:spcAft>
              <a:buNone/>
              <a:defRPr sz="1500"/>
            </a:lvl9pPr>
          </a:lstStyle>
          <a:p>
            <a:pPr lvl="0"/>
            <a:r>
              <a:rPr lang="de-DE" noProof="0" dirty="0" smtClean="0"/>
              <a:t>Inhaltsunterschriften in CorpoS (Textkörper) in 15 pt. einfügen </a:t>
            </a:r>
          </a:p>
          <a:p>
            <a:pPr lvl="1"/>
            <a:r>
              <a:rPr lang="de-DE" noProof="0" dirty="0" smtClean="0"/>
              <a:t>Zweite Ebene</a:t>
            </a:r>
          </a:p>
        </p:txBody>
      </p:sp>
    </p:spTree>
    <p:extLst>
      <p:ext uri="{BB962C8B-B14F-4D97-AF65-F5344CB8AC3E}">
        <p14:creationId xmlns:p14="http://schemas.microsoft.com/office/powerpoint/2010/main" val="245286018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daimler blanco">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643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8" name="Foliennummernplatzhalter 3">
            <a:extLst>
              <a:ext uri="{FF2B5EF4-FFF2-40B4-BE49-F238E27FC236}">
                <a16:creationId xmlns:a16="http://schemas.microsoft.com/office/drawing/2014/main" id="{3E15A405-AB95-44E1-98C0-C8DC619077BB}"/>
              </a:ext>
            </a:extLst>
          </p:cNvPr>
          <p:cNvSpPr txBox="1">
            <a:spLocks/>
          </p:cNvSpPr>
          <p:nvPr userDrawn="1"/>
        </p:nvSpPr>
        <p:spPr>
          <a:xfrm>
            <a:off x="11442992" y="6506836"/>
            <a:ext cx="1155196" cy="215950"/>
          </a:xfrm>
          <a:prstGeom prst="rect">
            <a:avLst/>
          </a:prstGeom>
        </p:spPr>
        <p:txBody>
          <a:bodyPr vert="horz" lIns="0" tIns="0" rIns="0" bIns="0" rtlCol="0" anchor="t" anchorCtr="0"/>
          <a:lstStyle>
            <a:defPPr>
              <a:defRPr lang="de-DE"/>
            </a:defPPr>
            <a:lvl1pPr marL="0" indent="0" algn="l" defTabSz="1088959" rtl="0" eaLnBrk="1" latinLnBrk="0" hangingPunct="1">
              <a:spcBef>
                <a:spcPts val="0"/>
              </a:spcBef>
              <a:buFont typeface="Arial" panose="020B0604020202020204" pitchFamily="34" charset="0"/>
              <a:buNone/>
              <a:defRPr sz="1200" kern="1200">
                <a:solidFill>
                  <a:schemeClr val="tx1"/>
                </a:solidFill>
                <a:latin typeface="+mn-lt"/>
                <a:ea typeface="+mn-ea"/>
                <a:cs typeface="+mn-cs"/>
              </a:defRPr>
            </a:lvl1pPr>
            <a:lvl2pPr marL="0" indent="0" algn="l" defTabSz="1088959" rtl="0" eaLnBrk="1" latinLnBrk="0" hangingPunct="1">
              <a:spcBef>
                <a:spcPts val="0"/>
              </a:spcBef>
              <a:defRPr sz="1200" kern="1200">
                <a:solidFill>
                  <a:schemeClr val="tx1"/>
                </a:solidFill>
                <a:latin typeface="+mn-lt"/>
                <a:ea typeface="+mn-ea"/>
                <a:cs typeface="+mn-cs"/>
              </a:defRPr>
            </a:lvl2pPr>
            <a:lvl3pPr marL="0" indent="0" algn="l" defTabSz="1088959" rtl="0" eaLnBrk="1" latinLnBrk="0" hangingPunct="1">
              <a:spcBef>
                <a:spcPts val="0"/>
              </a:spcBef>
              <a:defRPr sz="1200" kern="1200">
                <a:solidFill>
                  <a:schemeClr val="tx1"/>
                </a:solidFill>
                <a:latin typeface="+mn-lt"/>
                <a:ea typeface="+mn-ea"/>
                <a:cs typeface="+mn-cs"/>
              </a:defRPr>
            </a:lvl3pPr>
            <a:lvl4pPr marL="0" indent="0" algn="l" defTabSz="1088959" rtl="0" eaLnBrk="1" latinLnBrk="0" hangingPunct="1">
              <a:spcBef>
                <a:spcPts val="0"/>
              </a:spcBef>
              <a:defRPr sz="1200" kern="1200">
                <a:solidFill>
                  <a:schemeClr val="tx1"/>
                </a:solidFill>
                <a:latin typeface="+mn-lt"/>
                <a:ea typeface="+mn-ea"/>
                <a:cs typeface="+mn-cs"/>
              </a:defRPr>
            </a:lvl4pPr>
            <a:lvl5pPr marL="0" indent="0" algn="l" defTabSz="1088959" rtl="0" eaLnBrk="1" latinLnBrk="0" hangingPunct="1">
              <a:spcBef>
                <a:spcPts val="0"/>
              </a:spcBef>
              <a:defRPr sz="1200" kern="1200">
                <a:solidFill>
                  <a:schemeClr val="tx1"/>
                </a:solidFill>
                <a:latin typeface="+mn-lt"/>
                <a:ea typeface="+mn-ea"/>
                <a:cs typeface="+mn-cs"/>
              </a:defRPr>
            </a:lvl5pPr>
            <a:lvl6pPr marL="0" indent="0" algn="l" defTabSz="1088959" rtl="0" eaLnBrk="1" latinLnBrk="0" hangingPunct="1">
              <a:spcBef>
                <a:spcPts val="0"/>
              </a:spcBef>
              <a:defRPr sz="1200" kern="1200">
                <a:solidFill>
                  <a:schemeClr val="tx1"/>
                </a:solidFill>
                <a:latin typeface="+mn-lt"/>
                <a:ea typeface="+mn-ea"/>
                <a:cs typeface="+mn-cs"/>
              </a:defRPr>
            </a:lvl6pPr>
            <a:lvl7pPr marL="0" indent="0" algn="l" defTabSz="1088959" rtl="0" eaLnBrk="1" latinLnBrk="0" hangingPunct="1">
              <a:spcBef>
                <a:spcPts val="0"/>
              </a:spcBef>
              <a:defRPr sz="1200" kern="1200">
                <a:solidFill>
                  <a:schemeClr val="tx1"/>
                </a:solidFill>
                <a:latin typeface="+mn-lt"/>
                <a:ea typeface="+mn-ea"/>
                <a:cs typeface="+mn-cs"/>
              </a:defRPr>
            </a:lvl7pPr>
            <a:lvl8pPr marL="0" indent="0" algn="l" defTabSz="1088959" rtl="0" eaLnBrk="1" latinLnBrk="0" hangingPunct="1">
              <a:spcBef>
                <a:spcPts val="0"/>
              </a:spcBef>
              <a:defRPr sz="1200" kern="1200">
                <a:solidFill>
                  <a:schemeClr val="tx1"/>
                </a:solidFill>
                <a:latin typeface="+mn-lt"/>
                <a:ea typeface="+mn-ea"/>
                <a:cs typeface="+mn-cs"/>
              </a:defRPr>
            </a:lvl8pPr>
            <a:lvl9pPr marL="0" indent="0" algn="l" defTabSz="1088959" rtl="0" eaLnBrk="1" latinLnBrk="0" hangingPunct="1">
              <a:spcBef>
                <a:spcPts val="0"/>
              </a:spcBef>
              <a:defRPr sz="1200" kern="1200">
                <a:solidFill>
                  <a:schemeClr val="tx1"/>
                </a:solidFill>
                <a:latin typeface="+mn-lt"/>
                <a:ea typeface="+mn-ea"/>
                <a:cs typeface="+mn-cs"/>
              </a:defRPr>
            </a:lvl9pPr>
          </a:lstStyle>
          <a:p>
            <a:r>
              <a:rPr lang="en-GB" sz="1199" b="1" dirty="0">
                <a:solidFill>
                  <a:prstClr val="black"/>
                </a:solidFill>
              </a:rPr>
              <a:t>PAGE </a:t>
            </a:r>
            <a:fld id="{52531704-8F80-415D-BD2B-6B9991AE822F}" type="slidenum">
              <a:rPr lang="en-GB" sz="1199" b="1" smtClean="0">
                <a:solidFill>
                  <a:prstClr val="black"/>
                </a:solidFill>
              </a:rPr>
              <a:pPr/>
              <a:t>‹#›</a:t>
            </a:fld>
            <a:endParaRPr lang="en-GB" sz="1199" b="1" dirty="0">
              <a:solidFill>
                <a:prstClr val="black"/>
              </a:solidFill>
            </a:endParaRPr>
          </a:p>
        </p:txBody>
      </p:sp>
    </p:spTree>
    <p:extLst>
      <p:ext uri="{BB962C8B-B14F-4D97-AF65-F5344CB8AC3E}">
        <p14:creationId xmlns:p14="http://schemas.microsoft.com/office/powerpoint/2010/main" val="392728767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66">
          <p15:clr>
            <a:srgbClr val="FBAE40"/>
          </p15:clr>
        </p15:guide>
        <p15:guide id="3" orient="horz" pos="754">
          <p15:clr>
            <a:srgbClr val="FBAE40"/>
          </p15:clr>
        </p15:guide>
        <p15:guide id="4" orient="horz" pos="845">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abelle mit Überschrift">
    <p:spTree>
      <p:nvGrpSpPr>
        <p:cNvPr id="1" name=""/>
        <p:cNvGrpSpPr/>
        <p:nvPr/>
      </p:nvGrpSpPr>
      <p:grpSpPr>
        <a:xfrm>
          <a:off x="0" y="0"/>
          <a:ext cx="0" cy="0"/>
          <a:chOff x="0" y="0"/>
          <a:chExt cx="0" cy="0"/>
        </a:xfrm>
      </p:grpSpPr>
      <p:sp>
        <p:nvSpPr>
          <p:cNvPr id="3" name="Tabellenplatzhalter 2"/>
          <p:cNvSpPr>
            <a:spLocks noGrp="1"/>
          </p:cNvSpPr>
          <p:nvPr>
            <p:ph type="tbl" sz="quarter" idx="20" hasCustomPrompt="1"/>
          </p:nvPr>
        </p:nvSpPr>
        <p:spPr>
          <a:xfrm>
            <a:off x="395287" y="2484000"/>
            <a:ext cx="11406189" cy="2700000"/>
          </a:xfrm>
        </p:spPr>
        <p:txBody>
          <a:bodyPr/>
          <a:lstStyle>
            <a:lvl1pPr algn="ctr">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Tabelle einfügen</a:t>
            </a:r>
            <a:endParaRPr lang="de-DE" noProof="0" dirty="0"/>
          </a:p>
        </p:txBody>
      </p:sp>
      <p:sp>
        <p:nvSpPr>
          <p:cNvPr id="11" name="Titel 1"/>
          <p:cNvSpPr>
            <a:spLocks noGrp="1"/>
          </p:cNvSpPr>
          <p:nvPr>
            <p:ph type="title" hasCustomPrompt="1"/>
          </p:nvPr>
        </p:nvSpPr>
        <p:spPr>
          <a:xfrm>
            <a:off x="395289" y="368302"/>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2" name="Textplatzhalter 7"/>
          <p:cNvSpPr>
            <a:spLocks noGrp="1"/>
          </p:cNvSpPr>
          <p:nvPr>
            <p:ph type="body" sz="quarter" idx="13" hasCustomPrompt="1"/>
          </p:nvPr>
        </p:nvSpPr>
        <p:spPr>
          <a:xfrm>
            <a:off x="395289"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
        <p:nvSpPr>
          <p:cNvPr id="14" name="Fußzeilenplatzhalter 4"/>
          <p:cNvSpPr>
            <a:spLocks noGrp="1"/>
          </p:cNvSpPr>
          <p:nvPr>
            <p:ph type="ftr" sz="quarter" idx="15"/>
          </p:nvPr>
        </p:nvSpPr>
        <p:spPr>
          <a:xfrm>
            <a:off x="3578400" y="6552000"/>
            <a:ext cx="7848000" cy="306000"/>
          </a:xfrm>
        </p:spPr>
        <p:txBody>
          <a:bodyPr/>
          <a:lstStyle/>
          <a:p>
            <a:r>
              <a:rPr lang="de-DE" dirty="0" smtClean="0">
                <a:solidFill>
                  <a:prstClr val="white"/>
                </a:solidFill>
              </a:rPr>
              <a:t>Titel der Präsentation in CorpoS (Textkörper) 10pt | Abteilung | Datum</a:t>
            </a:r>
            <a:endParaRPr lang="de-DE" dirty="0">
              <a:solidFill>
                <a:prstClr val="white"/>
              </a:solidFill>
            </a:endParaRPr>
          </a:p>
        </p:txBody>
      </p:sp>
      <p:sp>
        <p:nvSpPr>
          <p:cNvPr id="15" name="Foliennummernplatzhalter 5"/>
          <p:cNvSpPr>
            <a:spLocks noGrp="1"/>
          </p:cNvSpPr>
          <p:nvPr>
            <p:ph type="sldNum" sz="quarter" idx="16"/>
          </p:nvPr>
        </p:nvSpPr>
        <p:spPr>
          <a:xfrm>
            <a:off x="11800803" y="6552000"/>
            <a:ext cx="323999" cy="306000"/>
          </a:xfrm>
        </p:spPr>
        <p:txBody>
          <a:bodyPr/>
          <a:lstStyle/>
          <a:p>
            <a:fld id="{AD1D1349-391B-44DC-865F-5996B3E40F26}" type="slidenum">
              <a:rPr lang="de-DE" smtClean="0">
                <a:solidFill>
                  <a:prstClr val="white"/>
                </a:solidFill>
              </a:rPr>
              <a:pPr/>
              <a:t>‹#›</a:t>
            </a:fld>
            <a:endParaRPr lang="de-DE" dirty="0">
              <a:solidFill>
                <a:prstClr val="white"/>
              </a:solidFill>
            </a:endParaRPr>
          </a:p>
        </p:txBody>
      </p:sp>
      <p:sp>
        <p:nvSpPr>
          <p:cNvPr id="16" name="Textplatzhalter 3"/>
          <p:cNvSpPr>
            <a:spLocks noGrp="1"/>
          </p:cNvSpPr>
          <p:nvPr>
            <p:ph type="body" sz="quarter" idx="17"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7" name="Textplatzhalter 3"/>
          <p:cNvSpPr>
            <a:spLocks noGrp="1"/>
          </p:cNvSpPr>
          <p:nvPr>
            <p:ph type="body" sz="quarter" idx="18"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8" name="Textplatzhalter 3"/>
          <p:cNvSpPr>
            <a:spLocks noGrp="1"/>
          </p:cNvSpPr>
          <p:nvPr>
            <p:ph type="body" sz="quarter" idx="19"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5" name="Textplatzhalter 4"/>
          <p:cNvSpPr>
            <a:spLocks noGrp="1"/>
          </p:cNvSpPr>
          <p:nvPr>
            <p:ph type="body" sz="quarter" idx="21" hasCustomPrompt="1"/>
          </p:nvPr>
        </p:nvSpPr>
        <p:spPr>
          <a:xfrm>
            <a:off x="395286" y="1512003"/>
            <a:ext cx="11405514" cy="720000"/>
          </a:xfrm>
        </p:spPr>
        <p:txBody>
          <a:bodyPr/>
          <a:lstStyle>
            <a:lvl1pPr>
              <a:spcAft>
                <a:spcPts val="0"/>
              </a:spcAft>
              <a:defRPr b="1"/>
            </a:lvl1pPr>
            <a:lvl2pPr marL="0" indent="0">
              <a:spcAft>
                <a:spcPts val="0"/>
              </a:spcAft>
              <a:buNone/>
              <a:defRPr sz="2000" b="1"/>
            </a:lvl2pPr>
            <a:lvl3pPr marL="0" indent="0">
              <a:spcAft>
                <a:spcPts val="0"/>
              </a:spcAft>
              <a:buNone/>
              <a:defRPr sz="2000" b="1"/>
            </a:lvl3pPr>
            <a:lvl4pPr marL="0" indent="0">
              <a:spcAft>
                <a:spcPts val="0"/>
              </a:spcAft>
              <a:buNone/>
              <a:defRPr sz="2000" b="1"/>
            </a:lvl4pPr>
            <a:lvl5pPr marL="0" indent="0">
              <a:spcAft>
                <a:spcPts val="0"/>
              </a:spcAft>
              <a:buNone/>
              <a:defRPr sz="2000" b="1"/>
            </a:lvl5pPr>
            <a:lvl6pPr marL="0" indent="0">
              <a:spcAft>
                <a:spcPts val="0"/>
              </a:spcAft>
              <a:buNone/>
              <a:defRPr sz="2000" b="1"/>
            </a:lvl6pPr>
            <a:lvl7pPr marL="0" indent="0">
              <a:spcAft>
                <a:spcPts val="0"/>
              </a:spcAft>
              <a:buNone/>
              <a:defRPr sz="2000" b="1"/>
            </a:lvl7pPr>
            <a:lvl8pPr marL="0" indent="0">
              <a:spcAft>
                <a:spcPts val="0"/>
              </a:spcAft>
              <a:buNone/>
              <a:defRPr sz="2000" b="1"/>
            </a:lvl8pPr>
            <a:lvl9pPr marL="0" indent="0">
              <a:spcAft>
                <a:spcPts val="0"/>
              </a:spcAft>
              <a:buNone/>
              <a:defRPr sz="2000" b="1"/>
            </a:lvl9pPr>
          </a:lstStyle>
          <a:p>
            <a:pPr lvl="0"/>
            <a:r>
              <a:rPr lang="de-DE" noProof="0" dirty="0" smtClean="0"/>
              <a:t>Tabellenüberschrift in CorpoS (Textkörper) in 20 pt. bold einfügen</a:t>
            </a:r>
            <a:endParaRPr lang="de-DE" noProof="0" dirty="0"/>
          </a:p>
        </p:txBody>
      </p:sp>
      <p:sp>
        <p:nvSpPr>
          <p:cNvPr id="7" name="Textplatzhalter 6"/>
          <p:cNvSpPr>
            <a:spLocks noGrp="1"/>
          </p:cNvSpPr>
          <p:nvPr>
            <p:ph type="body" sz="quarter" idx="22" hasCustomPrompt="1"/>
          </p:nvPr>
        </p:nvSpPr>
        <p:spPr>
          <a:xfrm>
            <a:off x="395291" y="5328001"/>
            <a:ext cx="11405511" cy="1098200"/>
          </a:xfrm>
        </p:spPr>
        <p:txBody>
          <a:bodyPr/>
          <a:lstStyle>
            <a:lvl1pPr marL="0" indent="0">
              <a:spcAft>
                <a:spcPts val="0"/>
              </a:spcAft>
              <a:buFont typeface="Arial" panose="020B0604020202020204" pitchFamily="34" charset="0"/>
              <a:buNone/>
              <a:defRPr sz="1500"/>
            </a:lvl1pPr>
            <a:lvl2pPr marL="0" indent="0">
              <a:spcAft>
                <a:spcPts val="0"/>
              </a:spcAft>
              <a:buNone/>
              <a:defRPr sz="1500"/>
            </a:lvl2pPr>
            <a:lvl3pPr marL="0" indent="0">
              <a:spcAft>
                <a:spcPts val="0"/>
              </a:spcAft>
              <a:buNone/>
              <a:defRPr sz="1500"/>
            </a:lvl3pPr>
            <a:lvl4pPr marL="0" indent="0">
              <a:spcAft>
                <a:spcPts val="0"/>
              </a:spcAft>
              <a:buNone/>
              <a:defRPr sz="1500"/>
            </a:lvl4pPr>
            <a:lvl5pPr marL="0" indent="0">
              <a:spcAft>
                <a:spcPts val="0"/>
              </a:spcAft>
              <a:buNone/>
              <a:defRPr sz="1500"/>
            </a:lvl5pPr>
            <a:lvl6pPr marL="0" indent="0">
              <a:spcAft>
                <a:spcPts val="0"/>
              </a:spcAft>
              <a:buNone/>
              <a:defRPr sz="1500"/>
            </a:lvl6pPr>
            <a:lvl7pPr marL="0" indent="0">
              <a:spcAft>
                <a:spcPts val="0"/>
              </a:spcAft>
              <a:buNone/>
              <a:defRPr sz="1500"/>
            </a:lvl7pPr>
            <a:lvl8pPr marL="0" indent="0">
              <a:spcAft>
                <a:spcPts val="0"/>
              </a:spcAft>
              <a:buNone/>
              <a:defRPr sz="1500"/>
            </a:lvl8pPr>
            <a:lvl9pPr marL="0" indent="0">
              <a:spcAft>
                <a:spcPts val="0"/>
              </a:spcAft>
              <a:buNone/>
              <a:defRPr sz="1500"/>
            </a:lvl9pPr>
          </a:lstStyle>
          <a:p>
            <a:pPr lvl="0"/>
            <a:r>
              <a:rPr lang="de-DE" noProof="0" dirty="0" smtClean="0"/>
              <a:t>Tabellenunterschriften in CorpoS (Textkörper) in 15 pt. einfügen </a:t>
            </a:r>
          </a:p>
          <a:p>
            <a:pPr lvl="1"/>
            <a:r>
              <a:rPr lang="de-DE" noProof="0" dirty="0" smtClean="0"/>
              <a:t>Zweite Ebene</a:t>
            </a:r>
          </a:p>
          <a:p>
            <a:pPr lvl="2"/>
            <a:r>
              <a:rPr lang="de-DE" noProof="0" dirty="0" smtClean="0"/>
              <a:t>Dritte Ebene</a:t>
            </a:r>
          </a:p>
        </p:txBody>
      </p:sp>
    </p:spTree>
    <p:extLst>
      <p:ext uri="{BB962C8B-B14F-4D97-AF65-F5344CB8AC3E}">
        <p14:creationId xmlns:p14="http://schemas.microsoft.com/office/powerpoint/2010/main" val="382113424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Headline // Zwei Inhal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95289" y="368302"/>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3" name="Textplatzhalter 7"/>
          <p:cNvSpPr>
            <a:spLocks noGrp="1"/>
          </p:cNvSpPr>
          <p:nvPr>
            <p:ph type="body" sz="quarter" idx="13" hasCustomPrompt="1"/>
          </p:nvPr>
        </p:nvSpPr>
        <p:spPr>
          <a:xfrm>
            <a:off x="395289"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
        <p:nvSpPr>
          <p:cNvPr id="14" name="Inhaltsplatzhalter 6"/>
          <p:cNvSpPr>
            <a:spLocks noGrp="1"/>
          </p:cNvSpPr>
          <p:nvPr>
            <p:ph sz="quarter" idx="14" hasCustomPrompt="1"/>
          </p:nvPr>
        </p:nvSpPr>
        <p:spPr>
          <a:xfrm>
            <a:off x="395288" y="1511301"/>
            <a:ext cx="5580000" cy="4914900"/>
          </a:xfrm>
        </p:spPr>
        <p:txBody>
          <a:bodyPr/>
          <a:lstStyle>
            <a:lvl1pPr>
              <a:defRPr/>
            </a:lvl1pPr>
          </a:lstStyle>
          <a:p>
            <a:pPr lvl="0"/>
            <a:r>
              <a:rPr lang="de-DE" noProof="0" dirty="0" smtClean="0"/>
              <a:t>Inhalt oder 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
        <p:nvSpPr>
          <p:cNvPr id="15" name="Fußzeilenplatzhalter 4"/>
          <p:cNvSpPr>
            <a:spLocks noGrp="1"/>
          </p:cNvSpPr>
          <p:nvPr>
            <p:ph type="ftr" sz="quarter" idx="15"/>
          </p:nvPr>
        </p:nvSpPr>
        <p:spPr>
          <a:xfrm>
            <a:off x="3578400" y="6552000"/>
            <a:ext cx="7848000" cy="306000"/>
          </a:xfrm>
        </p:spPr>
        <p:txBody>
          <a:bodyPr/>
          <a:lstStyle/>
          <a:p>
            <a:r>
              <a:rPr lang="de-DE" dirty="0" smtClean="0">
                <a:solidFill>
                  <a:prstClr val="white"/>
                </a:solidFill>
              </a:rPr>
              <a:t>Titel der Präsentation in CorpoS (Textkörper) 10pt | Abteilung | Datum</a:t>
            </a:r>
            <a:endParaRPr lang="de-DE" dirty="0">
              <a:solidFill>
                <a:prstClr val="white"/>
              </a:solidFill>
            </a:endParaRPr>
          </a:p>
        </p:txBody>
      </p:sp>
      <p:sp>
        <p:nvSpPr>
          <p:cNvPr id="16" name="Foliennummernplatzhalter 5"/>
          <p:cNvSpPr>
            <a:spLocks noGrp="1"/>
          </p:cNvSpPr>
          <p:nvPr>
            <p:ph type="sldNum" sz="quarter" idx="16"/>
          </p:nvPr>
        </p:nvSpPr>
        <p:spPr>
          <a:xfrm>
            <a:off x="11800803" y="6552000"/>
            <a:ext cx="323999" cy="306000"/>
          </a:xfrm>
        </p:spPr>
        <p:txBody>
          <a:bodyPr/>
          <a:lstStyle/>
          <a:p>
            <a:fld id="{AD1D1349-391B-44DC-865F-5996B3E40F26}" type="slidenum">
              <a:rPr lang="de-DE" smtClean="0">
                <a:solidFill>
                  <a:prstClr val="white"/>
                </a:solidFill>
              </a:rPr>
              <a:pPr/>
              <a:t>‹#›</a:t>
            </a:fld>
            <a:endParaRPr lang="de-DE" dirty="0">
              <a:solidFill>
                <a:prstClr val="white"/>
              </a:solidFill>
            </a:endParaRPr>
          </a:p>
        </p:txBody>
      </p:sp>
      <p:sp>
        <p:nvSpPr>
          <p:cNvPr id="17" name="Textplatzhalter 3"/>
          <p:cNvSpPr>
            <a:spLocks noGrp="1"/>
          </p:cNvSpPr>
          <p:nvPr>
            <p:ph type="body" sz="quarter" idx="17"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8" name="Textplatzhalter 3"/>
          <p:cNvSpPr>
            <a:spLocks noGrp="1"/>
          </p:cNvSpPr>
          <p:nvPr>
            <p:ph type="body" sz="quarter" idx="18"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9" name="Textplatzhalter 3"/>
          <p:cNvSpPr>
            <a:spLocks noGrp="1"/>
          </p:cNvSpPr>
          <p:nvPr>
            <p:ph type="body" sz="quarter" idx="19"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20" name="Inhaltsplatzhalter 6"/>
          <p:cNvSpPr>
            <a:spLocks noGrp="1"/>
          </p:cNvSpPr>
          <p:nvPr>
            <p:ph sz="quarter" idx="20" hasCustomPrompt="1"/>
          </p:nvPr>
        </p:nvSpPr>
        <p:spPr>
          <a:xfrm>
            <a:off x="6221476" y="1511301"/>
            <a:ext cx="5580000" cy="4914900"/>
          </a:xfrm>
        </p:spPr>
        <p:txBody>
          <a:bodyPr/>
          <a:lstStyle>
            <a:lvl1pPr>
              <a:defRPr/>
            </a:lvl1pPr>
          </a:lstStyle>
          <a:p>
            <a:pPr lvl="0"/>
            <a:r>
              <a:rPr lang="de-DE" noProof="0" dirty="0" smtClean="0"/>
              <a:t>Inhalt oder 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Tree>
    <p:extLst>
      <p:ext uri="{BB962C8B-B14F-4D97-AF65-F5344CB8AC3E}">
        <p14:creationId xmlns:p14="http://schemas.microsoft.com/office/powerpoint/2010/main" val="2438273464"/>
      </p:ext>
    </p:extLst>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Headline // Bild/Text">
    <p:spTree>
      <p:nvGrpSpPr>
        <p:cNvPr id="1" name=""/>
        <p:cNvGrpSpPr/>
        <p:nvPr/>
      </p:nvGrpSpPr>
      <p:grpSpPr>
        <a:xfrm>
          <a:off x="0" y="0"/>
          <a:ext cx="0" cy="0"/>
          <a:chOff x="0" y="0"/>
          <a:chExt cx="0" cy="0"/>
        </a:xfrm>
      </p:grpSpPr>
      <p:sp>
        <p:nvSpPr>
          <p:cNvPr id="21" name="Titel 1"/>
          <p:cNvSpPr>
            <a:spLocks noGrp="1"/>
          </p:cNvSpPr>
          <p:nvPr>
            <p:ph type="title" hasCustomPrompt="1"/>
          </p:nvPr>
        </p:nvSpPr>
        <p:spPr>
          <a:xfrm>
            <a:off x="395289" y="368302"/>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22" name="Textplatzhalter 7"/>
          <p:cNvSpPr>
            <a:spLocks noGrp="1"/>
          </p:cNvSpPr>
          <p:nvPr>
            <p:ph type="body" sz="quarter" idx="13" hasCustomPrompt="1"/>
          </p:nvPr>
        </p:nvSpPr>
        <p:spPr>
          <a:xfrm>
            <a:off x="395289"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
        <p:nvSpPr>
          <p:cNvPr id="23" name="Textplatzhalter 3"/>
          <p:cNvSpPr>
            <a:spLocks noGrp="1"/>
          </p:cNvSpPr>
          <p:nvPr>
            <p:ph type="body" sz="quarter" idx="17"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24" name="Textplatzhalter 3"/>
          <p:cNvSpPr>
            <a:spLocks noGrp="1"/>
          </p:cNvSpPr>
          <p:nvPr>
            <p:ph type="body" sz="quarter" idx="18"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25" name="Textplatzhalter 3"/>
          <p:cNvSpPr>
            <a:spLocks noGrp="1"/>
          </p:cNvSpPr>
          <p:nvPr>
            <p:ph type="body" sz="quarter" idx="19"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26" name="Bildplatzhalter 8"/>
          <p:cNvSpPr>
            <a:spLocks noGrp="1"/>
          </p:cNvSpPr>
          <p:nvPr>
            <p:ph type="pic" sz="quarter" idx="10" hasCustomPrompt="1"/>
          </p:nvPr>
        </p:nvSpPr>
        <p:spPr bwMode="gray">
          <a:xfrm>
            <a:off x="396003" y="1512002"/>
            <a:ext cx="5579999" cy="4914201"/>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27" name="Textplatzhalter 13"/>
          <p:cNvSpPr>
            <a:spLocks noGrp="1"/>
          </p:cNvSpPr>
          <p:nvPr>
            <p:ph type="body" sz="quarter" idx="20" hasCustomPrompt="1"/>
          </p:nvPr>
        </p:nvSpPr>
        <p:spPr>
          <a:xfrm>
            <a:off x="6220801" y="1512002"/>
            <a:ext cx="5580676" cy="4914201"/>
          </a:xfrm>
        </p:spPr>
        <p:txBody>
          <a:bodyPr/>
          <a:lstStyle/>
          <a:p>
            <a:pPr lvl="0"/>
            <a:r>
              <a:rPr lang="de-DE" noProof="0" dirty="0" smtClean="0"/>
              <a:t>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
        <p:nvSpPr>
          <p:cNvPr id="28" name="Fußzeilenplatzhalter 2"/>
          <p:cNvSpPr>
            <a:spLocks noGrp="1"/>
          </p:cNvSpPr>
          <p:nvPr>
            <p:ph type="ftr" sz="quarter" idx="21"/>
          </p:nvPr>
        </p:nvSpPr>
        <p:spPr>
          <a:xfrm>
            <a:off x="3578400" y="6552000"/>
            <a:ext cx="7848000" cy="306000"/>
          </a:xfrm>
        </p:spPr>
        <p:txBody>
          <a:bodyPr/>
          <a:lstStyle/>
          <a:p>
            <a:r>
              <a:rPr lang="de-DE" dirty="0" smtClean="0">
                <a:solidFill>
                  <a:prstClr val="white"/>
                </a:solidFill>
              </a:rPr>
              <a:t>Titel der Präsentation in CorpoS (Textkörper) 10pt | Abteilung | Datum</a:t>
            </a:r>
            <a:endParaRPr lang="de-DE" dirty="0">
              <a:solidFill>
                <a:prstClr val="white"/>
              </a:solidFill>
            </a:endParaRPr>
          </a:p>
        </p:txBody>
      </p:sp>
      <p:sp>
        <p:nvSpPr>
          <p:cNvPr id="29" name="Foliennummernplatzhalter 6"/>
          <p:cNvSpPr>
            <a:spLocks noGrp="1"/>
          </p:cNvSpPr>
          <p:nvPr>
            <p:ph type="sldNum" sz="quarter" idx="22"/>
          </p:nvPr>
        </p:nvSpPr>
        <p:spPr>
          <a:xfrm>
            <a:off x="11800803" y="6552000"/>
            <a:ext cx="323999" cy="306000"/>
          </a:xfrm>
        </p:spPr>
        <p:txBody>
          <a:bodyPr/>
          <a:lstStyle/>
          <a:p>
            <a:fld id="{AD1D1349-391B-44DC-865F-5996B3E40F26}" type="slidenum">
              <a:rPr lang="de-DE" smtClean="0">
                <a:solidFill>
                  <a:prstClr val="white"/>
                </a:solidFill>
              </a:rPr>
              <a:pPr/>
              <a:t>‹#›</a:t>
            </a:fld>
            <a:endParaRPr lang="de-DE" dirty="0">
              <a:solidFill>
                <a:prstClr val="white"/>
              </a:solidFill>
            </a:endParaRPr>
          </a:p>
        </p:txBody>
      </p:sp>
    </p:spTree>
    <p:extLst>
      <p:ext uri="{BB962C8B-B14F-4D97-AF65-F5344CB8AC3E}">
        <p14:creationId xmlns:p14="http://schemas.microsoft.com/office/powerpoint/2010/main" val="1547377847"/>
      </p:ext>
    </p:extLst>
  </p:cSld>
  <p:clrMapOvr>
    <a:masterClrMapping/>
  </p:clrMapOvr>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Headline // 2 Bilder/2 Texte">
    <p:spTree>
      <p:nvGrpSpPr>
        <p:cNvPr id="1" name=""/>
        <p:cNvGrpSpPr/>
        <p:nvPr/>
      </p:nvGrpSpPr>
      <p:grpSpPr>
        <a:xfrm>
          <a:off x="0" y="0"/>
          <a:ext cx="0" cy="0"/>
          <a:chOff x="0" y="0"/>
          <a:chExt cx="0" cy="0"/>
        </a:xfrm>
      </p:grpSpPr>
      <p:sp>
        <p:nvSpPr>
          <p:cNvPr id="24" name="Titel 1"/>
          <p:cNvSpPr>
            <a:spLocks noGrp="1"/>
          </p:cNvSpPr>
          <p:nvPr>
            <p:ph type="title" hasCustomPrompt="1"/>
          </p:nvPr>
        </p:nvSpPr>
        <p:spPr>
          <a:xfrm>
            <a:off x="395289" y="368302"/>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25" name="Textplatzhalter 7"/>
          <p:cNvSpPr>
            <a:spLocks noGrp="1"/>
          </p:cNvSpPr>
          <p:nvPr>
            <p:ph type="body" sz="quarter" idx="13" hasCustomPrompt="1"/>
          </p:nvPr>
        </p:nvSpPr>
        <p:spPr>
          <a:xfrm>
            <a:off x="395289"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
        <p:nvSpPr>
          <p:cNvPr id="26" name="Textplatzhalter 3"/>
          <p:cNvSpPr>
            <a:spLocks noGrp="1"/>
          </p:cNvSpPr>
          <p:nvPr>
            <p:ph type="body" sz="quarter" idx="17"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27" name="Textplatzhalter 3"/>
          <p:cNvSpPr>
            <a:spLocks noGrp="1"/>
          </p:cNvSpPr>
          <p:nvPr>
            <p:ph type="body" sz="quarter" idx="18"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28" name="Textplatzhalter 3"/>
          <p:cNvSpPr>
            <a:spLocks noGrp="1"/>
          </p:cNvSpPr>
          <p:nvPr>
            <p:ph type="body" sz="quarter" idx="19"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29" name="Bildplatzhalter 8"/>
          <p:cNvSpPr>
            <a:spLocks noGrp="1"/>
          </p:cNvSpPr>
          <p:nvPr>
            <p:ph type="pic" sz="quarter" idx="10" hasCustomPrompt="1"/>
          </p:nvPr>
        </p:nvSpPr>
        <p:spPr bwMode="gray">
          <a:xfrm>
            <a:off x="396003" y="1512000"/>
            <a:ext cx="5579999"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30" name="Bildplatzhalter 8"/>
          <p:cNvSpPr>
            <a:spLocks noGrp="1"/>
          </p:cNvSpPr>
          <p:nvPr>
            <p:ph type="pic" sz="quarter" idx="25" hasCustomPrompt="1"/>
          </p:nvPr>
        </p:nvSpPr>
        <p:spPr bwMode="gray">
          <a:xfrm>
            <a:off x="6221478" y="1511300"/>
            <a:ext cx="5579999"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31" name="Textplatzhalter 13"/>
          <p:cNvSpPr>
            <a:spLocks noGrp="1"/>
          </p:cNvSpPr>
          <p:nvPr>
            <p:ph type="body" sz="quarter" idx="20" hasCustomPrompt="1"/>
          </p:nvPr>
        </p:nvSpPr>
        <p:spPr>
          <a:xfrm>
            <a:off x="6221478" y="3502801"/>
            <a:ext cx="5579999" cy="2923400"/>
          </a:xfrm>
        </p:spPr>
        <p:txBody>
          <a:bodyPr/>
          <a:lstStyle/>
          <a:p>
            <a:pPr lvl="0"/>
            <a:r>
              <a:rPr lang="de-DE" noProof="0" dirty="0" smtClean="0"/>
              <a:t>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p:txBody>
      </p:sp>
      <p:sp>
        <p:nvSpPr>
          <p:cNvPr id="32" name="Textplatzhalter 13"/>
          <p:cNvSpPr>
            <a:spLocks noGrp="1"/>
          </p:cNvSpPr>
          <p:nvPr>
            <p:ph type="body" sz="quarter" idx="26" hasCustomPrompt="1"/>
          </p:nvPr>
        </p:nvSpPr>
        <p:spPr>
          <a:xfrm>
            <a:off x="395289" y="3502801"/>
            <a:ext cx="5579999" cy="2923400"/>
          </a:xfrm>
        </p:spPr>
        <p:txBody>
          <a:bodyPr/>
          <a:lstStyle/>
          <a:p>
            <a:pPr lvl="0"/>
            <a:r>
              <a:rPr lang="de-DE" noProof="0" dirty="0" smtClean="0"/>
              <a:t>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p:txBody>
      </p:sp>
      <p:sp>
        <p:nvSpPr>
          <p:cNvPr id="33" name="Fußzeilenplatzhalter 2"/>
          <p:cNvSpPr>
            <a:spLocks noGrp="1"/>
          </p:cNvSpPr>
          <p:nvPr>
            <p:ph type="ftr" sz="quarter" idx="27"/>
          </p:nvPr>
        </p:nvSpPr>
        <p:spPr>
          <a:xfrm>
            <a:off x="3578400" y="6552000"/>
            <a:ext cx="7848000" cy="306000"/>
          </a:xfrm>
        </p:spPr>
        <p:txBody>
          <a:bodyPr/>
          <a:lstStyle/>
          <a:p>
            <a:r>
              <a:rPr lang="de-DE" dirty="0" smtClean="0">
                <a:solidFill>
                  <a:prstClr val="white"/>
                </a:solidFill>
              </a:rPr>
              <a:t>Titel der Präsentation in CorpoS (Textkörper) 10pt | Abteilung | Datum</a:t>
            </a:r>
            <a:endParaRPr lang="de-DE" dirty="0">
              <a:solidFill>
                <a:prstClr val="white"/>
              </a:solidFill>
            </a:endParaRPr>
          </a:p>
        </p:txBody>
      </p:sp>
      <p:sp>
        <p:nvSpPr>
          <p:cNvPr id="34" name="Foliennummernplatzhalter 6"/>
          <p:cNvSpPr>
            <a:spLocks noGrp="1"/>
          </p:cNvSpPr>
          <p:nvPr>
            <p:ph type="sldNum" sz="quarter" idx="28"/>
          </p:nvPr>
        </p:nvSpPr>
        <p:spPr>
          <a:xfrm>
            <a:off x="11800803" y="6552000"/>
            <a:ext cx="323999" cy="306000"/>
          </a:xfrm>
        </p:spPr>
        <p:txBody>
          <a:bodyPr/>
          <a:lstStyle/>
          <a:p>
            <a:fld id="{AD1D1349-391B-44DC-865F-5996B3E40F26}" type="slidenum">
              <a:rPr lang="de-DE" smtClean="0">
                <a:solidFill>
                  <a:prstClr val="white"/>
                </a:solidFill>
              </a:rPr>
              <a:pPr/>
              <a:t>‹#›</a:t>
            </a:fld>
            <a:endParaRPr lang="de-DE" dirty="0">
              <a:solidFill>
                <a:prstClr val="white"/>
              </a:solidFill>
            </a:endParaRPr>
          </a:p>
        </p:txBody>
      </p:sp>
    </p:spTree>
    <p:extLst>
      <p:ext uri="{BB962C8B-B14F-4D97-AF65-F5344CB8AC3E}">
        <p14:creationId xmlns:p14="http://schemas.microsoft.com/office/powerpoint/2010/main" val="3594892598"/>
      </p:ext>
    </p:extLst>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Headline // Bild // Bildunterschrif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95289" y="368302"/>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4" name="Textplatzhalter 7"/>
          <p:cNvSpPr>
            <a:spLocks noGrp="1"/>
          </p:cNvSpPr>
          <p:nvPr>
            <p:ph type="body" sz="quarter" idx="13" hasCustomPrompt="1"/>
          </p:nvPr>
        </p:nvSpPr>
        <p:spPr>
          <a:xfrm>
            <a:off x="395289"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
        <p:nvSpPr>
          <p:cNvPr id="15" name="Textplatzhalter 3"/>
          <p:cNvSpPr>
            <a:spLocks noGrp="1"/>
          </p:cNvSpPr>
          <p:nvPr>
            <p:ph type="body" sz="quarter" idx="17"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6" name="Textplatzhalter 3"/>
          <p:cNvSpPr>
            <a:spLocks noGrp="1"/>
          </p:cNvSpPr>
          <p:nvPr>
            <p:ph type="body" sz="quarter" idx="18"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7" name="Textplatzhalter 3"/>
          <p:cNvSpPr>
            <a:spLocks noGrp="1"/>
          </p:cNvSpPr>
          <p:nvPr>
            <p:ph type="body" sz="quarter" idx="19"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8" name="Bildplatzhalter 8"/>
          <p:cNvSpPr>
            <a:spLocks noGrp="1"/>
          </p:cNvSpPr>
          <p:nvPr>
            <p:ph type="pic" sz="quarter" idx="10" hasCustomPrompt="1"/>
          </p:nvPr>
        </p:nvSpPr>
        <p:spPr bwMode="gray">
          <a:xfrm>
            <a:off x="396002" y="1512002"/>
            <a:ext cx="11405475" cy="4476227"/>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9" name="Textplatzhalter 3"/>
          <p:cNvSpPr>
            <a:spLocks noGrp="1"/>
          </p:cNvSpPr>
          <p:nvPr>
            <p:ph type="body" sz="quarter" idx="20" hasCustomPrompt="1"/>
          </p:nvPr>
        </p:nvSpPr>
        <p:spPr>
          <a:xfrm>
            <a:off x="396002" y="6030982"/>
            <a:ext cx="11404799" cy="324000"/>
          </a:xfrm>
        </p:spPr>
        <p:txBody>
          <a:bodyPr/>
          <a:lstStyle>
            <a:lvl1pPr marL="0" indent="0">
              <a:lnSpc>
                <a:spcPct val="100000"/>
              </a:lnSpc>
              <a:spcAft>
                <a:spcPts val="0"/>
              </a:spcAft>
              <a:buFont typeface="Arial" panose="020B0604020202020204" pitchFamily="34" charset="0"/>
              <a:buNone/>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de-DE" noProof="0" dirty="0" smtClean="0"/>
              <a:t>Bildunterschrift CorpoS 15 pt.</a:t>
            </a:r>
          </a:p>
        </p:txBody>
      </p:sp>
      <p:sp>
        <p:nvSpPr>
          <p:cNvPr id="20" name="Fußzeilenplatzhalter 2"/>
          <p:cNvSpPr>
            <a:spLocks noGrp="1"/>
          </p:cNvSpPr>
          <p:nvPr>
            <p:ph type="ftr" sz="quarter" idx="21"/>
          </p:nvPr>
        </p:nvSpPr>
        <p:spPr>
          <a:xfrm>
            <a:off x="3578400" y="6552000"/>
            <a:ext cx="7848000" cy="306000"/>
          </a:xfrm>
        </p:spPr>
        <p:txBody>
          <a:bodyPr/>
          <a:lstStyle/>
          <a:p>
            <a:r>
              <a:rPr lang="de-DE" dirty="0" smtClean="0">
                <a:solidFill>
                  <a:prstClr val="white"/>
                </a:solidFill>
              </a:rPr>
              <a:t>Titel der Präsentation in CorpoS (Textkörper) 10pt | Abteilung | Datum</a:t>
            </a:r>
            <a:endParaRPr lang="de-DE" dirty="0">
              <a:solidFill>
                <a:prstClr val="white"/>
              </a:solidFill>
            </a:endParaRPr>
          </a:p>
        </p:txBody>
      </p:sp>
      <p:sp>
        <p:nvSpPr>
          <p:cNvPr id="21" name="Foliennummernplatzhalter 6"/>
          <p:cNvSpPr>
            <a:spLocks noGrp="1"/>
          </p:cNvSpPr>
          <p:nvPr>
            <p:ph type="sldNum" sz="quarter" idx="22"/>
          </p:nvPr>
        </p:nvSpPr>
        <p:spPr>
          <a:xfrm>
            <a:off x="11800803" y="6552000"/>
            <a:ext cx="323999" cy="306000"/>
          </a:xfrm>
        </p:spPr>
        <p:txBody>
          <a:bodyPr/>
          <a:lstStyle/>
          <a:p>
            <a:fld id="{AD1D1349-391B-44DC-865F-5996B3E40F26}" type="slidenum">
              <a:rPr lang="de-DE" smtClean="0">
                <a:solidFill>
                  <a:prstClr val="white"/>
                </a:solidFill>
              </a:rPr>
              <a:pPr/>
              <a:t>‹#›</a:t>
            </a:fld>
            <a:endParaRPr lang="de-DE" dirty="0">
              <a:solidFill>
                <a:prstClr val="white"/>
              </a:solidFill>
            </a:endParaRPr>
          </a:p>
        </p:txBody>
      </p:sp>
      <p:grpSp>
        <p:nvGrpSpPr>
          <p:cNvPr id="11" name="Gruppieren 10"/>
          <p:cNvGrpSpPr/>
          <p:nvPr userDrawn="1"/>
        </p:nvGrpSpPr>
        <p:grpSpPr>
          <a:xfrm>
            <a:off x="12304800" y="403200"/>
            <a:ext cx="1800000" cy="6454800"/>
            <a:chOff x="12304800" y="403200"/>
            <a:chExt cx="1800000" cy="6454800"/>
          </a:xfrm>
        </p:grpSpPr>
        <p:grpSp>
          <p:nvGrpSpPr>
            <p:cNvPr id="13" name="Bildhandling"/>
            <p:cNvGrpSpPr/>
            <p:nvPr userDrawn="1"/>
          </p:nvGrpSpPr>
          <p:grpSpPr>
            <a:xfrm>
              <a:off x="12304800" y="403200"/>
              <a:ext cx="1800000" cy="6454800"/>
              <a:chOff x="12304800" y="403200"/>
              <a:chExt cx="1800000" cy="6454800"/>
            </a:xfrm>
          </p:grpSpPr>
          <p:sp>
            <p:nvSpPr>
              <p:cNvPr id="23" name="Headline"/>
              <p:cNvSpPr txBox="1"/>
              <p:nvPr userDrawn="1"/>
            </p:nvSpPr>
            <p:spPr>
              <a:xfrm rot="10800000" flipH="1" flipV="1">
                <a:off x="12304800" y="403200"/>
                <a:ext cx="1800000" cy="1072800"/>
              </a:xfrm>
              <a:prstGeom prst="rect">
                <a:avLst/>
              </a:prstGeom>
              <a:noFill/>
              <a:ln w="12700">
                <a:noFill/>
              </a:ln>
            </p:spPr>
            <p:txBody>
              <a:bodyPr vert="horz" wrap="none" lIns="0" tIns="0" rIns="0" bIns="36000" rtlCol="0" anchor="b" anchorCtr="0">
                <a:noAutofit/>
              </a:bodyPr>
              <a:lstStyle>
                <a:defPPr>
                  <a:defRPr lang="de-DE"/>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de-DE" sz="1500" dirty="0" smtClean="0">
                    <a:solidFill>
                      <a:srgbClr val="333333"/>
                    </a:solidFill>
                    <a:cs typeface="Arial" panose="020B0604020202020204" pitchFamily="34" charset="0"/>
                    <a:sym typeface="Webdings"/>
                  </a:rPr>
                  <a:t></a:t>
                </a:r>
                <a:r>
                  <a:rPr lang="de-DE" sz="1500" b="1" dirty="0" smtClean="0">
                    <a:solidFill>
                      <a:srgbClr val="333333"/>
                    </a:solidFill>
                    <a:cs typeface="Arial" panose="020B0604020202020204" pitchFamily="34" charset="0"/>
                    <a:sym typeface="Webdings"/>
                  </a:rPr>
                  <a:t> </a:t>
                </a:r>
                <a:r>
                  <a:rPr lang="de-DE" sz="1000" b="1" dirty="0" smtClean="0">
                    <a:solidFill>
                      <a:srgbClr val="333333"/>
                    </a:solidFill>
                    <a:cs typeface="Arial" panose="020B0604020202020204" pitchFamily="34" charset="0"/>
                    <a:sym typeface="Webdings"/>
                  </a:rPr>
                  <a:t>Bilder Handling</a:t>
                </a:r>
                <a:endParaRPr lang="de-DE" sz="1500" b="1" dirty="0" smtClean="0">
                  <a:solidFill>
                    <a:srgbClr val="333333"/>
                  </a:solidFill>
                  <a:cs typeface="Arial" panose="020B0604020202020204" pitchFamily="34" charset="0"/>
                </a:endParaRPr>
              </a:p>
            </p:txBody>
          </p:sp>
          <p:pic>
            <p:nvPicPr>
              <p:cNvPr id="24" name="Bildtools // Forma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304800" y="2700000"/>
                <a:ext cx="670041"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Zuschneiden"/>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3068000" y="2592000"/>
                <a:ext cx="768914" cy="54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Beispielbild"/>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7403" b="26297"/>
              <a:stretch/>
            </p:blipFill>
            <p:spPr bwMode="auto">
              <a:xfrm>
                <a:off x="12304800" y="4248000"/>
                <a:ext cx="1800000" cy="968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 name="Einpassen"/>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2996929" y="5886000"/>
                <a:ext cx="1107871" cy="9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2" name="Bilder zuschneiden etc."/>
            <p:cNvSpPr txBox="1"/>
            <p:nvPr userDrawn="1"/>
          </p:nvSpPr>
          <p:spPr>
            <a:xfrm rot="10800000" flipH="1" flipV="1">
              <a:off x="12304800" y="1548000"/>
              <a:ext cx="1800000" cy="4842000"/>
            </a:xfrm>
            <a:prstGeom prst="rect">
              <a:avLst/>
            </a:prstGeom>
            <a:noFill/>
            <a:ln w="12700">
              <a:noFill/>
            </a:ln>
          </p:spPr>
          <p:txBody>
            <a:bodyPr vert="horz"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1976" indent="-71976">
                <a:buFont typeface="Arial" panose="020B0604020202020204" pitchFamily="34" charset="0"/>
                <a:buChar char="•"/>
              </a:pPr>
              <a:r>
                <a:rPr lang="de-DE" sz="1000" dirty="0" smtClean="0">
                  <a:solidFill>
                    <a:srgbClr val="333333"/>
                  </a:solidFill>
                </a:rPr>
                <a:t>Bildausschnitt verändern über Menü: Bildtools // Format // Größe // Zuschneiden</a:t>
              </a:r>
            </a:p>
            <a:p>
              <a:pPr marL="71976" indent="-71976">
                <a:buFont typeface="Arial" panose="020B0604020202020204" pitchFamily="34" charset="0"/>
                <a:buChar char="•"/>
              </a:pPr>
              <a:r>
                <a:rPr lang="de-DE" sz="1000" dirty="0" smtClean="0">
                  <a:solidFill>
                    <a:srgbClr val="333333"/>
                  </a:solidFill>
                </a:rPr>
                <a:t>Bild kann innerhalb der schwarzen Begrenzungen bei gedrückter alt-Taste bewegt werden.</a:t>
              </a:r>
            </a:p>
            <a:p>
              <a:pPr marL="71976" indent="-71976">
                <a:buFont typeface="Arial" panose="020B0604020202020204" pitchFamily="34" charset="0"/>
                <a:buChar char="•"/>
              </a:pPr>
              <a:endParaRPr lang="de-DE" sz="1000" dirty="0" smtClean="0">
                <a:solidFill>
                  <a:srgbClr val="333333"/>
                </a:solidFill>
              </a:endParaRPr>
            </a:p>
            <a:p>
              <a:pPr marL="71976" indent="-71976">
                <a:buFont typeface="Arial" panose="020B0604020202020204" pitchFamily="34" charset="0"/>
                <a:buChar char="•"/>
              </a:pPr>
              <a:endParaRPr lang="de-DE" sz="1000" dirty="0" smtClean="0">
                <a:solidFill>
                  <a:srgbClr val="333333"/>
                </a:solidFill>
              </a:endParaRPr>
            </a:p>
            <a:p>
              <a:pPr marL="71976" indent="-71976">
                <a:buFont typeface="Arial" panose="020B0604020202020204" pitchFamily="34" charset="0"/>
                <a:buChar char="•"/>
              </a:pPr>
              <a:endParaRPr lang="de-DE" sz="1000" dirty="0" smtClean="0">
                <a:solidFill>
                  <a:srgbClr val="333333"/>
                </a:solidFill>
              </a:endParaRPr>
            </a:p>
            <a:p>
              <a:pPr marL="71976" indent="-71976">
                <a:buFont typeface="Arial" panose="020B0604020202020204" pitchFamily="34" charset="0"/>
                <a:buChar char="•"/>
              </a:pPr>
              <a:endParaRPr lang="de-DE" sz="1000" dirty="0" smtClean="0">
                <a:solidFill>
                  <a:srgbClr val="333333"/>
                </a:solidFill>
              </a:endParaRPr>
            </a:p>
            <a:p>
              <a:pPr marL="71976" indent="-71976">
                <a:buFont typeface="Arial" panose="020B0604020202020204" pitchFamily="34" charset="0"/>
                <a:buChar char="•"/>
              </a:pPr>
              <a:r>
                <a:rPr lang="de-DE" sz="1000" dirty="0" smtClean="0">
                  <a:solidFill>
                    <a:srgbClr val="333333"/>
                  </a:solidFill>
                </a:rPr>
                <a:t>Bildgröße zuschneiden über Menü: Bildtools // Format // Größe // Zuschneiden</a:t>
              </a:r>
            </a:p>
            <a:p>
              <a:pPr marL="71976" indent="-71976">
                <a:buFont typeface="Arial" panose="020B0604020202020204" pitchFamily="34" charset="0"/>
                <a:buChar char="•"/>
              </a:pPr>
              <a:r>
                <a:rPr lang="de-DE" sz="1000" dirty="0" smtClean="0">
                  <a:solidFill>
                    <a:srgbClr val="333333"/>
                  </a:solidFill>
                </a:rPr>
                <a:t>Bild bei gedrückter Umschalt-Taste über die hellen Eckpunkte auf die passende Größe ziehen. </a:t>
              </a:r>
            </a:p>
            <a:p>
              <a:pPr marL="71976" indent="-71976">
                <a:buFont typeface="Arial" panose="020B0604020202020204" pitchFamily="34" charset="0"/>
                <a:buChar char="•"/>
              </a:pPr>
              <a:endParaRPr lang="de-DE" sz="1000" dirty="0" smtClean="0">
                <a:solidFill>
                  <a:srgbClr val="333333"/>
                </a:solidFill>
              </a:endParaRPr>
            </a:p>
            <a:p>
              <a:pPr marL="71976" indent="-71976">
                <a:buFont typeface="Arial" panose="020B0604020202020204" pitchFamily="34" charset="0"/>
                <a:buChar char="•"/>
              </a:pPr>
              <a:endParaRPr lang="de-DE" sz="1000" dirty="0" smtClean="0">
                <a:solidFill>
                  <a:srgbClr val="333333"/>
                </a:solidFill>
              </a:endParaRPr>
            </a:p>
            <a:p>
              <a:pPr marL="71976" indent="-71976">
                <a:buFont typeface="Arial" panose="020B0604020202020204" pitchFamily="34" charset="0"/>
                <a:buChar char="•"/>
              </a:pPr>
              <a:endParaRPr lang="de-DE" sz="1000" dirty="0" smtClean="0">
                <a:solidFill>
                  <a:srgbClr val="333333"/>
                </a:solidFill>
              </a:endParaRPr>
            </a:p>
            <a:p>
              <a:pPr marL="71976" indent="-71976">
                <a:buFont typeface="Arial" panose="020B0604020202020204" pitchFamily="34" charset="0"/>
                <a:buChar char="•"/>
              </a:pPr>
              <a:endParaRPr lang="de-DE" sz="1000" dirty="0" smtClean="0">
                <a:solidFill>
                  <a:srgbClr val="333333"/>
                </a:solidFill>
              </a:endParaRPr>
            </a:p>
            <a:p>
              <a:pPr marL="71976" indent="-71976">
                <a:buFont typeface="Arial" panose="020B0604020202020204" pitchFamily="34" charset="0"/>
                <a:buChar char="•"/>
              </a:pPr>
              <a:endParaRPr lang="de-DE" sz="1000" dirty="0" smtClean="0">
                <a:solidFill>
                  <a:srgbClr val="333333"/>
                </a:solidFill>
              </a:endParaRPr>
            </a:p>
            <a:p>
              <a:pPr marL="71976" indent="-71976">
                <a:buFont typeface="Arial" panose="020B0604020202020204" pitchFamily="34" charset="0"/>
                <a:buChar char="•"/>
              </a:pPr>
              <a:endParaRPr lang="de-DE" sz="1000" dirty="0" smtClean="0">
                <a:solidFill>
                  <a:srgbClr val="333333"/>
                </a:solidFill>
              </a:endParaRPr>
            </a:p>
            <a:p>
              <a:pPr marL="71976" indent="-71976">
                <a:buFont typeface="Arial" panose="020B0604020202020204" pitchFamily="34" charset="0"/>
                <a:buChar char="•"/>
              </a:pPr>
              <a:endParaRPr lang="de-DE" sz="1000" dirty="0" smtClean="0">
                <a:solidFill>
                  <a:srgbClr val="333333"/>
                </a:solidFill>
              </a:endParaRPr>
            </a:p>
            <a:p>
              <a:pPr>
                <a:buFont typeface="Arial" panose="020B0604020202020204" pitchFamily="34" charset="0"/>
                <a:buNone/>
              </a:pPr>
              <a:endParaRPr lang="de-DE" sz="1000" dirty="0" smtClean="0">
                <a:solidFill>
                  <a:srgbClr val="333333"/>
                </a:solidFill>
              </a:endParaRPr>
            </a:p>
            <a:p>
              <a:pPr marL="71976" indent="-71976">
                <a:buFont typeface="Arial" panose="020B0604020202020204" pitchFamily="34" charset="0"/>
                <a:buChar char="•"/>
              </a:pPr>
              <a:r>
                <a:rPr lang="de-DE" sz="1000" dirty="0" smtClean="0">
                  <a:solidFill>
                    <a:srgbClr val="333333"/>
                  </a:solidFill>
                </a:rPr>
                <a:t>Bildgröße einpassen über Menü: Bildtools // Format // Größe // Zuschneiden // Einpassen</a:t>
              </a:r>
            </a:p>
            <a:p>
              <a:pPr marL="71976" indent="-71976">
                <a:buFont typeface="Arial" panose="020B0604020202020204" pitchFamily="34" charset="0"/>
                <a:buChar char="•"/>
              </a:pPr>
              <a:endParaRPr lang="de-DE" sz="1000" dirty="0" smtClean="0">
                <a:solidFill>
                  <a:srgbClr val="333333"/>
                </a:solidFill>
              </a:endParaRPr>
            </a:p>
          </p:txBody>
        </p:sp>
      </p:grpSp>
    </p:spTree>
    <p:extLst>
      <p:ext uri="{BB962C8B-B14F-4D97-AF65-F5344CB8AC3E}">
        <p14:creationId xmlns:p14="http://schemas.microsoft.com/office/powerpoint/2010/main" val="557428167"/>
      </p:ext>
    </p:extLst>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Nur Headline">
    <p:spTree>
      <p:nvGrpSpPr>
        <p:cNvPr id="1" name=""/>
        <p:cNvGrpSpPr/>
        <p:nvPr/>
      </p:nvGrpSpPr>
      <p:grpSpPr>
        <a:xfrm>
          <a:off x="0" y="0"/>
          <a:ext cx="0" cy="0"/>
          <a:chOff x="0" y="0"/>
          <a:chExt cx="0" cy="0"/>
        </a:xfrm>
      </p:grpSpPr>
      <p:sp>
        <p:nvSpPr>
          <p:cNvPr id="11" name="Titel 1"/>
          <p:cNvSpPr>
            <a:spLocks noGrp="1"/>
          </p:cNvSpPr>
          <p:nvPr>
            <p:ph type="title" hasCustomPrompt="1"/>
          </p:nvPr>
        </p:nvSpPr>
        <p:spPr>
          <a:xfrm>
            <a:off x="395289" y="368302"/>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12" name="Textplatzhalter 7"/>
          <p:cNvSpPr>
            <a:spLocks noGrp="1"/>
          </p:cNvSpPr>
          <p:nvPr>
            <p:ph type="body" sz="quarter" idx="13" hasCustomPrompt="1"/>
          </p:nvPr>
        </p:nvSpPr>
        <p:spPr>
          <a:xfrm>
            <a:off x="395289"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
        <p:nvSpPr>
          <p:cNvPr id="13" name="Textplatzhalter 3"/>
          <p:cNvSpPr>
            <a:spLocks noGrp="1"/>
          </p:cNvSpPr>
          <p:nvPr>
            <p:ph type="body" sz="quarter" idx="17"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4" name="Textplatzhalter 3"/>
          <p:cNvSpPr>
            <a:spLocks noGrp="1"/>
          </p:cNvSpPr>
          <p:nvPr>
            <p:ph type="body" sz="quarter" idx="18"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5" name="Textplatzhalter 3"/>
          <p:cNvSpPr>
            <a:spLocks noGrp="1"/>
          </p:cNvSpPr>
          <p:nvPr>
            <p:ph type="body" sz="quarter" idx="19"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6" name="Fußzeilenplatzhalter 2"/>
          <p:cNvSpPr>
            <a:spLocks noGrp="1"/>
          </p:cNvSpPr>
          <p:nvPr>
            <p:ph type="ftr" sz="quarter" idx="20"/>
          </p:nvPr>
        </p:nvSpPr>
        <p:spPr>
          <a:xfrm>
            <a:off x="3578400" y="6552000"/>
            <a:ext cx="7848000" cy="306000"/>
          </a:xfrm>
        </p:spPr>
        <p:txBody>
          <a:bodyPr/>
          <a:lstStyle/>
          <a:p>
            <a:r>
              <a:rPr lang="de-DE" dirty="0" smtClean="0">
                <a:solidFill>
                  <a:prstClr val="white"/>
                </a:solidFill>
              </a:rPr>
              <a:t>Titel der Präsentation in CorpoS (Textkörper) 10pt | Abteilung | Datum</a:t>
            </a:r>
            <a:endParaRPr lang="de-DE" dirty="0">
              <a:solidFill>
                <a:prstClr val="white"/>
              </a:solidFill>
            </a:endParaRPr>
          </a:p>
        </p:txBody>
      </p:sp>
      <p:sp>
        <p:nvSpPr>
          <p:cNvPr id="17" name="Foliennummernplatzhalter 3"/>
          <p:cNvSpPr>
            <a:spLocks noGrp="1"/>
          </p:cNvSpPr>
          <p:nvPr>
            <p:ph type="sldNum" sz="quarter" idx="21"/>
          </p:nvPr>
        </p:nvSpPr>
        <p:spPr>
          <a:xfrm>
            <a:off x="11800803" y="6552000"/>
            <a:ext cx="323999" cy="306000"/>
          </a:xfrm>
        </p:spPr>
        <p:txBody>
          <a:bodyPr/>
          <a:lstStyle/>
          <a:p>
            <a:fld id="{AD1D1349-391B-44DC-865F-5996B3E40F26}" type="slidenum">
              <a:rPr lang="de-DE" smtClean="0">
                <a:solidFill>
                  <a:prstClr val="white"/>
                </a:solidFill>
              </a:rPr>
              <a:pPr/>
              <a:t>‹#›</a:t>
            </a:fld>
            <a:endParaRPr lang="de-DE" dirty="0">
              <a:solidFill>
                <a:prstClr val="white"/>
              </a:solidFill>
            </a:endParaRPr>
          </a:p>
        </p:txBody>
      </p:sp>
    </p:spTree>
    <p:extLst>
      <p:ext uri="{BB962C8B-B14F-4D97-AF65-F5344CB8AC3E}">
        <p14:creationId xmlns:p14="http://schemas.microsoft.com/office/powerpoint/2010/main" val="2666389484"/>
      </p:ext>
    </p:extLst>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oolbox 8 Bilder mit Text">
    <p:spTree>
      <p:nvGrpSpPr>
        <p:cNvPr id="1" name=""/>
        <p:cNvGrpSpPr/>
        <p:nvPr/>
      </p:nvGrpSpPr>
      <p:grpSpPr>
        <a:xfrm>
          <a:off x="0" y="0"/>
          <a:ext cx="0" cy="0"/>
          <a:chOff x="0" y="0"/>
          <a:chExt cx="0" cy="0"/>
        </a:xfrm>
      </p:grpSpPr>
      <p:sp>
        <p:nvSpPr>
          <p:cNvPr id="65" name="Textplatzhalter 3"/>
          <p:cNvSpPr>
            <a:spLocks noGrp="1"/>
          </p:cNvSpPr>
          <p:nvPr>
            <p:ph type="body" sz="quarter" idx="41" hasCustomPrompt="1"/>
          </p:nvPr>
        </p:nvSpPr>
        <p:spPr bwMode="gray">
          <a:xfrm>
            <a:off x="6203607" y="5252601"/>
            <a:ext cx="1512000"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1500">
                <a:solidFill>
                  <a:schemeClr val="bg1"/>
                </a:solidFill>
              </a:defRPr>
            </a:lvl1pPr>
            <a:lvl2pPr marL="0" indent="0" algn="ctr">
              <a:lnSpc>
                <a:spcPct val="100000"/>
              </a:lnSpc>
              <a:spcAft>
                <a:spcPts val="0"/>
              </a:spcAft>
              <a:buNone/>
              <a:defRPr sz="1500">
                <a:solidFill>
                  <a:schemeClr val="bg1"/>
                </a:solidFill>
              </a:defRPr>
            </a:lvl2pPr>
            <a:lvl3pPr marL="0" indent="0" algn="ctr">
              <a:lnSpc>
                <a:spcPct val="100000"/>
              </a:lnSpc>
              <a:spcAft>
                <a:spcPts val="0"/>
              </a:spcAft>
              <a:buNone/>
              <a:defRPr sz="1500">
                <a:solidFill>
                  <a:schemeClr val="bg1"/>
                </a:solidFill>
              </a:defRPr>
            </a:lvl3pPr>
            <a:lvl4pPr marL="0" indent="0" algn="ctr">
              <a:lnSpc>
                <a:spcPct val="100000"/>
              </a:lnSpc>
              <a:spcAft>
                <a:spcPts val="0"/>
              </a:spcAft>
              <a:buNone/>
              <a:defRPr sz="1500">
                <a:solidFill>
                  <a:schemeClr val="bg1"/>
                </a:solidFill>
              </a:defRPr>
            </a:lvl4pPr>
            <a:lvl5pPr marL="0" indent="0" algn="ctr">
              <a:lnSpc>
                <a:spcPct val="100000"/>
              </a:lnSpc>
              <a:spcAft>
                <a:spcPts val="0"/>
              </a:spcAft>
              <a:buNone/>
              <a:defRPr sz="1500">
                <a:solidFill>
                  <a:schemeClr val="bg1"/>
                </a:solidFill>
              </a:defRPr>
            </a:lvl5pPr>
            <a:lvl6pPr marL="0" indent="0" algn="ctr">
              <a:lnSpc>
                <a:spcPct val="100000"/>
              </a:lnSpc>
              <a:spcAft>
                <a:spcPts val="0"/>
              </a:spcAft>
              <a:buNone/>
              <a:defRPr sz="1500">
                <a:solidFill>
                  <a:schemeClr val="bg1"/>
                </a:solidFill>
              </a:defRPr>
            </a:lvl6pPr>
            <a:lvl7pPr marL="0" indent="0" algn="ctr">
              <a:lnSpc>
                <a:spcPct val="100000"/>
              </a:lnSpc>
              <a:spcAft>
                <a:spcPts val="0"/>
              </a:spcAft>
              <a:buNone/>
              <a:defRPr sz="1500">
                <a:solidFill>
                  <a:schemeClr val="bg1"/>
                </a:solidFill>
              </a:defRPr>
            </a:lvl7pPr>
            <a:lvl8pPr marL="0" indent="0" algn="ctr">
              <a:lnSpc>
                <a:spcPct val="100000"/>
              </a:lnSpc>
              <a:spcAft>
                <a:spcPts val="0"/>
              </a:spcAft>
              <a:buNone/>
              <a:defRPr sz="1500">
                <a:solidFill>
                  <a:schemeClr val="bg1"/>
                </a:solidFill>
              </a:defRPr>
            </a:lvl8pPr>
            <a:lvl9pPr marL="0" indent="0" algn="ctr">
              <a:lnSpc>
                <a:spcPct val="100000"/>
              </a:lnSpc>
              <a:spcAft>
                <a:spcPts val="0"/>
              </a:spcAft>
              <a:buNone/>
              <a:defRPr sz="1500">
                <a:solidFill>
                  <a:schemeClr val="bg1"/>
                </a:solidFill>
              </a:defRPr>
            </a:lvl9pPr>
          </a:lstStyle>
          <a:p>
            <a:pPr lvl="0"/>
            <a:r>
              <a:rPr lang="de-DE" noProof="0" dirty="0" smtClean="0"/>
              <a:t>Text in CorpoS (Textkörper) </a:t>
            </a:r>
            <a:br>
              <a:rPr lang="de-DE" noProof="0" dirty="0" smtClean="0"/>
            </a:br>
            <a:r>
              <a:rPr lang="de-DE" noProof="0" dirty="0" smtClean="0"/>
              <a:t>in 15 pt. einfügen</a:t>
            </a:r>
          </a:p>
        </p:txBody>
      </p:sp>
      <p:sp>
        <p:nvSpPr>
          <p:cNvPr id="66" name="Textplatzhalter 3"/>
          <p:cNvSpPr>
            <a:spLocks noGrp="1"/>
          </p:cNvSpPr>
          <p:nvPr>
            <p:ph type="body" sz="quarter" idx="42" hasCustomPrompt="1"/>
          </p:nvPr>
        </p:nvSpPr>
        <p:spPr bwMode="gray">
          <a:xfrm>
            <a:off x="6207176" y="2758401"/>
            <a:ext cx="1512000"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1500">
                <a:solidFill>
                  <a:schemeClr val="bg1"/>
                </a:solidFill>
              </a:defRPr>
            </a:lvl1pPr>
            <a:lvl2pPr marL="0" indent="0" algn="ctr">
              <a:lnSpc>
                <a:spcPct val="100000"/>
              </a:lnSpc>
              <a:spcAft>
                <a:spcPts val="0"/>
              </a:spcAft>
              <a:buNone/>
              <a:defRPr sz="1500">
                <a:solidFill>
                  <a:schemeClr val="bg1"/>
                </a:solidFill>
              </a:defRPr>
            </a:lvl2pPr>
            <a:lvl3pPr marL="0" indent="0" algn="ctr">
              <a:lnSpc>
                <a:spcPct val="100000"/>
              </a:lnSpc>
              <a:spcAft>
                <a:spcPts val="0"/>
              </a:spcAft>
              <a:buNone/>
              <a:defRPr sz="1500">
                <a:solidFill>
                  <a:schemeClr val="bg1"/>
                </a:solidFill>
              </a:defRPr>
            </a:lvl3pPr>
            <a:lvl4pPr marL="0" indent="0" algn="ctr">
              <a:lnSpc>
                <a:spcPct val="100000"/>
              </a:lnSpc>
              <a:spcAft>
                <a:spcPts val="0"/>
              </a:spcAft>
              <a:buNone/>
              <a:defRPr sz="1500">
                <a:solidFill>
                  <a:schemeClr val="bg1"/>
                </a:solidFill>
              </a:defRPr>
            </a:lvl4pPr>
            <a:lvl5pPr marL="0" indent="0" algn="ctr">
              <a:lnSpc>
                <a:spcPct val="100000"/>
              </a:lnSpc>
              <a:spcAft>
                <a:spcPts val="0"/>
              </a:spcAft>
              <a:buNone/>
              <a:defRPr sz="1500">
                <a:solidFill>
                  <a:schemeClr val="bg1"/>
                </a:solidFill>
              </a:defRPr>
            </a:lvl5pPr>
            <a:lvl6pPr marL="0" indent="0" algn="ctr">
              <a:lnSpc>
                <a:spcPct val="100000"/>
              </a:lnSpc>
              <a:spcAft>
                <a:spcPts val="0"/>
              </a:spcAft>
              <a:buNone/>
              <a:defRPr sz="1500">
                <a:solidFill>
                  <a:schemeClr val="bg1"/>
                </a:solidFill>
              </a:defRPr>
            </a:lvl6pPr>
            <a:lvl7pPr marL="0" indent="0" algn="ctr">
              <a:lnSpc>
                <a:spcPct val="100000"/>
              </a:lnSpc>
              <a:spcAft>
                <a:spcPts val="0"/>
              </a:spcAft>
              <a:buNone/>
              <a:defRPr sz="1500">
                <a:solidFill>
                  <a:schemeClr val="bg1"/>
                </a:solidFill>
              </a:defRPr>
            </a:lvl7pPr>
            <a:lvl8pPr marL="0" indent="0" algn="ctr">
              <a:lnSpc>
                <a:spcPct val="100000"/>
              </a:lnSpc>
              <a:spcAft>
                <a:spcPts val="0"/>
              </a:spcAft>
              <a:buNone/>
              <a:defRPr sz="1500">
                <a:solidFill>
                  <a:schemeClr val="bg1"/>
                </a:solidFill>
              </a:defRPr>
            </a:lvl8pPr>
            <a:lvl9pPr marL="0" indent="0" algn="ctr">
              <a:lnSpc>
                <a:spcPct val="100000"/>
              </a:lnSpc>
              <a:spcAft>
                <a:spcPts val="0"/>
              </a:spcAft>
              <a:buNone/>
              <a:defRPr sz="1500">
                <a:solidFill>
                  <a:schemeClr val="bg1"/>
                </a:solidFill>
              </a:defRPr>
            </a:lvl9pPr>
          </a:lstStyle>
          <a:p>
            <a:pPr lvl="0"/>
            <a:r>
              <a:rPr lang="de-DE" noProof="0" dirty="0" smtClean="0"/>
              <a:t>Text in CorpoS (Textkörper) </a:t>
            </a:r>
            <a:br>
              <a:rPr lang="de-DE" noProof="0" dirty="0" smtClean="0"/>
            </a:br>
            <a:r>
              <a:rPr lang="de-DE" noProof="0" dirty="0" smtClean="0"/>
              <a:t>in 15 pt. einfügen</a:t>
            </a:r>
          </a:p>
        </p:txBody>
      </p:sp>
      <p:sp>
        <p:nvSpPr>
          <p:cNvPr id="67" name="Textplatzhalter 3"/>
          <p:cNvSpPr>
            <a:spLocks noGrp="1"/>
          </p:cNvSpPr>
          <p:nvPr>
            <p:ph type="body" sz="quarter" idx="44" hasCustomPrompt="1"/>
          </p:nvPr>
        </p:nvSpPr>
        <p:spPr bwMode="gray">
          <a:xfrm>
            <a:off x="6207176" y="1511301"/>
            <a:ext cx="1512000"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1500">
                <a:solidFill>
                  <a:schemeClr val="bg1"/>
                </a:solidFill>
              </a:defRPr>
            </a:lvl1pPr>
            <a:lvl2pPr marL="0" indent="0" algn="ctr">
              <a:lnSpc>
                <a:spcPct val="100000"/>
              </a:lnSpc>
              <a:spcAft>
                <a:spcPts val="0"/>
              </a:spcAft>
              <a:buNone/>
              <a:defRPr sz="1500">
                <a:solidFill>
                  <a:schemeClr val="bg1"/>
                </a:solidFill>
              </a:defRPr>
            </a:lvl2pPr>
            <a:lvl3pPr marL="0" indent="0" algn="ctr">
              <a:lnSpc>
                <a:spcPct val="100000"/>
              </a:lnSpc>
              <a:spcAft>
                <a:spcPts val="0"/>
              </a:spcAft>
              <a:buNone/>
              <a:defRPr sz="1500">
                <a:solidFill>
                  <a:schemeClr val="bg1"/>
                </a:solidFill>
              </a:defRPr>
            </a:lvl3pPr>
            <a:lvl4pPr marL="0" indent="0" algn="ctr">
              <a:lnSpc>
                <a:spcPct val="100000"/>
              </a:lnSpc>
              <a:spcAft>
                <a:spcPts val="0"/>
              </a:spcAft>
              <a:buNone/>
              <a:defRPr sz="1500">
                <a:solidFill>
                  <a:schemeClr val="bg1"/>
                </a:solidFill>
              </a:defRPr>
            </a:lvl4pPr>
            <a:lvl5pPr marL="0" indent="0" algn="ctr">
              <a:lnSpc>
                <a:spcPct val="100000"/>
              </a:lnSpc>
              <a:spcAft>
                <a:spcPts val="0"/>
              </a:spcAft>
              <a:buNone/>
              <a:defRPr sz="1500">
                <a:solidFill>
                  <a:schemeClr val="bg1"/>
                </a:solidFill>
              </a:defRPr>
            </a:lvl5pPr>
            <a:lvl6pPr marL="0" indent="0" algn="ctr">
              <a:lnSpc>
                <a:spcPct val="100000"/>
              </a:lnSpc>
              <a:spcAft>
                <a:spcPts val="0"/>
              </a:spcAft>
              <a:buNone/>
              <a:defRPr sz="1500">
                <a:solidFill>
                  <a:schemeClr val="bg1"/>
                </a:solidFill>
              </a:defRPr>
            </a:lvl6pPr>
            <a:lvl7pPr marL="0" indent="0" algn="ctr">
              <a:lnSpc>
                <a:spcPct val="100000"/>
              </a:lnSpc>
              <a:spcAft>
                <a:spcPts val="0"/>
              </a:spcAft>
              <a:buNone/>
              <a:defRPr sz="1500">
                <a:solidFill>
                  <a:schemeClr val="bg1"/>
                </a:solidFill>
              </a:defRPr>
            </a:lvl7pPr>
            <a:lvl8pPr marL="0" indent="0" algn="ctr">
              <a:lnSpc>
                <a:spcPct val="100000"/>
              </a:lnSpc>
              <a:spcAft>
                <a:spcPts val="0"/>
              </a:spcAft>
              <a:buNone/>
              <a:defRPr sz="1500">
                <a:solidFill>
                  <a:schemeClr val="bg1"/>
                </a:solidFill>
              </a:defRPr>
            </a:lvl8pPr>
            <a:lvl9pPr marL="0" indent="0" algn="ctr">
              <a:lnSpc>
                <a:spcPct val="100000"/>
              </a:lnSpc>
              <a:spcAft>
                <a:spcPts val="0"/>
              </a:spcAft>
              <a:buNone/>
              <a:defRPr sz="1500">
                <a:solidFill>
                  <a:schemeClr val="bg1"/>
                </a:solidFill>
              </a:defRPr>
            </a:lvl9pPr>
          </a:lstStyle>
          <a:p>
            <a:pPr lvl="0"/>
            <a:r>
              <a:rPr lang="de-DE" noProof="0" dirty="0" smtClean="0"/>
              <a:t>Text in CorpoS (Textkörper) </a:t>
            </a:r>
            <a:br>
              <a:rPr lang="de-DE" noProof="0" dirty="0" smtClean="0"/>
            </a:br>
            <a:r>
              <a:rPr lang="de-DE" noProof="0" dirty="0" smtClean="0"/>
              <a:t>in 15 pt. einfügen</a:t>
            </a:r>
          </a:p>
        </p:txBody>
      </p:sp>
      <p:sp>
        <p:nvSpPr>
          <p:cNvPr id="68" name="Textplatzhalter 3"/>
          <p:cNvSpPr>
            <a:spLocks noGrp="1"/>
          </p:cNvSpPr>
          <p:nvPr>
            <p:ph type="body" sz="quarter" idx="43" hasCustomPrompt="1"/>
          </p:nvPr>
        </p:nvSpPr>
        <p:spPr bwMode="gray">
          <a:xfrm>
            <a:off x="6207176" y="4005501"/>
            <a:ext cx="1512000"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1500">
                <a:solidFill>
                  <a:schemeClr val="bg1"/>
                </a:solidFill>
              </a:defRPr>
            </a:lvl1pPr>
            <a:lvl2pPr marL="0" indent="0" algn="ctr">
              <a:lnSpc>
                <a:spcPct val="100000"/>
              </a:lnSpc>
              <a:spcAft>
                <a:spcPts val="0"/>
              </a:spcAft>
              <a:buNone/>
              <a:defRPr sz="1500">
                <a:solidFill>
                  <a:schemeClr val="bg1"/>
                </a:solidFill>
              </a:defRPr>
            </a:lvl2pPr>
            <a:lvl3pPr marL="0" indent="0" algn="ctr">
              <a:lnSpc>
                <a:spcPct val="100000"/>
              </a:lnSpc>
              <a:spcAft>
                <a:spcPts val="0"/>
              </a:spcAft>
              <a:buNone/>
              <a:defRPr sz="1500">
                <a:solidFill>
                  <a:schemeClr val="bg1"/>
                </a:solidFill>
              </a:defRPr>
            </a:lvl3pPr>
            <a:lvl4pPr marL="0" indent="0" algn="ctr">
              <a:lnSpc>
                <a:spcPct val="100000"/>
              </a:lnSpc>
              <a:spcAft>
                <a:spcPts val="0"/>
              </a:spcAft>
              <a:buNone/>
              <a:defRPr sz="1500">
                <a:solidFill>
                  <a:schemeClr val="bg1"/>
                </a:solidFill>
              </a:defRPr>
            </a:lvl4pPr>
            <a:lvl5pPr marL="0" indent="0" algn="ctr">
              <a:lnSpc>
                <a:spcPct val="100000"/>
              </a:lnSpc>
              <a:spcAft>
                <a:spcPts val="0"/>
              </a:spcAft>
              <a:buNone/>
              <a:defRPr sz="1500">
                <a:solidFill>
                  <a:schemeClr val="bg1"/>
                </a:solidFill>
              </a:defRPr>
            </a:lvl5pPr>
            <a:lvl6pPr marL="0" indent="0" algn="ctr">
              <a:lnSpc>
                <a:spcPct val="100000"/>
              </a:lnSpc>
              <a:spcAft>
                <a:spcPts val="0"/>
              </a:spcAft>
              <a:buNone/>
              <a:defRPr sz="1500">
                <a:solidFill>
                  <a:schemeClr val="bg1"/>
                </a:solidFill>
              </a:defRPr>
            </a:lvl6pPr>
            <a:lvl7pPr marL="0" indent="0" algn="ctr">
              <a:lnSpc>
                <a:spcPct val="100000"/>
              </a:lnSpc>
              <a:spcAft>
                <a:spcPts val="0"/>
              </a:spcAft>
              <a:buNone/>
              <a:defRPr sz="1500">
                <a:solidFill>
                  <a:schemeClr val="bg1"/>
                </a:solidFill>
              </a:defRPr>
            </a:lvl7pPr>
            <a:lvl8pPr marL="0" indent="0" algn="ctr">
              <a:lnSpc>
                <a:spcPct val="100000"/>
              </a:lnSpc>
              <a:spcAft>
                <a:spcPts val="0"/>
              </a:spcAft>
              <a:buNone/>
              <a:defRPr sz="1500">
                <a:solidFill>
                  <a:schemeClr val="bg1"/>
                </a:solidFill>
              </a:defRPr>
            </a:lvl8pPr>
            <a:lvl9pPr marL="0" indent="0" algn="ctr">
              <a:lnSpc>
                <a:spcPct val="100000"/>
              </a:lnSpc>
              <a:spcAft>
                <a:spcPts val="0"/>
              </a:spcAft>
              <a:buNone/>
              <a:defRPr sz="1500">
                <a:solidFill>
                  <a:schemeClr val="bg1"/>
                </a:solidFill>
              </a:defRPr>
            </a:lvl9pPr>
          </a:lstStyle>
          <a:p>
            <a:pPr lvl="0"/>
            <a:r>
              <a:rPr lang="de-DE" noProof="0" dirty="0" smtClean="0"/>
              <a:t>Text in CorpoS (Textkörper) </a:t>
            </a:r>
            <a:br>
              <a:rPr lang="de-DE" noProof="0" dirty="0" smtClean="0"/>
            </a:br>
            <a:r>
              <a:rPr lang="de-DE" noProof="0" dirty="0" smtClean="0"/>
              <a:t>in 15 pt. einfügen</a:t>
            </a:r>
          </a:p>
        </p:txBody>
      </p:sp>
      <p:sp>
        <p:nvSpPr>
          <p:cNvPr id="69" name="Titel 1"/>
          <p:cNvSpPr>
            <a:spLocks noGrp="1"/>
          </p:cNvSpPr>
          <p:nvPr>
            <p:ph type="title" hasCustomPrompt="1"/>
          </p:nvPr>
        </p:nvSpPr>
        <p:spPr>
          <a:xfrm>
            <a:off x="395289" y="368302"/>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70" name="Textplatzhalter 7"/>
          <p:cNvSpPr>
            <a:spLocks noGrp="1"/>
          </p:cNvSpPr>
          <p:nvPr>
            <p:ph type="body" sz="quarter" idx="13" hasCustomPrompt="1"/>
          </p:nvPr>
        </p:nvSpPr>
        <p:spPr>
          <a:xfrm>
            <a:off x="395289"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
        <p:nvSpPr>
          <p:cNvPr id="71" name="Textplatzhalter 3"/>
          <p:cNvSpPr>
            <a:spLocks noGrp="1"/>
          </p:cNvSpPr>
          <p:nvPr>
            <p:ph type="body" sz="quarter" idx="25"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86" name="Textplatzhalter 3"/>
          <p:cNvSpPr>
            <a:spLocks noGrp="1"/>
          </p:cNvSpPr>
          <p:nvPr>
            <p:ph type="body" sz="quarter" idx="26"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87" name="Textplatzhalter 3"/>
          <p:cNvSpPr>
            <a:spLocks noGrp="1"/>
          </p:cNvSpPr>
          <p:nvPr>
            <p:ph type="body" sz="quarter" idx="27"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88" name="Textplatzhalter 3"/>
          <p:cNvSpPr>
            <a:spLocks noGrp="1"/>
          </p:cNvSpPr>
          <p:nvPr>
            <p:ph type="body" sz="quarter" idx="19" hasCustomPrompt="1"/>
          </p:nvPr>
        </p:nvSpPr>
        <p:spPr bwMode="gray">
          <a:xfrm>
            <a:off x="4479175" y="1512000"/>
            <a:ext cx="1512000"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1500">
                <a:solidFill>
                  <a:schemeClr val="bg1"/>
                </a:solidFill>
              </a:defRPr>
            </a:lvl1pPr>
            <a:lvl2pPr marL="0" indent="0" algn="ctr">
              <a:lnSpc>
                <a:spcPct val="100000"/>
              </a:lnSpc>
              <a:spcAft>
                <a:spcPts val="0"/>
              </a:spcAft>
              <a:buNone/>
              <a:defRPr sz="1500">
                <a:solidFill>
                  <a:schemeClr val="bg1"/>
                </a:solidFill>
              </a:defRPr>
            </a:lvl2pPr>
            <a:lvl3pPr marL="0" indent="0" algn="ctr">
              <a:lnSpc>
                <a:spcPct val="100000"/>
              </a:lnSpc>
              <a:spcAft>
                <a:spcPts val="0"/>
              </a:spcAft>
              <a:buNone/>
              <a:defRPr sz="1500">
                <a:solidFill>
                  <a:schemeClr val="bg1"/>
                </a:solidFill>
              </a:defRPr>
            </a:lvl3pPr>
            <a:lvl4pPr marL="0" indent="0" algn="ctr">
              <a:lnSpc>
                <a:spcPct val="100000"/>
              </a:lnSpc>
              <a:spcAft>
                <a:spcPts val="0"/>
              </a:spcAft>
              <a:buNone/>
              <a:defRPr sz="1500">
                <a:solidFill>
                  <a:schemeClr val="bg1"/>
                </a:solidFill>
              </a:defRPr>
            </a:lvl4pPr>
            <a:lvl5pPr marL="0" indent="0" algn="ctr">
              <a:lnSpc>
                <a:spcPct val="100000"/>
              </a:lnSpc>
              <a:spcAft>
                <a:spcPts val="0"/>
              </a:spcAft>
              <a:buNone/>
              <a:defRPr sz="1500">
                <a:solidFill>
                  <a:schemeClr val="bg1"/>
                </a:solidFill>
              </a:defRPr>
            </a:lvl5pPr>
            <a:lvl6pPr marL="0" indent="0" algn="ctr">
              <a:lnSpc>
                <a:spcPct val="100000"/>
              </a:lnSpc>
              <a:spcAft>
                <a:spcPts val="0"/>
              </a:spcAft>
              <a:buNone/>
              <a:defRPr sz="1500">
                <a:solidFill>
                  <a:schemeClr val="bg1"/>
                </a:solidFill>
              </a:defRPr>
            </a:lvl6pPr>
            <a:lvl7pPr marL="0" indent="0" algn="ctr">
              <a:lnSpc>
                <a:spcPct val="100000"/>
              </a:lnSpc>
              <a:spcAft>
                <a:spcPts val="0"/>
              </a:spcAft>
              <a:buNone/>
              <a:defRPr sz="1500">
                <a:solidFill>
                  <a:schemeClr val="bg1"/>
                </a:solidFill>
              </a:defRPr>
            </a:lvl7pPr>
            <a:lvl8pPr marL="0" indent="0" algn="ctr">
              <a:lnSpc>
                <a:spcPct val="100000"/>
              </a:lnSpc>
              <a:spcAft>
                <a:spcPts val="0"/>
              </a:spcAft>
              <a:buNone/>
              <a:defRPr sz="1500">
                <a:solidFill>
                  <a:schemeClr val="bg1"/>
                </a:solidFill>
              </a:defRPr>
            </a:lvl8pPr>
            <a:lvl9pPr marL="0" indent="0" algn="ctr">
              <a:lnSpc>
                <a:spcPct val="100000"/>
              </a:lnSpc>
              <a:spcAft>
                <a:spcPts val="0"/>
              </a:spcAft>
              <a:buNone/>
              <a:defRPr sz="1500">
                <a:solidFill>
                  <a:schemeClr val="bg1"/>
                </a:solidFill>
              </a:defRPr>
            </a:lvl9pPr>
          </a:lstStyle>
          <a:p>
            <a:pPr lvl="0"/>
            <a:r>
              <a:rPr lang="de-DE" noProof="0" dirty="0" smtClean="0"/>
              <a:t>Text in CorpoS (Textkörper) </a:t>
            </a:r>
            <a:br>
              <a:rPr lang="de-DE" noProof="0" dirty="0" smtClean="0"/>
            </a:br>
            <a:r>
              <a:rPr lang="de-DE" noProof="0" dirty="0" smtClean="0"/>
              <a:t>in 15 pt. einfügen</a:t>
            </a:r>
          </a:p>
        </p:txBody>
      </p:sp>
      <p:sp>
        <p:nvSpPr>
          <p:cNvPr id="89" name="Textplatzhalter 3"/>
          <p:cNvSpPr>
            <a:spLocks noGrp="1"/>
          </p:cNvSpPr>
          <p:nvPr>
            <p:ph type="body" sz="quarter" idx="38" hasCustomPrompt="1"/>
          </p:nvPr>
        </p:nvSpPr>
        <p:spPr bwMode="gray">
          <a:xfrm>
            <a:off x="4479175" y="2758867"/>
            <a:ext cx="1512000"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1500">
                <a:solidFill>
                  <a:schemeClr val="bg1"/>
                </a:solidFill>
              </a:defRPr>
            </a:lvl1pPr>
            <a:lvl2pPr marL="0" indent="0" algn="ctr">
              <a:lnSpc>
                <a:spcPct val="100000"/>
              </a:lnSpc>
              <a:spcAft>
                <a:spcPts val="0"/>
              </a:spcAft>
              <a:buNone/>
              <a:defRPr sz="1500">
                <a:solidFill>
                  <a:schemeClr val="bg1"/>
                </a:solidFill>
              </a:defRPr>
            </a:lvl2pPr>
            <a:lvl3pPr marL="0" indent="0" algn="ctr">
              <a:lnSpc>
                <a:spcPct val="100000"/>
              </a:lnSpc>
              <a:spcAft>
                <a:spcPts val="0"/>
              </a:spcAft>
              <a:buNone/>
              <a:defRPr sz="1500">
                <a:solidFill>
                  <a:schemeClr val="bg1"/>
                </a:solidFill>
              </a:defRPr>
            </a:lvl3pPr>
            <a:lvl4pPr marL="0" indent="0" algn="ctr">
              <a:lnSpc>
                <a:spcPct val="100000"/>
              </a:lnSpc>
              <a:spcAft>
                <a:spcPts val="0"/>
              </a:spcAft>
              <a:buNone/>
              <a:defRPr sz="1500">
                <a:solidFill>
                  <a:schemeClr val="bg1"/>
                </a:solidFill>
              </a:defRPr>
            </a:lvl4pPr>
            <a:lvl5pPr marL="0" indent="0" algn="ctr">
              <a:lnSpc>
                <a:spcPct val="100000"/>
              </a:lnSpc>
              <a:spcAft>
                <a:spcPts val="0"/>
              </a:spcAft>
              <a:buNone/>
              <a:defRPr sz="1500">
                <a:solidFill>
                  <a:schemeClr val="bg1"/>
                </a:solidFill>
              </a:defRPr>
            </a:lvl5pPr>
            <a:lvl6pPr marL="0" indent="0" algn="ctr">
              <a:lnSpc>
                <a:spcPct val="100000"/>
              </a:lnSpc>
              <a:spcAft>
                <a:spcPts val="0"/>
              </a:spcAft>
              <a:buNone/>
              <a:defRPr sz="1500">
                <a:solidFill>
                  <a:schemeClr val="bg1"/>
                </a:solidFill>
              </a:defRPr>
            </a:lvl6pPr>
            <a:lvl7pPr marL="0" indent="0" algn="ctr">
              <a:lnSpc>
                <a:spcPct val="100000"/>
              </a:lnSpc>
              <a:spcAft>
                <a:spcPts val="0"/>
              </a:spcAft>
              <a:buNone/>
              <a:defRPr sz="1500">
                <a:solidFill>
                  <a:schemeClr val="bg1"/>
                </a:solidFill>
              </a:defRPr>
            </a:lvl7pPr>
            <a:lvl8pPr marL="0" indent="0" algn="ctr">
              <a:lnSpc>
                <a:spcPct val="100000"/>
              </a:lnSpc>
              <a:spcAft>
                <a:spcPts val="0"/>
              </a:spcAft>
              <a:buNone/>
              <a:defRPr sz="1500">
                <a:solidFill>
                  <a:schemeClr val="bg1"/>
                </a:solidFill>
              </a:defRPr>
            </a:lvl8pPr>
            <a:lvl9pPr marL="0" indent="0" algn="ctr">
              <a:lnSpc>
                <a:spcPct val="100000"/>
              </a:lnSpc>
              <a:spcAft>
                <a:spcPts val="0"/>
              </a:spcAft>
              <a:buNone/>
              <a:defRPr sz="1500">
                <a:solidFill>
                  <a:schemeClr val="bg1"/>
                </a:solidFill>
              </a:defRPr>
            </a:lvl9pPr>
          </a:lstStyle>
          <a:p>
            <a:pPr lvl="0"/>
            <a:r>
              <a:rPr lang="de-DE" noProof="0" dirty="0" smtClean="0"/>
              <a:t>Text in CorpoS (Textkörper) </a:t>
            </a:r>
            <a:br>
              <a:rPr lang="de-DE" noProof="0" dirty="0" smtClean="0"/>
            </a:br>
            <a:r>
              <a:rPr lang="de-DE" noProof="0" dirty="0" smtClean="0"/>
              <a:t>in 15 pt. einfügen</a:t>
            </a:r>
          </a:p>
        </p:txBody>
      </p:sp>
      <p:sp>
        <p:nvSpPr>
          <p:cNvPr id="90" name="Textplatzhalter 3"/>
          <p:cNvSpPr>
            <a:spLocks noGrp="1"/>
          </p:cNvSpPr>
          <p:nvPr>
            <p:ph type="body" sz="quarter" idx="39" hasCustomPrompt="1"/>
          </p:nvPr>
        </p:nvSpPr>
        <p:spPr bwMode="gray">
          <a:xfrm>
            <a:off x="4479175" y="4005734"/>
            <a:ext cx="1512000"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1500">
                <a:solidFill>
                  <a:schemeClr val="bg1"/>
                </a:solidFill>
              </a:defRPr>
            </a:lvl1pPr>
            <a:lvl2pPr marL="0" indent="0" algn="ctr">
              <a:lnSpc>
                <a:spcPct val="100000"/>
              </a:lnSpc>
              <a:spcAft>
                <a:spcPts val="0"/>
              </a:spcAft>
              <a:buNone/>
              <a:defRPr sz="1500">
                <a:solidFill>
                  <a:schemeClr val="bg1"/>
                </a:solidFill>
              </a:defRPr>
            </a:lvl2pPr>
            <a:lvl3pPr marL="0" indent="0" algn="ctr">
              <a:lnSpc>
                <a:spcPct val="100000"/>
              </a:lnSpc>
              <a:spcAft>
                <a:spcPts val="0"/>
              </a:spcAft>
              <a:buNone/>
              <a:defRPr sz="1500">
                <a:solidFill>
                  <a:schemeClr val="bg1"/>
                </a:solidFill>
              </a:defRPr>
            </a:lvl3pPr>
            <a:lvl4pPr marL="0" indent="0" algn="ctr">
              <a:lnSpc>
                <a:spcPct val="100000"/>
              </a:lnSpc>
              <a:spcAft>
                <a:spcPts val="0"/>
              </a:spcAft>
              <a:buNone/>
              <a:defRPr sz="1500">
                <a:solidFill>
                  <a:schemeClr val="bg1"/>
                </a:solidFill>
              </a:defRPr>
            </a:lvl4pPr>
            <a:lvl5pPr marL="0" indent="0" algn="ctr">
              <a:lnSpc>
                <a:spcPct val="100000"/>
              </a:lnSpc>
              <a:spcAft>
                <a:spcPts val="0"/>
              </a:spcAft>
              <a:buNone/>
              <a:defRPr sz="1500">
                <a:solidFill>
                  <a:schemeClr val="bg1"/>
                </a:solidFill>
              </a:defRPr>
            </a:lvl5pPr>
            <a:lvl6pPr marL="0" indent="0" algn="ctr">
              <a:lnSpc>
                <a:spcPct val="100000"/>
              </a:lnSpc>
              <a:spcAft>
                <a:spcPts val="0"/>
              </a:spcAft>
              <a:buNone/>
              <a:defRPr sz="1500">
                <a:solidFill>
                  <a:schemeClr val="bg1"/>
                </a:solidFill>
              </a:defRPr>
            </a:lvl6pPr>
            <a:lvl7pPr marL="0" indent="0" algn="ctr">
              <a:lnSpc>
                <a:spcPct val="100000"/>
              </a:lnSpc>
              <a:spcAft>
                <a:spcPts val="0"/>
              </a:spcAft>
              <a:buNone/>
              <a:defRPr sz="1500">
                <a:solidFill>
                  <a:schemeClr val="bg1"/>
                </a:solidFill>
              </a:defRPr>
            </a:lvl7pPr>
            <a:lvl8pPr marL="0" indent="0" algn="ctr">
              <a:lnSpc>
                <a:spcPct val="100000"/>
              </a:lnSpc>
              <a:spcAft>
                <a:spcPts val="0"/>
              </a:spcAft>
              <a:buNone/>
              <a:defRPr sz="1500">
                <a:solidFill>
                  <a:schemeClr val="bg1"/>
                </a:solidFill>
              </a:defRPr>
            </a:lvl8pPr>
            <a:lvl9pPr marL="0" indent="0" algn="ctr">
              <a:lnSpc>
                <a:spcPct val="100000"/>
              </a:lnSpc>
              <a:spcAft>
                <a:spcPts val="0"/>
              </a:spcAft>
              <a:buNone/>
              <a:defRPr sz="1500">
                <a:solidFill>
                  <a:schemeClr val="bg1"/>
                </a:solidFill>
              </a:defRPr>
            </a:lvl9pPr>
          </a:lstStyle>
          <a:p>
            <a:pPr lvl="0"/>
            <a:r>
              <a:rPr lang="de-DE" noProof="0" dirty="0" smtClean="0"/>
              <a:t>Text in CorpoS (Textkörper) </a:t>
            </a:r>
            <a:br>
              <a:rPr lang="de-DE" noProof="0" dirty="0" smtClean="0"/>
            </a:br>
            <a:r>
              <a:rPr lang="de-DE" noProof="0" dirty="0" smtClean="0"/>
              <a:t>in 15 pt. einfügen</a:t>
            </a:r>
          </a:p>
        </p:txBody>
      </p:sp>
      <p:sp>
        <p:nvSpPr>
          <p:cNvPr id="91" name="Textplatzhalter 3"/>
          <p:cNvSpPr>
            <a:spLocks noGrp="1"/>
          </p:cNvSpPr>
          <p:nvPr>
            <p:ph type="body" sz="quarter" idx="40" hasCustomPrompt="1"/>
          </p:nvPr>
        </p:nvSpPr>
        <p:spPr bwMode="gray">
          <a:xfrm>
            <a:off x="4479175" y="5252601"/>
            <a:ext cx="1512000" cy="1173600"/>
          </a:xfrm>
          <a:solidFill>
            <a:schemeClr val="accent1"/>
          </a:solidFill>
        </p:spPr>
        <p:txBody>
          <a:bodyPr anchor="ctr" anchorCtr="0"/>
          <a:lstStyle>
            <a:lvl1pPr marL="0" indent="0" algn="ctr">
              <a:lnSpc>
                <a:spcPct val="100000"/>
              </a:lnSpc>
              <a:spcAft>
                <a:spcPts val="0"/>
              </a:spcAft>
              <a:buFont typeface="Arial" panose="020B0604020202020204" pitchFamily="34" charset="0"/>
              <a:buNone/>
              <a:defRPr sz="1500">
                <a:solidFill>
                  <a:schemeClr val="bg1"/>
                </a:solidFill>
              </a:defRPr>
            </a:lvl1pPr>
            <a:lvl2pPr marL="0" indent="0" algn="ctr">
              <a:lnSpc>
                <a:spcPct val="100000"/>
              </a:lnSpc>
              <a:spcAft>
                <a:spcPts val="0"/>
              </a:spcAft>
              <a:buNone/>
              <a:defRPr sz="1500">
                <a:solidFill>
                  <a:schemeClr val="bg1"/>
                </a:solidFill>
              </a:defRPr>
            </a:lvl2pPr>
            <a:lvl3pPr marL="0" indent="0" algn="ctr">
              <a:lnSpc>
                <a:spcPct val="100000"/>
              </a:lnSpc>
              <a:spcAft>
                <a:spcPts val="0"/>
              </a:spcAft>
              <a:buNone/>
              <a:defRPr sz="1500">
                <a:solidFill>
                  <a:schemeClr val="bg1"/>
                </a:solidFill>
              </a:defRPr>
            </a:lvl3pPr>
            <a:lvl4pPr marL="0" indent="0" algn="ctr">
              <a:lnSpc>
                <a:spcPct val="100000"/>
              </a:lnSpc>
              <a:spcAft>
                <a:spcPts val="0"/>
              </a:spcAft>
              <a:buNone/>
              <a:defRPr sz="1500">
                <a:solidFill>
                  <a:schemeClr val="bg1"/>
                </a:solidFill>
              </a:defRPr>
            </a:lvl4pPr>
            <a:lvl5pPr marL="0" indent="0" algn="ctr">
              <a:lnSpc>
                <a:spcPct val="100000"/>
              </a:lnSpc>
              <a:spcAft>
                <a:spcPts val="0"/>
              </a:spcAft>
              <a:buNone/>
              <a:defRPr sz="1500">
                <a:solidFill>
                  <a:schemeClr val="bg1"/>
                </a:solidFill>
              </a:defRPr>
            </a:lvl5pPr>
            <a:lvl6pPr marL="0" indent="0" algn="ctr">
              <a:lnSpc>
                <a:spcPct val="100000"/>
              </a:lnSpc>
              <a:spcAft>
                <a:spcPts val="0"/>
              </a:spcAft>
              <a:buNone/>
              <a:defRPr sz="1500">
                <a:solidFill>
                  <a:schemeClr val="bg1"/>
                </a:solidFill>
              </a:defRPr>
            </a:lvl6pPr>
            <a:lvl7pPr marL="0" indent="0" algn="ctr">
              <a:lnSpc>
                <a:spcPct val="100000"/>
              </a:lnSpc>
              <a:spcAft>
                <a:spcPts val="0"/>
              </a:spcAft>
              <a:buNone/>
              <a:defRPr sz="1500">
                <a:solidFill>
                  <a:schemeClr val="bg1"/>
                </a:solidFill>
              </a:defRPr>
            </a:lvl7pPr>
            <a:lvl8pPr marL="0" indent="0" algn="ctr">
              <a:lnSpc>
                <a:spcPct val="100000"/>
              </a:lnSpc>
              <a:spcAft>
                <a:spcPts val="0"/>
              </a:spcAft>
              <a:buNone/>
              <a:defRPr sz="1500">
                <a:solidFill>
                  <a:schemeClr val="bg1"/>
                </a:solidFill>
              </a:defRPr>
            </a:lvl8pPr>
            <a:lvl9pPr marL="0" indent="0" algn="ctr">
              <a:lnSpc>
                <a:spcPct val="100000"/>
              </a:lnSpc>
              <a:spcAft>
                <a:spcPts val="0"/>
              </a:spcAft>
              <a:buNone/>
              <a:defRPr sz="1500">
                <a:solidFill>
                  <a:schemeClr val="bg1"/>
                </a:solidFill>
              </a:defRPr>
            </a:lvl9pPr>
          </a:lstStyle>
          <a:p>
            <a:pPr lvl="0"/>
            <a:r>
              <a:rPr lang="de-DE" noProof="0" dirty="0" smtClean="0"/>
              <a:t>Text in CorpoS (Textkörper) </a:t>
            </a:r>
            <a:br>
              <a:rPr lang="de-DE" noProof="0" dirty="0" smtClean="0"/>
            </a:br>
            <a:r>
              <a:rPr lang="de-DE" noProof="0" dirty="0" smtClean="0"/>
              <a:t>in 15 pt. einfügen</a:t>
            </a:r>
          </a:p>
        </p:txBody>
      </p:sp>
      <p:sp>
        <p:nvSpPr>
          <p:cNvPr id="92" name="Textplatzhalter 3"/>
          <p:cNvSpPr>
            <a:spLocks noGrp="1"/>
          </p:cNvSpPr>
          <p:nvPr>
            <p:ph type="body" sz="quarter" idx="34" hasCustomPrompt="1"/>
          </p:nvPr>
        </p:nvSpPr>
        <p:spPr>
          <a:xfrm>
            <a:off x="396000" y="1512000"/>
            <a:ext cx="1800000" cy="1173600"/>
          </a:xfrm>
        </p:spPr>
        <p:txBody>
          <a:bodyPr anchor="ctr" anchorCtr="0"/>
          <a:lstStyle>
            <a:lvl1pPr marL="0" indent="0" algn="r">
              <a:lnSpc>
                <a:spcPct val="100000"/>
              </a:lnSpc>
              <a:spcAft>
                <a:spcPts val="0"/>
              </a:spcAft>
              <a:buFont typeface="Arial" panose="020B0604020202020204" pitchFamily="34" charset="0"/>
              <a:buNone/>
              <a:defRPr sz="1500"/>
            </a:lvl1pPr>
            <a:lvl2pPr marL="0" indent="0" algn="r">
              <a:lnSpc>
                <a:spcPct val="100000"/>
              </a:lnSpc>
              <a:spcAft>
                <a:spcPts val="0"/>
              </a:spcAft>
              <a:buNone/>
              <a:defRPr sz="1000"/>
            </a:lvl2pPr>
            <a:lvl3pPr marL="0" indent="0" algn="r">
              <a:lnSpc>
                <a:spcPct val="100000"/>
              </a:lnSpc>
              <a:spcAft>
                <a:spcPts val="0"/>
              </a:spcAft>
              <a:buNone/>
              <a:defRPr sz="1000"/>
            </a:lvl3pPr>
            <a:lvl4pPr marL="0" indent="0" algn="r">
              <a:lnSpc>
                <a:spcPct val="100000"/>
              </a:lnSpc>
              <a:spcAft>
                <a:spcPts val="0"/>
              </a:spcAft>
              <a:buNone/>
              <a:defRPr sz="1000"/>
            </a:lvl4pPr>
            <a:lvl5pPr marL="0" indent="0" algn="r">
              <a:lnSpc>
                <a:spcPct val="100000"/>
              </a:lnSpc>
              <a:spcAft>
                <a:spcPts val="0"/>
              </a:spcAft>
              <a:buNone/>
              <a:defRPr sz="1000"/>
            </a:lvl5pPr>
            <a:lvl6pPr marL="0" indent="0" algn="r">
              <a:lnSpc>
                <a:spcPct val="100000"/>
              </a:lnSpc>
              <a:spcAft>
                <a:spcPts val="0"/>
              </a:spcAft>
              <a:buNone/>
              <a:defRPr sz="1000"/>
            </a:lvl6pPr>
            <a:lvl7pPr marL="0" indent="0" algn="r">
              <a:lnSpc>
                <a:spcPct val="100000"/>
              </a:lnSpc>
              <a:spcAft>
                <a:spcPts val="0"/>
              </a:spcAft>
              <a:buNone/>
              <a:defRPr sz="1000"/>
            </a:lvl7pPr>
            <a:lvl8pPr marL="0" indent="0" algn="r">
              <a:lnSpc>
                <a:spcPct val="100000"/>
              </a:lnSpc>
              <a:spcAft>
                <a:spcPts val="0"/>
              </a:spcAft>
              <a:buNone/>
              <a:defRPr sz="1000"/>
            </a:lvl8pPr>
            <a:lvl9pPr marL="0" indent="0" algn="r">
              <a:lnSpc>
                <a:spcPct val="100000"/>
              </a:lnSpc>
              <a:spcAft>
                <a:spcPts val="0"/>
              </a:spcAft>
              <a:buNone/>
              <a:defRPr sz="1000"/>
            </a:lvl9pPr>
          </a:lstStyle>
          <a:p>
            <a:pPr lvl="0"/>
            <a:r>
              <a:rPr lang="de-DE" noProof="0" dirty="0" smtClean="0"/>
              <a:t>Text in CorpoS in 15 pt. einfügen // für kleineren Text: Start // Absatz // Listenebene erhöhen</a:t>
            </a:r>
          </a:p>
        </p:txBody>
      </p:sp>
      <p:sp>
        <p:nvSpPr>
          <p:cNvPr id="93" name="Textplatzhalter 3"/>
          <p:cNvSpPr>
            <a:spLocks noGrp="1"/>
          </p:cNvSpPr>
          <p:nvPr>
            <p:ph type="body" sz="quarter" idx="35" hasCustomPrompt="1"/>
          </p:nvPr>
        </p:nvSpPr>
        <p:spPr>
          <a:xfrm>
            <a:off x="396000" y="5252601"/>
            <a:ext cx="1800000" cy="1173600"/>
          </a:xfrm>
        </p:spPr>
        <p:txBody>
          <a:bodyPr anchor="ctr" anchorCtr="0"/>
          <a:lstStyle>
            <a:lvl1pPr marL="0" indent="0" algn="r">
              <a:lnSpc>
                <a:spcPct val="100000"/>
              </a:lnSpc>
              <a:spcAft>
                <a:spcPts val="0"/>
              </a:spcAft>
              <a:buFont typeface="Arial" panose="020B0604020202020204" pitchFamily="34" charset="0"/>
              <a:buNone/>
              <a:defRPr sz="1500"/>
            </a:lvl1pPr>
            <a:lvl2pPr marL="0" indent="0" algn="r">
              <a:lnSpc>
                <a:spcPct val="100000"/>
              </a:lnSpc>
              <a:spcAft>
                <a:spcPts val="0"/>
              </a:spcAft>
              <a:buNone/>
              <a:defRPr sz="1000"/>
            </a:lvl2pPr>
            <a:lvl3pPr marL="0" indent="0" algn="r">
              <a:lnSpc>
                <a:spcPct val="100000"/>
              </a:lnSpc>
              <a:spcAft>
                <a:spcPts val="0"/>
              </a:spcAft>
              <a:buNone/>
              <a:defRPr sz="1000"/>
            </a:lvl3pPr>
            <a:lvl4pPr marL="0" indent="0" algn="r">
              <a:lnSpc>
                <a:spcPct val="100000"/>
              </a:lnSpc>
              <a:spcAft>
                <a:spcPts val="0"/>
              </a:spcAft>
              <a:buNone/>
              <a:defRPr sz="1000"/>
            </a:lvl4pPr>
            <a:lvl5pPr marL="0" indent="0" algn="r">
              <a:lnSpc>
                <a:spcPct val="100000"/>
              </a:lnSpc>
              <a:spcAft>
                <a:spcPts val="0"/>
              </a:spcAft>
              <a:buNone/>
              <a:defRPr sz="1000"/>
            </a:lvl5pPr>
            <a:lvl6pPr marL="0" indent="0" algn="r">
              <a:lnSpc>
                <a:spcPct val="100000"/>
              </a:lnSpc>
              <a:spcAft>
                <a:spcPts val="0"/>
              </a:spcAft>
              <a:buNone/>
              <a:defRPr sz="1000"/>
            </a:lvl6pPr>
            <a:lvl7pPr marL="0" indent="0" algn="r">
              <a:lnSpc>
                <a:spcPct val="100000"/>
              </a:lnSpc>
              <a:spcAft>
                <a:spcPts val="0"/>
              </a:spcAft>
              <a:buNone/>
              <a:defRPr sz="1000"/>
            </a:lvl7pPr>
            <a:lvl8pPr marL="0" indent="0" algn="r">
              <a:lnSpc>
                <a:spcPct val="100000"/>
              </a:lnSpc>
              <a:spcAft>
                <a:spcPts val="0"/>
              </a:spcAft>
              <a:buNone/>
              <a:defRPr sz="1000"/>
            </a:lvl8pPr>
            <a:lvl9pPr marL="0" indent="0" algn="r">
              <a:lnSpc>
                <a:spcPct val="100000"/>
              </a:lnSpc>
              <a:spcAft>
                <a:spcPts val="0"/>
              </a:spcAft>
              <a:buNone/>
              <a:defRPr sz="1000"/>
            </a:lvl9pPr>
          </a:lstStyle>
          <a:p>
            <a:pPr lvl="0"/>
            <a:r>
              <a:rPr lang="de-DE" noProof="0" dirty="0" smtClean="0"/>
              <a:t>Text in CorpoS in 15 pt. einfügen // für kleineren Text: Start // Absatz // Listenebene erhöhen</a:t>
            </a:r>
          </a:p>
        </p:txBody>
      </p:sp>
      <p:sp>
        <p:nvSpPr>
          <p:cNvPr id="94" name="Textplatzhalter 3"/>
          <p:cNvSpPr>
            <a:spLocks noGrp="1"/>
          </p:cNvSpPr>
          <p:nvPr>
            <p:ph type="body" sz="quarter" idx="36" hasCustomPrompt="1"/>
          </p:nvPr>
        </p:nvSpPr>
        <p:spPr>
          <a:xfrm>
            <a:off x="396000" y="4005734"/>
            <a:ext cx="1800000" cy="1173600"/>
          </a:xfrm>
        </p:spPr>
        <p:txBody>
          <a:bodyPr anchor="ctr" anchorCtr="0"/>
          <a:lstStyle>
            <a:lvl1pPr marL="0" indent="0" algn="r">
              <a:lnSpc>
                <a:spcPct val="100000"/>
              </a:lnSpc>
              <a:spcAft>
                <a:spcPts val="0"/>
              </a:spcAft>
              <a:buFont typeface="Arial" panose="020B0604020202020204" pitchFamily="34" charset="0"/>
              <a:buNone/>
              <a:defRPr sz="1500"/>
            </a:lvl1pPr>
            <a:lvl2pPr marL="0" indent="0" algn="r">
              <a:lnSpc>
                <a:spcPct val="100000"/>
              </a:lnSpc>
              <a:spcAft>
                <a:spcPts val="0"/>
              </a:spcAft>
              <a:buNone/>
              <a:defRPr sz="1000"/>
            </a:lvl2pPr>
            <a:lvl3pPr marL="0" indent="0" algn="r">
              <a:lnSpc>
                <a:spcPct val="100000"/>
              </a:lnSpc>
              <a:spcAft>
                <a:spcPts val="0"/>
              </a:spcAft>
              <a:buNone/>
              <a:defRPr sz="1000"/>
            </a:lvl3pPr>
            <a:lvl4pPr marL="0" indent="0" algn="r">
              <a:lnSpc>
                <a:spcPct val="100000"/>
              </a:lnSpc>
              <a:spcAft>
                <a:spcPts val="0"/>
              </a:spcAft>
              <a:buNone/>
              <a:defRPr sz="1000"/>
            </a:lvl4pPr>
            <a:lvl5pPr marL="0" indent="0" algn="r">
              <a:lnSpc>
                <a:spcPct val="100000"/>
              </a:lnSpc>
              <a:spcAft>
                <a:spcPts val="0"/>
              </a:spcAft>
              <a:buNone/>
              <a:defRPr sz="1000"/>
            </a:lvl5pPr>
            <a:lvl6pPr marL="0" indent="0" algn="r">
              <a:lnSpc>
                <a:spcPct val="100000"/>
              </a:lnSpc>
              <a:spcAft>
                <a:spcPts val="0"/>
              </a:spcAft>
              <a:buNone/>
              <a:defRPr sz="1000"/>
            </a:lvl6pPr>
            <a:lvl7pPr marL="0" indent="0" algn="r">
              <a:lnSpc>
                <a:spcPct val="100000"/>
              </a:lnSpc>
              <a:spcAft>
                <a:spcPts val="0"/>
              </a:spcAft>
              <a:buNone/>
              <a:defRPr sz="1000"/>
            </a:lvl7pPr>
            <a:lvl8pPr marL="0" indent="0" algn="r">
              <a:lnSpc>
                <a:spcPct val="100000"/>
              </a:lnSpc>
              <a:spcAft>
                <a:spcPts val="0"/>
              </a:spcAft>
              <a:buNone/>
              <a:defRPr sz="1000"/>
            </a:lvl8pPr>
            <a:lvl9pPr marL="0" indent="0" algn="r">
              <a:lnSpc>
                <a:spcPct val="100000"/>
              </a:lnSpc>
              <a:spcAft>
                <a:spcPts val="0"/>
              </a:spcAft>
              <a:buNone/>
              <a:defRPr sz="1000"/>
            </a:lvl9pPr>
          </a:lstStyle>
          <a:p>
            <a:pPr lvl="0"/>
            <a:r>
              <a:rPr lang="de-DE" noProof="0" dirty="0" smtClean="0"/>
              <a:t>Text in CorpoS in 15 pt. einfügen // für kleineren Text: Start // Absatz // Listenebene erhöhen</a:t>
            </a:r>
          </a:p>
        </p:txBody>
      </p:sp>
      <p:sp>
        <p:nvSpPr>
          <p:cNvPr id="95" name="Textplatzhalter 3"/>
          <p:cNvSpPr>
            <a:spLocks noGrp="1"/>
          </p:cNvSpPr>
          <p:nvPr>
            <p:ph type="body" sz="quarter" idx="37" hasCustomPrompt="1"/>
          </p:nvPr>
        </p:nvSpPr>
        <p:spPr>
          <a:xfrm>
            <a:off x="396000" y="2758867"/>
            <a:ext cx="1800000" cy="1173600"/>
          </a:xfrm>
        </p:spPr>
        <p:txBody>
          <a:bodyPr anchor="ctr" anchorCtr="0"/>
          <a:lstStyle>
            <a:lvl1pPr marL="0" indent="0" algn="r">
              <a:lnSpc>
                <a:spcPct val="100000"/>
              </a:lnSpc>
              <a:spcAft>
                <a:spcPts val="0"/>
              </a:spcAft>
              <a:buFont typeface="Arial" panose="020B0604020202020204" pitchFamily="34" charset="0"/>
              <a:buNone/>
              <a:defRPr sz="1500"/>
            </a:lvl1pPr>
            <a:lvl2pPr marL="0" indent="0" algn="r">
              <a:lnSpc>
                <a:spcPct val="100000"/>
              </a:lnSpc>
              <a:spcAft>
                <a:spcPts val="0"/>
              </a:spcAft>
              <a:buNone/>
              <a:defRPr sz="1000"/>
            </a:lvl2pPr>
            <a:lvl3pPr marL="0" indent="0" algn="r">
              <a:lnSpc>
                <a:spcPct val="100000"/>
              </a:lnSpc>
              <a:spcAft>
                <a:spcPts val="0"/>
              </a:spcAft>
              <a:buNone/>
              <a:defRPr sz="1000"/>
            </a:lvl3pPr>
            <a:lvl4pPr marL="0" indent="0" algn="r">
              <a:lnSpc>
                <a:spcPct val="100000"/>
              </a:lnSpc>
              <a:spcAft>
                <a:spcPts val="0"/>
              </a:spcAft>
              <a:buNone/>
              <a:defRPr sz="1000"/>
            </a:lvl4pPr>
            <a:lvl5pPr marL="0" indent="0" algn="r">
              <a:lnSpc>
                <a:spcPct val="100000"/>
              </a:lnSpc>
              <a:spcAft>
                <a:spcPts val="0"/>
              </a:spcAft>
              <a:buNone/>
              <a:defRPr sz="1000"/>
            </a:lvl5pPr>
            <a:lvl6pPr marL="0" indent="0" algn="r">
              <a:lnSpc>
                <a:spcPct val="100000"/>
              </a:lnSpc>
              <a:spcAft>
                <a:spcPts val="0"/>
              </a:spcAft>
              <a:buNone/>
              <a:defRPr sz="1000"/>
            </a:lvl6pPr>
            <a:lvl7pPr marL="0" indent="0" algn="r">
              <a:lnSpc>
                <a:spcPct val="100000"/>
              </a:lnSpc>
              <a:spcAft>
                <a:spcPts val="0"/>
              </a:spcAft>
              <a:buNone/>
              <a:defRPr sz="1000"/>
            </a:lvl7pPr>
            <a:lvl8pPr marL="0" indent="0" algn="r">
              <a:lnSpc>
                <a:spcPct val="100000"/>
              </a:lnSpc>
              <a:spcAft>
                <a:spcPts val="0"/>
              </a:spcAft>
              <a:buNone/>
              <a:defRPr sz="1000"/>
            </a:lvl8pPr>
            <a:lvl9pPr marL="0" indent="0" algn="r">
              <a:lnSpc>
                <a:spcPct val="100000"/>
              </a:lnSpc>
              <a:spcAft>
                <a:spcPts val="0"/>
              </a:spcAft>
              <a:buNone/>
              <a:defRPr sz="1000"/>
            </a:lvl9pPr>
          </a:lstStyle>
          <a:p>
            <a:pPr lvl="0"/>
            <a:r>
              <a:rPr lang="de-DE" noProof="0" dirty="0" smtClean="0"/>
              <a:t>Text in CorpoS in 15 pt. einfügen // für kleineren Text: Start // Absatz // Listenebene erhöhen</a:t>
            </a:r>
          </a:p>
        </p:txBody>
      </p:sp>
      <p:sp>
        <p:nvSpPr>
          <p:cNvPr id="96" name="Textplatzhalter 3"/>
          <p:cNvSpPr>
            <a:spLocks noGrp="1"/>
          </p:cNvSpPr>
          <p:nvPr>
            <p:ph type="body" sz="quarter" idx="30" hasCustomPrompt="1"/>
          </p:nvPr>
        </p:nvSpPr>
        <p:spPr>
          <a:xfrm>
            <a:off x="10001474" y="1511301"/>
            <a:ext cx="1800000" cy="1173600"/>
          </a:xfrm>
        </p:spPr>
        <p:txBody>
          <a:bodyPr anchor="ctr" anchorCtr="0"/>
          <a:lstStyle>
            <a:lvl1pPr marL="0" indent="0" algn="l">
              <a:lnSpc>
                <a:spcPct val="100000"/>
              </a:lnSpc>
              <a:spcAft>
                <a:spcPts val="0"/>
              </a:spcAft>
              <a:buFont typeface="Arial" panose="020B0604020202020204" pitchFamily="34" charset="0"/>
              <a:buNone/>
              <a:defRPr sz="1500"/>
            </a:lvl1pPr>
            <a:lvl2pPr marL="0" indent="0" algn="l">
              <a:lnSpc>
                <a:spcPct val="100000"/>
              </a:lnSpc>
              <a:spcAft>
                <a:spcPts val="0"/>
              </a:spcAft>
              <a:buNone/>
              <a:defRPr sz="1000"/>
            </a:lvl2pPr>
            <a:lvl3pPr marL="0" indent="0" algn="l">
              <a:lnSpc>
                <a:spcPct val="100000"/>
              </a:lnSpc>
              <a:spcAft>
                <a:spcPts val="0"/>
              </a:spcAft>
              <a:buNone/>
              <a:defRPr sz="1000"/>
            </a:lvl3pPr>
            <a:lvl4pPr marL="0" indent="0" algn="l">
              <a:lnSpc>
                <a:spcPct val="100000"/>
              </a:lnSpc>
              <a:spcAft>
                <a:spcPts val="0"/>
              </a:spcAft>
              <a:buNone/>
              <a:defRPr sz="1000"/>
            </a:lvl4pPr>
            <a:lvl5pPr marL="0" indent="0" algn="l">
              <a:lnSpc>
                <a:spcPct val="100000"/>
              </a:lnSpc>
              <a:spcAft>
                <a:spcPts val="0"/>
              </a:spcAft>
              <a:buNone/>
              <a:defRPr sz="1000"/>
            </a:lvl5pPr>
            <a:lvl6pPr marL="0" indent="0" algn="l">
              <a:lnSpc>
                <a:spcPct val="100000"/>
              </a:lnSpc>
              <a:spcAft>
                <a:spcPts val="0"/>
              </a:spcAft>
              <a:buNone/>
              <a:defRPr sz="1000"/>
            </a:lvl6pPr>
            <a:lvl7pPr marL="0" indent="0" algn="l">
              <a:lnSpc>
                <a:spcPct val="100000"/>
              </a:lnSpc>
              <a:spcAft>
                <a:spcPts val="0"/>
              </a:spcAft>
              <a:buNone/>
              <a:defRPr sz="1000"/>
            </a:lvl7pPr>
            <a:lvl8pPr marL="0" indent="0" algn="l">
              <a:lnSpc>
                <a:spcPct val="100000"/>
              </a:lnSpc>
              <a:spcAft>
                <a:spcPts val="0"/>
              </a:spcAft>
              <a:buNone/>
              <a:defRPr sz="1000"/>
            </a:lvl8pPr>
            <a:lvl9pPr marL="0" indent="0" algn="l">
              <a:lnSpc>
                <a:spcPct val="100000"/>
              </a:lnSpc>
              <a:spcAft>
                <a:spcPts val="0"/>
              </a:spcAft>
              <a:buNone/>
              <a:defRPr sz="1000"/>
            </a:lvl9pPr>
          </a:lstStyle>
          <a:p>
            <a:pPr lvl="0"/>
            <a:r>
              <a:rPr lang="de-DE" noProof="0" dirty="0" smtClean="0"/>
              <a:t>Text in CorpoS in 15 pt. einfügen // für kleineren Text: Start // Absatz // Listenebene erhöhen</a:t>
            </a:r>
          </a:p>
        </p:txBody>
      </p:sp>
      <p:sp>
        <p:nvSpPr>
          <p:cNvPr id="97" name="Textplatzhalter 3"/>
          <p:cNvSpPr>
            <a:spLocks noGrp="1"/>
          </p:cNvSpPr>
          <p:nvPr>
            <p:ph type="body" sz="quarter" idx="31" hasCustomPrompt="1"/>
          </p:nvPr>
        </p:nvSpPr>
        <p:spPr>
          <a:xfrm>
            <a:off x="10001474" y="5252601"/>
            <a:ext cx="1800000" cy="1173600"/>
          </a:xfrm>
        </p:spPr>
        <p:txBody>
          <a:bodyPr anchor="ctr" anchorCtr="0"/>
          <a:lstStyle>
            <a:lvl1pPr marL="0" indent="0" algn="l">
              <a:lnSpc>
                <a:spcPct val="100000"/>
              </a:lnSpc>
              <a:spcAft>
                <a:spcPts val="0"/>
              </a:spcAft>
              <a:buFont typeface="Arial" panose="020B0604020202020204" pitchFamily="34" charset="0"/>
              <a:buNone/>
              <a:defRPr sz="1500"/>
            </a:lvl1pPr>
            <a:lvl2pPr marL="0" indent="0" algn="l">
              <a:lnSpc>
                <a:spcPct val="100000"/>
              </a:lnSpc>
              <a:spcAft>
                <a:spcPts val="0"/>
              </a:spcAft>
              <a:buNone/>
              <a:defRPr sz="1000"/>
            </a:lvl2pPr>
            <a:lvl3pPr marL="0" indent="0" algn="l">
              <a:lnSpc>
                <a:spcPct val="100000"/>
              </a:lnSpc>
              <a:spcAft>
                <a:spcPts val="0"/>
              </a:spcAft>
              <a:buNone/>
              <a:defRPr sz="1000"/>
            </a:lvl3pPr>
            <a:lvl4pPr marL="0" indent="0" algn="l">
              <a:lnSpc>
                <a:spcPct val="100000"/>
              </a:lnSpc>
              <a:spcAft>
                <a:spcPts val="0"/>
              </a:spcAft>
              <a:buNone/>
              <a:defRPr sz="1000"/>
            </a:lvl4pPr>
            <a:lvl5pPr marL="0" indent="0" algn="l">
              <a:lnSpc>
                <a:spcPct val="100000"/>
              </a:lnSpc>
              <a:spcAft>
                <a:spcPts val="0"/>
              </a:spcAft>
              <a:buNone/>
              <a:defRPr sz="1000"/>
            </a:lvl5pPr>
            <a:lvl6pPr marL="0" indent="0" algn="l">
              <a:lnSpc>
                <a:spcPct val="100000"/>
              </a:lnSpc>
              <a:spcAft>
                <a:spcPts val="0"/>
              </a:spcAft>
              <a:buNone/>
              <a:defRPr sz="1000"/>
            </a:lvl6pPr>
            <a:lvl7pPr marL="0" indent="0" algn="l">
              <a:lnSpc>
                <a:spcPct val="100000"/>
              </a:lnSpc>
              <a:spcAft>
                <a:spcPts val="0"/>
              </a:spcAft>
              <a:buNone/>
              <a:defRPr sz="1000"/>
            </a:lvl7pPr>
            <a:lvl8pPr marL="0" indent="0" algn="l">
              <a:lnSpc>
                <a:spcPct val="100000"/>
              </a:lnSpc>
              <a:spcAft>
                <a:spcPts val="0"/>
              </a:spcAft>
              <a:buNone/>
              <a:defRPr sz="1000"/>
            </a:lvl8pPr>
            <a:lvl9pPr marL="0" indent="0" algn="l">
              <a:lnSpc>
                <a:spcPct val="100000"/>
              </a:lnSpc>
              <a:spcAft>
                <a:spcPts val="0"/>
              </a:spcAft>
              <a:buNone/>
              <a:defRPr sz="1000"/>
            </a:lvl9pPr>
          </a:lstStyle>
          <a:p>
            <a:pPr lvl="0"/>
            <a:r>
              <a:rPr lang="de-DE" noProof="0" dirty="0" smtClean="0"/>
              <a:t>Text in CorpoS in 15 pt. einfügen // für kleineren Text: Start // Absatz // Listenebene erhöhen</a:t>
            </a:r>
          </a:p>
        </p:txBody>
      </p:sp>
      <p:sp>
        <p:nvSpPr>
          <p:cNvPr id="98" name="Textplatzhalter 3"/>
          <p:cNvSpPr>
            <a:spLocks noGrp="1"/>
          </p:cNvSpPr>
          <p:nvPr>
            <p:ph type="body" sz="quarter" idx="32" hasCustomPrompt="1"/>
          </p:nvPr>
        </p:nvSpPr>
        <p:spPr>
          <a:xfrm>
            <a:off x="10001474" y="4005501"/>
            <a:ext cx="1800000" cy="1173600"/>
          </a:xfrm>
        </p:spPr>
        <p:txBody>
          <a:bodyPr anchor="ctr" anchorCtr="0"/>
          <a:lstStyle>
            <a:lvl1pPr marL="0" indent="0" algn="l">
              <a:lnSpc>
                <a:spcPct val="100000"/>
              </a:lnSpc>
              <a:spcAft>
                <a:spcPts val="0"/>
              </a:spcAft>
              <a:buFont typeface="Arial" panose="020B0604020202020204" pitchFamily="34" charset="0"/>
              <a:buNone/>
              <a:defRPr sz="1500"/>
            </a:lvl1pPr>
            <a:lvl2pPr marL="0" indent="0" algn="l">
              <a:lnSpc>
                <a:spcPct val="100000"/>
              </a:lnSpc>
              <a:spcAft>
                <a:spcPts val="0"/>
              </a:spcAft>
              <a:buNone/>
              <a:defRPr sz="1000"/>
            </a:lvl2pPr>
            <a:lvl3pPr marL="0" indent="0" algn="l">
              <a:lnSpc>
                <a:spcPct val="100000"/>
              </a:lnSpc>
              <a:spcAft>
                <a:spcPts val="0"/>
              </a:spcAft>
              <a:buNone/>
              <a:defRPr sz="1000"/>
            </a:lvl3pPr>
            <a:lvl4pPr marL="0" indent="0" algn="l">
              <a:lnSpc>
                <a:spcPct val="100000"/>
              </a:lnSpc>
              <a:spcAft>
                <a:spcPts val="0"/>
              </a:spcAft>
              <a:buNone/>
              <a:defRPr sz="1000"/>
            </a:lvl4pPr>
            <a:lvl5pPr marL="0" indent="0" algn="l">
              <a:lnSpc>
                <a:spcPct val="100000"/>
              </a:lnSpc>
              <a:spcAft>
                <a:spcPts val="0"/>
              </a:spcAft>
              <a:buNone/>
              <a:defRPr sz="1000"/>
            </a:lvl5pPr>
            <a:lvl6pPr marL="0" indent="0" algn="l">
              <a:lnSpc>
                <a:spcPct val="100000"/>
              </a:lnSpc>
              <a:spcAft>
                <a:spcPts val="0"/>
              </a:spcAft>
              <a:buNone/>
              <a:defRPr sz="1000"/>
            </a:lvl6pPr>
            <a:lvl7pPr marL="0" indent="0" algn="l">
              <a:lnSpc>
                <a:spcPct val="100000"/>
              </a:lnSpc>
              <a:spcAft>
                <a:spcPts val="0"/>
              </a:spcAft>
              <a:buNone/>
              <a:defRPr sz="1000"/>
            </a:lvl7pPr>
            <a:lvl8pPr marL="0" indent="0" algn="l">
              <a:lnSpc>
                <a:spcPct val="100000"/>
              </a:lnSpc>
              <a:spcAft>
                <a:spcPts val="0"/>
              </a:spcAft>
              <a:buNone/>
              <a:defRPr sz="1000"/>
            </a:lvl8pPr>
            <a:lvl9pPr marL="0" indent="0" algn="l">
              <a:lnSpc>
                <a:spcPct val="100000"/>
              </a:lnSpc>
              <a:spcAft>
                <a:spcPts val="0"/>
              </a:spcAft>
              <a:buNone/>
              <a:defRPr sz="1000"/>
            </a:lvl9pPr>
          </a:lstStyle>
          <a:p>
            <a:pPr lvl="0"/>
            <a:r>
              <a:rPr lang="de-DE" noProof="0" dirty="0" smtClean="0"/>
              <a:t>Text in CorpoS in 15 pt. einfügen // für kleineren Text: Start // Absatz // Listenebene erhöhen</a:t>
            </a:r>
          </a:p>
        </p:txBody>
      </p:sp>
      <p:sp>
        <p:nvSpPr>
          <p:cNvPr id="99" name="Textplatzhalter 3"/>
          <p:cNvSpPr>
            <a:spLocks noGrp="1"/>
          </p:cNvSpPr>
          <p:nvPr>
            <p:ph type="body" sz="quarter" idx="33" hasCustomPrompt="1"/>
          </p:nvPr>
        </p:nvSpPr>
        <p:spPr>
          <a:xfrm>
            <a:off x="10001474" y="2758401"/>
            <a:ext cx="1800000" cy="1173600"/>
          </a:xfrm>
        </p:spPr>
        <p:txBody>
          <a:bodyPr anchor="ctr" anchorCtr="0"/>
          <a:lstStyle>
            <a:lvl1pPr marL="0" indent="0" algn="l">
              <a:lnSpc>
                <a:spcPct val="100000"/>
              </a:lnSpc>
              <a:spcAft>
                <a:spcPts val="0"/>
              </a:spcAft>
              <a:buFont typeface="Arial" panose="020B0604020202020204" pitchFamily="34" charset="0"/>
              <a:buNone/>
              <a:defRPr sz="1500"/>
            </a:lvl1pPr>
            <a:lvl2pPr marL="0" indent="0" algn="l">
              <a:lnSpc>
                <a:spcPct val="100000"/>
              </a:lnSpc>
              <a:spcAft>
                <a:spcPts val="0"/>
              </a:spcAft>
              <a:buNone/>
              <a:defRPr sz="1000"/>
            </a:lvl2pPr>
            <a:lvl3pPr marL="0" indent="0" algn="l">
              <a:lnSpc>
                <a:spcPct val="100000"/>
              </a:lnSpc>
              <a:spcAft>
                <a:spcPts val="0"/>
              </a:spcAft>
              <a:buNone/>
              <a:defRPr sz="1000"/>
            </a:lvl3pPr>
            <a:lvl4pPr marL="0" indent="0" algn="l">
              <a:lnSpc>
                <a:spcPct val="100000"/>
              </a:lnSpc>
              <a:spcAft>
                <a:spcPts val="0"/>
              </a:spcAft>
              <a:buNone/>
              <a:defRPr sz="1000"/>
            </a:lvl4pPr>
            <a:lvl5pPr marL="0" indent="0" algn="l">
              <a:lnSpc>
                <a:spcPct val="100000"/>
              </a:lnSpc>
              <a:spcAft>
                <a:spcPts val="0"/>
              </a:spcAft>
              <a:buNone/>
              <a:defRPr sz="1000"/>
            </a:lvl5pPr>
            <a:lvl6pPr marL="0" indent="0" algn="l">
              <a:lnSpc>
                <a:spcPct val="100000"/>
              </a:lnSpc>
              <a:spcAft>
                <a:spcPts val="0"/>
              </a:spcAft>
              <a:buNone/>
              <a:defRPr sz="1000"/>
            </a:lvl6pPr>
            <a:lvl7pPr marL="0" indent="0" algn="l">
              <a:lnSpc>
                <a:spcPct val="100000"/>
              </a:lnSpc>
              <a:spcAft>
                <a:spcPts val="0"/>
              </a:spcAft>
              <a:buNone/>
              <a:defRPr sz="1000"/>
            </a:lvl7pPr>
            <a:lvl8pPr marL="0" indent="0" algn="l">
              <a:lnSpc>
                <a:spcPct val="100000"/>
              </a:lnSpc>
              <a:spcAft>
                <a:spcPts val="0"/>
              </a:spcAft>
              <a:buNone/>
              <a:defRPr sz="1000"/>
            </a:lvl8pPr>
            <a:lvl9pPr marL="0" indent="0" algn="l">
              <a:lnSpc>
                <a:spcPct val="100000"/>
              </a:lnSpc>
              <a:spcAft>
                <a:spcPts val="0"/>
              </a:spcAft>
              <a:buNone/>
              <a:defRPr sz="1000"/>
            </a:lvl9pPr>
          </a:lstStyle>
          <a:p>
            <a:pPr lvl="0"/>
            <a:r>
              <a:rPr lang="de-DE" noProof="0" dirty="0" smtClean="0"/>
              <a:t>Text in CorpoS in 15 pt. einfügen // für kleineren Text: Start // Absatz // Listenebene erhöhen</a:t>
            </a:r>
          </a:p>
        </p:txBody>
      </p:sp>
      <p:sp>
        <p:nvSpPr>
          <p:cNvPr id="100" name="Bildplatzhalter 8"/>
          <p:cNvSpPr>
            <a:spLocks noGrp="1" noChangeAspect="1"/>
          </p:cNvSpPr>
          <p:nvPr>
            <p:ph type="pic" sz="quarter" idx="11" hasCustomPrompt="1"/>
          </p:nvPr>
        </p:nvSpPr>
        <p:spPr bwMode="gray">
          <a:xfrm>
            <a:off x="8198673" y="1511301"/>
            <a:ext cx="1692005" cy="1173600"/>
          </a:xfrm>
          <a:solidFill>
            <a:schemeClr val="accent6"/>
          </a:solidFill>
          <a:ln w="3175">
            <a:noFill/>
            <a:miter lim="800000"/>
          </a:ln>
        </p:spPr>
        <p:txBody>
          <a:bodyPr/>
          <a:lstStyle>
            <a:lvl1pPr algn="ctr">
              <a:lnSpc>
                <a:spcPct val="100000"/>
              </a:lnSpc>
              <a:spcAft>
                <a:spcPts val="0"/>
              </a:spcAft>
              <a:defRPr sz="15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1" name="Bildplatzhalter 8"/>
          <p:cNvSpPr>
            <a:spLocks noGrp="1" noChangeAspect="1"/>
          </p:cNvSpPr>
          <p:nvPr>
            <p:ph type="pic" sz="quarter" idx="17" hasCustomPrompt="1"/>
          </p:nvPr>
        </p:nvSpPr>
        <p:spPr bwMode="gray">
          <a:xfrm>
            <a:off x="8198673" y="4005501"/>
            <a:ext cx="1692005" cy="1173600"/>
          </a:xfrm>
          <a:solidFill>
            <a:schemeClr val="accent6"/>
          </a:solidFill>
          <a:ln w="3175">
            <a:noFill/>
            <a:miter lim="800000"/>
          </a:ln>
        </p:spPr>
        <p:txBody>
          <a:bodyPr/>
          <a:lstStyle>
            <a:lvl1pPr algn="ctr">
              <a:lnSpc>
                <a:spcPct val="100000"/>
              </a:lnSpc>
              <a:spcAft>
                <a:spcPts val="0"/>
              </a:spcAft>
              <a:defRPr sz="15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2" name="Bildplatzhalter 8"/>
          <p:cNvSpPr>
            <a:spLocks noGrp="1" noChangeAspect="1"/>
          </p:cNvSpPr>
          <p:nvPr>
            <p:ph type="pic" sz="quarter" idx="18" hasCustomPrompt="1"/>
          </p:nvPr>
        </p:nvSpPr>
        <p:spPr bwMode="gray">
          <a:xfrm>
            <a:off x="8198673" y="2758401"/>
            <a:ext cx="1692005" cy="1173600"/>
          </a:xfrm>
          <a:solidFill>
            <a:schemeClr val="accent6"/>
          </a:solidFill>
          <a:ln w="3175">
            <a:noFill/>
            <a:miter lim="800000"/>
          </a:ln>
        </p:spPr>
        <p:txBody>
          <a:bodyPr/>
          <a:lstStyle>
            <a:lvl1pPr algn="ctr">
              <a:lnSpc>
                <a:spcPct val="100000"/>
              </a:lnSpc>
              <a:spcAft>
                <a:spcPts val="0"/>
              </a:spcAft>
              <a:defRPr sz="15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3" name="Bildplatzhalter 8"/>
          <p:cNvSpPr>
            <a:spLocks noGrp="1" noChangeAspect="1"/>
          </p:cNvSpPr>
          <p:nvPr>
            <p:ph type="pic" sz="quarter" idx="29" hasCustomPrompt="1"/>
          </p:nvPr>
        </p:nvSpPr>
        <p:spPr bwMode="gray">
          <a:xfrm>
            <a:off x="8198673" y="5252601"/>
            <a:ext cx="1692005" cy="1173600"/>
          </a:xfrm>
          <a:solidFill>
            <a:schemeClr val="accent6"/>
          </a:solidFill>
          <a:ln w="3175">
            <a:noFill/>
            <a:miter lim="800000"/>
          </a:ln>
        </p:spPr>
        <p:txBody>
          <a:bodyPr/>
          <a:lstStyle>
            <a:lvl1pPr algn="ctr">
              <a:lnSpc>
                <a:spcPct val="100000"/>
              </a:lnSpc>
              <a:spcAft>
                <a:spcPts val="0"/>
              </a:spcAft>
              <a:defRPr sz="15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4" name="Bildplatzhalter 8"/>
          <p:cNvSpPr>
            <a:spLocks noGrp="1" noChangeAspect="1"/>
          </p:cNvSpPr>
          <p:nvPr>
            <p:ph type="pic" sz="quarter" idx="10" hasCustomPrompt="1"/>
          </p:nvPr>
        </p:nvSpPr>
        <p:spPr bwMode="gray">
          <a:xfrm>
            <a:off x="2304002" y="1512000"/>
            <a:ext cx="1692005" cy="1173600"/>
          </a:xfrm>
          <a:solidFill>
            <a:schemeClr val="accent6"/>
          </a:solidFill>
          <a:ln w="3175">
            <a:noFill/>
            <a:miter lim="800000"/>
          </a:ln>
        </p:spPr>
        <p:txBody>
          <a:bodyPr/>
          <a:lstStyle>
            <a:lvl1pPr algn="ctr">
              <a:lnSpc>
                <a:spcPct val="100000"/>
              </a:lnSpc>
              <a:spcAft>
                <a:spcPts val="0"/>
              </a:spcAft>
              <a:defRPr sz="15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5" name="Bildplatzhalter 8"/>
          <p:cNvSpPr>
            <a:spLocks noGrp="1" noChangeAspect="1"/>
          </p:cNvSpPr>
          <p:nvPr>
            <p:ph type="pic" sz="quarter" idx="12" hasCustomPrompt="1"/>
          </p:nvPr>
        </p:nvSpPr>
        <p:spPr bwMode="gray">
          <a:xfrm>
            <a:off x="2304002" y="4005734"/>
            <a:ext cx="1692005" cy="1173600"/>
          </a:xfrm>
          <a:solidFill>
            <a:schemeClr val="accent6"/>
          </a:solidFill>
          <a:ln w="3175">
            <a:noFill/>
            <a:miter lim="800000"/>
          </a:ln>
        </p:spPr>
        <p:txBody>
          <a:bodyPr/>
          <a:lstStyle>
            <a:lvl1pPr algn="ctr">
              <a:lnSpc>
                <a:spcPct val="100000"/>
              </a:lnSpc>
              <a:spcAft>
                <a:spcPts val="0"/>
              </a:spcAft>
              <a:defRPr sz="15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6" name="Bildplatzhalter 8"/>
          <p:cNvSpPr>
            <a:spLocks noGrp="1" noChangeAspect="1"/>
          </p:cNvSpPr>
          <p:nvPr>
            <p:ph type="pic" sz="quarter" idx="14" hasCustomPrompt="1"/>
          </p:nvPr>
        </p:nvSpPr>
        <p:spPr bwMode="gray">
          <a:xfrm>
            <a:off x="2304002" y="2758867"/>
            <a:ext cx="1692005" cy="1173600"/>
          </a:xfrm>
          <a:solidFill>
            <a:schemeClr val="accent6"/>
          </a:solidFill>
          <a:ln w="3175">
            <a:noFill/>
            <a:miter lim="800000"/>
          </a:ln>
        </p:spPr>
        <p:txBody>
          <a:bodyPr/>
          <a:lstStyle>
            <a:lvl1pPr algn="ctr">
              <a:lnSpc>
                <a:spcPct val="100000"/>
              </a:lnSpc>
              <a:spcAft>
                <a:spcPts val="0"/>
              </a:spcAft>
              <a:defRPr sz="15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7" name="Bildplatzhalter 8"/>
          <p:cNvSpPr>
            <a:spLocks noGrp="1" noChangeAspect="1"/>
          </p:cNvSpPr>
          <p:nvPr>
            <p:ph type="pic" sz="quarter" idx="28" hasCustomPrompt="1"/>
          </p:nvPr>
        </p:nvSpPr>
        <p:spPr bwMode="gray">
          <a:xfrm>
            <a:off x="2304002" y="5252601"/>
            <a:ext cx="1692005" cy="1173600"/>
          </a:xfrm>
          <a:solidFill>
            <a:schemeClr val="accent6"/>
          </a:solidFill>
          <a:ln w="3175">
            <a:noFill/>
            <a:miter lim="800000"/>
          </a:ln>
        </p:spPr>
        <p:txBody>
          <a:bodyPr/>
          <a:lstStyle>
            <a:lvl1pPr algn="ctr">
              <a:lnSpc>
                <a:spcPct val="100000"/>
              </a:lnSpc>
              <a:spcAft>
                <a:spcPts val="0"/>
              </a:spcAft>
              <a:defRPr sz="15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cxnSp>
        <p:nvCxnSpPr>
          <p:cNvPr id="108" name="Gerade Verbindung 53"/>
          <p:cNvCxnSpPr>
            <a:stCxn id="104" idx="3"/>
            <a:endCxn id="88" idx="1"/>
          </p:cNvCxnSpPr>
          <p:nvPr userDrawn="1"/>
        </p:nvCxnSpPr>
        <p:spPr bwMode="white">
          <a:xfrm>
            <a:off x="3996005" y="2098800"/>
            <a:ext cx="483170"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09" name="Gerade Verbindung 54"/>
          <p:cNvCxnSpPr>
            <a:stCxn id="106" idx="3"/>
            <a:endCxn id="89" idx="1"/>
          </p:cNvCxnSpPr>
          <p:nvPr userDrawn="1"/>
        </p:nvCxnSpPr>
        <p:spPr bwMode="white">
          <a:xfrm>
            <a:off x="3996005" y="3345667"/>
            <a:ext cx="483170"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10" name="Gerade Verbindung 55"/>
          <p:cNvCxnSpPr>
            <a:stCxn id="100" idx="1"/>
            <a:endCxn id="67" idx="3"/>
          </p:cNvCxnSpPr>
          <p:nvPr userDrawn="1"/>
        </p:nvCxnSpPr>
        <p:spPr bwMode="white">
          <a:xfrm flipH="1">
            <a:off x="7719178" y="2098101"/>
            <a:ext cx="479495"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11" name="Gerade Verbindung 56"/>
          <p:cNvCxnSpPr>
            <a:stCxn id="66" idx="3"/>
            <a:endCxn id="102" idx="1"/>
          </p:cNvCxnSpPr>
          <p:nvPr userDrawn="1"/>
        </p:nvCxnSpPr>
        <p:spPr bwMode="white">
          <a:xfrm>
            <a:off x="7719178" y="3345201"/>
            <a:ext cx="479495"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12" name="Gerade Verbindung 57"/>
          <p:cNvCxnSpPr>
            <a:stCxn id="68" idx="3"/>
            <a:endCxn id="101" idx="1"/>
          </p:cNvCxnSpPr>
          <p:nvPr userDrawn="1"/>
        </p:nvCxnSpPr>
        <p:spPr bwMode="white">
          <a:xfrm>
            <a:off x="7719178" y="4592301"/>
            <a:ext cx="479495"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13" name="Gerade Verbindung 58"/>
          <p:cNvCxnSpPr>
            <a:stCxn id="65" idx="3"/>
            <a:endCxn id="103" idx="1"/>
          </p:cNvCxnSpPr>
          <p:nvPr userDrawn="1"/>
        </p:nvCxnSpPr>
        <p:spPr bwMode="white">
          <a:xfrm>
            <a:off x="7715607" y="5839401"/>
            <a:ext cx="483064"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14" name="Gerade Verbindung 59"/>
          <p:cNvCxnSpPr>
            <a:stCxn id="107" idx="3"/>
            <a:endCxn id="91" idx="1"/>
          </p:cNvCxnSpPr>
          <p:nvPr userDrawn="1"/>
        </p:nvCxnSpPr>
        <p:spPr bwMode="white">
          <a:xfrm>
            <a:off x="3996005" y="5839401"/>
            <a:ext cx="483170"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15" name="Gerade Verbindung 60"/>
          <p:cNvCxnSpPr>
            <a:stCxn id="105" idx="3"/>
            <a:endCxn id="90" idx="1"/>
          </p:cNvCxnSpPr>
          <p:nvPr userDrawn="1"/>
        </p:nvCxnSpPr>
        <p:spPr bwMode="white">
          <a:xfrm>
            <a:off x="3996005" y="4592534"/>
            <a:ext cx="483170" cy="0"/>
          </a:xfrm>
          <a:prstGeom prst="line">
            <a:avLst/>
          </a:prstGeom>
          <a:ln w="3175">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116" name="Fußzeilenplatzhalter 2"/>
          <p:cNvSpPr>
            <a:spLocks noGrp="1"/>
          </p:cNvSpPr>
          <p:nvPr>
            <p:ph type="ftr" sz="quarter" idx="45"/>
          </p:nvPr>
        </p:nvSpPr>
        <p:spPr>
          <a:xfrm>
            <a:off x="3578400" y="6552000"/>
            <a:ext cx="7848000" cy="306000"/>
          </a:xfrm>
        </p:spPr>
        <p:txBody>
          <a:bodyPr/>
          <a:lstStyle/>
          <a:p>
            <a:r>
              <a:rPr lang="de-DE" dirty="0" smtClean="0">
                <a:solidFill>
                  <a:prstClr val="white"/>
                </a:solidFill>
              </a:rPr>
              <a:t>Titel der Präsentation in CorpoS (Textkörper) 10pt | Abteilung | Datum</a:t>
            </a:r>
            <a:endParaRPr lang="de-DE" dirty="0">
              <a:solidFill>
                <a:prstClr val="white"/>
              </a:solidFill>
            </a:endParaRPr>
          </a:p>
        </p:txBody>
      </p:sp>
      <p:sp>
        <p:nvSpPr>
          <p:cNvPr id="117" name="Foliennummernplatzhalter 13"/>
          <p:cNvSpPr>
            <a:spLocks noGrp="1"/>
          </p:cNvSpPr>
          <p:nvPr>
            <p:ph type="sldNum" sz="quarter" idx="46"/>
          </p:nvPr>
        </p:nvSpPr>
        <p:spPr>
          <a:xfrm>
            <a:off x="11800803" y="6552000"/>
            <a:ext cx="323999" cy="306000"/>
          </a:xfrm>
        </p:spPr>
        <p:txBody>
          <a:bodyPr/>
          <a:lstStyle/>
          <a:p>
            <a:fld id="{AD1D1349-391B-44DC-865F-5996B3E40F26}" type="slidenum">
              <a:rPr lang="de-DE" smtClean="0">
                <a:solidFill>
                  <a:prstClr val="white"/>
                </a:solidFill>
              </a:rPr>
              <a:pPr/>
              <a:t>‹#›</a:t>
            </a:fld>
            <a:endParaRPr lang="de-DE" dirty="0">
              <a:solidFill>
                <a:prstClr val="white"/>
              </a:solidFill>
            </a:endParaRPr>
          </a:p>
        </p:txBody>
      </p:sp>
    </p:spTree>
    <p:extLst>
      <p:ext uri="{BB962C8B-B14F-4D97-AF65-F5344CB8AC3E}">
        <p14:creationId xmlns:p14="http://schemas.microsoft.com/office/powerpoint/2010/main" val="3904766213"/>
      </p:ext>
    </p:extLst>
  </p:cSld>
  <p:clrMapOvr>
    <a:masterClrMapping/>
  </p:clrMapOvr>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Produkt Highlights">
    <p:spTree>
      <p:nvGrpSpPr>
        <p:cNvPr id="1" name=""/>
        <p:cNvGrpSpPr/>
        <p:nvPr/>
      </p:nvGrpSpPr>
      <p:grpSpPr>
        <a:xfrm>
          <a:off x="0" y="0"/>
          <a:ext cx="0" cy="0"/>
          <a:chOff x="0" y="0"/>
          <a:chExt cx="0" cy="0"/>
        </a:xfrm>
      </p:grpSpPr>
      <p:sp>
        <p:nvSpPr>
          <p:cNvPr id="49" name="Bildplatzhalter 8"/>
          <p:cNvSpPr>
            <a:spLocks noGrp="1"/>
          </p:cNvSpPr>
          <p:nvPr>
            <p:ph type="pic" sz="quarter" idx="10" hasCustomPrompt="1"/>
          </p:nvPr>
        </p:nvSpPr>
        <p:spPr bwMode="gray">
          <a:xfrm>
            <a:off x="3024339" y="2757600"/>
            <a:ext cx="6148800" cy="2421734"/>
          </a:xfrm>
          <a:solidFill>
            <a:schemeClr val="accent6"/>
          </a:solidFill>
          <a:ln w="3175">
            <a:noFill/>
            <a:miter lim="800000"/>
          </a:ln>
        </p:spPr>
        <p:txBody>
          <a:bodyPr/>
          <a:lstStyle>
            <a:lvl1pPr algn="ctr">
              <a:lnSpc>
                <a:spcPct val="100000"/>
              </a:lnSpc>
              <a:spcAft>
                <a:spcPts val="0"/>
              </a:spcAft>
              <a:defRPr sz="2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50" name="Textplatzhalter 3"/>
          <p:cNvSpPr>
            <a:spLocks noGrp="1" noChangeAspect="1"/>
          </p:cNvSpPr>
          <p:nvPr>
            <p:ph type="body" sz="quarter" idx="67" hasCustomPrompt="1"/>
          </p:nvPr>
        </p:nvSpPr>
        <p:spPr>
          <a:xfrm rot="9427937">
            <a:off x="2425693" y="5284427"/>
            <a:ext cx="1909937" cy="91569"/>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596021"/>
              <a:gd name="connsiteY0" fmla="*/ 35294 h 124463"/>
              <a:gd name="connsiteX1" fmla="*/ 36219 w 2596021"/>
              <a:gd name="connsiteY1" fmla="*/ 73396 h 124463"/>
              <a:gd name="connsiteX2" fmla="*/ 0 w 2596021"/>
              <a:gd name="connsiteY2" fmla="*/ 37306 h 124463"/>
              <a:gd name="connsiteX3" fmla="*/ 35816 w 2596021"/>
              <a:gd name="connsiteY3" fmla="*/ 8 h 124463"/>
              <a:gd name="connsiteX4" fmla="*/ 73065 w 2596021"/>
              <a:gd name="connsiteY4" fmla="*/ 35540 h 124463"/>
              <a:gd name="connsiteX5" fmla="*/ 2596020 w 2596021"/>
              <a:gd name="connsiteY5" fmla="*/ 124462 h 12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021" h="124463">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596020" y="124462"/>
                </a:lnTo>
              </a:path>
            </a:pathLst>
          </a:custGeom>
          <a:solidFill>
            <a:schemeClr val="accent2"/>
          </a:solidFill>
          <a:ln w="22225">
            <a:solidFill>
              <a:schemeClr val="accent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51" name="Textplatzhalter 3"/>
          <p:cNvSpPr>
            <a:spLocks noGrp="1" noChangeAspect="1"/>
          </p:cNvSpPr>
          <p:nvPr>
            <p:ph type="body" sz="quarter" idx="56" hasCustomPrompt="1"/>
          </p:nvPr>
        </p:nvSpPr>
        <p:spPr>
          <a:xfrm rot="17090839">
            <a:off x="7964706" y="2808900"/>
            <a:ext cx="1284521"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52" name="Textplatzhalter 3"/>
          <p:cNvSpPr>
            <a:spLocks noGrp="1" noChangeAspect="1"/>
          </p:cNvSpPr>
          <p:nvPr>
            <p:ph type="body" sz="quarter" idx="57" hasCustomPrompt="1"/>
          </p:nvPr>
        </p:nvSpPr>
        <p:spPr>
          <a:xfrm rot="18468895">
            <a:off x="6090521" y="2581063"/>
            <a:ext cx="1284521"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53" name="Textplatzhalter 3"/>
          <p:cNvSpPr>
            <a:spLocks noGrp="1" noChangeAspect="1"/>
          </p:cNvSpPr>
          <p:nvPr>
            <p:ph type="body" sz="quarter" idx="58" hasCustomPrompt="1"/>
          </p:nvPr>
        </p:nvSpPr>
        <p:spPr>
          <a:xfrm rot="11041244">
            <a:off x="2483054" y="3144226"/>
            <a:ext cx="2204126" cy="80242"/>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5888" h="109067">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995888" y="109067"/>
                </a:lnTo>
              </a:path>
            </a:pathLst>
          </a:custGeom>
          <a:solidFill>
            <a:schemeClr val="accent2"/>
          </a:solidFill>
          <a:ln w="22225">
            <a:solidFill>
              <a:schemeClr val="accent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54" name="Textplatzhalter 3"/>
          <p:cNvSpPr>
            <a:spLocks noGrp="1" noChangeAspect="1"/>
          </p:cNvSpPr>
          <p:nvPr>
            <p:ph type="body" sz="quarter" idx="59" hasCustomPrompt="1"/>
          </p:nvPr>
        </p:nvSpPr>
        <p:spPr>
          <a:xfrm rot="10320000">
            <a:off x="2608500" y="4603314"/>
            <a:ext cx="3267222" cy="79333"/>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2"/>
          </a:solidFill>
          <a:ln w="22225">
            <a:solidFill>
              <a:schemeClr val="accent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55" name="Textplatzhalter 3"/>
          <p:cNvSpPr>
            <a:spLocks noGrp="1" noChangeAspect="1"/>
          </p:cNvSpPr>
          <p:nvPr>
            <p:ph type="body" sz="quarter" idx="60" hasCustomPrompt="1"/>
          </p:nvPr>
        </p:nvSpPr>
        <p:spPr>
          <a:xfrm rot="3540000">
            <a:off x="5861591" y="4897311"/>
            <a:ext cx="1909937" cy="91569"/>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596021"/>
              <a:gd name="connsiteY0" fmla="*/ 35294 h 124463"/>
              <a:gd name="connsiteX1" fmla="*/ 36219 w 2596021"/>
              <a:gd name="connsiteY1" fmla="*/ 73396 h 124463"/>
              <a:gd name="connsiteX2" fmla="*/ 0 w 2596021"/>
              <a:gd name="connsiteY2" fmla="*/ 37306 h 124463"/>
              <a:gd name="connsiteX3" fmla="*/ 35816 w 2596021"/>
              <a:gd name="connsiteY3" fmla="*/ 8 h 124463"/>
              <a:gd name="connsiteX4" fmla="*/ 73065 w 2596021"/>
              <a:gd name="connsiteY4" fmla="*/ 35540 h 124463"/>
              <a:gd name="connsiteX5" fmla="*/ 2596020 w 2596021"/>
              <a:gd name="connsiteY5" fmla="*/ 124462 h 12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6021" h="124463">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2596020" y="124462"/>
                </a:lnTo>
              </a:path>
            </a:pathLst>
          </a:custGeom>
          <a:solidFill>
            <a:schemeClr val="accent2"/>
          </a:solidFill>
          <a:ln w="22225">
            <a:solidFill>
              <a:schemeClr val="accent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56" name="Textplatzhalter 3"/>
          <p:cNvSpPr>
            <a:spLocks noGrp="1" noChangeAspect="1"/>
          </p:cNvSpPr>
          <p:nvPr>
            <p:ph type="body" sz="quarter" idx="61" hasCustomPrompt="1"/>
          </p:nvPr>
        </p:nvSpPr>
        <p:spPr>
          <a:xfrm rot="12197832">
            <a:off x="2201247" y="2579451"/>
            <a:ext cx="3267222" cy="79333"/>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2"/>
          </a:solidFill>
          <a:ln w="22225">
            <a:solidFill>
              <a:schemeClr val="accent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57" name="Textplatzhalter 3"/>
          <p:cNvSpPr>
            <a:spLocks noGrp="1" noChangeAspect="1"/>
          </p:cNvSpPr>
          <p:nvPr>
            <p:ph type="body" sz="quarter" idx="62" hasCustomPrompt="1"/>
          </p:nvPr>
        </p:nvSpPr>
        <p:spPr>
          <a:xfrm rot="13889278">
            <a:off x="4708705" y="2520680"/>
            <a:ext cx="1284521"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58" name="Textplatzhalter 3"/>
          <p:cNvSpPr>
            <a:spLocks noGrp="1" noChangeAspect="1"/>
          </p:cNvSpPr>
          <p:nvPr>
            <p:ph type="body" sz="quarter" idx="63" hasCustomPrompt="1"/>
          </p:nvPr>
        </p:nvSpPr>
        <p:spPr>
          <a:xfrm rot="17090839" flipH="1" flipV="1">
            <a:off x="4827735" y="5382220"/>
            <a:ext cx="1284521"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59" name="Textplatzhalter 3"/>
          <p:cNvSpPr>
            <a:spLocks noGrp="1" noChangeAspect="1"/>
          </p:cNvSpPr>
          <p:nvPr>
            <p:ph type="body" sz="quarter" idx="64" hasCustomPrompt="1"/>
          </p:nvPr>
        </p:nvSpPr>
        <p:spPr>
          <a:xfrm rot="12243241" flipH="1" flipV="1">
            <a:off x="8587331" y="4580694"/>
            <a:ext cx="1284521"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60" name="Textplatzhalter 3"/>
          <p:cNvSpPr>
            <a:spLocks noGrp="1" noChangeAspect="1"/>
          </p:cNvSpPr>
          <p:nvPr>
            <p:ph type="body" sz="quarter" idx="65" hasCustomPrompt="1"/>
          </p:nvPr>
        </p:nvSpPr>
        <p:spPr>
          <a:xfrm rot="10046435" flipH="1" flipV="1">
            <a:off x="8610544" y="3345727"/>
            <a:ext cx="1284521" cy="54000"/>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5944" h="73398">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1745944" y="52049"/>
                </a:lnTo>
              </a:path>
            </a:pathLst>
          </a:custGeom>
          <a:solidFill>
            <a:schemeClr val="accent2"/>
          </a:solidFill>
          <a:ln w="22225">
            <a:solidFill>
              <a:schemeClr val="accent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61" name="Textplatzhalter 3"/>
          <p:cNvSpPr>
            <a:spLocks noGrp="1" noChangeAspect="1"/>
          </p:cNvSpPr>
          <p:nvPr>
            <p:ph type="body" sz="quarter" idx="66" hasCustomPrompt="1"/>
          </p:nvPr>
        </p:nvSpPr>
        <p:spPr>
          <a:xfrm rot="2851924">
            <a:off x="6698739" y="4854467"/>
            <a:ext cx="3267222" cy="79333"/>
          </a:xfrm>
          <a:custGeom>
            <a:avLst/>
            <a:gdLst>
              <a:gd name="connsiteX0" fmla="*/ 0 w 73241"/>
              <a:gd name="connsiteY0" fmla="*/ 36493 h 72986"/>
              <a:gd name="connsiteX1" fmla="*/ 36621 w 73241"/>
              <a:gd name="connsiteY1" fmla="*/ 0 h 72986"/>
              <a:gd name="connsiteX2" fmla="*/ 73242 w 73241"/>
              <a:gd name="connsiteY2" fmla="*/ 36493 h 72986"/>
              <a:gd name="connsiteX3" fmla="*/ 36621 w 73241"/>
              <a:gd name="connsiteY3" fmla="*/ 72986 h 72986"/>
              <a:gd name="connsiteX4" fmla="*/ 0 w 73241"/>
              <a:gd name="connsiteY4" fmla="*/ 36493 h 72986"/>
              <a:gd name="connsiteX0" fmla="*/ 73242 w 164682"/>
              <a:gd name="connsiteY0" fmla="*/ 36493 h 127933"/>
              <a:gd name="connsiteX1" fmla="*/ 36621 w 164682"/>
              <a:gd name="connsiteY1" fmla="*/ 72986 h 127933"/>
              <a:gd name="connsiteX2" fmla="*/ 0 w 164682"/>
              <a:gd name="connsiteY2" fmla="*/ 36493 h 127933"/>
              <a:gd name="connsiteX3" fmla="*/ 36621 w 164682"/>
              <a:gd name="connsiteY3" fmla="*/ 0 h 127933"/>
              <a:gd name="connsiteX4" fmla="*/ 164682 w 164682"/>
              <a:gd name="connsiteY4" fmla="*/ 127933 h 127933"/>
              <a:gd name="connsiteX0" fmla="*/ 119683 w 1020748"/>
              <a:gd name="connsiteY0" fmla="*/ 65383 h 101876"/>
              <a:gd name="connsiteX1" fmla="*/ 83062 w 1020748"/>
              <a:gd name="connsiteY1" fmla="*/ 101876 h 101876"/>
              <a:gd name="connsiteX2" fmla="*/ 46441 w 1020748"/>
              <a:gd name="connsiteY2" fmla="*/ 65383 h 101876"/>
              <a:gd name="connsiteX3" fmla="*/ 83062 w 1020748"/>
              <a:gd name="connsiteY3" fmla="*/ 28890 h 101876"/>
              <a:gd name="connsiteX4" fmla="*/ 1020748 w 1020748"/>
              <a:gd name="connsiteY4" fmla="*/ 59192 h 101876"/>
              <a:gd name="connsiteX0" fmla="*/ 73242 w 974307"/>
              <a:gd name="connsiteY0" fmla="*/ 66817 h 103310"/>
              <a:gd name="connsiteX1" fmla="*/ 36621 w 974307"/>
              <a:gd name="connsiteY1" fmla="*/ 103310 h 103310"/>
              <a:gd name="connsiteX2" fmla="*/ 0 w 974307"/>
              <a:gd name="connsiteY2" fmla="*/ 66817 h 103310"/>
              <a:gd name="connsiteX3" fmla="*/ 36621 w 974307"/>
              <a:gd name="connsiteY3" fmla="*/ 30324 h 103310"/>
              <a:gd name="connsiteX4" fmla="*/ 974307 w 974307"/>
              <a:gd name="connsiteY4" fmla="*/ 60626 h 103310"/>
              <a:gd name="connsiteX0" fmla="*/ 73242 w 974307"/>
              <a:gd name="connsiteY0" fmla="*/ 42200 h 78693"/>
              <a:gd name="connsiteX1" fmla="*/ 36621 w 974307"/>
              <a:gd name="connsiteY1" fmla="*/ 78693 h 78693"/>
              <a:gd name="connsiteX2" fmla="*/ 0 w 974307"/>
              <a:gd name="connsiteY2" fmla="*/ 42200 h 78693"/>
              <a:gd name="connsiteX3" fmla="*/ 36621 w 974307"/>
              <a:gd name="connsiteY3" fmla="*/ 5707 h 78693"/>
              <a:gd name="connsiteX4" fmla="*/ 80240 w 974307"/>
              <a:gd name="connsiteY4" fmla="*/ 3172 h 78693"/>
              <a:gd name="connsiteX5" fmla="*/ 974307 w 974307"/>
              <a:gd name="connsiteY5" fmla="*/ 36009 h 78693"/>
              <a:gd name="connsiteX0" fmla="*/ 75441 w 976506"/>
              <a:gd name="connsiteY0" fmla="*/ 36496 h 72989"/>
              <a:gd name="connsiteX1" fmla="*/ 38820 w 976506"/>
              <a:gd name="connsiteY1" fmla="*/ 72989 h 72989"/>
              <a:gd name="connsiteX2" fmla="*/ 2199 w 976506"/>
              <a:gd name="connsiteY2" fmla="*/ 36496 h 72989"/>
              <a:gd name="connsiteX3" fmla="*/ 38820 w 976506"/>
              <a:gd name="connsiteY3" fmla="*/ 3 h 72989"/>
              <a:gd name="connsiteX4" fmla="*/ 77677 w 976506"/>
              <a:gd name="connsiteY4" fmla="*/ 37949 h 72989"/>
              <a:gd name="connsiteX5" fmla="*/ 976506 w 976506"/>
              <a:gd name="connsiteY5" fmla="*/ 30305 h 72989"/>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7247 h 73740"/>
              <a:gd name="connsiteX1" fmla="*/ 36621 w 974307"/>
              <a:gd name="connsiteY1" fmla="*/ 73740 h 73740"/>
              <a:gd name="connsiteX2" fmla="*/ 0 w 974307"/>
              <a:gd name="connsiteY2" fmla="*/ 37247 h 73740"/>
              <a:gd name="connsiteX3" fmla="*/ 36621 w 974307"/>
              <a:gd name="connsiteY3" fmla="*/ 754 h 73740"/>
              <a:gd name="connsiteX4" fmla="*/ 75478 w 974307"/>
              <a:gd name="connsiteY4" fmla="*/ 38700 h 73740"/>
              <a:gd name="connsiteX5" fmla="*/ 974307 w 974307"/>
              <a:gd name="connsiteY5" fmla="*/ 31056 h 73740"/>
              <a:gd name="connsiteX0" fmla="*/ 73242 w 974307"/>
              <a:gd name="connsiteY0" fmla="*/ 36496 h 72989"/>
              <a:gd name="connsiteX1" fmla="*/ 36621 w 974307"/>
              <a:gd name="connsiteY1" fmla="*/ 72989 h 72989"/>
              <a:gd name="connsiteX2" fmla="*/ 0 w 974307"/>
              <a:gd name="connsiteY2" fmla="*/ 36496 h 72989"/>
              <a:gd name="connsiteX3" fmla="*/ 36621 w 974307"/>
              <a:gd name="connsiteY3" fmla="*/ 3 h 72989"/>
              <a:gd name="connsiteX4" fmla="*/ 75478 w 974307"/>
              <a:gd name="connsiteY4" fmla="*/ 37949 h 72989"/>
              <a:gd name="connsiteX5" fmla="*/ 974307 w 974307"/>
              <a:gd name="connsiteY5" fmla="*/ 3030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49355 h 72989"/>
              <a:gd name="connsiteX0" fmla="*/ 73242 w 967163"/>
              <a:gd name="connsiteY0" fmla="*/ 36496 h 72989"/>
              <a:gd name="connsiteX1" fmla="*/ 36621 w 967163"/>
              <a:gd name="connsiteY1" fmla="*/ 72989 h 72989"/>
              <a:gd name="connsiteX2" fmla="*/ 0 w 967163"/>
              <a:gd name="connsiteY2" fmla="*/ 36496 h 72989"/>
              <a:gd name="connsiteX3" fmla="*/ 36621 w 967163"/>
              <a:gd name="connsiteY3" fmla="*/ 3 h 72989"/>
              <a:gd name="connsiteX4" fmla="*/ 75478 w 967163"/>
              <a:gd name="connsiteY4" fmla="*/ 37949 h 72989"/>
              <a:gd name="connsiteX5" fmla="*/ 967163 w 967163"/>
              <a:gd name="connsiteY5" fmla="*/ 58880 h 72989"/>
              <a:gd name="connsiteX0" fmla="*/ 73242 w 967163"/>
              <a:gd name="connsiteY0" fmla="*/ 36516 h 73009"/>
              <a:gd name="connsiteX1" fmla="*/ 36621 w 967163"/>
              <a:gd name="connsiteY1" fmla="*/ 73009 h 73009"/>
              <a:gd name="connsiteX2" fmla="*/ 0 w 967163"/>
              <a:gd name="connsiteY2" fmla="*/ 36516 h 73009"/>
              <a:gd name="connsiteX3" fmla="*/ 36621 w 967163"/>
              <a:gd name="connsiteY3" fmla="*/ 23 h 73009"/>
              <a:gd name="connsiteX4" fmla="*/ 72662 w 967163"/>
              <a:gd name="connsiteY4" fmla="*/ 35555 h 73009"/>
              <a:gd name="connsiteX5" fmla="*/ 967163 w 967163"/>
              <a:gd name="connsiteY5" fmla="*/ 58900 h 73009"/>
              <a:gd name="connsiteX0" fmla="*/ 73242 w 967163"/>
              <a:gd name="connsiteY0" fmla="*/ 37354 h 73847"/>
              <a:gd name="connsiteX1" fmla="*/ 36621 w 967163"/>
              <a:gd name="connsiteY1" fmla="*/ 73847 h 73847"/>
              <a:gd name="connsiteX2" fmla="*/ 0 w 967163"/>
              <a:gd name="connsiteY2" fmla="*/ 37354 h 73847"/>
              <a:gd name="connsiteX3" fmla="*/ 36621 w 967163"/>
              <a:gd name="connsiteY3" fmla="*/ 861 h 73847"/>
              <a:gd name="connsiteX4" fmla="*/ 75076 w 967163"/>
              <a:gd name="connsiteY4" fmla="*/ 30760 h 73847"/>
              <a:gd name="connsiteX5" fmla="*/ 967163 w 967163"/>
              <a:gd name="connsiteY5" fmla="*/ 59738 h 7384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467 w 967163"/>
              <a:gd name="connsiteY4" fmla="*/ 36337 h 72987"/>
              <a:gd name="connsiteX5" fmla="*/ 967163 w 967163"/>
              <a:gd name="connsiteY5" fmla="*/ 58878 h 72987"/>
              <a:gd name="connsiteX0" fmla="*/ 73242 w 967163"/>
              <a:gd name="connsiteY0" fmla="*/ 38590 h 75083"/>
              <a:gd name="connsiteX1" fmla="*/ 36621 w 967163"/>
              <a:gd name="connsiteY1" fmla="*/ 75083 h 75083"/>
              <a:gd name="connsiteX2" fmla="*/ 0 w 967163"/>
              <a:gd name="connsiteY2" fmla="*/ 38590 h 75083"/>
              <a:gd name="connsiteX3" fmla="*/ 36621 w 967163"/>
              <a:gd name="connsiteY3" fmla="*/ 2097 h 75083"/>
              <a:gd name="connsiteX4" fmla="*/ 78295 w 967163"/>
              <a:gd name="connsiteY4" fmla="*/ 27973 h 75083"/>
              <a:gd name="connsiteX5" fmla="*/ 967163 w 967163"/>
              <a:gd name="connsiteY5" fmla="*/ 60974 h 75083"/>
              <a:gd name="connsiteX0" fmla="*/ 73242 w 967163"/>
              <a:gd name="connsiteY0" fmla="*/ 36517 h 73010"/>
              <a:gd name="connsiteX1" fmla="*/ 36621 w 967163"/>
              <a:gd name="connsiteY1" fmla="*/ 73010 h 73010"/>
              <a:gd name="connsiteX2" fmla="*/ 0 w 967163"/>
              <a:gd name="connsiteY2" fmla="*/ 36517 h 73010"/>
              <a:gd name="connsiteX3" fmla="*/ 36621 w 967163"/>
              <a:gd name="connsiteY3" fmla="*/ 24 h 73010"/>
              <a:gd name="connsiteX4" fmla="*/ 73467 w 967163"/>
              <a:gd name="connsiteY4" fmla="*/ 35556 h 73010"/>
              <a:gd name="connsiteX5" fmla="*/ 967163 w 967163"/>
              <a:gd name="connsiteY5" fmla="*/ 58901 h 73010"/>
              <a:gd name="connsiteX0" fmla="*/ 73242 w 967163"/>
              <a:gd name="connsiteY0" fmla="*/ 37791 h 74284"/>
              <a:gd name="connsiteX1" fmla="*/ 36621 w 967163"/>
              <a:gd name="connsiteY1" fmla="*/ 74284 h 74284"/>
              <a:gd name="connsiteX2" fmla="*/ 0 w 967163"/>
              <a:gd name="connsiteY2" fmla="*/ 37791 h 74284"/>
              <a:gd name="connsiteX3" fmla="*/ 36621 w 967163"/>
              <a:gd name="connsiteY3" fmla="*/ 1298 h 74284"/>
              <a:gd name="connsiteX4" fmla="*/ 77088 w 967163"/>
              <a:gd name="connsiteY4" fmla="*/ 29588 h 74284"/>
              <a:gd name="connsiteX5" fmla="*/ 967163 w 967163"/>
              <a:gd name="connsiteY5" fmla="*/ 60175 h 74284"/>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1230 w 965151"/>
              <a:gd name="connsiteY0" fmla="*/ 36494 h 72987"/>
              <a:gd name="connsiteX1" fmla="*/ 34609 w 965151"/>
              <a:gd name="connsiteY1" fmla="*/ 72987 h 72987"/>
              <a:gd name="connsiteX2" fmla="*/ 0 w 965151"/>
              <a:gd name="connsiteY2" fmla="*/ 36494 h 72987"/>
              <a:gd name="connsiteX3" fmla="*/ 34609 w 965151"/>
              <a:gd name="connsiteY3" fmla="*/ 1 h 72987"/>
              <a:gd name="connsiteX4" fmla="*/ 71053 w 965151"/>
              <a:gd name="connsiteY4" fmla="*/ 36740 h 72987"/>
              <a:gd name="connsiteX5" fmla="*/ 965151 w 965151"/>
              <a:gd name="connsiteY5" fmla="*/ 58878 h 72987"/>
              <a:gd name="connsiteX0" fmla="*/ 75656 w 969577"/>
              <a:gd name="connsiteY0" fmla="*/ 36494 h 72987"/>
              <a:gd name="connsiteX1" fmla="*/ 39035 w 969577"/>
              <a:gd name="connsiteY1" fmla="*/ 72987 h 72987"/>
              <a:gd name="connsiteX2" fmla="*/ 0 w 969577"/>
              <a:gd name="connsiteY2" fmla="*/ 36494 h 72987"/>
              <a:gd name="connsiteX3" fmla="*/ 39035 w 969577"/>
              <a:gd name="connsiteY3" fmla="*/ 1 h 72987"/>
              <a:gd name="connsiteX4" fmla="*/ 75479 w 969577"/>
              <a:gd name="connsiteY4" fmla="*/ 36740 h 72987"/>
              <a:gd name="connsiteX5" fmla="*/ 969577 w 969577"/>
              <a:gd name="connsiteY5" fmla="*/ 58878 h 72987"/>
              <a:gd name="connsiteX0" fmla="*/ 73242 w 967163"/>
              <a:gd name="connsiteY0" fmla="*/ 36494 h 72987"/>
              <a:gd name="connsiteX1" fmla="*/ 36621 w 967163"/>
              <a:gd name="connsiteY1" fmla="*/ 72987 h 72987"/>
              <a:gd name="connsiteX2" fmla="*/ 0 w 967163"/>
              <a:gd name="connsiteY2" fmla="*/ 36494 h 72987"/>
              <a:gd name="connsiteX3" fmla="*/ 36621 w 967163"/>
              <a:gd name="connsiteY3" fmla="*/ 1 h 72987"/>
              <a:gd name="connsiteX4" fmla="*/ 73065 w 967163"/>
              <a:gd name="connsiteY4" fmla="*/ 36740 h 72987"/>
              <a:gd name="connsiteX5" fmla="*/ 967163 w 967163"/>
              <a:gd name="connsiteY5" fmla="*/ 58878 h 72987"/>
              <a:gd name="connsiteX0" fmla="*/ 73244 w 967165"/>
              <a:gd name="connsiteY0" fmla="*/ 36494 h 77412"/>
              <a:gd name="connsiteX1" fmla="*/ 35014 w 967165"/>
              <a:gd name="connsiteY1" fmla="*/ 77412 h 77412"/>
              <a:gd name="connsiteX2" fmla="*/ 2 w 967165"/>
              <a:gd name="connsiteY2" fmla="*/ 36494 h 77412"/>
              <a:gd name="connsiteX3" fmla="*/ 36623 w 967165"/>
              <a:gd name="connsiteY3" fmla="*/ 1 h 77412"/>
              <a:gd name="connsiteX4" fmla="*/ 73067 w 967165"/>
              <a:gd name="connsiteY4" fmla="*/ 36740 h 77412"/>
              <a:gd name="connsiteX5" fmla="*/ 967165 w 967165"/>
              <a:gd name="connsiteY5" fmla="*/ 58878 h 77412"/>
              <a:gd name="connsiteX0" fmla="*/ 73243 w 967164"/>
              <a:gd name="connsiteY0" fmla="*/ 36494 h 72986"/>
              <a:gd name="connsiteX1" fmla="*/ 35818 w 967164"/>
              <a:gd name="connsiteY1" fmla="*/ 72986 h 72986"/>
              <a:gd name="connsiteX2" fmla="*/ 1 w 967164"/>
              <a:gd name="connsiteY2" fmla="*/ 36494 h 72986"/>
              <a:gd name="connsiteX3" fmla="*/ 36622 w 967164"/>
              <a:gd name="connsiteY3" fmla="*/ 1 h 72986"/>
              <a:gd name="connsiteX4" fmla="*/ 73066 w 967164"/>
              <a:gd name="connsiteY4" fmla="*/ 36740 h 72986"/>
              <a:gd name="connsiteX5" fmla="*/ 967164 w 967164"/>
              <a:gd name="connsiteY5" fmla="*/ 58878 h 72986"/>
              <a:gd name="connsiteX0" fmla="*/ 73242 w 967163"/>
              <a:gd name="connsiteY0" fmla="*/ 36494 h 75400"/>
              <a:gd name="connsiteX1" fmla="*/ 36622 w 967163"/>
              <a:gd name="connsiteY1" fmla="*/ 75400 h 75400"/>
              <a:gd name="connsiteX2" fmla="*/ 0 w 967163"/>
              <a:gd name="connsiteY2" fmla="*/ 36494 h 75400"/>
              <a:gd name="connsiteX3" fmla="*/ 36621 w 967163"/>
              <a:gd name="connsiteY3" fmla="*/ 1 h 75400"/>
              <a:gd name="connsiteX4" fmla="*/ 73065 w 967163"/>
              <a:gd name="connsiteY4" fmla="*/ 36740 h 75400"/>
              <a:gd name="connsiteX5" fmla="*/ 967163 w 967163"/>
              <a:gd name="connsiteY5" fmla="*/ 58878 h 75400"/>
              <a:gd name="connsiteX0" fmla="*/ 73242 w 967163"/>
              <a:gd name="connsiteY0" fmla="*/ 36494 h 73791"/>
              <a:gd name="connsiteX1" fmla="*/ 35817 w 967163"/>
              <a:gd name="connsiteY1" fmla="*/ 73791 h 73791"/>
              <a:gd name="connsiteX2" fmla="*/ 0 w 967163"/>
              <a:gd name="connsiteY2" fmla="*/ 36494 h 73791"/>
              <a:gd name="connsiteX3" fmla="*/ 36621 w 967163"/>
              <a:gd name="connsiteY3" fmla="*/ 1 h 73791"/>
              <a:gd name="connsiteX4" fmla="*/ 73065 w 967163"/>
              <a:gd name="connsiteY4" fmla="*/ 36740 h 73791"/>
              <a:gd name="connsiteX5" fmla="*/ 967163 w 967163"/>
              <a:gd name="connsiteY5" fmla="*/ 58878 h 73791"/>
              <a:gd name="connsiteX0" fmla="*/ 73242 w 967163"/>
              <a:gd name="connsiteY0" fmla="*/ 36494 h 77814"/>
              <a:gd name="connsiteX1" fmla="*/ 35817 w 967163"/>
              <a:gd name="connsiteY1" fmla="*/ 77814 h 77814"/>
              <a:gd name="connsiteX2" fmla="*/ 0 w 967163"/>
              <a:gd name="connsiteY2" fmla="*/ 36494 h 77814"/>
              <a:gd name="connsiteX3" fmla="*/ 36621 w 967163"/>
              <a:gd name="connsiteY3" fmla="*/ 1 h 77814"/>
              <a:gd name="connsiteX4" fmla="*/ 73065 w 967163"/>
              <a:gd name="connsiteY4" fmla="*/ 36740 h 77814"/>
              <a:gd name="connsiteX5" fmla="*/ 967163 w 967163"/>
              <a:gd name="connsiteY5" fmla="*/ 58878 h 77814"/>
              <a:gd name="connsiteX0" fmla="*/ 73242 w 967163"/>
              <a:gd name="connsiteY0" fmla="*/ 36494 h 73389"/>
              <a:gd name="connsiteX1" fmla="*/ 35817 w 967163"/>
              <a:gd name="connsiteY1" fmla="*/ 73389 h 73389"/>
              <a:gd name="connsiteX2" fmla="*/ 0 w 967163"/>
              <a:gd name="connsiteY2" fmla="*/ 36494 h 73389"/>
              <a:gd name="connsiteX3" fmla="*/ 36621 w 967163"/>
              <a:gd name="connsiteY3" fmla="*/ 1 h 73389"/>
              <a:gd name="connsiteX4" fmla="*/ 73065 w 967163"/>
              <a:gd name="connsiteY4" fmla="*/ 36740 h 73389"/>
              <a:gd name="connsiteX5" fmla="*/ 967163 w 967163"/>
              <a:gd name="connsiteY5" fmla="*/ 58878 h 73389"/>
              <a:gd name="connsiteX0" fmla="*/ 84507 w 978428"/>
              <a:gd name="connsiteY0" fmla="*/ 36495 h 73391"/>
              <a:gd name="connsiteX1" fmla="*/ 47082 w 978428"/>
              <a:gd name="connsiteY1" fmla="*/ 73390 h 73391"/>
              <a:gd name="connsiteX2" fmla="*/ 0 w 978428"/>
              <a:gd name="connsiteY2" fmla="*/ 37702 h 73391"/>
              <a:gd name="connsiteX3" fmla="*/ 47886 w 978428"/>
              <a:gd name="connsiteY3" fmla="*/ 2 h 73391"/>
              <a:gd name="connsiteX4" fmla="*/ 84330 w 978428"/>
              <a:gd name="connsiteY4" fmla="*/ 36741 h 73391"/>
              <a:gd name="connsiteX5" fmla="*/ 978428 w 978428"/>
              <a:gd name="connsiteY5" fmla="*/ 58879 h 73391"/>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93760 w 987681"/>
              <a:gd name="connsiteY0" fmla="*/ 36494 h 73390"/>
              <a:gd name="connsiteX1" fmla="*/ 56335 w 987681"/>
              <a:gd name="connsiteY1" fmla="*/ 73389 h 73390"/>
              <a:gd name="connsiteX2" fmla="*/ 0 w 987681"/>
              <a:gd name="connsiteY2" fmla="*/ 35287 h 73390"/>
              <a:gd name="connsiteX3" fmla="*/ 57139 w 987681"/>
              <a:gd name="connsiteY3" fmla="*/ 1 h 73390"/>
              <a:gd name="connsiteX4" fmla="*/ 93583 w 987681"/>
              <a:gd name="connsiteY4" fmla="*/ 36740 h 73390"/>
              <a:gd name="connsiteX5" fmla="*/ 987681 w 987681"/>
              <a:gd name="connsiteY5" fmla="*/ 58878 h 73390"/>
              <a:gd name="connsiteX0" fmla="*/ 73645 w 967566"/>
              <a:gd name="connsiteY0" fmla="*/ 36494 h 73389"/>
              <a:gd name="connsiteX1" fmla="*/ 36220 w 967566"/>
              <a:gd name="connsiteY1" fmla="*/ 73389 h 73389"/>
              <a:gd name="connsiteX2" fmla="*/ 1 w 967566"/>
              <a:gd name="connsiteY2" fmla="*/ 37299 h 73389"/>
              <a:gd name="connsiteX3" fmla="*/ 37024 w 967566"/>
              <a:gd name="connsiteY3" fmla="*/ 1 h 73389"/>
              <a:gd name="connsiteX4" fmla="*/ 73468 w 967566"/>
              <a:gd name="connsiteY4" fmla="*/ 36740 h 73389"/>
              <a:gd name="connsiteX5" fmla="*/ 967566 w 967566"/>
              <a:gd name="connsiteY5" fmla="*/ 58878 h 73389"/>
              <a:gd name="connsiteX0" fmla="*/ 73652 w 967573"/>
              <a:gd name="connsiteY0" fmla="*/ 36494 h 73390"/>
              <a:gd name="connsiteX1" fmla="*/ 36227 w 967573"/>
              <a:gd name="connsiteY1" fmla="*/ 73389 h 73390"/>
              <a:gd name="connsiteX2" fmla="*/ 8 w 967573"/>
              <a:gd name="connsiteY2" fmla="*/ 37299 h 73390"/>
              <a:gd name="connsiteX3" fmla="*/ 37031 w 967573"/>
              <a:gd name="connsiteY3" fmla="*/ 1 h 73390"/>
              <a:gd name="connsiteX4" fmla="*/ 73475 w 967573"/>
              <a:gd name="connsiteY4" fmla="*/ 36740 h 73390"/>
              <a:gd name="connsiteX5" fmla="*/ 967573 w 967573"/>
              <a:gd name="connsiteY5" fmla="*/ 58878 h 73390"/>
              <a:gd name="connsiteX0" fmla="*/ 73655 w 967576"/>
              <a:gd name="connsiteY0" fmla="*/ 36494 h 73487"/>
              <a:gd name="connsiteX1" fmla="*/ 36230 w 967576"/>
              <a:gd name="connsiteY1" fmla="*/ 73389 h 73487"/>
              <a:gd name="connsiteX2" fmla="*/ 11 w 967576"/>
              <a:gd name="connsiteY2" fmla="*/ 37299 h 73487"/>
              <a:gd name="connsiteX3" fmla="*/ 37034 w 967576"/>
              <a:gd name="connsiteY3" fmla="*/ 1 h 73487"/>
              <a:gd name="connsiteX4" fmla="*/ 73478 w 967576"/>
              <a:gd name="connsiteY4" fmla="*/ 36740 h 73487"/>
              <a:gd name="connsiteX5" fmla="*/ 967576 w 967576"/>
              <a:gd name="connsiteY5" fmla="*/ 58878 h 73487"/>
              <a:gd name="connsiteX0" fmla="*/ 73655 w 967576"/>
              <a:gd name="connsiteY0" fmla="*/ 36494 h 73407"/>
              <a:gd name="connsiteX1" fmla="*/ 36230 w 967576"/>
              <a:gd name="connsiteY1" fmla="*/ 73389 h 73407"/>
              <a:gd name="connsiteX2" fmla="*/ 11 w 967576"/>
              <a:gd name="connsiteY2" fmla="*/ 37299 h 73407"/>
              <a:gd name="connsiteX3" fmla="*/ 37034 w 967576"/>
              <a:gd name="connsiteY3" fmla="*/ 1 h 73407"/>
              <a:gd name="connsiteX4" fmla="*/ 73478 w 967576"/>
              <a:gd name="connsiteY4" fmla="*/ 36740 h 73407"/>
              <a:gd name="connsiteX5" fmla="*/ 967576 w 967576"/>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47 w 967568"/>
              <a:gd name="connsiteY0" fmla="*/ 36494 h 73407"/>
              <a:gd name="connsiteX1" fmla="*/ 36222 w 967568"/>
              <a:gd name="connsiteY1" fmla="*/ 73389 h 73407"/>
              <a:gd name="connsiteX2" fmla="*/ 3 w 967568"/>
              <a:gd name="connsiteY2" fmla="*/ 37299 h 73407"/>
              <a:gd name="connsiteX3" fmla="*/ 37026 w 967568"/>
              <a:gd name="connsiteY3" fmla="*/ 1 h 73407"/>
              <a:gd name="connsiteX4" fmla="*/ 73470 w 967568"/>
              <a:gd name="connsiteY4" fmla="*/ 36740 h 73407"/>
              <a:gd name="connsiteX5" fmla="*/ 967568 w 967568"/>
              <a:gd name="connsiteY5" fmla="*/ 58878 h 73407"/>
              <a:gd name="connsiteX0" fmla="*/ 73676 w 967597"/>
              <a:gd name="connsiteY0" fmla="*/ 36494 h 73407"/>
              <a:gd name="connsiteX1" fmla="*/ 36251 w 967597"/>
              <a:gd name="connsiteY1" fmla="*/ 73389 h 73407"/>
              <a:gd name="connsiteX2" fmla="*/ 32 w 967597"/>
              <a:gd name="connsiteY2" fmla="*/ 37299 h 73407"/>
              <a:gd name="connsiteX3" fmla="*/ 37055 w 967597"/>
              <a:gd name="connsiteY3" fmla="*/ 1 h 73407"/>
              <a:gd name="connsiteX4" fmla="*/ 73499 w 967597"/>
              <a:gd name="connsiteY4" fmla="*/ 36740 h 73407"/>
              <a:gd name="connsiteX5" fmla="*/ 967597 w 967597"/>
              <a:gd name="connsiteY5" fmla="*/ 58878 h 73407"/>
              <a:gd name="connsiteX0" fmla="*/ 73658 w 967579"/>
              <a:gd name="connsiteY0" fmla="*/ 36494 h 73407"/>
              <a:gd name="connsiteX1" fmla="*/ 36233 w 967579"/>
              <a:gd name="connsiteY1" fmla="*/ 73389 h 73407"/>
              <a:gd name="connsiteX2" fmla="*/ 14 w 967579"/>
              <a:gd name="connsiteY2" fmla="*/ 37299 h 73407"/>
              <a:gd name="connsiteX3" fmla="*/ 37037 w 967579"/>
              <a:gd name="connsiteY3" fmla="*/ 1 h 73407"/>
              <a:gd name="connsiteX4" fmla="*/ 73481 w 967579"/>
              <a:gd name="connsiteY4" fmla="*/ 36740 h 73407"/>
              <a:gd name="connsiteX5" fmla="*/ 967579 w 967579"/>
              <a:gd name="connsiteY5" fmla="*/ 58878 h 73407"/>
              <a:gd name="connsiteX0" fmla="*/ 73644 w 967565"/>
              <a:gd name="connsiteY0" fmla="*/ 36494 h 73407"/>
              <a:gd name="connsiteX1" fmla="*/ 36219 w 967565"/>
              <a:gd name="connsiteY1" fmla="*/ 73389 h 73407"/>
              <a:gd name="connsiteX2" fmla="*/ 0 w 967565"/>
              <a:gd name="connsiteY2" fmla="*/ 37299 h 73407"/>
              <a:gd name="connsiteX3" fmla="*/ 37023 w 967565"/>
              <a:gd name="connsiteY3" fmla="*/ 1 h 73407"/>
              <a:gd name="connsiteX4" fmla="*/ 73467 w 967565"/>
              <a:gd name="connsiteY4" fmla="*/ 36740 h 73407"/>
              <a:gd name="connsiteX5" fmla="*/ 967565 w 967565"/>
              <a:gd name="connsiteY5" fmla="*/ 58878 h 73407"/>
              <a:gd name="connsiteX0" fmla="*/ 73644 w 967565"/>
              <a:gd name="connsiteY0" fmla="*/ 36530 h 73443"/>
              <a:gd name="connsiteX1" fmla="*/ 36219 w 967565"/>
              <a:gd name="connsiteY1" fmla="*/ 73425 h 73443"/>
              <a:gd name="connsiteX2" fmla="*/ 0 w 967565"/>
              <a:gd name="connsiteY2" fmla="*/ 37335 h 73443"/>
              <a:gd name="connsiteX3" fmla="*/ 37023 w 967565"/>
              <a:gd name="connsiteY3" fmla="*/ 37 h 73443"/>
              <a:gd name="connsiteX4" fmla="*/ 73467 w 967565"/>
              <a:gd name="connsiteY4" fmla="*/ 36776 h 73443"/>
              <a:gd name="connsiteX5" fmla="*/ 967565 w 967565"/>
              <a:gd name="connsiteY5" fmla="*/ 58914 h 73443"/>
              <a:gd name="connsiteX0" fmla="*/ 73644 w 967565"/>
              <a:gd name="connsiteY0" fmla="*/ 36501 h 73414"/>
              <a:gd name="connsiteX1" fmla="*/ 36219 w 967565"/>
              <a:gd name="connsiteY1" fmla="*/ 73396 h 73414"/>
              <a:gd name="connsiteX2" fmla="*/ 0 w 967565"/>
              <a:gd name="connsiteY2" fmla="*/ 37306 h 73414"/>
              <a:gd name="connsiteX3" fmla="*/ 37023 w 967565"/>
              <a:gd name="connsiteY3" fmla="*/ 8 h 73414"/>
              <a:gd name="connsiteX4" fmla="*/ 73467 w 967565"/>
              <a:gd name="connsiteY4" fmla="*/ 36747 h 73414"/>
              <a:gd name="connsiteX5" fmla="*/ 967565 w 967565"/>
              <a:gd name="connsiteY5" fmla="*/ 58885 h 73414"/>
              <a:gd name="connsiteX0" fmla="*/ 73644 w 967565"/>
              <a:gd name="connsiteY0" fmla="*/ 36514 h 73427"/>
              <a:gd name="connsiteX1" fmla="*/ 36219 w 967565"/>
              <a:gd name="connsiteY1" fmla="*/ 73409 h 73427"/>
              <a:gd name="connsiteX2" fmla="*/ 0 w 967565"/>
              <a:gd name="connsiteY2" fmla="*/ 37319 h 73427"/>
              <a:gd name="connsiteX3" fmla="*/ 37023 w 967565"/>
              <a:gd name="connsiteY3" fmla="*/ 21 h 73427"/>
              <a:gd name="connsiteX4" fmla="*/ 73467 w 967565"/>
              <a:gd name="connsiteY4" fmla="*/ 36760 h 73427"/>
              <a:gd name="connsiteX5" fmla="*/ 967565 w 967565"/>
              <a:gd name="connsiteY5" fmla="*/ 58898 h 73427"/>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22"/>
              <a:gd name="connsiteX1" fmla="*/ 36219 w 967565"/>
              <a:gd name="connsiteY1" fmla="*/ 73404 h 73422"/>
              <a:gd name="connsiteX2" fmla="*/ 0 w 967565"/>
              <a:gd name="connsiteY2" fmla="*/ 37314 h 73422"/>
              <a:gd name="connsiteX3" fmla="*/ 37023 w 967565"/>
              <a:gd name="connsiteY3" fmla="*/ 16 h 73422"/>
              <a:gd name="connsiteX4" fmla="*/ 73467 w 967565"/>
              <a:gd name="connsiteY4" fmla="*/ 36755 h 73422"/>
              <a:gd name="connsiteX5" fmla="*/ 967565 w 967565"/>
              <a:gd name="connsiteY5" fmla="*/ 58893 h 73422"/>
              <a:gd name="connsiteX0" fmla="*/ 73644 w 967565"/>
              <a:gd name="connsiteY0" fmla="*/ 36509 h 73404"/>
              <a:gd name="connsiteX1" fmla="*/ 36219 w 967565"/>
              <a:gd name="connsiteY1" fmla="*/ 73404 h 73404"/>
              <a:gd name="connsiteX2" fmla="*/ 0 w 967565"/>
              <a:gd name="connsiteY2" fmla="*/ 37314 h 73404"/>
              <a:gd name="connsiteX3" fmla="*/ 37023 w 967565"/>
              <a:gd name="connsiteY3" fmla="*/ 16 h 73404"/>
              <a:gd name="connsiteX4" fmla="*/ 73467 w 967565"/>
              <a:gd name="connsiteY4" fmla="*/ 36755 h 73404"/>
              <a:gd name="connsiteX5" fmla="*/ 967565 w 967565"/>
              <a:gd name="connsiteY5" fmla="*/ 58893 h 73404"/>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9 h 73450"/>
              <a:gd name="connsiteX1" fmla="*/ 36219 w 967565"/>
              <a:gd name="connsiteY1" fmla="*/ 73404 h 73450"/>
              <a:gd name="connsiteX2" fmla="*/ 0 w 967565"/>
              <a:gd name="connsiteY2" fmla="*/ 37314 h 73450"/>
              <a:gd name="connsiteX3" fmla="*/ 37023 w 967565"/>
              <a:gd name="connsiteY3" fmla="*/ 16 h 73450"/>
              <a:gd name="connsiteX4" fmla="*/ 73467 w 967565"/>
              <a:gd name="connsiteY4" fmla="*/ 36755 h 73450"/>
              <a:gd name="connsiteX5" fmla="*/ 967565 w 967565"/>
              <a:gd name="connsiteY5" fmla="*/ 58893 h 73450"/>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3467 w 967565"/>
              <a:gd name="connsiteY4" fmla="*/ 36747 h 73442"/>
              <a:gd name="connsiteX5" fmla="*/ 967565 w 967565"/>
              <a:gd name="connsiteY5" fmla="*/ 58885 h 73442"/>
              <a:gd name="connsiteX0" fmla="*/ 73644 w 967565"/>
              <a:gd name="connsiteY0" fmla="*/ 36501 h 73442"/>
              <a:gd name="connsiteX1" fmla="*/ 36219 w 967565"/>
              <a:gd name="connsiteY1" fmla="*/ 73396 h 73442"/>
              <a:gd name="connsiteX2" fmla="*/ 0 w 967565"/>
              <a:gd name="connsiteY2" fmla="*/ 37306 h 73442"/>
              <a:gd name="connsiteX3" fmla="*/ 37023 w 967565"/>
              <a:gd name="connsiteY3" fmla="*/ 8 h 73442"/>
              <a:gd name="connsiteX4" fmla="*/ 72260 w 967565"/>
              <a:gd name="connsiteY4" fmla="*/ 36345 h 73442"/>
              <a:gd name="connsiteX5" fmla="*/ 967565 w 967565"/>
              <a:gd name="connsiteY5" fmla="*/ 58885 h 73442"/>
              <a:gd name="connsiteX0" fmla="*/ 73644 w 967565"/>
              <a:gd name="connsiteY0" fmla="*/ 36501 h 73396"/>
              <a:gd name="connsiteX1" fmla="*/ 36219 w 967565"/>
              <a:gd name="connsiteY1" fmla="*/ 73396 h 73396"/>
              <a:gd name="connsiteX2" fmla="*/ 0 w 967565"/>
              <a:gd name="connsiteY2" fmla="*/ 37306 h 73396"/>
              <a:gd name="connsiteX3" fmla="*/ 37023 w 967565"/>
              <a:gd name="connsiteY3" fmla="*/ 8 h 73396"/>
              <a:gd name="connsiteX4" fmla="*/ 72260 w 967565"/>
              <a:gd name="connsiteY4" fmla="*/ 36345 h 73396"/>
              <a:gd name="connsiteX5" fmla="*/ 967565 w 967565"/>
              <a:gd name="connsiteY5" fmla="*/ 58885 h 73396"/>
              <a:gd name="connsiteX0" fmla="*/ 73644 w 967565"/>
              <a:gd name="connsiteY0" fmla="*/ 36501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9"/>
              <a:gd name="connsiteX1" fmla="*/ 36219 w 967565"/>
              <a:gd name="connsiteY1" fmla="*/ 73396 h 73399"/>
              <a:gd name="connsiteX2" fmla="*/ 0 w 967565"/>
              <a:gd name="connsiteY2" fmla="*/ 37306 h 73399"/>
              <a:gd name="connsiteX3" fmla="*/ 37023 w 967565"/>
              <a:gd name="connsiteY3" fmla="*/ 8 h 73399"/>
              <a:gd name="connsiteX4" fmla="*/ 72260 w 967565"/>
              <a:gd name="connsiteY4" fmla="*/ 36345 h 73399"/>
              <a:gd name="connsiteX5" fmla="*/ 967565 w 967565"/>
              <a:gd name="connsiteY5" fmla="*/ 58885 h 73399"/>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2260 w 967565"/>
              <a:gd name="connsiteY4" fmla="*/ 36345 h 73398"/>
              <a:gd name="connsiteX5" fmla="*/ 967565 w 967565"/>
              <a:gd name="connsiteY5" fmla="*/ 58885 h 73398"/>
              <a:gd name="connsiteX0" fmla="*/ 71632 w 967565"/>
              <a:gd name="connsiteY0" fmla="*/ 36903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4448 w 967565"/>
              <a:gd name="connsiteY0" fmla="*/ 45352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400"/>
              <a:gd name="connsiteX1" fmla="*/ 36219 w 967565"/>
              <a:gd name="connsiteY1" fmla="*/ 73396 h 73400"/>
              <a:gd name="connsiteX2" fmla="*/ 0 w 967565"/>
              <a:gd name="connsiteY2" fmla="*/ 37306 h 73400"/>
              <a:gd name="connsiteX3" fmla="*/ 37023 w 967565"/>
              <a:gd name="connsiteY3" fmla="*/ 8 h 73400"/>
              <a:gd name="connsiteX4" fmla="*/ 73065 w 967565"/>
              <a:gd name="connsiteY4" fmla="*/ 35540 h 73400"/>
              <a:gd name="connsiteX5" fmla="*/ 967565 w 967565"/>
              <a:gd name="connsiteY5" fmla="*/ 58885 h 73400"/>
              <a:gd name="connsiteX0" fmla="*/ 72839 w 967565"/>
              <a:gd name="connsiteY0" fmla="*/ 35294 h 73399"/>
              <a:gd name="connsiteX1" fmla="*/ 36219 w 967565"/>
              <a:gd name="connsiteY1" fmla="*/ 73396 h 73399"/>
              <a:gd name="connsiteX2" fmla="*/ 0 w 967565"/>
              <a:gd name="connsiteY2" fmla="*/ 37306 h 73399"/>
              <a:gd name="connsiteX3" fmla="*/ 37023 w 967565"/>
              <a:gd name="connsiteY3" fmla="*/ 8 h 73399"/>
              <a:gd name="connsiteX4" fmla="*/ 73065 w 967565"/>
              <a:gd name="connsiteY4" fmla="*/ 35540 h 73399"/>
              <a:gd name="connsiteX5" fmla="*/ 967565 w 967565"/>
              <a:gd name="connsiteY5" fmla="*/ 58885 h 73399"/>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7023 w 967565"/>
              <a:gd name="connsiteY3" fmla="*/ 8 h 73398"/>
              <a:gd name="connsiteX4" fmla="*/ 73065 w 967565"/>
              <a:gd name="connsiteY4" fmla="*/ 35540 h 73398"/>
              <a:gd name="connsiteX5" fmla="*/ 967565 w 967565"/>
              <a:gd name="connsiteY5" fmla="*/ 58885 h 73398"/>
              <a:gd name="connsiteX0" fmla="*/ 72839 w 967565"/>
              <a:gd name="connsiteY0" fmla="*/ 35303 h 73407"/>
              <a:gd name="connsiteX1" fmla="*/ 36219 w 967565"/>
              <a:gd name="connsiteY1" fmla="*/ 73405 h 73407"/>
              <a:gd name="connsiteX2" fmla="*/ 0 w 967565"/>
              <a:gd name="connsiteY2" fmla="*/ 37315 h 73407"/>
              <a:gd name="connsiteX3" fmla="*/ 37023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303 h 73407"/>
              <a:gd name="connsiteX1" fmla="*/ 36219 w 967565"/>
              <a:gd name="connsiteY1" fmla="*/ 73405 h 73407"/>
              <a:gd name="connsiteX2" fmla="*/ 0 w 967565"/>
              <a:gd name="connsiteY2" fmla="*/ 37315 h 73407"/>
              <a:gd name="connsiteX3" fmla="*/ 35816 w 967565"/>
              <a:gd name="connsiteY3" fmla="*/ 17 h 73407"/>
              <a:gd name="connsiteX4" fmla="*/ 73065 w 967565"/>
              <a:gd name="connsiteY4" fmla="*/ 35549 h 73407"/>
              <a:gd name="connsiteX5" fmla="*/ 967565 w 967565"/>
              <a:gd name="connsiteY5" fmla="*/ 58894 h 73407"/>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967565"/>
              <a:gd name="connsiteY0" fmla="*/ 35294 h 73398"/>
              <a:gd name="connsiteX1" fmla="*/ 36219 w 967565"/>
              <a:gd name="connsiteY1" fmla="*/ 73396 h 73398"/>
              <a:gd name="connsiteX2" fmla="*/ 0 w 967565"/>
              <a:gd name="connsiteY2" fmla="*/ 37306 h 73398"/>
              <a:gd name="connsiteX3" fmla="*/ 35816 w 967565"/>
              <a:gd name="connsiteY3" fmla="*/ 8 h 73398"/>
              <a:gd name="connsiteX4" fmla="*/ 73065 w 967565"/>
              <a:gd name="connsiteY4" fmla="*/ 35540 h 73398"/>
              <a:gd name="connsiteX5" fmla="*/ 967565 w 967565"/>
              <a:gd name="connsiteY5" fmla="*/ 58885 h 73398"/>
              <a:gd name="connsiteX0" fmla="*/ 72839 w 1300939"/>
              <a:gd name="connsiteY0" fmla="*/ 35294 h 73398"/>
              <a:gd name="connsiteX1" fmla="*/ 36219 w 1300939"/>
              <a:gd name="connsiteY1" fmla="*/ 73396 h 73398"/>
              <a:gd name="connsiteX2" fmla="*/ 0 w 1300939"/>
              <a:gd name="connsiteY2" fmla="*/ 37306 h 73398"/>
              <a:gd name="connsiteX3" fmla="*/ 35816 w 1300939"/>
              <a:gd name="connsiteY3" fmla="*/ 8 h 73398"/>
              <a:gd name="connsiteX4" fmla="*/ 73065 w 1300939"/>
              <a:gd name="connsiteY4" fmla="*/ 35540 h 73398"/>
              <a:gd name="connsiteX5" fmla="*/ 1300939 w 1300939"/>
              <a:gd name="connsiteY5" fmla="*/ 65360 h 73398"/>
              <a:gd name="connsiteX0" fmla="*/ 72839 w 1745944"/>
              <a:gd name="connsiteY0" fmla="*/ 35294 h 73398"/>
              <a:gd name="connsiteX1" fmla="*/ 36219 w 1745944"/>
              <a:gd name="connsiteY1" fmla="*/ 73396 h 73398"/>
              <a:gd name="connsiteX2" fmla="*/ 0 w 1745944"/>
              <a:gd name="connsiteY2" fmla="*/ 37306 h 73398"/>
              <a:gd name="connsiteX3" fmla="*/ 35816 w 1745944"/>
              <a:gd name="connsiteY3" fmla="*/ 8 h 73398"/>
              <a:gd name="connsiteX4" fmla="*/ 73065 w 1745944"/>
              <a:gd name="connsiteY4" fmla="*/ 35540 h 73398"/>
              <a:gd name="connsiteX5" fmla="*/ 1745944 w 1745944"/>
              <a:gd name="connsiteY5" fmla="*/ 52049 h 73398"/>
              <a:gd name="connsiteX0" fmla="*/ 72839 w 2995888"/>
              <a:gd name="connsiteY0" fmla="*/ 35294 h 109067"/>
              <a:gd name="connsiteX1" fmla="*/ 36219 w 2995888"/>
              <a:gd name="connsiteY1" fmla="*/ 73396 h 109067"/>
              <a:gd name="connsiteX2" fmla="*/ 0 w 2995888"/>
              <a:gd name="connsiteY2" fmla="*/ 37306 h 109067"/>
              <a:gd name="connsiteX3" fmla="*/ 35816 w 2995888"/>
              <a:gd name="connsiteY3" fmla="*/ 8 h 109067"/>
              <a:gd name="connsiteX4" fmla="*/ 73065 w 2995888"/>
              <a:gd name="connsiteY4" fmla="*/ 35540 h 109067"/>
              <a:gd name="connsiteX5" fmla="*/ 2995888 w 2995888"/>
              <a:gd name="connsiteY5" fmla="*/ 109067 h 109067"/>
              <a:gd name="connsiteX0" fmla="*/ 72839 w 4440867"/>
              <a:gd name="connsiteY0" fmla="*/ 35294 h 107831"/>
              <a:gd name="connsiteX1" fmla="*/ 36219 w 4440867"/>
              <a:gd name="connsiteY1" fmla="*/ 73396 h 107831"/>
              <a:gd name="connsiteX2" fmla="*/ 0 w 4440867"/>
              <a:gd name="connsiteY2" fmla="*/ 37306 h 107831"/>
              <a:gd name="connsiteX3" fmla="*/ 35816 w 4440867"/>
              <a:gd name="connsiteY3" fmla="*/ 8 h 107831"/>
              <a:gd name="connsiteX4" fmla="*/ 73065 w 4440867"/>
              <a:gd name="connsiteY4" fmla="*/ 35540 h 107831"/>
              <a:gd name="connsiteX5" fmla="*/ 4440867 w 4440867"/>
              <a:gd name="connsiteY5" fmla="*/ 107831 h 107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0867" h="107831">
                <a:moveTo>
                  <a:pt x="72839" y="35294"/>
                </a:moveTo>
                <a:cubicBezTo>
                  <a:pt x="74850" y="55852"/>
                  <a:pt x="56538" y="73664"/>
                  <a:pt x="36219" y="73396"/>
                </a:cubicBezTo>
                <a:cubicBezTo>
                  <a:pt x="17508" y="72725"/>
                  <a:pt x="1073" y="59595"/>
                  <a:pt x="0" y="37306"/>
                </a:cubicBezTo>
                <a:cubicBezTo>
                  <a:pt x="536" y="8578"/>
                  <a:pt x="23974" y="-302"/>
                  <a:pt x="35816" y="8"/>
                </a:cubicBezTo>
                <a:cubicBezTo>
                  <a:pt x="50071" y="-85"/>
                  <a:pt x="72032" y="9592"/>
                  <a:pt x="73065" y="35540"/>
                </a:cubicBezTo>
                <a:lnTo>
                  <a:pt x="4440867" y="107831"/>
                </a:lnTo>
              </a:path>
            </a:pathLst>
          </a:custGeom>
          <a:solidFill>
            <a:schemeClr val="accent2"/>
          </a:solidFill>
          <a:ln w="22225">
            <a:solidFill>
              <a:schemeClr val="accent2"/>
            </a:solidFill>
            <a:miter lim="800000"/>
          </a:ln>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62" name="Titel 1"/>
          <p:cNvSpPr>
            <a:spLocks noGrp="1"/>
          </p:cNvSpPr>
          <p:nvPr>
            <p:ph type="title" hasCustomPrompt="1"/>
          </p:nvPr>
        </p:nvSpPr>
        <p:spPr>
          <a:xfrm>
            <a:off x="395289" y="368302"/>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63" name="Textplatzhalter 7"/>
          <p:cNvSpPr>
            <a:spLocks noGrp="1"/>
          </p:cNvSpPr>
          <p:nvPr>
            <p:ph type="body" sz="quarter" idx="13" hasCustomPrompt="1"/>
          </p:nvPr>
        </p:nvSpPr>
        <p:spPr>
          <a:xfrm>
            <a:off x="395289"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
        <p:nvSpPr>
          <p:cNvPr id="64" name="Textplatzhalter 3"/>
          <p:cNvSpPr>
            <a:spLocks noGrp="1"/>
          </p:cNvSpPr>
          <p:nvPr>
            <p:ph type="body" sz="quarter" idx="25"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65" name="Textplatzhalter 3"/>
          <p:cNvSpPr>
            <a:spLocks noGrp="1"/>
          </p:cNvSpPr>
          <p:nvPr>
            <p:ph type="body" sz="quarter" idx="26"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66" name="Textplatzhalter 3"/>
          <p:cNvSpPr>
            <a:spLocks noGrp="1"/>
          </p:cNvSpPr>
          <p:nvPr>
            <p:ph type="body" sz="quarter" idx="27"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67" name="Textplatzhalter 3"/>
          <p:cNvSpPr>
            <a:spLocks noGrp="1"/>
          </p:cNvSpPr>
          <p:nvPr>
            <p:ph type="body" sz="quarter" idx="53" hasCustomPrompt="1"/>
          </p:nvPr>
        </p:nvSpPr>
        <p:spPr bwMode="gray">
          <a:xfrm>
            <a:off x="396000" y="5252601"/>
            <a:ext cx="3754800" cy="1173600"/>
          </a:xfrm>
          <a:solidFill>
            <a:schemeClr val="accent1"/>
          </a:solidFill>
        </p:spPr>
        <p:txBody>
          <a:bodyPr lIns="71976" tIns="71976" rIns="71976" anchor="t" anchorCtr="0"/>
          <a:lstStyle>
            <a:lvl1pPr marL="0" indent="0" algn="l">
              <a:lnSpc>
                <a:spcPct val="100000"/>
              </a:lnSpc>
              <a:spcAft>
                <a:spcPts val="0"/>
              </a:spcAft>
              <a:buFont typeface="Arial" panose="020B0604020202020204" pitchFamily="34" charset="0"/>
              <a:buNone/>
              <a:defRPr sz="1500" b="1">
                <a:solidFill>
                  <a:schemeClr val="bg1"/>
                </a:solidFill>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de-DE" noProof="0" dirty="0" smtClean="0"/>
              <a:t>Text in CorpoS in 15 pt. einfügen // für kleineren Text: Start // Absatz // Listenebene erhöhen</a:t>
            </a:r>
          </a:p>
        </p:txBody>
      </p:sp>
      <p:sp>
        <p:nvSpPr>
          <p:cNvPr id="68" name="Textplatzhalter 3"/>
          <p:cNvSpPr>
            <a:spLocks noGrp="1"/>
          </p:cNvSpPr>
          <p:nvPr>
            <p:ph type="body" sz="quarter" idx="54" hasCustomPrompt="1"/>
          </p:nvPr>
        </p:nvSpPr>
        <p:spPr bwMode="gray">
          <a:xfrm>
            <a:off x="4223026" y="5252601"/>
            <a:ext cx="1839600" cy="1173600"/>
          </a:xfrm>
          <a:solidFill>
            <a:schemeClr val="accent1"/>
          </a:solidFill>
        </p:spPr>
        <p:txBody>
          <a:bodyPr lIns="71976" tIns="71976" rIns="71976" anchor="t" anchorCtr="0"/>
          <a:lstStyle>
            <a:lvl1pPr marL="0" indent="0" algn="l">
              <a:lnSpc>
                <a:spcPct val="100000"/>
              </a:lnSpc>
              <a:spcAft>
                <a:spcPts val="0"/>
              </a:spcAft>
              <a:buFont typeface="Arial" panose="020B0604020202020204" pitchFamily="34" charset="0"/>
              <a:buNone/>
              <a:defRPr sz="1500" b="1">
                <a:solidFill>
                  <a:schemeClr val="bg1"/>
                </a:solidFill>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de-DE" noProof="0" dirty="0" smtClean="0"/>
              <a:t>Text CorpoS 15 pt. // kleineren Text: Listenebene erhöhen</a:t>
            </a:r>
          </a:p>
        </p:txBody>
      </p:sp>
      <p:sp>
        <p:nvSpPr>
          <p:cNvPr id="69" name="Textplatzhalter 3"/>
          <p:cNvSpPr>
            <a:spLocks noGrp="1"/>
          </p:cNvSpPr>
          <p:nvPr>
            <p:ph type="body" sz="quarter" idx="55" hasCustomPrompt="1"/>
          </p:nvPr>
        </p:nvSpPr>
        <p:spPr bwMode="gray">
          <a:xfrm>
            <a:off x="6134851" y="5252601"/>
            <a:ext cx="1839600" cy="1173600"/>
          </a:xfrm>
          <a:solidFill>
            <a:schemeClr val="accent1"/>
          </a:solidFill>
        </p:spPr>
        <p:txBody>
          <a:bodyPr lIns="71976" tIns="71976" rIns="71976" anchor="t" anchorCtr="0"/>
          <a:lstStyle>
            <a:lvl1pPr marL="0" indent="0" algn="l">
              <a:lnSpc>
                <a:spcPct val="100000"/>
              </a:lnSpc>
              <a:spcAft>
                <a:spcPts val="0"/>
              </a:spcAft>
              <a:buFont typeface="Arial" panose="020B0604020202020204" pitchFamily="34" charset="0"/>
              <a:buNone/>
              <a:defRPr sz="1500" b="1">
                <a:solidFill>
                  <a:schemeClr val="bg1"/>
                </a:solidFill>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de-DE" noProof="0" dirty="0" smtClean="0"/>
              <a:t>Text CorpoS 15 pt. // kleineren Text: Listenebene erhöhen</a:t>
            </a:r>
          </a:p>
        </p:txBody>
      </p:sp>
      <p:sp>
        <p:nvSpPr>
          <p:cNvPr id="70" name="Textplatzhalter 3"/>
          <p:cNvSpPr>
            <a:spLocks noGrp="1"/>
          </p:cNvSpPr>
          <p:nvPr>
            <p:ph type="body" sz="quarter" idx="34" hasCustomPrompt="1"/>
          </p:nvPr>
        </p:nvSpPr>
        <p:spPr bwMode="gray">
          <a:xfrm>
            <a:off x="396000" y="1512000"/>
            <a:ext cx="3754800" cy="1173600"/>
          </a:xfrm>
          <a:solidFill>
            <a:schemeClr val="accent1"/>
          </a:solidFill>
        </p:spPr>
        <p:txBody>
          <a:bodyPr lIns="71976" tIns="71976" rIns="71976" anchor="t" anchorCtr="0"/>
          <a:lstStyle>
            <a:lvl1pPr marL="0" indent="0" algn="l">
              <a:lnSpc>
                <a:spcPct val="100000"/>
              </a:lnSpc>
              <a:spcAft>
                <a:spcPts val="0"/>
              </a:spcAft>
              <a:buFont typeface="Arial" panose="020B0604020202020204" pitchFamily="34" charset="0"/>
              <a:buNone/>
              <a:defRPr sz="1500" b="1">
                <a:solidFill>
                  <a:schemeClr val="bg1"/>
                </a:solidFill>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de-DE" noProof="0" dirty="0" smtClean="0"/>
              <a:t>Text in CorpoS in 15 pt. einfügen // für kleineren Text: Start // Absatz // Listenebene erhöhen</a:t>
            </a:r>
          </a:p>
        </p:txBody>
      </p:sp>
      <p:sp>
        <p:nvSpPr>
          <p:cNvPr id="71" name="Textplatzhalter 3"/>
          <p:cNvSpPr>
            <a:spLocks noGrp="1"/>
          </p:cNvSpPr>
          <p:nvPr>
            <p:ph type="body" sz="quarter" idx="48" hasCustomPrompt="1"/>
          </p:nvPr>
        </p:nvSpPr>
        <p:spPr bwMode="gray">
          <a:xfrm>
            <a:off x="396000" y="2758867"/>
            <a:ext cx="2556000" cy="1173600"/>
          </a:xfrm>
          <a:solidFill>
            <a:schemeClr val="accent1"/>
          </a:solidFill>
        </p:spPr>
        <p:txBody>
          <a:bodyPr lIns="71976" tIns="71976" rIns="71976" anchor="t" anchorCtr="0"/>
          <a:lstStyle>
            <a:lvl1pPr marL="0" indent="0" algn="l">
              <a:lnSpc>
                <a:spcPct val="100000"/>
              </a:lnSpc>
              <a:spcAft>
                <a:spcPts val="0"/>
              </a:spcAft>
              <a:buFont typeface="Arial" panose="020B0604020202020204" pitchFamily="34" charset="0"/>
              <a:buNone/>
              <a:defRPr sz="1500" b="1">
                <a:solidFill>
                  <a:schemeClr val="bg1"/>
                </a:solidFill>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de-DE" noProof="0" dirty="0" smtClean="0"/>
              <a:t>Text in CorpoS in 15 pt. einfügen // für kleineren Text: Start // Absatz // Listenebene erhöhen</a:t>
            </a:r>
          </a:p>
        </p:txBody>
      </p:sp>
      <p:sp>
        <p:nvSpPr>
          <p:cNvPr id="72" name="Textplatzhalter 3"/>
          <p:cNvSpPr>
            <a:spLocks noGrp="1"/>
          </p:cNvSpPr>
          <p:nvPr>
            <p:ph type="body" sz="quarter" idx="49" hasCustomPrompt="1"/>
          </p:nvPr>
        </p:nvSpPr>
        <p:spPr bwMode="gray">
          <a:xfrm>
            <a:off x="396000" y="4005735"/>
            <a:ext cx="2556000" cy="1173600"/>
          </a:xfrm>
          <a:solidFill>
            <a:schemeClr val="accent1"/>
          </a:solidFill>
        </p:spPr>
        <p:txBody>
          <a:bodyPr lIns="71976" tIns="71976" rIns="71976" anchor="t" anchorCtr="0"/>
          <a:lstStyle>
            <a:lvl1pPr marL="0" indent="0" algn="l">
              <a:lnSpc>
                <a:spcPct val="100000"/>
              </a:lnSpc>
              <a:spcAft>
                <a:spcPts val="0"/>
              </a:spcAft>
              <a:buFont typeface="Arial" panose="020B0604020202020204" pitchFamily="34" charset="0"/>
              <a:buNone/>
              <a:defRPr sz="1500" b="1">
                <a:solidFill>
                  <a:schemeClr val="bg1"/>
                </a:solidFill>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de-DE" noProof="0" dirty="0" smtClean="0"/>
              <a:t>Text in CorpoS in 15 pt. einfügen // für kleineren Text: Start // Absatz // Listenebene erhöhen</a:t>
            </a:r>
          </a:p>
        </p:txBody>
      </p:sp>
      <p:sp>
        <p:nvSpPr>
          <p:cNvPr id="73" name="Textplatzhalter 3"/>
          <p:cNvSpPr>
            <a:spLocks noGrp="1"/>
          </p:cNvSpPr>
          <p:nvPr>
            <p:ph type="body" sz="quarter" idx="45" hasCustomPrompt="1"/>
          </p:nvPr>
        </p:nvSpPr>
        <p:spPr bwMode="gray">
          <a:xfrm>
            <a:off x="8046674" y="1512000"/>
            <a:ext cx="3754800" cy="1173600"/>
          </a:xfrm>
          <a:solidFill>
            <a:schemeClr val="accent1"/>
          </a:solidFill>
        </p:spPr>
        <p:txBody>
          <a:bodyPr lIns="71976" tIns="71976" rIns="71976" anchor="t" anchorCtr="0"/>
          <a:lstStyle>
            <a:lvl1pPr marL="0" indent="0" algn="l">
              <a:lnSpc>
                <a:spcPct val="100000"/>
              </a:lnSpc>
              <a:spcAft>
                <a:spcPts val="0"/>
              </a:spcAft>
              <a:buFont typeface="Arial" panose="020B0604020202020204" pitchFamily="34" charset="0"/>
              <a:buNone/>
              <a:defRPr sz="1500" b="1">
                <a:solidFill>
                  <a:schemeClr val="bg1"/>
                </a:solidFill>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de-DE" noProof="0" dirty="0" smtClean="0"/>
              <a:t>Text in CorpoS in 15 pt. einfügen // für kleineren Text: Start // Absatz // Listenebene erhöhen</a:t>
            </a:r>
          </a:p>
        </p:txBody>
      </p:sp>
      <p:sp>
        <p:nvSpPr>
          <p:cNvPr id="74" name="Textplatzhalter 3"/>
          <p:cNvSpPr>
            <a:spLocks noGrp="1"/>
          </p:cNvSpPr>
          <p:nvPr>
            <p:ph type="body" sz="quarter" idx="50" hasCustomPrompt="1"/>
          </p:nvPr>
        </p:nvSpPr>
        <p:spPr bwMode="gray">
          <a:xfrm>
            <a:off x="9245474" y="2758867"/>
            <a:ext cx="2556000" cy="1173600"/>
          </a:xfrm>
          <a:solidFill>
            <a:schemeClr val="accent1"/>
          </a:solidFill>
        </p:spPr>
        <p:txBody>
          <a:bodyPr lIns="71976" tIns="71976" rIns="71976" anchor="t" anchorCtr="0"/>
          <a:lstStyle>
            <a:lvl1pPr marL="0" indent="0" algn="l">
              <a:lnSpc>
                <a:spcPct val="100000"/>
              </a:lnSpc>
              <a:spcAft>
                <a:spcPts val="0"/>
              </a:spcAft>
              <a:buFont typeface="Arial" panose="020B0604020202020204" pitchFamily="34" charset="0"/>
              <a:buNone/>
              <a:defRPr sz="1500" b="1">
                <a:solidFill>
                  <a:schemeClr val="bg1"/>
                </a:solidFill>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de-DE" noProof="0" dirty="0" smtClean="0"/>
              <a:t>Text in CorpoS in 15 pt. einfügen // für kleineren Text: Start // Absatz // Listenebene erhöhen</a:t>
            </a:r>
          </a:p>
        </p:txBody>
      </p:sp>
      <p:sp>
        <p:nvSpPr>
          <p:cNvPr id="76" name="Textplatzhalter 3"/>
          <p:cNvSpPr>
            <a:spLocks noGrp="1"/>
          </p:cNvSpPr>
          <p:nvPr>
            <p:ph type="body" sz="quarter" idx="51" hasCustomPrompt="1"/>
          </p:nvPr>
        </p:nvSpPr>
        <p:spPr bwMode="gray">
          <a:xfrm>
            <a:off x="9245474" y="4005735"/>
            <a:ext cx="2556000" cy="1173600"/>
          </a:xfrm>
          <a:solidFill>
            <a:schemeClr val="accent1"/>
          </a:solidFill>
        </p:spPr>
        <p:txBody>
          <a:bodyPr lIns="71976" tIns="71976" rIns="71976" anchor="t" anchorCtr="0"/>
          <a:lstStyle>
            <a:lvl1pPr marL="0" indent="0" algn="l">
              <a:lnSpc>
                <a:spcPct val="100000"/>
              </a:lnSpc>
              <a:spcAft>
                <a:spcPts val="0"/>
              </a:spcAft>
              <a:buFont typeface="Arial" panose="020B0604020202020204" pitchFamily="34" charset="0"/>
              <a:buNone/>
              <a:defRPr sz="1500" b="1">
                <a:solidFill>
                  <a:schemeClr val="bg1"/>
                </a:solidFill>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de-DE" noProof="0" dirty="0" smtClean="0"/>
              <a:t>Text in CorpoS in 15 pt. einfügen // für kleineren Text: Start // Absatz // Listenebene erhöhen</a:t>
            </a:r>
          </a:p>
        </p:txBody>
      </p:sp>
      <p:sp>
        <p:nvSpPr>
          <p:cNvPr id="77" name="Textplatzhalter 3"/>
          <p:cNvSpPr>
            <a:spLocks noGrp="1"/>
          </p:cNvSpPr>
          <p:nvPr>
            <p:ph type="body" sz="quarter" idx="47" hasCustomPrompt="1"/>
          </p:nvPr>
        </p:nvSpPr>
        <p:spPr bwMode="gray">
          <a:xfrm>
            <a:off x="6134851" y="1512000"/>
            <a:ext cx="1839600" cy="1173600"/>
          </a:xfrm>
          <a:solidFill>
            <a:schemeClr val="accent1"/>
          </a:solidFill>
        </p:spPr>
        <p:txBody>
          <a:bodyPr lIns="71976" tIns="71976" rIns="71976" anchor="t" anchorCtr="0"/>
          <a:lstStyle>
            <a:lvl1pPr marL="0" marR="0" indent="0" algn="l" defTabSz="914089" rtl="0" eaLnBrk="1" fontAlgn="auto" latinLnBrk="0" hangingPunct="1">
              <a:lnSpc>
                <a:spcPct val="100000"/>
              </a:lnSpc>
              <a:spcBef>
                <a:spcPts val="0"/>
              </a:spcBef>
              <a:spcAft>
                <a:spcPts val="0"/>
              </a:spcAft>
              <a:buClrTx/>
              <a:buSzTx/>
              <a:buFont typeface="Arial" panose="020B0604020202020204" pitchFamily="34" charset="0"/>
              <a:buNone/>
              <a:tabLst/>
              <a:defRPr sz="1500" b="1">
                <a:solidFill>
                  <a:schemeClr val="bg1"/>
                </a:solidFill>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de-DE" noProof="0" dirty="0" smtClean="0"/>
              <a:t>Text CorpoS 15 pt. // kleineren Text: Listenebene erhöhen</a:t>
            </a:r>
          </a:p>
        </p:txBody>
      </p:sp>
      <p:sp>
        <p:nvSpPr>
          <p:cNvPr id="78" name="Textplatzhalter 3"/>
          <p:cNvSpPr>
            <a:spLocks noGrp="1"/>
          </p:cNvSpPr>
          <p:nvPr>
            <p:ph type="body" sz="quarter" idx="52" hasCustomPrompt="1"/>
          </p:nvPr>
        </p:nvSpPr>
        <p:spPr bwMode="gray">
          <a:xfrm>
            <a:off x="8046674" y="5252601"/>
            <a:ext cx="3754800" cy="1173600"/>
          </a:xfrm>
          <a:solidFill>
            <a:schemeClr val="accent1"/>
          </a:solidFill>
        </p:spPr>
        <p:txBody>
          <a:bodyPr lIns="71976" tIns="71976" rIns="71976" anchor="t" anchorCtr="0"/>
          <a:lstStyle>
            <a:lvl1pPr marL="0" indent="0" algn="l">
              <a:lnSpc>
                <a:spcPct val="100000"/>
              </a:lnSpc>
              <a:spcAft>
                <a:spcPts val="0"/>
              </a:spcAft>
              <a:buFont typeface="Arial" panose="020B0604020202020204" pitchFamily="34" charset="0"/>
              <a:buNone/>
              <a:defRPr sz="1500" b="1">
                <a:solidFill>
                  <a:schemeClr val="bg1"/>
                </a:solidFill>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de-DE" noProof="0" dirty="0" smtClean="0"/>
              <a:t>Text in CorpoS in 15 pt. einfügen // für kleineren Text: Start // Absatz // Listenebene erhöhen</a:t>
            </a:r>
          </a:p>
        </p:txBody>
      </p:sp>
      <p:sp>
        <p:nvSpPr>
          <p:cNvPr id="79" name="Textplatzhalter 3"/>
          <p:cNvSpPr>
            <a:spLocks noGrp="1"/>
          </p:cNvSpPr>
          <p:nvPr>
            <p:ph type="body" sz="quarter" idx="46" hasCustomPrompt="1"/>
          </p:nvPr>
        </p:nvSpPr>
        <p:spPr bwMode="gray">
          <a:xfrm>
            <a:off x="4223026" y="1512000"/>
            <a:ext cx="1839600" cy="1173600"/>
          </a:xfrm>
          <a:solidFill>
            <a:schemeClr val="accent1"/>
          </a:solidFill>
        </p:spPr>
        <p:txBody>
          <a:bodyPr lIns="71976" tIns="71976" rIns="71976" anchor="t" anchorCtr="0"/>
          <a:lstStyle>
            <a:lvl1pPr marL="0" indent="0" algn="l">
              <a:lnSpc>
                <a:spcPct val="100000"/>
              </a:lnSpc>
              <a:spcAft>
                <a:spcPts val="0"/>
              </a:spcAft>
              <a:buFont typeface="Arial" panose="020B0604020202020204" pitchFamily="34" charset="0"/>
              <a:buNone/>
              <a:defRPr sz="1500" b="1">
                <a:solidFill>
                  <a:schemeClr val="bg1"/>
                </a:solidFill>
              </a:defRPr>
            </a:lvl1pPr>
            <a:lvl2pPr marL="0" indent="0" algn="l">
              <a:lnSpc>
                <a:spcPct val="100000"/>
              </a:lnSpc>
              <a:spcAft>
                <a:spcPts val="0"/>
              </a:spcAft>
              <a:buNone/>
              <a:defRPr sz="1000">
                <a:solidFill>
                  <a:schemeClr val="bg1"/>
                </a:solidFill>
              </a:defRPr>
            </a:lvl2pPr>
            <a:lvl3pPr marL="0" indent="0" algn="l">
              <a:lnSpc>
                <a:spcPct val="100000"/>
              </a:lnSpc>
              <a:spcAft>
                <a:spcPts val="0"/>
              </a:spcAft>
              <a:buNone/>
              <a:defRPr sz="1300">
                <a:solidFill>
                  <a:schemeClr val="bg1"/>
                </a:solidFill>
              </a:defRPr>
            </a:lvl3pPr>
            <a:lvl4pPr marL="0" indent="0" algn="l">
              <a:lnSpc>
                <a:spcPct val="100000"/>
              </a:lnSpc>
              <a:spcAft>
                <a:spcPts val="0"/>
              </a:spcAft>
              <a:buNone/>
              <a:defRPr sz="1300">
                <a:solidFill>
                  <a:schemeClr val="bg1"/>
                </a:solidFill>
              </a:defRPr>
            </a:lvl4pPr>
            <a:lvl5pPr marL="0" indent="0" algn="l">
              <a:lnSpc>
                <a:spcPct val="100000"/>
              </a:lnSpc>
              <a:spcAft>
                <a:spcPts val="0"/>
              </a:spcAft>
              <a:buNone/>
              <a:defRPr sz="1300">
                <a:solidFill>
                  <a:schemeClr val="bg1"/>
                </a:solidFill>
              </a:defRPr>
            </a:lvl5pPr>
            <a:lvl6pPr marL="0" indent="0" algn="l">
              <a:lnSpc>
                <a:spcPct val="100000"/>
              </a:lnSpc>
              <a:spcAft>
                <a:spcPts val="0"/>
              </a:spcAft>
              <a:buNone/>
              <a:defRPr sz="1300">
                <a:solidFill>
                  <a:schemeClr val="bg1"/>
                </a:solidFill>
              </a:defRPr>
            </a:lvl6pPr>
            <a:lvl7pPr marL="0" indent="0" algn="l">
              <a:lnSpc>
                <a:spcPct val="100000"/>
              </a:lnSpc>
              <a:spcAft>
                <a:spcPts val="0"/>
              </a:spcAft>
              <a:buNone/>
              <a:defRPr sz="1300">
                <a:solidFill>
                  <a:schemeClr val="bg1"/>
                </a:solidFill>
              </a:defRPr>
            </a:lvl7pPr>
            <a:lvl8pPr marL="0" indent="0" algn="l">
              <a:lnSpc>
                <a:spcPct val="100000"/>
              </a:lnSpc>
              <a:spcAft>
                <a:spcPts val="0"/>
              </a:spcAft>
              <a:buNone/>
              <a:defRPr sz="1300">
                <a:solidFill>
                  <a:schemeClr val="bg1"/>
                </a:solidFill>
              </a:defRPr>
            </a:lvl8pPr>
            <a:lvl9pPr marL="0" indent="0" algn="l">
              <a:lnSpc>
                <a:spcPct val="100000"/>
              </a:lnSpc>
              <a:spcAft>
                <a:spcPts val="0"/>
              </a:spcAft>
              <a:buNone/>
              <a:defRPr sz="1300">
                <a:solidFill>
                  <a:schemeClr val="bg1"/>
                </a:solidFill>
              </a:defRPr>
            </a:lvl9pPr>
          </a:lstStyle>
          <a:p>
            <a:pPr lvl="0"/>
            <a:r>
              <a:rPr lang="de-DE" noProof="0" dirty="0" smtClean="0"/>
              <a:t>Text CorpoS 15 pt. // kleineren Text: Listenebene erhöhen</a:t>
            </a:r>
          </a:p>
        </p:txBody>
      </p:sp>
      <p:sp>
        <p:nvSpPr>
          <p:cNvPr id="80" name="Fußzeilenplatzhalter 2"/>
          <p:cNvSpPr>
            <a:spLocks noGrp="1"/>
          </p:cNvSpPr>
          <p:nvPr>
            <p:ph type="ftr" sz="quarter" idx="68"/>
          </p:nvPr>
        </p:nvSpPr>
        <p:spPr>
          <a:xfrm>
            <a:off x="3578400" y="6552000"/>
            <a:ext cx="7848000" cy="306000"/>
          </a:xfrm>
        </p:spPr>
        <p:txBody>
          <a:bodyPr/>
          <a:lstStyle/>
          <a:p>
            <a:r>
              <a:rPr lang="de-DE" dirty="0" smtClean="0">
                <a:solidFill>
                  <a:prstClr val="white"/>
                </a:solidFill>
              </a:rPr>
              <a:t>Titel der Präsentation in CorpoS (Textkörper) 10pt | Abteilung | Datum</a:t>
            </a:r>
            <a:endParaRPr lang="de-DE" dirty="0">
              <a:solidFill>
                <a:prstClr val="white"/>
              </a:solidFill>
            </a:endParaRPr>
          </a:p>
        </p:txBody>
      </p:sp>
      <p:sp>
        <p:nvSpPr>
          <p:cNvPr id="81" name="Foliennummernplatzhalter 3"/>
          <p:cNvSpPr>
            <a:spLocks noGrp="1"/>
          </p:cNvSpPr>
          <p:nvPr>
            <p:ph type="sldNum" sz="quarter" idx="69"/>
          </p:nvPr>
        </p:nvSpPr>
        <p:spPr>
          <a:xfrm>
            <a:off x="11800803" y="6552000"/>
            <a:ext cx="323999" cy="306000"/>
          </a:xfrm>
        </p:spPr>
        <p:txBody>
          <a:bodyPr/>
          <a:lstStyle/>
          <a:p>
            <a:fld id="{AD1D1349-391B-44DC-865F-5996B3E40F26}" type="slidenum">
              <a:rPr lang="de-DE" smtClean="0">
                <a:solidFill>
                  <a:prstClr val="white"/>
                </a:solidFill>
              </a:rPr>
              <a:pPr/>
              <a:t>‹#›</a:t>
            </a:fld>
            <a:endParaRPr lang="de-DE" dirty="0">
              <a:solidFill>
                <a:prstClr val="white"/>
              </a:solidFill>
            </a:endParaRPr>
          </a:p>
        </p:txBody>
      </p:sp>
    </p:spTree>
    <p:extLst>
      <p:ext uri="{BB962C8B-B14F-4D97-AF65-F5344CB8AC3E}">
        <p14:creationId xmlns:p14="http://schemas.microsoft.com/office/powerpoint/2010/main" val="34656680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6"/>
                                        </p:tgtEl>
                                        <p:attrNameLst>
                                          <p:attrName>style.visibility</p:attrName>
                                        </p:attrNameLst>
                                      </p:cBhvr>
                                      <p:to>
                                        <p:strVal val="visible"/>
                                      </p:to>
                                    </p:set>
                                    <p:animEffect transition="in" filter="fade">
                                      <p:cBhvr>
                                        <p:cTn id="11" dur="500"/>
                                        <p:tgtEl>
                                          <p:spTgt spid="5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79"/>
                                        </p:tgtEl>
                                        <p:attrNameLst>
                                          <p:attrName>style.visibility</p:attrName>
                                        </p:attrNameLst>
                                      </p:cBhvr>
                                      <p:to>
                                        <p:strVal val="visible"/>
                                      </p:to>
                                    </p:set>
                                    <p:animEffect transition="in" filter="fade">
                                      <p:cBhvr>
                                        <p:cTn id="16" dur="500"/>
                                        <p:tgtEl>
                                          <p:spTgt spid="79"/>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57"/>
                                        </p:tgtEl>
                                        <p:attrNameLst>
                                          <p:attrName>style.visibility</p:attrName>
                                        </p:attrNameLst>
                                      </p:cBhvr>
                                      <p:to>
                                        <p:strVal val="visible"/>
                                      </p:to>
                                    </p:set>
                                    <p:animEffect transition="in" filter="fade">
                                      <p:cBhvr>
                                        <p:cTn id="20" dur="500"/>
                                        <p:tgtEl>
                                          <p:spTgt spid="5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77"/>
                                        </p:tgtEl>
                                        <p:attrNameLst>
                                          <p:attrName>style.visibility</p:attrName>
                                        </p:attrNameLst>
                                      </p:cBhvr>
                                      <p:to>
                                        <p:strVal val="visible"/>
                                      </p:to>
                                    </p:set>
                                    <p:animEffect transition="in" filter="fade">
                                      <p:cBhvr>
                                        <p:cTn id="25" dur="500"/>
                                        <p:tgtEl>
                                          <p:spTgt spid="77"/>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52"/>
                                        </p:tgtEl>
                                        <p:attrNameLst>
                                          <p:attrName>style.visibility</p:attrName>
                                        </p:attrNameLst>
                                      </p:cBhvr>
                                      <p:to>
                                        <p:strVal val="visible"/>
                                      </p:to>
                                    </p:set>
                                    <p:animEffect transition="in" filter="fade">
                                      <p:cBhvr>
                                        <p:cTn id="29" dur="500"/>
                                        <p:tgtEl>
                                          <p:spTgt spid="5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73"/>
                                        </p:tgtEl>
                                        <p:attrNameLst>
                                          <p:attrName>style.visibility</p:attrName>
                                        </p:attrNameLst>
                                      </p:cBhvr>
                                      <p:to>
                                        <p:strVal val="visible"/>
                                      </p:to>
                                    </p:set>
                                    <p:animEffect transition="in" filter="fade">
                                      <p:cBhvr>
                                        <p:cTn id="34" dur="500"/>
                                        <p:tgtEl>
                                          <p:spTgt spid="73"/>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51"/>
                                        </p:tgtEl>
                                        <p:attrNameLst>
                                          <p:attrName>style.visibility</p:attrName>
                                        </p:attrNameLst>
                                      </p:cBhvr>
                                      <p:to>
                                        <p:strVal val="visible"/>
                                      </p:to>
                                    </p:set>
                                    <p:animEffect transition="in" filter="fade">
                                      <p:cBhvr>
                                        <p:cTn id="38" dur="500"/>
                                        <p:tgtEl>
                                          <p:spTgt spid="51"/>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74"/>
                                        </p:tgtEl>
                                        <p:attrNameLst>
                                          <p:attrName>style.visibility</p:attrName>
                                        </p:attrNameLst>
                                      </p:cBhvr>
                                      <p:to>
                                        <p:strVal val="visible"/>
                                      </p:to>
                                    </p:set>
                                    <p:animEffect transition="in" filter="fade">
                                      <p:cBhvr>
                                        <p:cTn id="43" dur="500"/>
                                        <p:tgtEl>
                                          <p:spTgt spid="74"/>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60"/>
                                        </p:tgtEl>
                                        <p:attrNameLst>
                                          <p:attrName>style.visibility</p:attrName>
                                        </p:attrNameLst>
                                      </p:cBhvr>
                                      <p:to>
                                        <p:strVal val="visible"/>
                                      </p:to>
                                    </p:set>
                                    <p:animEffect transition="in" filter="fade">
                                      <p:cBhvr>
                                        <p:cTn id="47" dur="500"/>
                                        <p:tgtEl>
                                          <p:spTgt spid="6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76"/>
                                        </p:tgtEl>
                                        <p:attrNameLst>
                                          <p:attrName>style.visibility</p:attrName>
                                        </p:attrNameLst>
                                      </p:cBhvr>
                                      <p:to>
                                        <p:strVal val="visible"/>
                                      </p:to>
                                    </p:set>
                                    <p:animEffect transition="in" filter="fade">
                                      <p:cBhvr>
                                        <p:cTn id="52" dur="500"/>
                                        <p:tgtEl>
                                          <p:spTgt spid="76"/>
                                        </p:tgtEl>
                                      </p:cBhvr>
                                    </p:animEffect>
                                  </p:childTnLst>
                                </p:cTn>
                              </p:par>
                            </p:childTnLst>
                          </p:cTn>
                        </p:par>
                        <p:par>
                          <p:cTn id="53" fill="hold">
                            <p:stCondLst>
                              <p:cond delay="500"/>
                            </p:stCondLst>
                            <p:childTnLst>
                              <p:par>
                                <p:cTn id="54" presetID="10" presetClass="entr" presetSubtype="0" fill="hold" grpId="0" nodeType="afterEffect">
                                  <p:stCondLst>
                                    <p:cond delay="0"/>
                                  </p:stCondLst>
                                  <p:childTnLst>
                                    <p:set>
                                      <p:cBhvr>
                                        <p:cTn id="55" dur="1" fill="hold">
                                          <p:stCondLst>
                                            <p:cond delay="0"/>
                                          </p:stCondLst>
                                        </p:cTn>
                                        <p:tgtEl>
                                          <p:spTgt spid="59"/>
                                        </p:tgtEl>
                                        <p:attrNameLst>
                                          <p:attrName>style.visibility</p:attrName>
                                        </p:attrNameLst>
                                      </p:cBhvr>
                                      <p:to>
                                        <p:strVal val="visible"/>
                                      </p:to>
                                    </p:set>
                                    <p:animEffect transition="in" filter="fade">
                                      <p:cBhvr>
                                        <p:cTn id="56" dur="500"/>
                                        <p:tgtEl>
                                          <p:spTgt spid="59"/>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78"/>
                                        </p:tgtEl>
                                        <p:attrNameLst>
                                          <p:attrName>style.visibility</p:attrName>
                                        </p:attrNameLst>
                                      </p:cBhvr>
                                      <p:to>
                                        <p:strVal val="visible"/>
                                      </p:to>
                                    </p:set>
                                    <p:animEffect transition="in" filter="fade">
                                      <p:cBhvr>
                                        <p:cTn id="61" dur="500"/>
                                        <p:tgtEl>
                                          <p:spTgt spid="78"/>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61"/>
                                        </p:tgtEl>
                                        <p:attrNameLst>
                                          <p:attrName>style.visibility</p:attrName>
                                        </p:attrNameLst>
                                      </p:cBhvr>
                                      <p:to>
                                        <p:strVal val="visible"/>
                                      </p:to>
                                    </p:set>
                                    <p:animEffect transition="in" filter="fade">
                                      <p:cBhvr>
                                        <p:cTn id="65" dur="500"/>
                                        <p:tgtEl>
                                          <p:spTgt spid="6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69"/>
                                        </p:tgtEl>
                                        <p:attrNameLst>
                                          <p:attrName>style.visibility</p:attrName>
                                        </p:attrNameLst>
                                      </p:cBhvr>
                                      <p:to>
                                        <p:strVal val="visible"/>
                                      </p:to>
                                    </p:set>
                                    <p:animEffect transition="in" filter="fade">
                                      <p:cBhvr>
                                        <p:cTn id="70" dur="500"/>
                                        <p:tgtEl>
                                          <p:spTgt spid="69"/>
                                        </p:tgtEl>
                                      </p:cBhvr>
                                    </p:animEffect>
                                  </p:childTnLst>
                                </p:cTn>
                              </p:par>
                            </p:childTnLst>
                          </p:cTn>
                        </p:par>
                        <p:par>
                          <p:cTn id="71" fill="hold">
                            <p:stCondLst>
                              <p:cond delay="500"/>
                            </p:stCondLst>
                            <p:childTnLst>
                              <p:par>
                                <p:cTn id="72" presetID="10" presetClass="entr" presetSubtype="0" fill="hold" grpId="0" nodeType="afterEffect">
                                  <p:stCondLst>
                                    <p:cond delay="0"/>
                                  </p:stCondLst>
                                  <p:childTnLst>
                                    <p:set>
                                      <p:cBhvr>
                                        <p:cTn id="73" dur="1" fill="hold">
                                          <p:stCondLst>
                                            <p:cond delay="0"/>
                                          </p:stCondLst>
                                        </p:cTn>
                                        <p:tgtEl>
                                          <p:spTgt spid="55"/>
                                        </p:tgtEl>
                                        <p:attrNameLst>
                                          <p:attrName>style.visibility</p:attrName>
                                        </p:attrNameLst>
                                      </p:cBhvr>
                                      <p:to>
                                        <p:strVal val="visible"/>
                                      </p:to>
                                    </p:set>
                                    <p:animEffect transition="in" filter="fade">
                                      <p:cBhvr>
                                        <p:cTn id="74" dur="500"/>
                                        <p:tgtEl>
                                          <p:spTgt spid="55"/>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68"/>
                                        </p:tgtEl>
                                        <p:attrNameLst>
                                          <p:attrName>style.visibility</p:attrName>
                                        </p:attrNameLst>
                                      </p:cBhvr>
                                      <p:to>
                                        <p:strVal val="visible"/>
                                      </p:to>
                                    </p:set>
                                    <p:animEffect transition="in" filter="fade">
                                      <p:cBhvr>
                                        <p:cTn id="79" dur="500"/>
                                        <p:tgtEl>
                                          <p:spTgt spid="68"/>
                                        </p:tgtEl>
                                      </p:cBhvr>
                                    </p:animEffect>
                                  </p:childTnLst>
                                </p:cTn>
                              </p:par>
                            </p:childTnLst>
                          </p:cTn>
                        </p:par>
                        <p:par>
                          <p:cTn id="80" fill="hold">
                            <p:stCondLst>
                              <p:cond delay="500"/>
                            </p:stCondLst>
                            <p:childTnLst>
                              <p:par>
                                <p:cTn id="81" presetID="10" presetClass="entr" presetSubtype="0" fill="hold" grpId="0" nodeType="afterEffect">
                                  <p:stCondLst>
                                    <p:cond delay="0"/>
                                  </p:stCondLst>
                                  <p:childTnLst>
                                    <p:set>
                                      <p:cBhvr>
                                        <p:cTn id="82" dur="1" fill="hold">
                                          <p:stCondLst>
                                            <p:cond delay="0"/>
                                          </p:stCondLst>
                                        </p:cTn>
                                        <p:tgtEl>
                                          <p:spTgt spid="58"/>
                                        </p:tgtEl>
                                        <p:attrNameLst>
                                          <p:attrName>style.visibility</p:attrName>
                                        </p:attrNameLst>
                                      </p:cBhvr>
                                      <p:to>
                                        <p:strVal val="visible"/>
                                      </p:to>
                                    </p:set>
                                    <p:animEffect transition="in" filter="fade">
                                      <p:cBhvr>
                                        <p:cTn id="83" dur="500"/>
                                        <p:tgtEl>
                                          <p:spTgt spid="58"/>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67"/>
                                        </p:tgtEl>
                                        <p:attrNameLst>
                                          <p:attrName>style.visibility</p:attrName>
                                        </p:attrNameLst>
                                      </p:cBhvr>
                                      <p:to>
                                        <p:strVal val="visible"/>
                                      </p:to>
                                    </p:set>
                                    <p:animEffect transition="in" filter="fade">
                                      <p:cBhvr>
                                        <p:cTn id="88" dur="500"/>
                                        <p:tgtEl>
                                          <p:spTgt spid="67"/>
                                        </p:tgtEl>
                                      </p:cBhvr>
                                    </p:animEffect>
                                  </p:childTnLst>
                                </p:cTn>
                              </p:par>
                            </p:childTnLst>
                          </p:cTn>
                        </p:par>
                        <p:par>
                          <p:cTn id="89" fill="hold">
                            <p:stCondLst>
                              <p:cond delay="500"/>
                            </p:stCondLst>
                            <p:childTnLst>
                              <p:par>
                                <p:cTn id="90" presetID="10" presetClass="entr" presetSubtype="0" fill="hold" grpId="0" nodeType="afterEffect">
                                  <p:stCondLst>
                                    <p:cond delay="0"/>
                                  </p:stCondLst>
                                  <p:childTnLst>
                                    <p:set>
                                      <p:cBhvr>
                                        <p:cTn id="91" dur="1" fill="hold">
                                          <p:stCondLst>
                                            <p:cond delay="0"/>
                                          </p:stCondLst>
                                        </p:cTn>
                                        <p:tgtEl>
                                          <p:spTgt spid="50"/>
                                        </p:tgtEl>
                                        <p:attrNameLst>
                                          <p:attrName>style.visibility</p:attrName>
                                        </p:attrNameLst>
                                      </p:cBhvr>
                                      <p:to>
                                        <p:strVal val="visible"/>
                                      </p:to>
                                    </p:set>
                                    <p:animEffect transition="in" filter="fade">
                                      <p:cBhvr>
                                        <p:cTn id="92" dur="500"/>
                                        <p:tgtEl>
                                          <p:spTgt spid="50"/>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72"/>
                                        </p:tgtEl>
                                        <p:attrNameLst>
                                          <p:attrName>style.visibility</p:attrName>
                                        </p:attrNameLst>
                                      </p:cBhvr>
                                      <p:to>
                                        <p:strVal val="visible"/>
                                      </p:to>
                                    </p:set>
                                    <p:animEffect transition="in" filter="fade">
                                      <p:cBhvr>
                                        <p:cTn id="97" dur="500"/>
                                        <p:tgtEl>
                                          <p:spTgt spid="72"/>
                                        </p:tgtEl>
                                      </p:cBhvr>
                                    </p:animEffect>
                                  </p:childTnLst>
                                </p:cTn>
                              </p:par>
                            </p:childTnLst>
                          </p:cTn>
                        </p:par>
                        <p:par>
                          <p:cTn id="98" fill="hold">
                            <p:stCondLst>
                              <p:cond delay="500"/>
                            </p:stCondLst>
                            <p:childTnLst>
                              <p:par>
                                <p:cTn id="99" presetID="10" presetClass="entr" presetSubtype="0" fill="hold" grpId="0" nodeType="afterEffect">
                                  <p:stCondLst>
                                    <p:cond delay="0"/>
                                  </p:stCondLst>
                                  <p:childTnLst>
                                    <p:set>
                                      <p:cBhvr>
                                        <p:cTn id="100" dur="1" fill="hold">
                                          <p:stCondLst>
                                            <p:cond delay="0"/>
                                          </p:stCondLst>
                                        </p:cTn>
                                        <p:tgtEl>
                                          <p:spTgt spid="54"/>
                                        </p:tgtEl>
                                        <p:attrNameLst>
                                          <p:attrName>style.visibility</p:attrName>
                                        </p:attrNameLst>
                                      </p:cBhvr>
                                      <p:to>
                                        <p:strVal val="visible"/>
                                      </p:to>
                                    </p:set>
                                    <p:animEffect transition="in" filter="fade">
                                      <p:cBhvr>
                                        <p:cTn id="101" dur="500"/>
                                        <p:tgtEl>
                                          <p:spTgt spid="54"/>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71"/>
                                        </p:tgtEl>
                                        <p:attrNameLst>
                                          <p:attrName>style.visibility</p:attrName>
                                        </p:attrNameLst>
                                      </p:cBhvr>
                                      <p:to>
                                        <p:strVal val="visible"/>
                                      </p:to>
                                    </p:set>
                                    <p:animEffect transition="in" filter="fade">
                                      <p:cBhvr>
                                        <p:cTn id="106" dur="500"/>
                                        <p:tgtEl>
                                          <p:spTgt spid="71"/>
                                        </p:tgtEl>
                                      </p:cBhvr>
                                    </p:animEffect>
                                  </p:childTnLst>
                                </p:cTn>
                              </p:par>
                            </p:childTnLst>
                          </p:cTn>
                        </p:par>
                        <p:par>
                          <p:cTn id="107" fill="hold">
                            <p:stCondLst>
                              <p:cond delay="500"/>
                            </p:stCondLst>
                            <p:childTnLst>
                              <p:par>
                                <p:cTn id="108" presetID="10" presetClass="entr" presetSubtype="0" fill="hold" grpId="0" nodeType="afterEffect">
                                  <p:stCondLst>
                                    <p:cond delay="0"/>
                                  </p:stCondLst>
                                  <p:childTnLst>
                                    <p:set>
                                      <p:cBhvr>
                                        <p:cTn id="109" dur="1" fill="hold">
                                          <p:stCondLst>
                                            <p:cond delay="0"/>
                                          </p:stCondLst>
                                        </p:cTn>
                                        <p:tgtEl>
                                          <p:spTgt spid="53"/>
                                        </p:tgtEl>
                                        <p:attrNameLst>
                                          <p:attrName>style.visibility</p:attrName>
                                        </p:attrNameLst>
                                      </p:cBhvr>
                                      <p:to>
                                        <p:strVal val="visible"/>
                                      </p:to>
                                    </p:set>
                                    <p:animEffect transition="in" filter="fade">
                                      <p:cBhvr>
                                        <p:cTn id="110"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tmplLst>
          <p:tmpl>
            <p:tnLst>
              <p:par>
                <p:cTn presetID="10" presetClass="entr" presetSubtype="0" fill="hold" nodeType="afterEffect">
                  <p:stCondLst>
                    <p:cond delay="0"/>
                  </p:stCondLst>
                  <p:childTnLst>
                    <p:set>
                      <p:cBhvr>
                        <p:cTn dur="1" fill="hold">
                          <p:stCondLst>
                            <p:cond delay="0"/>
                          </p:stCondLst>
                        </p:cTn>
                        <p:tgtEl>
                          <p:spTgt spid="50"/>
                        </p:tgtEl>
                        <p:attrNameLst>
                          <p:attrName>style.visibility</p:attrName>
                        </p:attrNameLst>
                      </p:cBhvr>
                      <p:to>
                        <p:strVal val="visible"/>
                      </p:to>
                    </p:set>
                    <p:animEffect transition="in" filter="fade">
                      <p:cBhvr>
                        <p:cTn dur="500"/>
                        <p:tgtEl>
                          <p:spTgt spid="50"/>
                        </p:tgtEl>
                      </p:cBhvr>
                    </p:animEffect>
                  </p:childTnLst>
                </p:cTn>
              </p:par>
            </p:tnLst>
          </p:tmpl>
        </p:tmplLst>
      </p:bldP>
      <p:bldP spid="51" grpId="0" animBg="1">
        <p:tmplLst>
          <p:tmpl>
            <p:tnLst>
              <p:par>
                <p:cTn presetID="10" presetClass="entr" presetSubtype="0" fill="hold" nodeType="afterEffect">
                  <p:stCondLst>
                    <p:cond delay="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P spid="52" grpId="0" animBg="1">
        <p:tmplLst>
          <p:tmpl>
            <p:tnLst>
              <p:par>
                <p:cTn presetID="10" presetClass="entr" presetSubtype="0" fill="hold" nodeType="afterEffect">
                  <p:stCondLst>
                    <p:cond delay="0"/>
                  </p:stCondLst>
                  <p:childTnLst>
                    <p:set>
                      <p:cBhvr>
                        <p:cTn dur="1" fill="hold">
                          <p:stCondLst>
                            <p:cond delay="0"/>
                          </p:stCondLst>
                        </p:cTn>
                        <p:tgtEl>
                          <p:spTgt spid="52"/>
                        </p:tgtEl>
                        <p:attrNameLst>
                          <p:attrName>style.visibility</p:attrName>
                        </p:attrNameLst>
                      </p:cBhvr>
                      <p:to>
                        <p:strVal val="visible"/>
                      </p:to>
                    </p:set>
                    <p:animEffect transition="in" filter="fade">
                      <p:cBhvr>
                        <p:cTn dur="500"/>
                        <p:tgtEl>
                          <p:spTgt spid="52"/>
                        </p:tgtEl>
                      </p:cBhvr>
                    </p:animEffect>
                  </p:childTnLst>
                </p:cTn>
              </p:par>
            </p:tnLst>
          </p:tmpl>
        </p:tmplLst>
      </p:bldP>
      <p:bldP spid="53" grpId="0" animBg="1">
        <p:tmplLst>
          <p:tmpl>
            <p:tnLst>
              <p:par>
                <p:cTn presetID="10" presetClass="entr" presetSubtype="0" fill="hold" nodeType="afterEffect">
                  <p:stCondLst>
                    <p:cond delay="0"/>
                  </p:stCondLst>
                  <p:childTnLst>
                    <p:set>
                      <p:cBhvr>
                        <p:cTn dur="1" fill="hold">
                          <p:stCondLst>
                            <p:cond delay="0"/>
                          </p:stCondLst>
                        </p:cTn>
                        <p:tgtEl>
                          <p:spTgt spid="53"/>
                        </p:tgtEl>
                        <p:attrNameLst>
                          <p:attrName>style.visibility</p:attrName>
                        </p:attrNameLst>
                      </p:cBhvr>
                      <p:to>
                        <p:strVal val="visible"/>
                      </p:to>
                    </p:set>
                    <p:animEffect transition="in" filter="fade">
                      <p:cBhvr>
                        <p:cTn dur="500"/>
                        <p:tgtEl>
                          <p:spTgt spid="53"/>
                        </p:tgtEl>
                      </p:cBhvr>
                    </p:animEffect>
                  </p:childTnLst>
                </p:cTn>
              </p:par>
            </p:tnLst>
          </p:tmpl>
        </p:tmplLst>
      </p:bldP>
      <p:bldP spid="54" grpId="0" animBg="1">
        <p:tmplLst>
          <p:tmpl>
            <p:tnLst>
              <p:par>
                <p:cTn presetID="10" presetClass="entr" presetSubtype="0" fill="hold" nodeType="afterEffect">
                  <p:stCondLst>
                    <p:cond delay="0"/>
                  </p:stCondLst>
                  <p:childTnLst>
                    <p:set>
                      <p:cBhvr>
                        <p:cTn dur="1" fill="hold">
                          <p:stCondLst>
                            <p:cond delay="0"/>
                          </p:stCondLst>
                        </p:cTn>
                        <p:tgtEl>
                          <p:spTgt spid="54"/>
                        </p:tgtEl>
                        <p:attrNameLst>
                          <p:attrName>style.visibility</p:attrName>
                        </p:attrNameLst>
                      </p:cBhvr>
                      <p:to>
                        <p:strVal val="visible"/>
                      </p:to>
                    </p:set>
                    <p:animEffect transition="in" filter="fade">
                      <p:cBhvr>
                        <p:cTn dur="500"/>
                        <p:tgtEl>
                          <p:spTgt spid="54"/>
                        </p:tgtEl>
                      </p:cBhvr>
                    </p:animEffect>
                  </p:childTnLst>
                </p:cTn>
              </p:par>
            </p:tnLst>
          </p:tmpl>
        </p:tmplLst>
      </p:bldP>
      <p:bldP spid="55" grpId="0" animBg="1">
        <p:tmplLst>
          <p:tmpl>
            <p:tnLst>
              <p:par>
                <p:cTn presetID="10" presetClass="entr" presetSubtype="0" fill="hold" nodeType="afterEffect">
                  <p:stCondLst>
                    <p:cond delay="0"/>
                  </p:stCondLst>
                  <p:childTnLst>
                    <p:set>
                      <p:cBhvr>
                        <p:cTn dur="1" fill="hold">
                          <p:stCondLst>
                            <p:cond delay="0"/>
                          </p:stCondLst>
                        </p:cTn>
                        <p:tgtEl>
                          <p:spTgt spid="55"/>
                        </p:tgtEl>
                        <p:attrNameLst>
                          <p:attrName>style.visibility</p:attrName>
                        </p:attrNameLst>
                      </p:cBhvr>
                      <p:to>
                        <p:strVal val="visible"/>
                      </p:to>
                    </p:set>
                    <p:animEffect transition="in" filter="fade">
                      <p:cBhvr>
                        <p:cTn dur="500"/>
                        <p:tgtEl>
                          <p:spTgt spid="55"/>
                        </p:tgtEl>
                      </p:cBhvr>
                    </p:animEffect>
                  </p:childTnLst>
                </p:cTn>
              </p:par>
            </p:tnLst>
          </p:tmpl>
        </p:tmplLst>
      </p:bldP>
      <p:bldP spid="56" grpId="0" animBg="1">
        <p:tmplLst>
          <p:tmpl>
            <p:tnLst>
              <p:par>
                <p:cTn presetID="10" presetClass="entr" presetSubtype="0" fill="hold" nodeType="afterEffect">
                  <p:stCondLst>
                    <p:cond delay="0"/>
                  </p:stCondLst>
                  <p:childTnLst>
                    <p:set>
                      <p:cBhvr>
                        <p:cTn dur="1" fill="hold">
                          <p:stCondLst>
                            <p:cond delay="0"/>
                          </p:stCondLst>
                        </p:cTn>
                        <p:tgtEl>
                          <p:spTgt spid="56"/>
                        </p:tgtEl>
                        <p:attrNameLst>
                          <p:attrName>style.visibility</p:attrName>
                        </p:attrNameLst>
                      </p:cBhvr>
                      <p:to>
                        <p:strVal val="visible"/>
                      </p:to>
                    </p:set>
                    <p:animEffect transition="in" filter="fade">
                      <p:cBhvr>
                        <p:cTn dur="500"/>
                        <p:tgtEl>
                          <p:spTgt spid="56"/>
                        </p:tgtEl>
                      </p:cBhvr>
                    </p:animEffect>
                  </p:childTnLst>
                </p:cTn>
              </p:par>
            </p:tnLst>
          </p:tmpl>
        </p:tmplLst>
      </p:bldP>
      <p:bldP spid="57" grpId="0" animBg="1">
        <p:tmplLst>
          <p:tmpl>
            <p:tnLst>
              <p:par>
                <p:cTn presetID="10" presetClass="entr" presetSubtype="0" fill="hold" nodeType="afterEffect">
                  <p:stCondLst>
                    <p:cond delay="0"/>
                  </p:stCondLst>
                  <p:childTnLst>
                    <p:set>
                      <p:cBhvr>
                        <p:cTn dur="1" fill="hold">
                          <p:stCondLst>
                            <p:cond delay="0"/>
                          </p:stCondLst>
                        </p:cTn>
                        <p:tgtEl>
                          <p:spTgt spid="57"/>
                        </p:tgtEl>
                        <p:attrNameLst>
                          <p:attrName>style.visibility</p:attrName>
                        </p:attrNameLst>
                      </p:cBhvr>
                      <p:to>
                        <p:strVal val="visible"/>
                      </p:to>
                    </p:set>
                    <p:animEffect transition="in" filter="fade">
                      <p:cBhvr>
                        <p:cTn dur="500"/>
                        <p:tgtEl>
                          <p:spTgt spid="57"/>
                        </p:tgtEl>
                      </p:cBhvr>
                    </p:animEffect>
                  </p:childTnLst>
                </p:cTn>
              </p:par>
            </p:tnLst>
          </p:tmpl>
        </p:tmplLst>
      </p:bldP>
      <p:bldP spid="58" grpId="0" animBg="1">
        <p:tmplLst>
          <p:tmpl>
            <p:tnLst>
              <p:par>
                <p:cTn presetID="10" presetClass="entr" presetSubtype="0" fill="hold" nodeType="afterEffect">
                  <p:stCondLst>
                    <p:cond delay="0"/>
                  </p:stCondLst>
                  <p:childTnLst>
                    <p:set>
                      <p:cBhvr>
                        <p:cTn dur="1" fill="hold">
                          <p:stCondLst>
                            <p:cond delay="0"/>
                          </p:stCondLst>
                        </p:cTn>
                        <p:tgtEl>
                          <p:spTgt spid="58"/>
                        </p:tgtEl>
                        <p:attrNameLst>
                          <p:attrName>style.visibility</p:attrName>
                        </p:attrNameLst>
                      </p:cBhvr>
                      <p:to>
                        <p:strVal val="visible"/>
                      </p:to>
                    </p:set>
                    <p:animEffect transition="in" filter="fade">
                      <p:cBhvr>
                        <p:cTn dur="500"/>
                        <p:tgtEl>
                          <p:spTgt spid="58"/>
                        </p:tgtEl>
                      </p:cBhvr>
                    </p:animEffect>
                  </p:childTnLst>
                </p:cTn>
              </p:par>
            </p:tnLst>
          </p:tmpl>
        </p:tmplLst>
      </p:bldP>
      <p:bldP spid="59" grpId="0" animBg="1">
        <p:tmplLst>
          <p:tmpl>
            <p:tnLst>
              <p:par>
                <p:cTn presetID="10" presetClass="entr" presetSubtype="0" fill="hold" nodeType="afterEffect">
                  <p:stCondLst>
                    <p:cond delay="0"/>
                  </p:stCondLst>
                  <p:childTnLst>
                    <p:set>
                      <p:cBhvr>
                        <p:cTn dur="1" fill="hold">
                          <p:stCondLst>
                            <p:cond delay="0"/>
                          </p:stCondLst>
                        </p:cTn>
                        <p:tgtEl>
                          <p:spTgt spid="59"/>
                        </p:tgtEl>
                        <p:attrNameLst>
                          <p:attrName>style.visibility</p:attrName>
                        </p:attrNameLst>
                      </p:cBhvr>
                      <p:to>
                        <p:strVal val="visible"/>
                      </p:to>
                    </p:set>
                    <p:animEffect transition="in" filter="fade">
                      <p:cBhvr>
                        <p:cTn dur="500"/>
                        <p:tgtEl>
                          <p:spTgt spid="59"/>
                        </p:tgtEl>
                      </p:cBhvr>
                    </p:animEffect>
                  </p:childTnLst>
                </p:cTn>
              </p:par>
            </p:tnLst>
          </p:tmpl>
        </p:tmplLst>
      </p:bldP>
      <p:bldP spid="60" grpId="0" animBg="1">
        <p:tmplLst>
          <p:tmpl>
            <p:tnLst>
              <p:par>
                <p:cTn presetID="10" presetClass="entr" presetSubtype="0" fill="hold" nodeType="afterEffect">
                  <p:stCondLst>
                    <p:cond delay="0"/>
                  </p:stCondLst>
                  <p:childTnLst>
                    <p:set>
                      <p:cBhvr>
                        <p:cTn dur="1" fill="hold">
                          <p:stCondLst>
                            <p:cond delay="0"/>
                          </p:stCondLst>
                        </p:cTn>
                        <p:tgtEl>
                          <p:spTgt spid="60"/>
                        </p:tgtEl>
                        <p:attrNameLst>
                          <p:attrName>style.visibility</p:attrName>
                        </p:attrNameLst>
                      </p:cBhvr>
                      <p:to>
                        <p:strVal val="visible"/>
                      </p:to>
                    </p:set>
                    <p:animEffect transition="in" filter="fade">
                      <p:cBhvr>
                        <p:cTn dur="500"/>
                        <p:tgtEl>
                          <p:spTgt spid="60"/>
                        </p:tgtEl>
                      </p:cBhvr>
                    </p:animEffect>
                  </p:childTnLst>
                </p:cTn>
              </p:par>
            </p:tnLst>
          </p:tmpl>
        </p:tmplLst>
      </p:bldP>
      <p:bldP spid="61" grpId="0" animBg="1">
        <p:tmplLst>
          <p:tmpl>
            <p:tnLst>
              <p:par>
                <p:cTn presetID="10" presetClass="entr" presetSubtype="0" fill="hold" nodeType="afterEffect">
                  <p:stCondLst>
                    <p:cond delay="0"/>
                  </p:stCondLst>
                  <p:childTnLst>
                    <p:set>
                      <p:cBhvr>
                        <p:cTn dur="1" fill="hold">
                          <p:stCondLst>
                            <p:cond delay="0"/>
                          </p:stCondLst>
                        </p:cTn>
                        <p:tgtEl>
                          <p:spTgt spid="61"/>
                        </p:tgtEl>
                        <p:attrNameLst>
                          <p:attrName>style.visibility</p:attrName>
                        </p:attrNameLst>
                      </p:cBhvr>
                      <p:to>
                        <p:strVal val="visible"/>
                      </p:to>
                    </p:set>
                    <p:animEffect transition="in" filter="fade">
                      <p:cBhvr>
                        <p:cTn dur="500"/>
                        <p:tgtEl>
                          <p:spTgt spid="61"/>
                        </p:tgtEl>
                      </p:cBhvr>
                    </p:animEffect>
                  </p:childTnLst>
                </p:cTn>
              </p:par>
            </p:tnLst>
          </p:tmpl>
        </p:tmplLst>
      </p:bldP>
      <p:bldP spid="67" grpId="0" animBg="1">
        <p:tmplLst>
          <p:tmpl>
            <p:tnLst>
              <p:par>
                <p:cTn presetID="10" presetClass="entr" presetSubtype="0" fill="hold" nodeType="clickEffect">
                  <p:stCondLst>
                    <p:cond delay="0"/>
                  </p:stCondLst>
                  <p:childTnLst>
                    <p:set>
                      <p:cBhvr>
                        <p:cTn dur="1" fill="hold">
                          <p:stCondLst>
                            <p:cond delay="0"/>
                          </p:stCondLst>
                        </p:cTn>
                        <p:tgtEl>
                          <p:spTgt spid="67"/>
                        </p:tgtEl>
                        <p:attrNameLst>
                          <p:attrName>style.visibility</p:attrName>
                        </p:attrNameLst>
                      </p:cBhvr>
                      <p:to>
                        <p:strVal val="visible"/>
                      </p:to>
                    </p:set>
                    <p:animEffect transition="in" filter="fade">
                      <p:cBhvr>
                        <p:cTn dur="500"/>
                        <p:tgtEl>
                          <p:spTgt spid="67"/>
                        </p:tgtEl>
                      </p:cBhvr>
                    </p:animEffect>
                  </p:childTnLst>
                </p:cTn>
              </p:par>
            </p:tnLst>
          </p:tmpl>
        </p:tmplLst>
      </p:bldP>
      <p:bldP spid="68" grpId="0" animBg="1">
        <p:tmplLst>
          <p:tmpl>
            <p:tnLst>
              <p:par>
                <p:cTn presetID="10" presetClass="entr" presetSubtype="0" fill="hold" nodeType="click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500"/>
                        <p:tgtEl>
                          <p:spTgt spid="68"/>
                        </p:tgtEl>
                      </p:cBhvr>
                    </p:animEffect>
                  </p:childTnLst>
                </p:cTn>
              </p:par>
            </p:tnLst>
          </p:tmpl>
        </p:tmplLst>
      </p:bldP>
      <p:bldP spid="69" grpId="0" animBg="1">
        <p:tmplLst>
          <p:tmpl>
            <p:tnLst>
              <p:par>
                <p:cTn presetID="10" presetClass="entr" presetSubtype="0" fill="hold" nodeType="clickEffect">
                  <p:stCondLst>
                    <p:cond delay="0"/>
                  </p:stCondLst>
                  <p:childTnLst>
                    <p:set>
                      <p:cBhvr>
                        <p:cTn dur="1" fill="hold">
                          <p:stCondLst>
                            <p:cond delay="0"/>
                          </p:stCondLst>
                        </p:cTn>
                        <p:tgtEl>
                          <p:spTgt spid="69"/>
                        </p:tgtEl>
                        <p:attrNameLst>
                          <p:attrName>style.visibility</p:attrName>
                        </p:attrNameLst>
                      </p:cBhvr>
                      <p:to>
                        <p:strVal val="visible"/>
                      </p:to>
                    </p:set>
                    <p:animEffect transition="in" filter="fade">
                      <p:cBhvr>
                        <p:cTn dur="500"/>
                        <p:tgtEl>
                          <p:spTgt spid="69"/>
                        </p:tgtEl>
                      </p:cBhvr>
                    </p:animEffect>
                  </p:childTnLst>
                </p:cTn>
              </p:par>
            </p:tnLst>
          </p:tmpl>
        </p:tmplLst>
      </p:bldP>
      <p:bldP spid="70" grpId="0" animBg="1">
        <p:tmplLst>
          <p:tmpl>
            <p:tnLst>
              <p:par>
                <p:cTn presetID="10" presetClass="entr" presetSubtype="0" fill="hold" nodeType="clickEffect">
                  <p:stCondLst>
                    <p:cond delay="0"/>
                  </p:stCondLst>
                  <p:childTnLst>
                    <p:set>
                      <p:cBhvr>
                        <p:cTn dur="1" fill="hold">
                          <p:stCondLst>
                            <p:cond delay="0"/>
                          </p:stCondLst>
                        </p:cTn>
                        <p:tgtEl>
                          <p:spTgt spid="70"/>
                        </p:tgtEl>
                        <p:attrNameLst>
                          <p:attrName>style.visibility</p:attrName>
                        </p:attrNameLst>
                      </p:cBhvr>
                      <p:to>
                        <p:strVal val="visible"/>
                      </p:to>
                    </p:set>
                    <p:animEffect transition="in" filter="fade">
                      <p:cBhvr>
                        <p:cTn dur="500"/>
                        <p:tgtEl>
                          <p:spTgt spid="70"/>
                        </p:tgtEl>
                      </p:cBhvr>
                    </p:animEffect>
                  </p:childTnLst>
                </p:cTn>
              </p:par>
            </p:tnLst>
          </p:tmpl>
        </p:tmplLst>
      </p:bldP>
      <p:bldP spid="71" grpId="0" animBg="1">
        <p:tmplLst>
          <p:tmpl>
            <p:tnLst>
              <p:par>
                <p:cTn presetID="10" presetClass="entr" presetSubtype="0" fill="hold" nodeType="clickEffect">
                  <p:stCondLst>
                    <p:cond delay="0"/>
                  </p:stCondLst>
                  <p:childTnLst>
                    <p:set>
                      <p:cBhvr>
                        <p:cTn dur="1" fill="hold">
                          <p:stCondLst>
                            <p:cond delay="0"/>
                          </p:stCondLst>
                        </p:cTn>
                        <p:tgtEl>
                          <p:spTgt spid="71"/>
                        </p:tgtEl>
                        <p:attrNameLst>
                          <p:attrName>style.visibility</p:attrName>
                        </p:attrNameLst>
                      </p:cBhvr>
                      <p:to>
                        <p:strVal val="visible"/>
                      </p:to>
                    </p:set>
                    <p:animEffect transition="in" filter="fade">
                      <p:cBhvr>
                        <p:cTn dur="500"/>
                        <p:tgtEl>
                          <p:spTgt spid="71"/>
                        </p:tgtEl>
                      </p:cBhvr>
                    </p:animEffect>
                  </p:childTnLst>
                </p:cTn>
              </p:par>
            </p:tnLst>
          </p:tmpl>
        </p:tmplLst>
      </p:bldP>
      <p:bldP spid="72" grpId="0" animBg="1">
        <p:tmplLst>
          <p:tmpl>
            <p:tnLst>
              <p:par>
                <p:cTn presetID="10" presetClass="entr" presetSubtype="0" fill="hold" nodeType="clickEffect">
                  <p:stCondLst>
                    <p:cond delay="0"/>
                  </p:stCondLst>
                  <p:childTnLst>
                    <p:set>
                      <p:cBhvr>
                        <p:cTn dur="1" fill="hold">
                          <p:stCondLst>
                            <p:cond delay="0"/>
                          </p:stCondLst>
                        </p:cTn>
                        <p:tgtEl>
                          <p:spTgt spid="72"/>
                        </p:tgtEl>
                        <p:attrNameLst>
                          <p:attrName>style.visibility</p:attrName>
                        </p:attrNameLst>
                      </p:cBhvr>
                      <p:to>
                        <p:strVal val="visible"/>
                      </p:to>
                    </p:set>
                    <p:animEffect transition="in" filter="fade">
                      <p:cBhvr>
                        <p:cTn dur="500"/>
                        <p:tgtEl>
                          <p:spTgt spid="72"/>
                        </p:tgtEl>
                      </p:cBhvr>
                    </p:animEffect>
                  </p:childTnLst>
                </p:cTn>
              </p:par>
            </p:tnLst>
          </p:tmpl>
        </p:tmplLst>
      </p:bldP>
      <p:bldP spid="73" grpId="0" animBg="1">
        <p:tmplLst>
          <p:tmpl>
            <p:tnLst>
              <p:par>
                <p:cTn presetID="10" presetClass="entr" presetSubtype="0" fill="hold" nodeType="clickEffect">
                  <p:stCondLst>
                    <p:cond delay="0"/>
                  </p:stCondLst>
                  <p:childTnLst>
                    <p:set>
                      <p:cBhvr>
                        <p:cTn dur="1" fill="hold">
                          <p:stCondLst>
                            <p:cond delay="0"/>
                          </p:stCondLst>
                        </p:cTn>
                        <p:tgtEl>
                          <p:spTgt spid="73"/>
                        </p:tgtEl>
                        <p:attrNameLst>
                          <p:attrName>style.visibility</p:attrName>
                        </p:attrNameLst>
                      </p:cBhvr>
                      <p:to>
                        <p:strVal val="visible"/>
                      </p:to>
                    </p:set>
                    <p:animEffect transition="in" filter="fade">
                      <p:cBhvr>
                        <p:cTn dur="500"/>
                        <p:tgtEl>
                          <p:spTgt spid="73"/>
                        </p:tgtEl>
                      </p:cBhvr>
                    </p:animEffect>
                  </p:childTnLst>
                </p:cTn>
              </p:par>
            </p:tnLst>
          </p:tmpl>
        </p:tmplLst>
      </p:bldP>
      <p:bldP spid="74" grpId="0" animBg="1">
        <p:tmplLst>
          <p:tmpl>
            <p:tnLst>
              <p:par>
                <p:cTn presetID="10" presetClass="entr" presetSubtype="0" fill="hold" nodeType="clickEffect">
                  <p:stCondLst>
                    <p:cond delay="0"/>
                  </p:stCondLst>
                  <p:childTnLst>
                    <p:set>
                      <p:cBhvr>
                        <p:cTn dur="1" fill="hold">
                          <p:stCondLst>
                            <p:cond delay="0"/>
                          </p:stCondLst>
                        </p:cTn>
                        <p:tgtEl>
                          <p:spTgt spid="74"/>
                        </p:tgtEl>
                        <p:attrNameLst>
                          <p:attrName>style.visibility</p:attrName>
                        </p:attrNameLst>
                      </p:cBhvr>
                      <p:to>
                        <p:strVal val="visible"/>
                      </p:to>
                    </p:set>
                    <p:animEffect transition="in" filter="fade">
                      <p:cBhvr>
                        <p:cTn dur="500"/>
                        <p:tgtEl>
                          <p:spTgt spid="74"/>
                        </p:tgtEl>
                      </p:cBhvr>
                    </p:animEffect>
                  </p:childTnLst>
                </p:cTn>
              </p:par>
            </p:tnLst>
          </p:tmpl>
        </p:tmplLst>
      </p:bldP>
      <p:bldP spid="76" grpId="0" animBg="1">
        <p:tmplLst>
          <p:tmpl>
            <p:tnLst>
              <p:par>
                <p:cTn presetID="10" presetClass="entr" presetSubtype="0" fill="hold" nodeType="clickEffect">
                  <p:stCondLst>
                    <p:cond delay="0"/>
                  </p:stCondLst>
                  <p:childTnLst>
                    <p:set>
                      <p:cBhvr>
                        <p:cTn dur="1" fill="hold">
                          <p:stCondLst>
                            <p:cond delay="0"/>
                          </p:stCondLst>
                        </p:cTn>
                        <p:tgtEl>
                          <p:spTgt spid="76"/>
                        </p:tgtEl>
                        <p:attrNameLst>
                          <p:attrName>style.visibility</p:attrName>
                        </p:attrNameLst>
                      </p:cBhvr>
                      <p:to>
                        <p:strVal val="visible"/>
                      </p:to>
                    </p:set>
                    <p:animEffect transition="in" filter="fade">
                      <p:cBhvr>
                        <p:cTn dur="500"/>
                        <p:tgtEl>
                          <p:spTgt spid="76"/>
                        </p:tgtEl>
                      </p:cBhvr>
                    </p:animEffect>
                  </p:childTnLst>
                </p:cTn>
              </p:par>
            </p:tnLst>
          </p:tmpl>
        </p:tmplLst>
      </p:bldP>
      <p:bldP spid="77" grpId="0" animBg="1">
        <p:tmplLst>
          <p:tmpl>
            <p:tnLst>
              <p:par>
                <p:cTn presetID="10" presetClass="entr" presetSubtype="0" fill="hold" nodeType="clickEffect">
                  <p:stCondLst>
                    <p:cond delay="0"/>
                  </p:stCondLst>
                  <p:childTnLst>
                    <p:set>
                      <p:cBhvr>
                        <p:cTn dur="1" fill="hold">
                          <p:stCondLst>
                            <p:cond delay="0"/>
                          </p:stCondLst>
                        </p:cTn>
                        <p:tgtEl>
                          <p:spTgt spid="77"/>
                        </p:tgtEl>
                        <p:attrNameLst>
                          <p:attrName>style.visibility</p:attrName>
                        </p:attrNameLst>
                      </p:cBhvr>
                      <p:to>
                        <p:strVal val="visible"/>
                      </p:to>
                    </p:set>
                    <p:animEffect transition="in" filter="fade">
                      <p:cBhvr>
                        <p:cTn dur="500"/>
                        <p:tgtEl>
                          <p:spTgt spid="77"/>
                        </p:tgtEl>
                      </p:cBhvr>
                    </p:animEffect>
                  </p:childTnLst>
                </p:cTn>
              </p:par>
            </p:tnLst>
          </p:tmpl>
        </p:tmplLst>
      </p:bldP>
      <p:bldP spid="78" grpId="0" animBg="1">
        <p:tmplLst>
          <p:tmpl>
            <p:tnLst>
              <p:par>
                <p:cTn presetID="10" presetClass="entr" presetSubtype="0" fill="hold" nodeType="clickEffect">
                  <p:stCondLst>
                    <p:cond delay="0"/>
                  </p:stCondLst>
                  <p:childTnLst>
                    <p:set>
                      <p:cBhvr>
                        <p:cTn dur="1" fill="hold">
                          <p:stCondLst>
                            <p:cond delay="0"/>
                          </p:stCondLst>
                        </p:cTn>
                        <p:tgtEl>
                          <p:spTgt spid="78"/>
                        </p:tgtEl>
                        <p:attrNameLst>
                          <p:attrName>style.visibility</p:attrName>
                        </p:attrNameLst>
                      </p:cBhvr>
                      <p:to>
                        <p:strVal val="visible"/>
                      </p:to>
                    </p:set>
                    <p:animEffect transition="in" filter="fade">
                      <p:cBhvr>
                        <p:cTn dur="500"/>
                        <p:tgtEl>
                          <p:spTgt spid="78"/>
                        </p:tgtEl>
                      </p:cBhvr>
                    </p:animEffect>
                  </p:childTnLst>
                </p:cTn>
              </p:par>
            </p:tnLst>
          </p:tmpl>
        </p:tmplLst>
      </p:bldP>
      <p:bldP spid="79" grpId="0" animBg="1">
        <p:tmplLst>
          <p:tmpl>
            <p:tnLst>
              <p:par>
                <p:cTn presetID="10" presetClass="entr" presetSubtype="0" fill="hold" nodeType="clickEffect">
                  <p:stCondLst>
                    <p:cond delay="0"/>
                  </p:stCondLst>
                  <p:childTnLst>
                    <p:set>
                      <p:cBhvr>
                        <p:cTn dur="1" fill="hold">
                          <p:stCondLst>
                            <p:cond delay="0"/>
                          </p:stCondLst>
                        </p:cTn>
                        <p:tgtEl>
                          <p:spTgt spid="79"/>
                        </p:tgtEl>
                        <p:attrNameLst>
                          <p:attrName>style.visibility</p:attrName>
                        </p:attrNameLst>
                      </p:cBhvr>
                      <p:to>
                        <p:strVal val="visible"/>
                      </p:to>
                    </p:set>
                    <p:animEffect transition="in" filter="fade">
                      <p:cBhvr>
                        <p:cTn dur="500"/>
                        <p:tgtEl>
                          <p:spTgt spid="79"/>
                        </p:tgtEl>
                      </p:cBhvr>
                    </p:animEffect>
                  </p:childTnLst>
                </p:cTn>
              </p:par>
            </p:tnLst>
          </p:tmpl>
        </p:tmplLst>
      </p:bldP>
    </p:bld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sp>
        <p:nvSpPr>
          <p:cNvPr id="28" name="Textplatzhalter 3"/>
          <p:cNvSpPr>
            <a:spLocks noGrp="1"/>
          </p:cNvSpPr>
          <p:nvPr>
            <p:ph type="body" sz="quarter" idx="32" hasCustomPrompt="1"/>
          </p:nvPr>
        </p:nvSpPr>
        <p:spPr bwMode="gray">
          <a:xfrm>
            <a:off x="396000" y="3851886"/>
            <a:ext cx="3754800" cy="396000"/>
          </a:xfrm>
          <a:solidFill>
            <a:schemeClr val="accent1"/>
          </a:solidFill>
        </p:spPr>
        <p:txBody>
          <a:bodyPr lIns="107963" tIns="35987" rIns="107963" bIns="35987" anchor="ctr" anchorCtr="0"/>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de-DE" noProof="0" dirty="0" smtClean="0"/>
              <a:t>Highlight in CorpoS in 20 pt. </a:t>
            </a:r>
          </a:p>
        </p:txBody>
      </p:sp>
      <p:sp>
        <p:nvSpPr>
          <p:cNvPr id="29" name="Textplatzhalter 3"/>
          <p:cNvSpPr>
            <a:spLocks noGrp="1"/>
          </p:cNvSpPr>
          <p:nvPr>
            <p:ph type="body" sz="quarter" idx="33" hasCustomPrompt="1"/>
          </p:nvPr>
        </p:nvSpPr>
        <p:spPr bwMode="gray">
          <a:xfrm>
            <a:off x="396000" y="3383769"/>
            <a:ext cx="3754800" cy="396000"/>
          </a:xfrm>
          <a:solidFill>
            <a:schemeClr val="accent1"/>
          </a:solidFill>
        </p:spPr>
        <p:txBody>
          <a:bodyPr lIns="107963" tIns="35987" rIns="107963" bIns="35987" anchor="ctr" anchorCtr="0"/>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de-DE" noProof="0" dirty="0" smtClean="0"/>
              <a:t>Highlight in CorpoS in 20 pt. </a:t>
            </a:r>
          </a:p>
        </p:txBody>
      </p:sp>
      <p:sp>
        <p:nvSpPr>
          <p:cNvPr id="30" name="Titel 1"/>
          <p:cNvSpPr>
            <a:spLocks noGrp="1"/>
          </p:cNvSpPr>
          <p:nvPr>
            <p:ph type="title" hasCustomPrompt="1"/>
          </p:nvPr>
        </p:nvSpPr>
        <p:spPr>
          <a:xfrm>
            <a:off x="395289" y="368302"/>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31" name="Textplatzhalter 7"/>
          <p:cNvSpPr>
            <a:spLocks noGrp="1"/>
          </p:cNvSpPr>
          <p:nvPr>
            <p:ph type="body" sz="quarter" idx="13" hasCustomPrompt="1"/>
          </p:nvPr>
        </p:nvSpPr>
        <p:spPr>
          <a:xfrm>
            <a:off x="395289"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
        <p:nvSpPr>
          <p:cNvPr id="32" name="Textplatzhalter 3"/>
          <p:cNvSpPr>
            <a:spLocks noGrp="1"/>
          </p:cNvSpPr>
          <p:nvPr>
            <p:ph type="body" sz="quarter" idx="25"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33" name="Textplatzhalter 3"/>
          <p:cNvSpPr>
            <a:spLocks noGrp="1"/>
          </p:cNvSpPr>
          <p:nvPr>
            <p:ph type="body" sz="quarter" idx="26"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34" name="Textplatzhalter 3"/>
          <p:cNvSpPr>
            <a:spLocks noGrp="1"/>
          </p:cNvSpPr>
          <p:nvPr>
            <p:ph type="body" sz="quarter" idx="27"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35" name="Textplatzhalter 3"/>
          <p:cNvSpPr>
            <a:spLocks noGrp="1"/>
          </p:cNvSpPr>
          <p:nvPr>
            <p:ph type="body" sz="quarter" idx="19" hasCustomPrompt="1"/>
          </p:nvPr>
        </p:nvSpPr>
        <p:spPr bwMode="gray">
          <a:xfrm>
            <a:off x="396000" y="1511301"/>
            <a:ext cx="3754800" cy="396000"/>
          </a:xfrm>
          <a:solidFill>
            <a:schemeClr val="accent1"/>
          </a:solidFill>
        </p:spPr>
        <p:txBody>
          <a:bodyPr lIns="107963" tIns="35987" rIns="107963" bIns="35987" anchor="ctr" anchorCtr="0"/>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de-DE" noProof="0" dirty="0" smtClean="0"/>
              <a:t>Highlight in CorpoS in 20 pt. </a:t>
            </a:r>
          </a:p>
        </p:txBody>
      </p:sp>
      <p:sp>
        <p:nvSpPr>
          <p:cNvPr id="36" name="Textplatzhalter 3"/>
          <p:cNvSpPr>
            <a:spLocks noGrp="1"/>
          </p:cNvSpPr>
          <p:nvPr>
            <p:ph type="body" sz="quarter" idx="28" hasCustomPrompt="1"/>
          </p:nvPr>
        </p:nvSpPr>
        <p:spPr bwMode="gray">
          <a:xfrm>
            <a:off x="396000" y="1980001"/>
            <a:ext cx="3754800" cy="396000"/>
          </a:xfrm>
          <a:solidFill>
            <a:schemeClr val="accent1"/>
          </a:solidFill>
        </p:spPr>
        <p:txBody>
          <a:bodyPr lIns="107963" tIns="35987" rIns="107963" bIns="35987" anchor="ctr" anchorCtr="0"/>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de-DE" noProof="0" dirty="0" smtClean="0"/>
              <a:t>Highlight in CorpoS in 20 pt. </a:t>
            </a:r>
          </a:p>
        </p:txBody>
      </p:sp>
      <p:sp>
        <p:nvSpPr>
          <p:cNvPr id="37" name="Textplatzhalter 3"/>
          <p:cNvSpPr>
            <a:spLocks noGrp="1"/>
          </p:cNvSpPr>
          <p:nvPr>
            <p:ph type="body" sz="quarter" idx="29" hasCustomPrompt="1"/>
          </p:nvPr>
        </p:nvSpPr>
        <p:spPr bwMode="gray">
          <a:xfrm>
            <a:off x="396000" y="2915651"/>
            <a:ext cx="3754800" cy="396000"/>
          </a:xfrm>
          <a:solidFill>
            <a:schemeClr val="accent1"/>
          </a:solidFill>
        </p:spPr>
        <p:txBody>
          <a:bodyPr lIns="107963" tIns="35987" rIns="107963" bIns="35987" anchor="ctr" anchorCtr="0"/>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de-DE" noProof="0" dirty="0" smtClean="0"/>
              <a:t>Highlight in CorpoS in 20 pt. </a:t>
            </a:r>
          </a:p>
        </p:txBody>
      </p:sp>
      <p:sp>
        <p:nvSpPr>
          <p:cNvPr id="38" name="Textplatzhalter 3"/>
          <p:cNvSpPr>
            <a:spLocks noGrp="1"/>
          </p:cNvSpPr>
          <p:nvPr>
            <p:ph type="body" sz="quarter" idx="30" hasCustomPrompt="1"/>
          </p:nvPr>
        </p:nvSpPr>
        <p:spPr bwMode="gray">
          <a:xfrm>
            <a:off x="396000" y="4320000"/>
            <a:ext cx="3754800" cy="396000"/>
          </a:xfrm>
          <a:solidFill>
            <a:schemeClr val="accent1"/>
          </a:solidFill>
        </p:spPr>
        <p:txBody>
          <a:bodyPr lIns="107963" tIns="35987" rIns="107963" bIns="35987" anchor="ctr" anchorCtr="0"/>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de-DE" noProof="0" dirty="0" smtClean="0"/>
              <a:t>Highlight in CorpoS in 20 pt. </a:t>
            </a:r>
          </a:p>
        </p:txBody>
      </p:sp>
      <p:sp>
        <p:nvSpPr>
          <p:cNvPr id="39" name="Textplatzhalter 3"/>
          <p:cNvSpPr>
            <a:spLocks noGrp="1"/>
          </p:cNvSpPr>
          <p:nvPr>
            <p:ph type="body" sz="quarter" idx="31" hasCustomPrompt="1"/>
          </p:nvPr>
        </p:nvSpPr>
        <p:spPr bwMode="gray">
          <a:xfrm>
            <a:off x="396000" y="2447534"/>
            <a:ext cx="3754800" cy="396000"/>
          </a:xfrm>
          <a:solidFill>
            <a:schemeClr val="accent1"/>
          </a:solidFill>
        </p:spPr>
        <p:txBody>
          <a:bodyPr lIns="107963" tIns="35987" rIns="107963" bIns="35987" anchor="ctr" anchorCtr="0"/>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de-DE" noProof="0" dirty="0" smtClean="0"/>
              <a:t>Highlight in CorpoS in 20 pt. </a:t>
            </a:r>
          </a:p>
        </p:txBody>
      </p:sp>
      <p:sp>
        <p:nvSpPr>
          <p:cNvPr id="40" name="Bildplatzhalter 8"/>
          <p:cNvSpPr>
            <a:spLocks noGrp="1"/>
          </p:cNvSpPr>
          <p:nvPr>
            <p:ph type="pic" sz="quarter" idx="10" hasCustomPrompt="1"/>
          </p:nvPr>
        </p:nvSpPr>
        <p:spPr bwMode="gray">
          <a:xfrm>
            <a:off x="4222802" y="1511300"/>
            <a:ext cx="7578675" cy="32047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1" name="Fußzeilenplatzhalter 2"/>
          <p:cNvSpPr>
            <a:spLocks noGrp="1"/>
          </p:cNvSpPr>
          <p:nvPr>
            <p:ph type="ftr" sz="quarter" idx="34"/>
          </p:nvPr>
        </p:nvSpPr>
        <p:spPr>
          <a:xfrm>
            <a:off x="3578400" y="6552000"/>
            <a:ext cx="7848000" cy="306000"/>
          </a:xfrm>
        </p:spPr>
        <p:txBody>
          <a:bodyPr/>
          <a:lstStyle/>
          <a:p>
            <a:r>
              <a:rPr lang="de-DE" dirty="0" smtClean="0">
                <a:solidFill>
                  <a:prstClr val="white"/>
                </a:solidFill>
              </a:rPr>
              <a:t>Titel der Präsentation in CorpoS (Textkörper) 10pt | Abteilung | Datum</a:t>
            </a:r>
            <a:endParaRPr lang="de-DE" dirty="0">
              <a:solidFill>
                <a:prstClr val="white"/>
              </a:solidFill>
            </a:endParaRPr>
          </a:p>
        </p:txBody>
      </p:sp>
      <p:sp>
        <p:nvSpPr>
          <p:cNvPr id="42" name="Foliennummernplatzhalter 6"/>
          <p:cNvSpPr>
            <a:spLocks noGrp="1"/>
          </p:cNvSpPr>
          <p:nvPr>
            <p:ph type="sldNum" sz="quarter" idx="35"/>
          </p:nvPr>
        </p:nvSpPr>
        <p:spPr>
          <a:xfrm>
            <a:off x="11800803" y="6552000"/>
            <a:ext cx="323999" cy="306000"/>
          </a:xfrm>
        </p:spPr>
        <p:txBody>
          <a:bodyPr/>
          <a:lstStyle/>
          <a:p>
            <a:fld id="{AD1D1349-391B-44DC-865F-5996B3E40F26}" type="slidenum">
              <a:rPr lang="de-DE" smtClean="0">
                <a:solidFill>
                  <a:prstClr val="white"/>
                </a:solidFill>
              </a:rPr>
              <a:pPr/>
              <a:t>‹#›</a:t>
            </a:fld>
            <a:endParaRPr lang="de-DE" dirty="0">
              <a:solidFill>
                <a:prstClr val="white"/>
              </a:solidFill>
            </a:endParaRPr>
          </a:p>
        </p:txBody>
      </p:sp>
    </p:spTree>
    <p:extLst>
      <p:ext uri="{BB962C8B-B14F-4D97-AF65-F5344CB8AC3E}">
        <p14:creationId xmlns:p14="http://schemas.microsoft.com/office/powerpoint/2010/main" val="2525962392"/>
      </p:ext>
    </p:extLst>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6 Bilder mit Beschriftung">
    <p:spTree>
      <p:nvGrpSpPr>
        <p:cNvPr id="1" name=""/>
        <p:cNvGrpSpPr/>
        <p:nvPr/>
      </p:nvGrpSpPr>
      <p:grpSpPr>
        <a:xfrm>
          <a:off x="0" y="0"/>
          <a:ext cx="0" cy="0"/>
          <a:chOff x="0" y="0"/>
          <a:chExt cx="0" cy="0"/>
        </a:xfrm>
      </p:grpSpPr>
      <p:sp>
        <p:nvSpPr>
          <p:cNvPr id="36" name="Titel 1"/>
          <p:cNvSpPr>
            <a:spLocks noGrp="1"/>
          </p:cNvSpPr>
          <p:nvPr>
            <p:ph type="title" hasCustomPrompt="1"/>
          </p:nvPr>
        </p:nvSpPr>
        <p:spPr>
          <a:xfrm>
            <a:off x="395289" y="368302"/>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37" name="Textplatzhalter 7"/>
          <p:cNvSpPr>
            <a:spLocks noGrp="1"/>
          </p:cNvSpPr>
          <p:nvPr>
            <p:ph type="body" sz="quarter" idx="13" hasCustomPrompt="1"/>
          </p:nvPr>
        </p:nvSpPr>
        <p:spPr>
          <a:xfrm>
            <a:off x="395289"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
        <p:nvSpPr>
          <p:cNvPr id="38" name="Bildplatzhalter 8"/>
          <p:cNvSpPr>
            <a:spLocks noGrp="1"/>
          </p:cNvSpPr>
          <p:nvPr>
            <p:ph type="pic" sz="quarter" idx="10" hasCustomPrompt="1"/>
          </p:nvPr>
        </p:nvSpPr>
        <p:spPr bwMode="gray">
          <a:xfrm>
            <a:off x="396000" y="1512000"/>
            <a:ext cx="37548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39" name="Bildplatzhalter 8"/>
          <p:cNvSpPr>
            <a:spLocks noGrp="1"/>
          </p:cNvSpPr>
          <p:nvPr>
            <p:ph type="pic" sz="quarter" idx="11" hasCustomPrompt="1"/>
          </p:nvPr>
        </p:nvSpPr>
        <p:spPr bwMode="gray">
          <a:xfrm>
            <a:off x="396000" y="4044227"/>
            <a:ext cx="37548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0" name="Bildplatzhalter 8"/>
          <p:cNvSpPr>
            <a:spLocks noGrp="1"/>
          </p:cNvSpPr>
          <p:nvPr>
            <p:ph type="pic" sz="quarter" idx="12" hasCustomPrompt="1"/>
          </p:nvPr>
        </p:nvSpPr>
        <p:spPr bwMode="gray">
          <a:xfrm>
            <a:off x="8046676" y="1512000"/>
            <a:ext cx="37548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1" name="Bildplatzhalter 8"/>
          <p:cNvSpPr>
            <a:spLocks noGrp="1"/>
          </p:cNvSpPr>
          <p:nvPr>
            <p:ph type="pic" sz="quarter" idx="17" hasCustomPrompt="1"/>
          </p:nvPr>
        </p:nvSpPr>
        <p:spPr bwMode="gray">
          <a:xfrm>
            <a:off x="8046676" y="4044227"/>
            <a:ext cx="37548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2" name="Bildplatzhalter 8"/>
          <p:cNvSpPr>
            <a:spLocks noGrp="1"/>
          </p:cNvSpPr>
          <p:nvPr>
            <p:ph type="pic" sz="quarter" idx="14" hasCustomPrompt="1"/>
          </p:nvPr>
        </p:nvSpPr>
        <p:spPr bwMode="gray">
          <a:xfrm>
            <a:off x="4221337" y="1512000"/>
            <a:ext cx="37548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3" name="Bildplatzhalter 8"/>
          <p:cNvSpPr>
            <a:spLocks noGrp="1"/>
          </p:cNvSpPr>
          <p:nvPr>
            <p:ph type="pic" sz="quarter" idx="18" hasCustomPrompt="1"/>
          </p:nvPr>
        </p:nvSpPr>
        <p:spPr bwMode="gray">
          <a:xfrm>
            <a:off x="4221337" y="4044227"/>
            <a:ext cx="37548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4" name="Textplatzhalter 3"/>
          <p:cNvSpPr>
            <a:spLocks noGrp="1"/>
          </p:cNvSpPr>
          <p:nvPr>
            <p:ph type="body" sz="quarter" idx="19" hasCustomPrompt="1"/>
          </p:nvPr>
        </p:nvSpPr>
        <p:spPr>
          <a:xfrm>
            <a:off x="395999" y="3501250"/>
            <a:ext cx="3754800" cy="324000"/>
          </a:xfrm>
        </p:spPr>
        <p:txBody>
          <a:bodyPr/>
          <a:lstStyle>
            <a:lvl1pPr marL="0" indent="0">
              <a:lnSpc>
                <a:spcPct val="100000"/>
              </a:lnSpc>
              <a:spcAft>
                <a:spcPts val="0"/>
              </a:spcAft>
              <a:buFont typeface="Arial" panose="020B0604020202020204" pitchFamily="34" charset="0"/>
              <a:buNone/>
              <a:defRPr sz="1500" baseline="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de-DE" noProof="0" dirty="0" smtClean="0"/>
              <a:t>Bildunterschrift in CorpoS 15 pt.</a:t>
            </a:r>
          </a:p>
        </p:txBody>
      </p:sp>
      <p:sp>
        <p:nvSpPr>
          <p:cNvPr id="45" name="Textplatzhalter 3"/>
          <p:cNvSpPr>
            <a:spLocks noGrp="1"/>
          </p:cNvSpPr>
          <p:nvPr>
            <p:ph type="body" sz="quarter" idx="20" hasCustomPrompt="1"/>
          </p:nvPr>
        </p:nvSpPr>
        <p:spPr>
          <a:xfrm>
            <a:off x="396001" y="6030982"/>
            <a:ext cx="3754800" cy="324000"/>
          </a:xfrm>
        </p:spPr>
        <p:txBody>
          <a:bodyPr/>
          <a:lstStyle>
            <a:lvl1pPr marL="0" indent="0">
              <a:lnSpc>
                <a:spcPct val="100000"/>
              </a:lnSpc>
              <a:spcAft>
                <a:spcPts val="0"/>
              </a:spcAft>
              <a:buFont typeface="Arial" panose="020B0604020202020204" pitchFamily="34" charset="0"/>
              <a:buNone/>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de-DE" noProof="0" dirty="0" smtClean="0"/>
              <a:t>Bildunterschrift in CorpoS 15 pt.</a:t>
            </a:r>
          </a:p>
        </p:txBody>
      </p:sp>
      <p:sp>
        <p:nvSpPr>
          <p:cNvPr id="46" name="Textplatzhalter 3"/>
          <p:cNvSpPr>
            <a:spLocks noGrp="1"/>
          </p:cNvSpPr>
          <p:nvPr>
            <p:ph type="body" sz="quarter" idx="21" hasCustomPrompt="1"/>
          </p:nvPr>
        </p:nvSpPr>
        <p:spPr>
          <a:xfrm>
            <a:off x="4221337" y="3501250"/>
            <a:ext cx="3754800" cy="324000"/>
          </a:xfrm>
        </p:spPr>
        <p:txBody>
          <a:bodyPr/>
          <a:lstStyle>
            <a:lvl1pPr marL="0" marR="0" indent="0" algn="l" defTabSz="914089" rtl="0" eaLnBrk="1" fontAlgn="auto" latinLnBrk="0" hangingPunct="1">
              <a:lnSpc>
                <a:spcPct val="100000"/>
              </a:lnSpc>
              <a:spcBef>
                <a:spcPts val="0"/>
              </a:spcBef>
              <a:spcAft>
                <a:spcPts val="0"/>
              </a:spcAft>
              <a:buClrTx/>
              <a:buSzTx/>
              <a:buFont typeface="Arial" panose="020B0604020202020204" pitchFamily="34" charset="0"/>
              <a:buNone/>
              <a:tabLst/>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de-DE" noProof="0" dirty="0" smtClean="0"/>
              <a:t>Bildunterschrift in CorpoS 15 pt.</a:t>
            </a:r>
          </a:p>
        </p:txBody>
      </p:sp>
      <p:sp>
        <p:nvSpPr>
          <p:cNvPr id="47" name="Textplatzhalter 3"/>
          <p:cNvSpPr>
            <a:spLocks noGrp="1"/>
          </p:cNvSpPr>
          <p:nvPr>
            <p:ph type="body" sz="quarter" idx="22" hasCustomPrompt="1"/>
          </p:nvPr>
        </p:nvSpPr>
        <p:spPr>
          <a:xfrm>
            <a:off x="8046676" y="3501250"/>
            <a:ext cx="3754800" cy="324000"/>
          </a:xfrm>
        </p:spPr>
        <p:txBody>
          <a:bodyPr/>
          <a:lstStyle>
            <a:lvl1pPr marL="0" marR="0" indent="0" algn="l" defTabSz="914089" rtl="0" eaLnBrk="1" fontAlgn="auto" latinLnBrk="0" hangingPunct="1">
              <a:lnSpc>
                <a:spcPct val="100000"/>
              </a:lnSpc>
              <a:spcBef>
                <a:spcPts val="0"/>
              </a:spcBef>
              <a:spcAft>
                <a:spcPts val="0"/>
              </a:spcAft>
              <a:buClrTx/>
              <a:buSzTx/>
              <a:buFont typeface="Arial" panose="020B0604020202020204" pitchFamily="34" charset="0"/>
              <a:buNone/>
              <a:tabLst/>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de-DE" noProof="0" dirty="0" smtClean="0"/>
              <a:t>Bildunterschrift in CorpoS 15 pt.</a:t>
            </a:r>
          </a:p>
        </p:txBody>
      </p:sp>
      <p:sp>
        <p:nvSpPr>
          <p:cNvPr id="48" name="Textplatzhalter 3"/>
          <p:cNvSpPr>
            <a:spLocks noGrp="1"/>
          </p:cNvSpPr>
          <p:nvPr>
            <p:ph type="body" sz="quarter" idx="23" hasCustomPrompt="1"/>
          </p:nvPr>
        </p:nvSpPr>
        <p:spPr>
          <a:xfrm>
            <a:off x="4221338" y="6030982"/>
            <a:ext cx="3754800" cy="324000"/>
          </a:xfrm>
        </p:spPr>
        <p:txBody>
          <a:bodyPr/>
          <a:lstStyle>
            <a:lvl1pPr marL="0" indent="0">
              <a:lnSpc>
                <a:spcPct val="100000"/>
              </a:lnSpc>
              <a:spcAft>
                <a:spcPts val="0"/>
              </a:spcAft>
              <a:buFont typeface="Arial" panose="020B0604020202020204" pitchFamily="34" charset="0"/>
              <a:buNone/>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de-DE" noProof="0" dirty="0" smtClean="0"/>
              <a:t>Bildunterschrift in CorpoS 15 pt.</a:t>
            </a:r>
          </a:p>
        </p:txBody>
      </p:sp>
      <p:sp>
        <p:nvSpPr>
          <p:cNvPr id="49" name="Textplatzhalter 3"/>
          <p:cNvSpPr>
            <a:spLocks noGrp="1"/>
          </p:cNvSpPr>
          <p:nvPr>
            <p:ph type="body" sz="quarter" idx="24" hasCustomPrompt="1"/>
          </p:nvPr>
        </p:nvSpPr>
        <p:spPr>
          <a:xfrm>
            <a:off x="8046676" y="6030982"/>
            <a:ext cx="3754800" cy="324000"/>
          </a:xfrm>
        </p:spPr>
        <p:txBody>
          <a:bodyPr/>
          <a:lstStyle>
            <a:lvl1pPr marL="0" indent="0">
              <a:lnSpc>
                <a:spcPct val="100000"/>
              </a:lnSpc>
              <a:spcAft>
                <a:spcPts val="0"/>
              </a:spcAft>
              <a:buFont typeface="Arial" panose="020B0604020202020204" pitchFamily="34" charset="0"/>
              <a:buNone/>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de-DE" noProof="0" dirty="0" smtClean="0"/>
              <a:t>Bildunterschrift in CorpoS 15 pt.</a:t>
            </a:r>
          </a:p>
        </p:txBody>
      </p:sp>
      <p:sp>
        <p:nvSpPr>
          <p:cNvPr id="50" name="Textplatzhalter 3"/>
          <p:cNvSpPr>
            <a:spLocks noGrp="1"/>
          </p:cNvSpPr>
          <p:nvPr>
            <p:ph type="body" sz="quarter" idx="25"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51" name="Textplatzhalter 3"/>
          <p:cNvSpPr>
            <a:spLocks noGrp="1"/>
          </p:cNvSpPr>
          <p:nvPr>
            <p:ph type="body" sz="quarter" idx="26"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52" name="Textplatzhalter 3"/>
          <p:cNvSpPr>
            <a:spLocks noGrp="1"/>
          </p:cNvSpPr>
          <p:nvPr>
            <p:ph type="body" sz="quarter" idx="29"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53" name="Fußzeilenplatzhalter 14"/>
          <p:cNvSpPr>
            <a:spLocks noGrp="1"/>
          </p:cNvSpPr>
          <p:nvPr>
            <p:ph type="ftr" sz="quarter" idx="30"/>
          </p:nvPr>
        </p:nvSpPr>
        <p:spPr>
          <a:xfrm>
            <a:off x="3578400" y="6552000"/>
            <a:ext cx="7848000" cy="306000"/>
          </a:xfrm>
        </p:spPr>
        <p:txBody>
          <a:bodyPr/>
          <a:lstStyle/>
          <a:p>
            <a:r>
              <a:rPr lang="de-DE" dirty="0" smtClean="0">
                <a:solidFill>
                  <a:prstClr val="white"/>
                </a:solidFill>
              </a:rPr>
              <a:t>Titel der Präsentation in CorpoS (Textkörper) 10pt | Abteilung | Datum</a:t>
            </a:r>
            <a:endParaRPr lang="de-DE" dirty="0">
              <a:solidFill>
                <a:prstClr val="white"/>
              </a:solidFill>
            </a:endParaRPr>
          </a:p>
        </p:txBody>
      </p:sp>
      <p:sp>
        <p:nvSpPr>
          <p:cNvPr id="54" name="Foliennummernplatzhalter 26"/>
          <p:cNvSpPr>
            <a:spLocks noGrp="1"/>
          </p:cNvSpPr>
          <p:nvPr>
            <p:ph type="sldNum" sz="quarter" idx="31"/>
          </p:nvPr>
        </p:nvSpPr>
        <p:spPr>
          <a:xfrm>
            <a:off x="11800803" y="6552000"/>
            <a:ext cx="323999" cy="306000"/>
          </a:xfrm>
        </p:spPr>
        <p:txBody>
          <a:bodyPr/>
          <a:lstStyle/>
          <a:p>
            <a:fld id="{AD1D1349-391B-44DC-865F-5996B3E40F26}" type="slidenum">
              <a:rPr lang="de-DE" smtClean="0">
                <a:solidFill>
                  <a:prstClr val="white"/>
                </a:solidFill>
              </a:rPr>
              <a:pPr/>
              <a:t>‹#›</a:t>
            </a:fld>
            <a:endParaRPr lang="de-DE" dirty="0">
              <a:solidFill>
                <a:prstClr val="white"/>
              </a:solidFill>
            </a:endParaRPr>
          </a:p>
        </p:txBody>
      </p:sp>
    </p:spTree>
    <p:extLst>
      <p:ext uri="{BB962C8B-B14F-4D97-AF65-F5344CB8AC3E}">
        <p14:creationId xmlns:p14="http://schemas.microsoft.com/office/powerpoint/2010/main" val="156997704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8415"/>
            <a:fld id="{896ACB37-748C-4671-8EE1-05B98108112A}" type="datetimeFigureOut">
              <a:rPr lang="en-US" sz="2099" smtClean="0">
                <a:solidFill>
                  <a:prstClr val="black"/>
                </a:solidFill>
              </a:rPr>
              <a:pPr defTabSz="1088415"/>
              <a:t>4/26/2019</a:t>
            </a:fld>
            <a:endParaRPr lang="en-US" sz="2099">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DA579563-9695-402D-AD0C-D8B123AFC4F2}"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336604502"/>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3 Bilder mit Beschriftung">
    <p:spTree>
      <p:nvGrpSpPr>
        <p:cNvPr id="1" name=""/>
        <p:cNvGrpSpPr/>
        <p:nvPr/>
      </p:nvGrpSpPr>
      <p:grpSpPr>
        <a:xfrm>
          <a:off x="0" y="0"/>
          <a:ext cx="0" cy="0"/>
          <a:chOff x="0" y="0"/>
          <a:chExt cx="0" cy="0"/>
        </a:xfrm>
      </p:grpSpPr>
      <p:sp>
        <p:nvSpPr>
          <p:cNvPr id="23" name="Titel 1"/>
          <p:cNvSpPr>
            <a:spLocks noGrp="1"/>
          </p:cNvSpPr>
          <p:nvPr>
            <p:ph type="title" hasCustomPrompt="1"/>
          </p:nvPr>
        </p:nvSpPr>
        <p:spPr>
          <a:xfrm>
            <a:off x="395289" y="368302"/>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24" name="Textplatzhalter 7"/>
          <p:cNvSpPr>
            <a:spLocks noGrp="1"/>
          </p:cNvSpPr>
          <p:nvPr>
            <p:ph type="body" sz="quarter" idx="13" hasCustomPrompt="1"/>
          </p:nvPr>
        </p:nvSpPr>
        <p:spPr>
          <a:xfrm>
            <a:off x="395289"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
        <p:nvSpPr>
          <p:cNvPr id="25" name="Bildplatzhalter 8"/>
          <p:cNvSpPr>
            <a:spLocks noGrp="1"/>
          </p:cNvSpPr>
          <p:nvPr>
            <p:ph type="pic" sz="quarter" idx="10" hasCustomPrompt="1"/>
          </p:nvPr>
        </p:nvSpPr>
        <p:spPr bwMode="gray">
          <a:xfrm>
            <a:off x="396000" y="1512000"/>
            <a:ext cx="3754800" cy="37548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26" name="Bildplatzhalter 8"/>
          <p:cNvSpPr>
            <a:spLocks noGrp="1"/>
          </p:cNvSpPr>
          <p:nvPr>
            <p:ph type="pic" sz="quarter" idx="12" hasCustomPrompt="1"/>
          </p:nvPr>
        </p:nvSpPr>
        <p:spPr bwMode="gray">
          <a:xfrm>
            <a:off x="8046676" y="1512000"/>
            <a:ext cx="3754800" cy="37548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27" name="Bildplatzhalter 8"/>
          <p:cNvSpPr>
            <a:spLocks noGrp="1"/>
          </p:cNvSpPr>
          <p:nvPr>
            <p:ph type="pic" sz="quarter" idx="14" hasCustomPrompt="1"/>
          </p:nvPr>
        </p:nvSpPr>
        <p:spPr bwMode="gray">
          <a:xfrm>
            <a:off x="4221337" y="1512000"/>
            <a:ext cx="3754800" cy="37548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28" name="Textplatzhalter 3"/>
          <p:cNvSpPr>
            <a:spLocks noGrp="1"/>
          </p:cNvSpPr>
          <p:nvPr>
            <p:ph type="body" sz="quarter" idx="19" hasCustomPrompt="1"/>
          </p:nvPr>
        </p:nvSpPr>
        <p:spPr>
          <a:xfrm>
            <a:off x="395999" y="5313600"/>
            <a:ext cx="3754800" cy="324000"/>
          </a:xfrm>
        </p:spPr>
        <p:txBody>
          <a:bodyPr/>
          <a:lstStyle>
            <a:lvl1pPr marL="0" indent="0">
              <a:lnSpc>
                <a:spcPct val="100000"/>
              </a:lnSpc>
              <a:spcAft>
                <a:spcPts val="0"/>
              </a:spcAft>
              <a:buFont typeface="Arial" panose="020B0604020202020204" pitchFamily="34" charset="0"/>
              <a:buNone/>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de-DE" noProof="0" dirty="0" smtClean="0"/>
              <a:t>Bildunterschrift CorpoS 15 pt.</a:t>
            </a:r>
          </a:p>
        </p:txBody>
      </p:sp>
      <p:sp>
        <p:nvSpPr>
          <p:cNvPr id="29" name="Textplatzhalter 3"/>
          <p:cNvSpPr>
            <a:spLocks noGrp="1"/>
          </p:cNvSpPr>
          <p:nvPr>
            <p:ph type="body" sz="quarter" idx="21" hasCustomPrompt="1"/>
          </p:nvPr>
        </p:nvSpPr>
        <p:spPr>
          <a:xfrm>
            <a:off x="4221337" y="5313600"/>
            <a:ext cx="3754800" cy="324000"/>
          </a:xfrm>
        </p:spPr>
        <p:txBody>
          <a:bodyPr/>
          <a:lstStyle>
            <a:lvl1pPr marL="0" indent="0">
              <a:lnSpc>
                <a:spcPct val="100000"/>
              </a:lnSpc>
              <a:spcAft>
                <a:spcPts val="0"/>
              </a:spcAft>
              <a:buFont typeface="Arial" panose="020B0604020202020204" pitchFamily="34" charset="0"/>
              <a:buNone/>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de-DE" noProof="0" dirty="0" smtClean="0"/>
              <a:t>Bildunterschrift CorpoS 15 pt.</a:t>
            </a:r>
          </a:p>
        </p:txBody>
      </p:sp>
      <p:sp>
        <p:nvSpPr>
          <p:cNvPr id="38" name="Textplatzhalter 3"/>
          <p:cNvSpPr>
            <a:spLocks noGrp="1"/>
          </p:cNvSpPr>
          <p:nvPr>
            <p:ph type="body" sz="quarter" idx="22" hasCustomPrompt="1"/>
          </p:nvPr>
        </p:nvSpPr>
        <p:spPr>
          <a:xfrm>
            <a:off x="8046676" y="5313600"/>
            <a:ext cx="3754800" cy="324000"/>
          </a:xfrm>
        </p:spPr>
        <p:txBody>
          <a:bodyPr/>
          <a:lstStyle>
            <a:lvl1pPr marL="0" indent="0">
              <a:lnSpc>
                <a:spcPct val="100000"/>
              </a:lnSpc>
              <a:spcAft>
                <a:spcPts val="0"/>
              </a:spcAft>
              <a:buFont typeface="Arial" panose="020B0604020202020204" pitchFamily="34" charset="0"/>
              <a:buNone/>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de-DE" noProof="0" dirty="0" smtClean="0"/>
              <a:t>Bildunterschrift CorpoS 15 pt.</a:t>
            </a:r>
          </a:p>
        </p:txBody>
      </p:sp>
      <p:sp>
        <p:nvSpPr>
          <p:cNvPr id="39" name="Textplatzhalter 3"/>
          <p:cNvSpPr>
            <a:spLocks noGrp="1"/>
          </p:cNvSpPr>
          <p:nvPr>
            <p:ph type="body" sz="quarter" idx="25"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40" name="Textplatzhalter 3"/>
          <p:cNvSpPr>
            <a:spLocks noGrp="1"/>
          </p:cNvSpPr>
          <p:nvPr>
            <p:ph type="body" sz="quarter" idx="26"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41" name="Textplatzhalter 3"/>
          <p:cNvSpPr>
            <a:spLocks noGrp="1"/>
          </p:cNvSpPr>
          <p:nvPr>
            <p:ph type="body" sz="quarter" idx="27"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42" name="Fußzeilenplatzhalter 2"/>
          <p:cNvSpPr>
            <a:spLocks noGrp="1"/>
          </p:cNvSpPr>
          <p:nvPr>
            <p:ph type="ftr" sz="quarter" idx="28"/>
          </p:nvPr>
        </p:nvSpPr>
        <p:spPr>
          <a:xfrm>
            <a:off x="3578400" y="6552000"/>
            <a:ext cx="7848000" cy="306000"/>
          </a:xfrm>
        </p:spPr>
        <p:txBody>
          <a:bodyPr/>
          <a:lstStyle/>
          <a:p>
            <a:r>
              <a:rPr lang="de-DE" dirty="0" smtClean="0">
                <a:solidFill>
                  <a:prstClr val="white"/>
                </a:solidFill>
              </a:rPr>
              <a:t>Titel der Präsentation in CorpoS (Textkörper) 10pt | Abteilung | Datum</a:t>
            </a:r>
            <a:endParaRPr lang="de-DE" dirty="0">
              <a:solidFill>
                <a:prstClr val="white"/>
              </a:solidFill>
            </a:endParaRPr>
          </a:p>
        </p:txBody>
      </p:sp>
      <p:sp>
        <p:nvSpPr>
          <p:cNvPr id="43" name="Foliennummernplatzhalter 8"/>
          <p:cNvSpPr>
            <a:spLocks noGrp="1"/>
          </p:cNvSpPr>
          <p:nvPr>
            <p:ph type="sldNum" sz="quarter" idx="29"/>
          </p:nvPr>
        </p:nvSpPr>
        <p:spPr>
          <a:xfrm>
            <a:off x="11800803" y="6552000"/>
            <a:ext cx="323999" cy="306000"/>
          </a:xfrm>
        </p:spPr>
        <p:txBody>
          <a:bodyPr/>
          <a:lstStyle/>
          <a:p>
            <a:fld id="{AD1D1349-391B-44DC-865F-5996B3E40F26}" type="slidenum">
              <a:rPr lang="de-DE" smtClean="0">
                <a:solidFill>
                  <a:prstClr val="white"/>
                </a:solidFill>
              </a:rPr>
              <a:pPr/>
              <a:t>‹#›</a:t>
            </a:fld>
            <a:endParaRPr lang="de-DE" dirty="0">
              <a:solidFill>
                <a:prstClr val="white"/>
              </a:solidFill>
            </a:endParaRPr>
          </a:p>
        </p:txBody>
      </p:sp>
    </p:spTree>
    <p:extLst>
      <p:ext uri="{BB962C8B-B14F-4D97-AF65-F5344CB8AC3E}">
        <p14:creationId xmlns:p14="http://schemas.microsoft.com/office/powerpoint/2010/main" val="2597290177"/>
      </p:ext>
    </p:extLst>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4 Bilder mit Beschriftung">
    <p:spTree>
      <p:nvGrpSpPr>
        <p:cNvPr id="1" name=""/>
        <p:cNvGrpSpPr/>
        <p:nvPr/>
      </p:nvGrpSpPr>
      <p:grpSpPr>
        <a:xfrm>
          <a:off x="0" y="0"/>
          <a:ext cx="0" cy="0"/>
          <a:chOff x="0" y="0"/>
          <a:chExt cx="0" cy="0"/>
        </a:xfrm>
      </p:grpSpPr>
      <p:sp>
        <p:nvSpPr>
          <p:cNvPr id="25" name="Titel 1"/>
          <p:cNvSpPr>
            <a:spLocks noGrp="1"/>
          </p:cNvSpPr>
          <p:nvPr>
            <p:ph type="title" hasCustomPrompt="1"/>
          </p:nvPr>
        </p:nvSpPr>
        <p:spPr>
          <a:xfrm>
            <a:off x="395289" y="368302"/>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26" name="Textplatzhalter 7"/>
          <p:cNvSpPr>
            <a:spLocks noGrp="1"/>
          </p:cNvSpPr>
          <p:nvPr>
            <p:ph type="body" sz="quarter" idx="13" hasCustomPrompt="1"/>
          </p:nvPr>
        </p:nvSpPr>
        <p:spPr>
          <a:xfrm>
            <a:off x="395289"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
        <p:nvSpPr>
          <p:cNvPr id="27" name="Bildplatzhalter 8"/>
          <p:cNvSpPr>
            <a:spLocks noGrp="1"/>
          </p:cNvSpPr>
          <p:nvPr>
            <p:ph type="pic" sz="quarter" idx="10" hasCustomPrompt="1"/>
          </p:nvPr>
        </p:nvSpPr>
        <p:spPr bwMode="gray">
          <a:xfrm>
            <a:off x="396003" y="1512000"/>
            <a:ext cx="5666399"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28" name="Bildplatzhalter 8"/>
          <p:cNvSpPr>
            <a:spLocks noGrp="1"/>
          </p:cNvSpPr>
          <p:nvPr>
            <p:ph type="pic" sz="quarter" idx="11" hasCustomPrompt="1"/>
          </p:nvPr>
        </p:nvSpPr>
        <p:spPr bwMode="gray">
          <a:xfrm>
            <a:off x="396003" y="4044227"/>
            <a:ext cx="5666399"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37" name="Textplatzhalter 3"/>
          <p:cNvSpPr>
            <a:spLocks noGrp="1"/>
          </p:cNvSpPr>
          <p:nvPr>
            <p:ph type="body" sz="quarter" idx="19" hasCustomPrompt="1"/>
          </p:nvPr>
        </p:nvSpPr>
        <p:spPr>
          <a:xfrm>
            <a:off x="396003" y="3501250"/>
            <a:ext cx="5666399" cy="324000"/>
          </a:xfrm>
        </p:spPr>
        <p:txBody>
          <a:bodyPr/>
          <a:lstStyle>
            <a:lvl1pPr marL="0" indent="0">
              <a:lnSpc>
                <a:spcPct val="100000"/>
              </a:lnSpc>
              <a:spcAft>
                <a:spcPts val="0"/>
              </a:spcAft>
              <a:buFont typeface="Arial" panose="020B0604020202020204" pitchFamily="34" charset="0"/>
              <a:buNone/>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de-DE" noProof="0" dirty="0" smtClean="0"/>
              <a:t>Bildunterschrift CorpoS 15 pt.</a:t>
            </a:r>
          </a:p>
        </p:txBody>
      </p:sp>
      <p:sp>
        <p:nvSpPr>
          <p:cNvPr id="38" name="Textplatzhalter 3"/>
          <p:cNvSpPr>
            <a:spLocks noGrp="1"/>
          </p:cNvSpPr>
          <p:nvPr>
            <p:ph type="body" sz="quarter" idx="20" hasCustomPrompt="1"/>
          </p:nvPr>
        </p:nvSpPr>
        <p:spPr>
          <a:xfrm>
            <a:off x="396004" y="6030982"/>
            <a:ext cx="5666399" cy="324000"/>
          </a:xfrm>
        </p:spPr>
        <p:txBody>
          <a:bodyPr/>
          <a:lstStyle>
            <a:lvl1pPr marL="0" indent="0">
              <a:lnSpc>
                <a:spcPct val="100000"/>
              </a:lnSpc>
              <a:spcAft>
                <a:spcPts val="0"/>
              </a:spcAft>
              <a:buFont typeface="Arial" panose="020B0604020202020204" pitchFamily="34" charset="0"/>
              <a:buNone/>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de-DE" noProof="0" dirty="0" smtClean="0"/>
              <a:t>Bildunterschrift CorpoS 15 pt.</a:t>
            </a:r>
          </a:p>
        </p:txBody>
      </p:sp>
      <p:sp>
        <p:nvSpPr>
          <p:cNvPr id="39" name="Bildplatzhalter 8"/>
          <p:cNvSpPr>
            <a:spLocks noGrp="1"/>
          </p:cNvSpPr>
          <p:nvPr>
            <p:ph type="pic" sz="quarter" idx="25" hasCustomPrompt="1"/>
          </p:nvPr>
        </p:nvSpPr>
        <p:spPr bwMode="gray">
          <a:xfrm>
            <a:off x="6135078" y="1511300"/>
            <a:ext cx="5666399"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0" name="Bildplatzhalter 8"/>
          <p:cNvSpPr>
            <a:spLocks noGrp="1"/>
          </p:cNvSpPr>
          <p:nvPr>
            <p:ph type="pic" sz="quarter" idx="26" hasCustomPrompt="1"/>
          </p:nvPr>
        </p:nvSpPr>
        <p:spPr bwMode="gray">
          <a:xfrm>
            <a:off x="6135078" y="4043527"/>
            <a:ext cx="5666399"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1" name="Textplatzhalter 3"/>
          <p:cNvSpPr>
            <a:spLocks noGrp="1"/>
          </p:cNvSpPr>
          <p:nvPr>
            <p:ph type="body" sz="quarter" idx="27" hasCustomPrompt="1"/>
          </p:nvPr>
        </p:nvSpPr>
        <p:spPr>
          <a:xfrm>
            <a:off x="6135078" y="3500550"/>
            <a:ext cx="5666399" cy="324000"/>
          </a:xfrm>
        </p:spPr>
        <p:txBody>
          <a:bodyPr/>
          <a:lstStyle>
            <a:lvl1pPr marL="0" indent="0">
              <a:lnSpc>
                <a:spcPct val="100000"/>
              </a:lnSpc>
              <a:spcAft>
                <a:spcPts val="0"/>
              </a:spcAft>
              <a:buFont typeface="Arial" panose="020B0604020202020204" pitchFamily="34" charset="0"/>
              <a:buNone/>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de-DE" noProof="0" dirty="0" smtClean="0"/>
              <a:t>Bildunterschrift CorpoS 15 pt.</a:t>
            </a:r>
          </a:p>
        </p:txBody>
      </p:sp>
      <p:sp>
        <p:nvSpPr>
          <p:cNvPr id="42" name="Textplatzhalter 3"/>
          <p:cNvSpPr>
            <a:spLocks noGrp="1"/>
          </p:cNvSpPr>
          <p:nvPr>
            <p:ph type="body" sz="quarter" idx="28" hasCustomPrompt="1"/>
          </p:nvPr>
        </p:nvSpPr>
        <p:spPr>
          <a:xfrm>
            <a:off x="6135078" y="6030280"/>
            <a:ext cx="5666399" cy="324000"/>
          </a:xfrm>
        </p:spPr>
        <p:txBody>
          <a:bodyPr/>
          <a:lstStyle>
            <a:lvl1pPr marL="0" indent="0">
              <a:lnSpc>
                <a:spcPct val="100000"/>
              </a:lnSpc>
              <a:spcAft>
                <a:spcPts val="0"/>
              </a:spcAft>
              <a:buFont typeface="Arial" panose="020B0604020202020204" pitchFamily="34" charset="0"/>
              <a:buNone/>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de-DE" noProof="0" dirty="0" smtClean="0"/>
              <a:t>Bildunterschrift CorpoS 15 pt.</a:t>
            </a:r>
          </a:p>
        </p:txBody>
      </p:sp>
      <p:sp>
        <p:nvSpPr>
          <p:cNvPr id="43" name="Textplatzhalter 3"/>
          <p:cNvSpPr>
            <a:spLocks noGrp="1"/>
          </p:cNvSpPr>
          <p:nvPr>
            <p:ph type="body" sz="quarter" idx="17"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44" name="Textplatzhalter 3"/>
          <p:cNvSpPr>
            <a:spLocks noGrp="1"/>
          </p:cNvSpPr>
          <p:nvPr>
            <p:ph type="body" sz="quarter" idx="18"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45" name="Textplatzhalter 3"/>
          <p:cNvSpPr>
            <a:spLocks noGrp="1"/>
          </p:cNvSpPr>
          <p:nvPr>
            <p:ph type="body" sz="quarter" idx="29"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46" name="Fußzeilenplatzhalter 2"/>
          <p:cNvSpPr>
            <a:spLocks noGrp="1"/>
          </p:cNvSpPr>
          <p:nvPr>
            <p:ph type="ftr" sz="quarter" idx="30"/>
          </p:nvPr>
        </p:nvSpPr>
        <p:spPr>
          <a:xfrm>
            <a:off x="3578400" y="6552000"/>
            <a:ext cx="7848000" cy="306000"/>
          </a:xfrm>
        </p:spPr>
        <p:txBody>
          <a:bodyPr/>
          <a:lstStyle/>
          <a:p>
            <a:r>
              <a:rPr lang="de-DE" dirty="0" smtClean="0">
                <a:solidFill>
                  <a:prstClr val="white"/>
                </a:solidFill>
              </a:rPr>
              <a:t>Titel der Präsentation in CorpoS (Textkörper) 10pt | Abteilung | Datum</a:t>
            </a:r>
            <a:endParaRPr lang="de-DE" dirty="0">
              <a:solidFill>
                <a:prstClr val="white"/>
              </a:solidFill>
            </a:endParaRPr>
          </a:p>
        </p:txBody>
      </p:sp>
      <p:sp>
        <p:nvSpPr>
          <p:cNvPr id="47" name="Foliennummernplatzhalter 9"/>
          <p:cNvSpPr>
            <a:spLocks noGrp="1"/>
          </p:cNvSpPr>
          <p:nvPr>
            <p:ph type="sldNum" sz="quarter" idx="31"/>
          </p:nvPr>
        </p:nvSpPr>
        <p:spPr>
          <a:xfrm>
            <a:off x="11800803" y="6552000"/>
            <a:ext cx="323999" cy="306000"/>
          </a:xfrm>
        </p:spPr>
        <p:txBody>
          <a:bodyPr/>
          <a:lstStyle/>
          <a:p>
            <a:fld id="{AD1D1349-391B-44DC-865F-5996B3E40F26}" type="slidenum">
              <a:rPr lang="de-DE" smtClean="0">
                <a:solidFill>
                  <a:prstClr val="white"/>
                </a:solidFill>
              </a:rPr>
              <a:pPr/>
              <a:t>‹#›</a:t>
            </a:fld>
            <a:endParaRPr lang="de-DE" dirty="0">
              <a:solidFill>
                <a:prstClr val="white"/>
              </a:solidFill>
            </a:endParaRPr>
          </a:p>
        </p:txBody>
      </p:sp>
    </p:spTree>
    <p:extLst>
      <p:ext uri="{BB962C8B-B14F-4D97-AF65-F5344CB8AC3E}">
        <p14:creationId xmlns:p14="http://schemas.microsoft.com/office/powerpoint/2010/main" val="3672458262"/>
      </p:ext>
    </p:extLst>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8 Bilder mit Beschriftung">
    <p:spTree>
      <p:nvGrpSpPr>
        <p:cNvPr id="1" name=""/>
        <p:cNvGrpSpPr/>
        <p:nvPr/>
      </p:nvGrpSpPr>
      <p:grpSpPr>
        <a:xfrm>
          <a:off x="0" y="0"/>
          <a:ext cx="0" cy="0"/>
          <a:chOff x="0" y="0"/>
          <a:chExt cx="0" cy="0"/>
        </a:xfrm>
      </p:grpSpPr>
      <p:sp>
        <p:nvSpPr>
          <p:cNvPr id="33" name="Titel 1"/>
          <p:cNvSpPr>
            <a:spLocks noGrp="1"/>
          </p:cNvSpPr>
          <p:nvPr>
            <p:ph type="title" hasCustomPrompt="1"/>
          </p:nvPr>
        </p:nvSpPr>
        <p:spPr>
          <a:xfrm>
            <a:off x="395289" y="368302"/>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34" name="Textplatzhalter 7"/>
          <p:cNvSpPr>
            <a:spLocks noGrp="1"/>
          </p:cNvSpPr>
          <p:nvPr>
            <p:ph type="body" sz="quarter" idx="13" hasCustomPrompt="1"/>
          </p:nvPr>
        </p:nvSpPr>
        <p:spPr>
          <a:xfrm>
            <a:off x="395289"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
        <p:nvSpPr>
          <p:cNvPr id="35" name="Bildplatzhalter 8"/>
          <p:cNvSpPr>
            <a:spLocks noGrp="1"/>
          </p:cNvSpPr>
          <p:nvPr>
            <p:ph type="pic" sz="quarter" idx="10" hasCustomPrompt="1"/>
          </p:nvPr>
        </p:nvSpPr>
        <p:spPr bwMode="gray">
          <a:xfrm>
            <a:off x="396000" y="1512000"/>
            <a:ext cx="27972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36" name="Bildplatzhalter 8"/>
          <p:cNvSpPr>
            <a:spLocks noGrp="1"/>
          </p:cNvSpPr>
          <p:nvPr>
            <p:ph type="pic" sz="quarter" idx="11" hasCustomPrompt="1"/>
          </p:nvPr>
        </p:nvSpPr>
        <p:spPr bwMode="gray">
          <a:xfrm>
            <a:off x="396000" y="4044227"/>
            <a:ext cx="27972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5" name="Textplatzhalter 3"/>
          <p:cNvSpPr>
            <a:spLocks noGrp="1"/>
          </p:cNvSpPr>
          <p:nvPr>
            <p:ph type="body" sz="quarter" idx="19" hasCustomPrompt="1"/>
          </p:nvPr>
        </p:nvSpPr>
        <p:spPr>
          <a:xfrm>
            <a:off x="396000" y="3501250"/>
            <a:ext cx="2797200" cy="324000"/>
          </a:xfrm>
        </p:spPr>
        <p:txBody>
          <a:bodyPr/>
          <a:lstStyle>
            <a:lvl1pPr marL="0" indent="0">
              <a:lnSpc>
                <a:spcPct val="100000"/>
              </a:lnSpc>
              <a:spcAft>
                <a:spcPts val="0"/>
              </a:spcAft>
              <a:buFont typeface="Arial" panose="020B0604020202020204" pitchFamily="34" charset="0"/>
              <a:buNone/>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de-DE" noProof="0" dirty="0" smtClean="0"/>
              <a:t>Bildunterschrift CorpoS 15 pt.</a:t>
            </a:r>
          </a:p>
        </p:txBody>
      </p:sp>
      <p:sp>
        <p:nvSpPr>
          <p:cNvPr id="46" name="Textplatzhalter 3"/>
          <p:cNvSpPr>
            <a:spLocks noGrp="1"/>
          </p:cNvSpPr>
          <p:nvPr>
            <p:ph type="body" sz="quarter" idx="20" hasCustomPrompt="1"/>
          </p:nvPr>
        </p:nvSpPr>
        <p:spPr>
          <a:xfrm>
            <a:off x="396001" y="6030982"/>
            <a:ext cx="2797200" cy="324000"/>
          </a:xfrm>
        </p:spPr>
        <p:txBody>
          <a:bodyPr/>
          <a:lstStyle>
            <a:lvl1pPr marL="0" indent="0">
              <a:lnSpc>
                <a:spcPct val="100000"/>
              </a:lnSpc>
              <a:spcAft>
                <a:spcPts val="0"/>
              </a:spcAft>
              <a:buFont typeface="Arial" panose="020B0604020202020204" pitchFamily="34" charset="0"/>
              <a:buNone/>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de-DE" noProof="0" dirty="0" smtClean="0"/>
              <a:t>Bildunterschrift CorpoS 15 pt.</a:t>
            </a:r>
          </a:p>
        </p:txBody>
      </p:sp>
      <p:sp>
        <p:nvSpPr>
          <p:cNvPr id="47" name="Bildplatzhalter 8"/>
          <p:cNvSpPr>
            <a:spLocks noGrp="1"/>
          </p:cNvSpPr>
          <p:nvPr>
            <p:ph type="pic" sz="quarter" idx="25" hasCustomPrompt="1"/>
          </p:nvPr>
        </p:nvSpPr>
        <p:spPr bwMode="gray">
          <a:xfrm>
            <a:off x="6134849" y="1511300"/>
            <a:ext cx="27972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8" name="Bildplatzhalter 8"/>
          <p:cNvSpPr>
            <a:spLocks noGrp="1"/>
          </p:cNvSpPr>
          <p:nvPr>
            <p:ph type="pic" sz="quarter" idx="26" hasCustomPrompt="1"/>
          </p:nvPr>
        </p:nvSpPr>
        <p:spPr bwMode="gray">
          <a:xfrm>
            <a:off x="6134849" y="4043527"/>
            <a:ext cx="27972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9" name="Textplatzhalter 3"/>
          <p:cNvSpPr>
            <a:spLocks noGrp="1"/>
          </p:cNvSpPr>
          <p:nvPr>
            <p:ph type="body" sz="quarter" idx="27" hasCustomPrompt="1"/>
          </p:nvPr>
        </p:nvSpPr>
        <p:spPr>
          <a:xfrm>
            <a:off x="6134849" y="3500550"/>
            <a:ext cx="2797200" cy="324000"/>
          </a:xfrm>
        </p:spPr>
        <p:txBody>
          <a:bodyPr/>
          <a:lstStyle>
            <a:lvl1pPr marL="0" indent="0">
              <a:lnSpc>
                <a:spcPct val="100000"/>
              </a:lnSpc>
              <a:spcAft>
                <a:spcPts val="0"/>
              </a:spcAft>
              <a:buFont typeface="Arial" panose="020B0604020202020204" pitchFamily="34" charset="0"/>
              <a:buNone/>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de-DE" noProof="0" dirty="0" smtClean="0"/>
              <a:t>Bildunterschrift CorpoS 15 pt.</a:t>
            </a:r>
          </a:p>
        </p:txBody>
      </p:sp>
      <p:sp>
        <p:nvSpPr>
          <p:cNvPr id="50" name="Textplatzhalter 3"/>
          <p:cNvSpPr>
            <a:spLocks noGrp="1"/>
          </p:cNvSpPr>
          <p:nvPr>
            <p:ph type="body" sz="quarter" idx="28" hasCustomPrompt="1"/>
          </p:nvPr>
        </p:nvSpPr>
        <p:spPr>
          <a:xfrm>
            <a:off x="6134851" y="6030280"/>
            <a:ext cx="2797200" cy="324000"/>
          </a:xfrm>
        </p:spPr>
        <p:txBody>
          <a:bodyPr/>
          <a:lstStyle>
            <a:lvl1pPr marL="0" indent="0">
              <a:lnSpc>
                <a:spcPct val="100000"/>
              </a:lnSpc>
              <a:spcAft>
                <a:spcPts val="0"/>
              </a:spcAft>
              <a:buFont typeface="Arial" panose="020B0604020202020204" pitchFamily="34" charset="0"/>
              <a:buNone/>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de-DE" noProof="0" dirty="0" smtClean="0"/>
              <a:t>Bildunterschrift CorpoS 15 pt.</a:t>
            </a:r>
          </a:p>
        </p:txBody>
      </p:sp>
      <p:sp>
        <p:nvSpPr>
          <p:cNvPr id="51" name="Bildplatzhalter 8"/>
          <p:cNvSpPr>
            <a:spLocks noGrp="1"/>
          </p:cNvSpPr>
          <p:nvPr>
            <p:ph type="pic" sz="quarter" idx="29" hasCustomPrompt="1"/>
          </p:nvPr>
        </p:nvSpPr>
        <p:spPr bwMode="gray">
          <a:xfrm>
            <a:off x="3265427" y="1511300"/>
            <a:ext cx="27972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52" name="Bildplatzhalter 8"/>
          <p:cNvSpPr>
            <a:spLocks noGrp="1"/>
          </p:cNvSpPr>
          <p:nvPr>
            <p:ph type="pic" sz="quarter" idx="30" hasCustomPrompt="1"/>
          </p:nvPr>
        </p:nvSpPr>
        <p:spPr bwMode="gray">
          <a:xfrm>
            <a:off x="3265427" y="4043527"/>
            <a:ext cx="27972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53" name="Textplatzhalter 3"/>
          <p:cNvSpPr>
            <a:spLocks noGrp="1"/>
          </p:cNvSpPr>
          <p:nvPr>
            <p:ph type="body" sz="quarter" idx="31" hasCustomPrompt="1"/>
          </p:nvPr>
        </p:nvSpPr>
        <p:spPr>
          <a:xfrm>
            <a:off x="3265427" y="3500550"/>
            <a:ext cx="2797200" cy="324000"/>
          </a:xfrm>
        </p:spPr>
        <p:txBody>
          <a:bodyPr/>
          <a:lstStyle>
            <a:lvl1pPr marL="0" marR="0" indent="0" algn="l" defTabSz="914089" rtl="0" eaLnBrk="1" fontAlgn="auto" latinLnBrk="0" hangingPunct="1">
              <a:lnSpc>
                <a:spcPct val="100000"/>
              </a:lnSpc>
              <a:spcBef>
                <a:spcPts val="0"/>
              </a:spcBef>
              <a:spcAft>
                <a:spcPts val="0"/>
              </a:spcAft>
              <a:buClrTx/>
              <a:buSzTx/>
              <a:buFont typeface="Arial" panose="020B0604020202020204" pitchFamily="34" charset="0"/>
              <a:buNone/>
              <a:tabLst/>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de-DE" noProof="0" dirty="0" smtClean="0"/>
              <a:t>Bildunterschrift CorpoS 15 pt.</a:t>
            </a:r>
          </a:p>
        </p:txBody>
      </p:sp>
      <p:sp>
        <p:nvSpPr>
          <p:cNvPr id="54" name="Textplatzhalter 3"/>
          <p:cNvSpPr>
            <a:spLocks noGrp="1"/>
          </p:cNvSpPr>
          <p:nvPr>
            <p:ph type="body" sz="quarter" idx="32" hasCustomPrompt="1"/>
          </p:nvPr>
        </p:nvSpPr>
        <p:spPr>
          <a:xfrm>
            <a:off x="3265428" y="6030280"/>
            <a:ext cx="2797200" cy="324000"/>
          </a:xfrm>
        </p:spPr>
        <p:txBody>
          <a:bodyPr/>
          <a:lstStyle>
            <a:lvl1pPr marL="0" indent="0">
              <a:lnSpc>
                <a:spcPct val="100000"/>
              </a:lnSpc>
              <a:spcAft>
                <a:spcPts val="0"/>
              </a:spcAft>
              <a:buFont typeface="Arial" panose="020B0604020202020204" pitchFamily="34" charset="0"/>
              <a:buNone/>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de-DE" noProof="0" dirty="0" smtClean="0"/>
              <a:t>Bildunterschrift CorpoS 15 pt.</a:t>
            </a:r>
          </a:p>
        </p:txBody>
      </p:sp>
      <p:sp>
        <p:nvSpPr>
          <p:cNvPr id="55" name="Bildplatzhalter 8"/>
          <p:cNvSpPr>
            <a:spLocks noGrp="1"/>
          </p:cNvSpPr>
          <p:nvPr>
            <p:ph type="pic" sz="quarter" idx="33" hasCustomPrompt="1"/>
          </p:nvPr>
        </p:nvSpPr>
        <p:spPr bwMode="gray">
          <a:xfrm>
            <a:off x="9004277" y="1511300"/>
            <a:ext cx="27972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56" name="Bildplatzhalter 8"/>
          <p:cNvSpPr>
            <a:spLocks noGrp="1"/>
          </p:cNvSpPr>
          <p:nvPr>
            <p:ph type="pic" sz="quarter" idx="34" hasCustomPrompt="1"/>
          </p:nvPr>
        </p:nvSpPr>
        <p:spPr bwMode="gray">
          <a:xfrm>
            <a:off x="9004277" y="4043527"/>
            <a:ext cx="2797200" cy="1944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57" name="Textplatzhalter 3"/>
          <p:cNvSpPr>
            <a:spLocks noGrp="1"/>
          </p:cNvSpPr>
          <p:nvPr>
            <p:ph type="body" sz="quarter" idx="35" hasCustomPrompt="1"/>
          </p:nvPr>
        </p:nvSpPr>
        <p:spPr>
          <a:xfrm>
            <a:off x="9004277" y="3500550"/>
            <a:ext cx="2797200" cy="324000"/>
          </a:xfrm>
        </p:spPr>
        <p:txBody>
          <a:bodyPr/>
          <a:lstStyle>
            <a:lvl1pPr marL="0" indent="0">
              <a:lnSpc>
                <a:spcPct val="100000"/>
              </a:lnSpc>
              <a:spcAft>
                <a:spcPts val="0"/>
              </a:spcAft>
              <a:buFont typeface="Arial" panose="020B0604020202020204" pitchFamily="34" charset="0"/>
              <a:buNone/>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de-DE" noProof="0" dirty="0" smtClean="0"/>
              <a:t>Bildunterschrift CorpoS 15 pt.</a:t>
            </a:r>
          </a:p>
        </p:txBody>
      </p:sp>
      <p:sp>
        <p:nvSpPr>
          <p:cNvPr id="58" name="Textplatzhalter 3"/>
          <p:cNvSpPr>
            <a:spLocks noGrp="1"/>
          </p:cNvSpPr>
          <p:nvPr>
            <p:ph type="body" sz="quarter" idx="36" hasCustomPrompt="1"/>
          </p:nvPr>
        </p:nvSpPr>
        <p:spPr>
          <a:xfrm>
            <a:off x="9004277" y="6030280"/>
            <a:ext cx="2797200" cy="324000"/>
          </a:xfrm>
        </p:spPr>
        <p:txBody>
          <a:bodyPr/>
          <a:lstStyle>
            <a:lvl1pPr marL="0" indent="0">
              <a:lnSpc>
                <a:spcPct val="100000"/>
              </a:lnSpc>
              <a:spcAft>
                <a:spcPts val="0"/>
              </a:spcAft>
              <a:buFont typeface="Arial" panose="020B0604020202020204" pitchFamily="34" charset="0"/>
              <a:buNone/>
              <a:defRPr sz="1500"/>
            </a:lvl1pPr>
            <a:lvl2pPr marL="0" indent="0">
              <a:lnSpc>
                <a:spcPct val="100000"/>
              </a:lnSpc>
              <a:spcAft>
                <a:spcPts val="0"/>
              </a:spcAft>
              <a:buNone/>
              <a:defRPr sz="1500"/>
            </a:lvl2pPr>
            <a:lvl3pPr marL="0" indent="0">
              <a:lnSpc>
                <a:spcPct val="100000"/>
              </a:lnSpc>
              <a:spcAft>
                <a:spcPts val="0"/>
              </a:spcAft>
              <a:buNone/>
              <a:defRPr sz="1500"/>
            </a:lvl3pPr>
            <a:lvl4pPr marL="0" indent="0">
              <a:lnSpc>
                <a:spcPct val="100000"/>
              </a:lnSpc>
              <a:spcAft>
                <a:spcPts val="0"/>
              </a:spcAft>
              <a:buNone/>
              <a:defRPr sz="1500"/>
            </a:lvl4pPr>
            <a:lvl5pPr marL="0" indent="0">
              <a:lnSpc>
                <a:spcPct val="100000"/>
              </a:lnSpc>
              <a:spcAft>
                <a:spcPts val="0"/>
              </a:spcAft>
              <a:buNone/>
              <a:defRPr sz="1500"/>
            </a:lvl5pPr>
            <a:lvl6pPr marL="0" indent="0">
              <a:lnSpc>
                <a:spcPct val="100000"/>
              </a:lnSpc>
              <a:spcAft>
                <a:spcPts val="0"/>
              </a:spcAft>
              <a:buNone/>
              <a:defRPr sz="1500"/>
            </a:lvl6pPr>
            <a:lvl7pPr marL="0" indent="0">
              <a:lnSpc>
                <a:spcPct val="100000"/>
              </a:lnSpc>
              <a:spcAft>
                <a:spcPts val="0"/>
              </a:spcAft>
              <a:buNone/>
              <a:defRPr sz="1500"/>
            </a:lvl7pPr>
            <a:lvl8pPr marL="0" indent="0">
              <a:lnSpc>
                <a:spcPct val="100000"/>
              </a:lnSpc>
              <a:spcAft>
                <a:spcPts val="0"/>
              </a:spcAft>
              <a:buNone/>
              <a:defRPr sz="1500"/>
            </a:lvl8pPr>
            <a:lvl9pPr marL="0" indent="0">
              <a:lnSpc>
                <a:spcPct val="100000"/>
              </a:lnSpc>
              <a:spcAft>
                <a:spcPts val="0"/>
              </a:spcAft>
              <a:buNone/>
              <a:defRPr sz="1500"/>
            </a:lvl9pPr>
          </a:lstStyle>
          <a:p>
            <a:pPr lvl="0"/>
            <a:r>
              <a:rPr lang="de-DE" noProof="0" dirty="0" smtClean="0"/>
              <a:t>Bildunterschrift CorpoS 15 pt.</a:t>
            </a:r>
          </a:p>
        </p:txBody>
      </p:sp>
      <p:sp>
        <p:nvSpPr>
          <p:cNvPr id="59" name="Textplatzhalter 3"/>
          <p:cNvSpPr>
            <a:spLocks noGrp="1"/>
          </p:cNvSpPr>
          <p:nvPr>
            <p:ph type="body" sz="quarter" idx="17"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60" name="Textplatzhalter 3"/>
          <p:cNvSpPr>
            <a:spLocks noGrp="1"/>
          </p:cNvSpPr>
          <p:nvPr>
            <p:ph type="body" sz="quarter" idx="18"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61" name="Textplatzhalter 3"/>
          <p:cNvSpPr>
            <a:spLocks noGrp="1"/>
          </p:cNvSpPr>
          <p:nvPr>
            <p:ph type="body" sz="quarter" idx="37"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62" name="Fußzeilenplatzhalter 2"/>
          <p:cNvSpPr>
            <a:spLocks noGrp="1"/>
          </p:cNvSpPr>
          <p:nvPr>
            <p:ph type="ftr" sz="quarter" idx="38"/>
          </p:nvPr>
        </p:nvSpPr>
        <p:spPr>
          <a:xfrm>
            <a:off x="3578400" y="6552000"/>
            <a:ext cx="7848000" cy="306000"/>
          </a:xfrm>
        </p:spPr>
        <p:txBody>
          <a:bodyPr/>
          <a:lstStyle/>
          <a:p>
            <a:r>
              <a:rPr lang="de-DE" dirty="0" smtClean="0">
                <a:solidFill>
                  <a:prstClr val="white"/>
                </a:solidFill>
              </a:rPr>
              <a:t>Titel der Präsentation in CorpoS (Textkörper) 10pt | Abteilung | Datum</a:t>
            </a:r>
            <a:endParaRPr lang="de-DE" dirty="0">
              <a:solidFill>
                <a:prstClr val="white"/>
              </a:solidFill>
            </a:endParaRPr>
          </a:p>
        </p:txBody>
      </p:sp>
      <p:sp>
        <p:nvSpPr>
          <p:cNvPr id="63" name="Foliennummernplatzhalter 9"/>
          <p:cNvSpPr>
            <a:spLocks noGrp="1"/>
          </p:cNvSpPr>
          <p:nvPr>
            <p:ph type="sldNum" sz="quarter" idx="39"/>
          </p:nvPr>
        </p:nvSpPr>
        <p:spPr>
          <a:xfrm>
            <a:off x="11800803" y="6552000"/>
            <a:ext cx="323999" cy="306000"/>
          </a:xfrm>
        </p:spPr>
        <p:txBody>
          <a:bodyPr/>
          <a:lstStyle/>
          <a:p>
            <a:fld id="{AD1D1349-391B-44DC-865F-5996B3E40F26}" type="slidenum">
              <a:rPr lang="de-DE" smtClean="0">
                <a:solidFill>
                  <a:prstClr val="white"/>
                </a:solidFill>
              </a:rPr>
              <a:pPr/>
              <a:t>‹#›</a:t>
            </a:fld>
            <a:endParaRPr lang="de-DE" dirty="0">
              <a:solidFill>
                <a:prstClr val="white"/>
              </a:solidFill>
            </a:endParaRPr>
          </a:p>
        </p:txBody>
      </p:sp>
    </p:spTree>
    <p:extLst>
      <p:ext uri="{BB962C8B-B14F-4D97-AF65-F5344CB8AC3E}">
        <p14:creationId xmlns:p14="http://schemas.microsoft.com/office/powerpoint/2010/main" val="3124118143"/>
      </p:ext>
    </p:extLst>
  </p:cSld>
  <p:clrMapOvr>
    <a:masterClrMapping/>
  </p:clrMapOvr>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MultiPictures mit Textanmerkung 3">
    <p:spTree>
      <p:nvGrpSpPr>
        <p:cNvPr id="1" name=""/>
        <p:cNvGrpSpPr/>
        <p:nvPr/>
      </p:nvGrpSpPr>
      <p:grpSpPr>
        <a:xfrm>
          <a:off x="0" y="0"/>
          <a:ext cx="0" cy="0"/>
          <a:chOff x="0" y="0"/>
          <a:chExt cx="0" cy="0"/>
        </a:xfrm>
      </p:grpSpPr>
      <p:sp>
        <p:nvSpPr>
          <p:cNvPr id="11" name="Komplett" hidden="1"/>
          <p:cNvSpPr/>
          <p:nvPr userDrawn="1"/>
        </p:nvSpPr>
        <p:spPr>
          <a:xfrm>
            <a:off x="395880" y="1511767"/>
            <a:ext cx="11399452" cy="3895508"/>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nvGrpSpPr>
          <p:cNvPr id="64" name="Horizontal // fein" hidden="1"/>
          <p:cNvGrpSpPr/>
          <p:nvPr userDrawn="1"/>
        </p:nvGrpSpPr>
        <p:grpSpPr>
          <a:xfrm>
            <a:off x="395880" y="1511767"/>
            <a:ext cx="11399452" cy="3895508"/>
            <a:chOff x="396086" y="1511767"/>
            <a:chExt cx="11405389" cy="3895508"/>
          </a:xfrm>
        </p:grpSpPr>
        <p:sp>
          <p:nvSpPr>
            <p:cNvPr id="44" name="Links // Links"/>
            <p:cNvSpPr/>
            <p:nvPr userDrawn="1"/>
          </p:nvSpPr>
          <p:spPr>
            <a:xfrm>
              <a:off x="39608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45" name="Links // Rechts"/>
            <p:cNvSpPr/>
            <p:nvPr userDrawn="1"/>
          </p:nvSpPr>
          <p:spPr>
            <a:xfrm>
              <a:off x="230877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46" name="Rechts // Links"/>
            <p:cNvSpPr/>
            <p:nvPr userDrawn="1"/>
          </p:nvSpPr>
          <p:spPr>
            <a:xfrm>
              <a:off x="804683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47" name="Rechts // Rechts"/>
            <p:cNvSpPr/>
            <p:nvPr userDrawn="1"/>
          </p:nvSpPr>
          <p:spPr>
            <a:xfrm>
              <a:off x="995952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48" name="Mitte // Links"/>
            <p:cNvSpPr/>
            <p:nvPr userDrawn="1"/>
          </p:nvSpPr>
          <p:spPr>
            <a:xfrm>
              <a:off x="422146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49" name="Mitte // Rechts"/>
            <p:cNvSpPr/>
            <p:nvPr userDrawn="1"/>
          </p:nvSpPr>
          <p:spPr>
            <a:xfrm>
              <a:off x="613415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50" name="Links // Links"/>
            <p:cNvSpPr/>
            <p:nvPr userDrawn="1"/>
          </p:nvSpPr>
          <p:spPr>
            <a:xfrm>
              <a:off x="135243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51" name="Links // Rechts"/>
            <p:cNvSpPr/>
            <p:nvPr userDrawn="1"/>
          </p:nvSpPr>
          <p:spPr>
            <a:xfrm>
              <a:off x="326511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52" name="Rechts // Links"/>
            <p:cNvSpPr/>
            <p:nvPr userDrawn="1"/>
          </p:nvSpPr>
          <p:spPr>
            <a:xfrm>
              <a:off x="900318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53" name="Rechts // Rechts"/>
            <p:cNvSpPr/>
            <p:nvPr userDrawn="1"/>
          </p:nvSpPr>
          <p:spPr>
            <a:xfrm>
              <a:off x="10915875"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54" name="Mitte // Links"/>
            <p:cNvSpPr/>
            <p:nvPr userDrawn="1"/>
          </p:nvSpPr>
          <p:spPr>
            <a:xfrm>
              <a:off x="517780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55" name="Mitte // Rechts"/>
            <p:cNvSpPr/>
            <p:nvPr userDrawn="1"/>
          </p:nvSpPr>
          <p:spPr>
            <a:xfrm>
              <a:off x="709049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grpSp>
        <p:nvGrpSpPr>
          <p:cNvPr id="65" name="Abstand Horizontal // fein" hidden="1"/>
          <p:cNvGrpSpPr/>
          <p:nvPr userDrawn="1"/>
        </p:nvGrpSpPr>
        <p:grpSpPr>
          <a:xfrm>
            <a:off x="1280395" y="1511767"/>
            <a:ext cx="9630427" cy="3895508"/>
            <a:chOff x="1281058" y="1511767"/>
            <a:chExt cx="9635443" cy="3895508"/>
          </a:xfrm>
        </p:grpSpPr>
        <p:sp>
          <p:nvSpPr>
            <p:cNvPr id="58" name="Abstand Rechts // Mitte"/>
            <p:cNvSpPr/>
            <p:nvPr userDrawn="1"/>
          </p:nvSpPr>
          <p:spPr>
            <a:xfrm>
              <a:off x="8931814"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59" name="Abstand Links // Mitte"/>
            <p:cNvSpPr/>
            <p:nvPr userDrawn="1"/>
          </p:nvSpPr>
          <p:spPr>
            <a:xfrm>
              <a:off x="1281058"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60" name="Abstand Mitte // Mitte"/>
            <p:cNvSpPr/>
            <p:nvPr userDrawn="1"/>
          </p:nvSpPr>
          <p:spPr>
            <a:xfrm>
              <a:off x="5106436"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61" name="Abstand Rechts // Mitte"/>
            <p:cNvSpPr/>
            <p:nvPr userDrawn="1"/>
          </p:nvSpPr>
          <p:spPr>
            <a:xfrm>
              <a:off x="10844501"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62" name="Abstand Links // Mitte"/>
            <p:cNvSpPr/>
            <p:nvPr userDrawn="1"/>
          </p:nvSpPr>
          <p:spPr>
            <a:xfrm>
              <a:off x="3193747"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63" name="Abstand Mitte // Mitte"/>
            <p:cNvSpPr/>
            <p:nvPr userDrawn="1"/>
          </p:nvSpPr>
          <p:spPr>
            <a:xfrm>
              <a:off x="7019125"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grpSp>
        <p:nvGrpSpPr>
          <p:cNvPr id="56" name="Horizontal // grob" hidden="1"/>
          <p:cNvGrpSpPr/>
          <p:nvPr userDrawn="1"/>
        </p:nvGrpSpPr>
        <p:grpSpPr>
          <a:xfrm>
            <a:off x="395880" y="1511300"/>
            <a:ext cx="11399452" cy="3895976"/>
            <a:chOff x="396086" y="1511300"/>
            <a:chExt cx="11405389" cy="3895976"/>
          </a:xfrm>
        </p:grpSpPr>
        <p:sp>
          <p:nvSpPr>
            <p:cNvPr id="25" name="Links // Links"/>
            <p:cNvSpPr/>
            <p:nvPr userDrawn="1"/>
          </p:nvSpPr>
          <p:spPr>
            <a:xfrm>
              <a:off x="396086"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26" name="Links // Rechts"/>
            <p:cNvSpPr/>
            <p:nvPr userDrawn="1"/>
          </p:nvSpPr>
          <p:spPr>
            <a:xfrm>
              <a:off x="2309244"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27" name="Rechts // Links"/>
            <p:cNvSpPr/>
            <p:nvPr userDrawn="1"/>
          </p:nvSpPr>
          <p:spPr>
            <a:xfrm>
              <a:off x="8048718"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28" name="Rechts // Rechts"/>
            <p:cNvSpPr/>
            <p:nvPr userDrawn="1"/>
          </p:nvSpPr>
          <p:spPr>
            <a:xfrm>
              <a:off x="9961875"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39" name="Mitte // Links"/>
            <p:cNvSpPr/>
            <p:nvPr userDrawn="1"/>
          </p:nvSpPr>
          <p:spPr>
            <a:xfrm>
              <a:off x="4222402"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40" name="Mitte // Rechts"/>
            <p:cNvSpPr/>
            <p:nvPr userDrawn="1"/>
          </p:nvSpPr>
          <p:spPr>
            <a:xfrm>
              <a:off x="6135560"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23" name="Links"/>
            <p:cNvSpPr/>
            <p:nvPr userDrawn="1"/>
          </p:nvSpPr>
          <p:spPr>
            <a:xfrm>
              <a:off x="396086"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36" name="Mitte"/>
            <p:cNvSpPr/>
            <p:nvPr userDrawn="1"/>
          </p:nvSpPr>
          <p:spPr>
            <a:xfrm>
              <a:off x="4221380"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24" name="Rechts"/>
            <p:cNvSpPr/>
            <p:nvPr userDrawn="1"/>
          </p:nvSpPr>
          <p:spPr>
            <a:xfrm>
              <a:off x="8046675"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grpSp>
        <p:nvGrpSpPr>
          <p:cNvPr id="67" name="Abstand Horizontal // grob" hidden="1"/>
          <p:cNvGrpSpPr/>
          <p:nvPr userDrawn="1"/>
        </p:nvGrpSpPr>
        <p:grpSpPr>
          <a:xfrm>
            <a:off x="2235301" y="1511300"/>
            <a:ext cx="7720610" cy="3895508"/>
            <a:chOff x="2236465" y="1511300"/>
            <a:chExt cx="7724631" cy="3895508"/>
          </a:xfrm>
        </p:grpSpPr>
        <p:sp>
          <p:nvSpPr>
            <p:cNvPr id="33" name="Abstand Links"/>
            <p:cNvSpPr/>
            <p:nvPr userDrawn="1"/>
          </p:nvSpPr>
          <p:spPr>
            <a:xfrm>
              <a:off x="4150133"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35" name="Abstand Rechts"/>
            <p:cNvSpPr/>
            <p:nvPr userDrawn="1"/>
          </p:nvSpPr>
          <p:spPr>
            <a:xfrm>
              <a:off x="7975427"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41" name="Abstand Rechts // Mitte"/>
            <p:cNvSpPr/>
            <p:nvPr userDrawn="1"/>
          </p:nvSpPr>
          <p:spPr>
            <a:xfrm>
              <a:off x="9889096"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42" name="Abstand Links // Mitte"/>
            <p:cNvSpPr/>
            <p:nvPr userDrawn="1"/>
          </p:nvSpPr>
          <p:spPr>
            <a:xfrm>
              <a:off x="2236465"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43" name="Abstand Mitte // Mitte"/>
            <p:cNvSpPr/>
            <p:nvPr userDrawn="1"/>
          </p:nvSpPr>
          <p:spPr>
            <a:xfrm>
              <a:off x="6062781"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grpSp>
        <p:nvGrpSpPr>
          <p:cNvPr id="99" name="Vertikal" hidden="1"/>
          <p:cNvGrpSpPr/>
          <p:nvPr userDrawn="1"/>
        </p:nvGrpSpPr>
        <p:grpSpPr>
          <a:xfrm>
            <a:off x="395082" y="1511299"/>
            <a:ext cx="11400250" cy="3895976"/>
            <a:chOff x="395287" y="1511299"/>
            <a:chExt cx="11406188" cy="3895976"/>
          </a:xfrm>
        </p:grpSpPr>
        <p:sp>
          <p:nvSpPr>
            <p:cNvPr id="19" name="Oben // Oben"/>
            <p:cNvSpPr/>
            <p:nvPr userDrawn="1"/>
          </p:nvSpPr>
          <p:spPr>
            <a:xfrm>
              <a:off x="396086" y="1511299"/>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20" name="Oben // Unten"/>
            <p:cNvSpPr/>
            <p:nvPr userDrawn="1"/>
          </p:nvSpPr>
          <p:spPr>
            <a:xfrm>
              <a:off x="396086" y="2502758"/>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21" name="Unten // Oben"/>
            <p:cNvSpPr/>
            <p:nvPr userDrawn="1"/>
          </p:nvSpPr>
          <p:spPr>
            <a:xfrm>
              <a:off x="395287" y="3494217"/>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22" name="Unten // Unten"/>
            <p:cNvSpPr/>
            <p:nvPr userDrawn="1"/>
          </p:nvSpPr>
          <p:spPr>
            <a:xfrm>
              <a:off x="396086" y="4485675"/>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16" name="Oben"/>
            <p:cNvSpPr/>
            <p:nvPr userDrawn="1"/>
          </p:nvSpPr>
          <p:spPr>
            <a:xfrm>
              <a:off x="396086" y="1511300"/>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18" name="Unten"/>
            <p:cNvSpPr/>
            <p:nvPr userDrawn="1"/>
          </p:nvSpPr>
          <p:spPr>
            <a:xfrm>
              <a:off x="396086" y="3495675"/>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grpSp>
        <p:nvGrpSpPr>
          <p:cNvPr id="98" name="Abstand Vertikal" hidden="1"/>
          <p:cNvGrpSpPr/>
          <p:nvPr userDrawn="1"/>
        </p:nvGrpSpPr>
        <p:grpSpPr>
          <a:xfrm>
            <a:off x="395880" y="2431828"/>
            <a:ext cx="11399452" cy="2054918"/>
            <a:chOff x="396086" y="2431828"/>
            <a:chExt cx="11405389" cy="2054918"/>
          </a:xfrm>
        </p:grpSpPr>
        <p:sp>
          <p:nvSpPr>
            <p:cNvPr id="29" name="Abstand Mitte"/>
            <p:cNvSpPr/>
            <p:nvPr userDrawn="1"/>
          </p:nvSpPr>
          <p:spPr>
            <a:xfrm>
              <a:off x="396885" y="3423287"/>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31" name="Abstand Oben // Mitte"/>
            <p:cNvSpPr/>
            <p:nvPr userDrawn="1"/>
          </p:nvSpPr>
          <p:spPr>
            <a:xfrm>
              <a:off x="396086" y="2431828"/>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32" name="Abstand Unten // Mitte"/>
            <p:cNvSpPr/>
            <p:nvPr userDrawn="1"/>
          </p:nvSpPr>
          <p:spPr>
            <a:xfrm>
              <a:off x="396086" y="4414746"/>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sp>
        <p:nvSpPr>
          <p:cNvPr id="84" name="Titel 1"/>
          <p:cNvSpPr>
            <a:spLocks noGrp="1"/>
          </p:cNvSpPr>
          <p:nvPr>
            <p:ph type="title" hasCustomPrompt="1"/>
          </p:nvPr>
        </p:nvSpPr>
        <p:spPr>
          <a:xfrm>
            <a:off x="395289" y="368302"/>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86" name="Textplatzhalter 6"/>
          <p:cNvSpPr>
            <a:spLocks noGrp="1"/>
          </p:cNvSpPr>
          <p:nvPr>
            <p:ph type="body" sz="quarter" idx="12" hasCustomPrompt="1"/>
          </p:nvPr>
        </p:nvSpPr>
        <p:spPr>
          <a:xfrm>
            <a:off x="395288" y="5436004"/>
            <a:ext cx="11406187" cy="990200"/>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de-DE" noProof="0" dirty="0" smtClean="0"/>
              <a:t>Text in CorpoS (Textkörper) in 20 pt. einfügen // für Aufzählungen: Start // Absatz // Listenebene erhöhen</a:t>
            </a:r>
          </a:p>
          <a:p>
            <a:pPr lvl="1"/>
            <a:r>
              <a:rPr lang="de-DE" noProof="0" dirty="0" smtClean="0"/>
              <a:t>Zweite Ebene</a:t>
            </a:r>
          </a:p>
          <a:p>
            <a:pPr lvl="2"/>
            <a:r>
              <a:rPr lang="de-DE" noProof="0" dirty="0" smtClean="0"/>
              <a:t>Dritte Ebene</a:t>
            </a:r>
          </a:p>
        </p:txBody>
      </p:sp>
      <p:sp>
        <p:nvSpPr>
          <p:cNvPr id="87" name="Bildplatzhalter 8"/>
          <p:cNvSpPr>
            <a:spLocks noGrp="1"/>
          </p:cNvSpPr>
          <p:nvPr>
            <p:ph type="pic" sz="quarter" idx="13" hasCustomPrompt="1"/>
          </p:nvPr>
        </p:nvSpPr>
        <p:spPr bwMode="gray">
          <a:xfrm>
            <a:off x="396885" y="1511770"/>
            <a:ext cx="1838802" cy="1912590"/>
          </a:xfrm>
          <a:solidFill>
            <a:schemeClr val="accent6"/>
          </a:solidFill>
        </p:spPr>
        <p:txBody>
          <a:bodyPr/>
          <a:lstStyle>
            <a:lvl1pPr algn="ctr">
              <a:lnSpc>
                <a:spcPct val="100000"/>
              </a:lnSpc>
              <a:spcAft>
                <a:spcPts val="0"/>
              </a:spcAft>
              <a:defRPr sz="1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88" name="Bildplatzhalter 8"/>
          <p:cNvSpPr>
            <a:spLocks noGrp="1"/>
          </p:cNvSpPr>
          <p:nvPr>
            <p:ph type="pic" sz="quarter" idx="14" hasCustomPrompt="1"/>
          </p:nvPr>
        </p:nvSpPr>
        <p:spPr bwMode="gray">
          <a:xfrm>
            <a:off x="2308466" y="1511770"/>
            <a:ext cx="1842252" cy="1912590"/>
          </a:xfrm>
          <a:solidFill>
            <a:schemeClr val="accent6"/>
          </a:solidFill>
        </p:spPr>
        <p:txBody>
          <a:bodyPr/>
          <a:lstStyle>
            <a:lvl1pPr algn="ctr">
              <a:lnSpc>
                <a:spcPct val="100000"/>
              </a:lnSpc>
              <a:spcAft>
                <a:spcPts val="0"/>
              </a:spcAft>
              <a:defRPr sz="1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0" name="Bildplatzhalter 8"/>
          <p:cNvSpPr>
            <a:spLocks noGrp="1"/>
          </p:cNvSpPr>
          <p:nvPr>
            <p:ph type="pic" sz="quarter" idx="16" hasCustomPrompt="1"/>
          </p:nvPr>
        </p:nvSpPr>
        <p:spPr bwMode="gray">
          <a:xfrm>
            <a:off x="395288" y="3495679"/>
            <a:ext cx="3753557" cy="1911131"/>
          </a:xfrm>
          <a:solidFill>
            <a:schemeClr val="accent6"/>
          </a:solidFill>
        </p:spPr>
        <p:txBody>
          <a:bodyPr/>
          <a:lstStyle>
            <a:lvl1pPr algn="ctr">
              <a:lnSpc>
                <a:spcPct val="100000"/>
              </a:lnSpc>
              <a:spcAft>
                <a:spcPts val="0"/>
              </a:spcAft>
              <a:defRPr sz="1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2" name="Bildplatzhalter 8"/>
          <p:cNvSpPr>
            <a:spLocks noGrp="1"/>
          </p:cNvSpPr>
          <p:nvPr>
            <p:ph type="pic" sz="quarter" idx="23" hasCustomPrompt="1"/>
          </p:nvPr>
        </p:nvSpPr>
        <p:spPr bwMode="gray">
          <a:xfrm>
            <a:off x="4222402" y="2503829"/>
            <a:ext cx="3752492" cy="1910916"/>
          </a:xfrm>
          <a:solidFill>
            <a:schemeClr val="accent6"/>
          </a:solidFill>
        </p:spPr>
        <p:txBody>
          <a:bodyPr/>
          <a:lstStyle>
            <a:lvl1pPr algn="ctr">
              <a:lnSpc>
                <a:spcPct val="100000"/>
              </a:lnSpc>
              <a:spcAft>
                <a:spcPts val="0"/>
              </a:spcAft>
              <a:defRPr sz="1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4" name="Bildplatzhalter 8"/>
          <p:cNvSpPr>
            <a:spLocks noGrp="1"/>
          </p:cNvSpPr>
          <p:nvPr>
            <p:ph type="pic" sz="quarter" idx="27" hasCustomPrompt="1"/>
          </p:nvPr>
        </p:nvSpPr>
        <p:spPr bwMode="gray">
          <a:xfrm>
            <a:off x="6134153" y="4486747"/>
            <a:ext cx="1841010" cy="920061"/>
          </a:xfrm>
          <a:solidFill>
            <a:schemeClr val="accent6"/>
          </a:solidFill>
        </p:spPr>
        <p:txBody>
          <a:bodyPr/>
          <a:lstStyle>
            <a:lvl1pPr algn="ctr">
              <a:lnSpc>
                <a:spcPct val="100000"/>
              </a:lnSpc>
              <a:spcAft>
                <a:spcPts val="0"/>
              </a:spcAft>
              <a:defRPr sz="1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7" name="Bildplatzhalter 8"/>
          <p:cNvSpPr>
            <a:spLocks noGrp="1"/>
          </p:cNvSpPr>
          <p:nvPr>
            <p:ph type="pic" sz="quarter" idx="29" hasCustomPrompt="1"/>
          </p:nvPr>
        </p:nvSpPr>
        <p:spPr bwMode="gray">
          <a:xfrm>
            <a:off x="4222402" y="4486747"/>
            <a:ext cx="1839600" cy="920061"/>
          </a:xfrm>
          <a:solidFill>
            <a:schemeClr val="accent6"/>
          </a:solidFill>
        </p:spPr>
        <p:txBody>
          <a:bodyPr/>
          <a:lstStyle>
            <a:lvl1pPr algn="ctr">
              <a:lnSpc>
                <a:spcPct val="100000"/>
              </a:lnSpc>
              <a:spcAft>
                <a:spcPts val="0"/>
              </a:spcAft>
              <a:defRPr sz="1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0" name="Bildplatzhalter 8"/>
          <p:cNvSpPr>
            <a:spLocks noGrp="1"/>
          </p:cNvSpPr>
          <p:nvPr>
            <p:ph type="pic" sz="quarter" idx="31" hasCustomPrompt="1"/>
          </p:nvPr>
        </p:nvSpPr>
        <p:spPr bwMode="gray">
          <a:xfrm>
            <a:off x="8046676" y="3495679"/>
            <a:ext cx="3754800" cy="1911131"/>
          </a:xfrm>
          <a:solidFill>
            <a:schemeClr val="accent6"/>
          </a:solidFill>
        </p:spPr>
        <p:txBody>
          <a:bodyPr/>
          <a:lstStyle>
            <a:lvl1pPr algn="ctr">
              <a:lnSpc>
                <a:spcPct val="100000"/>
              </a:lnSpc>
              <a:spcAft>
                <a:spcPts val="0"/>
              </a:spcAft>
              <a:defRPr sz="1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1" name="Bildplatzhalter 8"/>
          <p:cNvSpPr>
            <a:spLocks noGrp="1"/>
          </p:cNvSpPr>
          <p:nvPr>
            <p:ph type="pic" sz="quarter" idx="33" hasCustomPrompt="1"/>
          </p:nvPr>
        </p:nvSpPr>
        <p:spPr bwMode="gray">
          <a:xfrm>
            <a:off x="8046677" y="1511770"/>
            <a:ext cx="1842420" cy="1912590"/>
          </a:xfrm>
          <a:solidFill>
            <a:schemeClr val="accent6"/>
          </a:solidFill>
        </p:spPr>
        <p:txBody>
          <a:bodyPr/>
          <a:lstStyle>
            <a:lvl1pPr algn="ctr">
              <a:lnSpc>
                <a:spcPct val="100000"/>
              </a:lnSpc>
              <a:spcAft>
                <a:spcPts val="0"/>
              </a:spcAft>
              <a:defRPr sz="1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2" name="Bildplatzhalter 8"/>
          <p:cNvSpPr>
            <a:spLocks noGrp="1"/>
          </p:cNvSpPr>
          <p:nvPr>
            <p:ph type="pic" sz="quarter" idx="34" hasCustomPrompt="1"/>
          </p:nvPr>
        </p:nvSpPr>
        <p:spPr bwMode="gray">
          <a:xfrm>
            <a:off x="9961876" y="1511770"/>
            <a:ext cx="1839600" cy="1912590"/>
          </a:xfrm>
          <a:solidFill>
            <a:schemeClr val="accent6"/>
          </a:solidFill>
        </p:spPr>
        <p:txBody>
          <a:bodyPr/>
          <a:lstStyle>
            <a:lvl1pPr algn="ctr">
              <a:lnSpc>
                <a:spcPct val="100000"/>
              </a:lnSpc>
              <a:spcAft>
                <a:spcPts val="0"/>
              </a:spcAft>
              <a:defRPr sz="1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3" name="Bildplatzhalter 8"/>
          <p:cNvSpPr>
            <a:spLocks noGrp="1"/>
          </p:cNvSpPr>
          <p:nvPr>
            <p:ph type="pic" sz="quarter" idx="35" hasCustomPrompt="1"/>
          </p:nvPr>
        </p:nvSpPr>
        <p:spPr bwMode="gray">
          <a:xfrm>
            <a:off x="6133886" y="1511770"/>
            <a:ext cx="1841010" cy="920061"/>
          </a:xfrm>
          <a:solidFill>
            <a:schemeClr val="accent6"/>
          </a:solidFill>
        </p:spPr>
        <p:txBody>
          <a:bodyPr/>
          <a:lstStyle>
            <a:lvl1pPr algn="ctr">
              <a:lnSpc>
                <a:spcPct val="100000"/>
              </a:lnSpc>
              <a:spcAft>
                <a:spcPts val="0"/>
              </a:spcAft>
              <a:defRPr sz="1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4" name="Bildplatzhalter 8"/>
          <p:cNvSpPr>
            <a:spLocks noGrp="1"/>
          </p:cNvSpPr>
          <p:nvPr>
            <p:ph type="pic" sz="quarter" idx="36" hasCustomPrompt="1"/>
          </p:nvPr>
        </p:nvSpPr>
        <p:spPr bwMode="gray">
          <a:xfrm>
            <a:off x="4222502" y="1511770"/>
            <a:ext cx="1839600" cy="920061"/>
          </a:xfrm>
          <a:solidFill>
            <a:schemeClr val="accent6"/>
          </a:solidFill>
        </p:spPr>
        <p:txBody>
          <a:bodyPr/>
          <a:lstStyle>
            <a:lvl1pPr algn="ctr">
              <a:lnSpc>
                <a:spcPct val="100000"/>
              </a:lnSpc>
              <a:spcAft>
                <a:spcPts val="0"/>
              </a:spcAft>
              <a:defRPr sz="1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5" name="Textplatzhalter 3"/>
          <p:cNvSpPr>
            <a:spLocks noGrp="1"/>
          </p:cNvSpPr>
          <p:nvPr>
            <p:ph type="body" sz="quarter" idx="17"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06" name="Textplatzhalter 3"/>
          <p:cNvSpPr>
            <a:spLocks noGrp="1"/>
          </p:cNvSpPr>
          <p:nvPr>
            <p:ph type="body" sz="quarter" idx="18"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07" name="Textplatzhalter 3"/>
          <p:cNvSpPr>
            <a:spLocks noGrp="1"/>
          </p:cNvSpPr>
          <p:nvPr>
            <p:ph type="body" sz="quarter" idx="37"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08" name="Fußzeilenplatzhalter 4"/>
          <p:cNvSpPr>
            <a:spLocks noGrp="1"/>
          </p:cNvSpPr>
          <p:nvPr>
            <p:ph type="ftr" sz="quarter" idx="38"/>
          </p:nvPr>
        </p:nvSpPr>
        <p:spPr>
          <a:xfrm>
            <a:off x="3578400" y="6552000"/>
            <a:ext cx="7848000" cy="306000"/>
          </a:xfrm>
        </p:spPr>
        <p:txBody>
          <a:bodyPr/>
          <a:lstStyle/>
          <a:p>
            <a:r>
              <a:rPr lang="de-DE" dirty="0" smtClean="0">
                <a:solidFill>
                  <a:prstClr val="white"/>
                </a:solidFill>
              </a:rPr>
              <a:t>Titel der Präsentation in CorpoS (Textkörper) 10pt | Abteilung | Datum</a:t>
            </a:r>
            <a:endParaRPr lang="de-DE" dirty="0">
              <a:solidFill>
                <a:prstClr val="white"/>
              </a:solidFill>
            </a:endParaRPr>
          </a:p>
        </p:txBody>
      </p:sp>
      <p:sp>
        <p:nvSpPr>
          <p:cNvPr id="109" name="Foliennummernplatzhalter 5"/>
          <p:cNvSpPr>
            <a:spLocks noGrp="1"/>
          </p:cNvSpPr>
          <p:nvPr>
            <p:ph type="sldNum" sz="quarter" idx="39"/>
          </p:nvPr>
        </p:nvSpPr>
        <p:spPr>
          <a:xfrm>
            <a:off x="11800803" y="6552000"/>
            <a:ext cx="323999" cy="306000"/>
          </a:xfrm>
        </p:spPr>
        <p:txBody>
          <a:bodyPr/>
          <a:lstStyle/>
          <a:p>
            <a:fld id="{AD1D1349-391B-44DC-865F-5996B3E40F26}" type="slidenum">
              <a:rPr lang="de-DE" smtClean="0">
                <a:solidFill>
                  <a:prstClr val="white"/>
                </a:solidFill>
              </a:rPr>
              <a:pPr/>
              <a:t>‹#›</a:t>
            </a:fld>
            <a:endParaRPr lang="de-DE" dirty="0">
              <a:solidFill>
                <a:prstClr val="white"/>
              </a:solidFill>
            </a:endParaRPr>
          </a:p>
        </p:txBody>
      </p:sp>
      <p:sp>
        <p:nvSpPr>
          <p:cNvPr id="110" name="Textplatzhalter 7"/>
          <p:cNvSpPr>
            <a:spLocks noGrp="1"/>
          </p:cNvSpPr>
          <p:nvPr>
            <p:ph type="body" sz="quarter" idx="40" hasCustomPrompt="1"/>
          </p:nvPr>
        </p:nvSpPr>
        <p:spPr>
          <a:xfrm>
            <a:off x="395289"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Tree>
    <p:extLst>
      <p:ext uri="{BB962C8B-B14F-4D97-AF65-F5344CB8AC3E}">
        <p14:creationId xmlns:p14="http://schemas.microsoft.com/office/powerpoint/2010/main" val="180732196"/>
      </p:ext>
    </p:extLst>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MultiPictures mit Textanmerkung 4">
    <p:spTree>
      <p:nvGrpSpPr>
        <p:cNvPr id="1" name=""/>
        <p:cNvGrpSpPr/>
        <p:nvPr/>
      </p:nvGrpSpPr>
      <p:grpSpPr>
        <a:xfrm>
          <a:off x="0" y="0"/>
          <a:ext cx="0" cy="0"/>
          <a:chOff x="0" y="0"/>
          <a:chExt cx="0" cy="0"/>
        </a:xfrm>
      </p:grpSpPr>
      <p:sp>
        <p:nvSpPr>
          <p:cNvPr id="11" name="Komplett" hidden="1"/>
          <p:cNvSpPr/>
          <p:nvPr userDrawn="1"/>
        </p:nvSpPr>
        <p:spPr>
          <a:xfrm>
            <a:off x="395880" y="1511767"/>
            <a:ext cx="11399452" cy="3895508"/>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nvGrpSpPr>
          <p:cNvPr id="64" name="Horizontal // fein" hidden="1"/>
          <p:cNvGrpSpPr/>
          <p:nvPr userDrawn="1"/>
        </p:nvGrpSpPr>
        <p:grpSpPr>
          <a:xfrm>
            <a:off x="395880" y="1511767"/>
            <a:ext cx="11399452" cy="3895508"/>
            <a:chOff x="396086" y="1511767"/>
            <a:chExt cx="11405389" cy="3895508"/>
          </a:xfrm>
        </p:grpSpPr>
        <p:sp>
          <p:nvSpPr>
            <p:cNvPr id="44" name="Links // Links"/>
            <p:cNvSpPr/>
            <p:nvPr userDrawn="1"/>
          </p:nvSpPr>
          <p:spPr>
            <a:xfrm>
              <a:off x="39608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45" name="Links // Rechts"/>
            <p:cNvSpPr/>
            <p:nvPr userDrawn="1"/>
          </p:nvSpPr>
          <p:spPr>
            <a:xfrm>
              <a:off x="230877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46" name="Rechts // Links"/>
            <p:cNvSpPr/>
            <p:nvPr userDrawn="1"/>
          </p:nvSpPr>
          <p:spPr>
            <a:xfrm>
              <a:off x="804683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47" name="Rechts // Rechts"/>
            <p:cNvSpPr/>
            <p:nvPr userDrawn="1"/>
          </p:nvSpPr>
          <p:spPr>
            <a:xfrm>
              <a:off x="995952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48" name="Mitte // Links"/>
            <p:cNvSpPr/>
            <p:nvPr userDrawn="1"/>
          </p:nvSpPr>
          <p:spPr>
            <a:xfrm>
              <a:off x="422146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49" name="Mitte // Rechts"/>
            <p:cNvSpPr/>
            <p:nvPr userDrawn="1"/>
          </p:nvSpPr>
          <p:spPr>
            <a:xfrm>
              <a:off x="613415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50" name="Links // Links"/>
            <p:cNvSpPr/>
            <p:nvPr userDrawn="1"/>
          </p:nvSpPr>
          <p:spPr>
            <a:xfrm>
              <a:off x="1352430"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51" name="Links // Rechts"/>
            <p:cNvSpPr/>
            <p:nvPr userDrawn="1"/>
          </p:nvSpPr>
          <p:spPr>
            <a:xfrm>
              <a:off x="3265118"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52" name="Rechts // Links"/>
            <p:cNvSpPr/>
            <p:nvPr userDrawn="1"/>
          </p:nvSpPr>
          <p:spPr>
            <a:xfrm>
              <a:off x="9003182"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53" name="Rechts // Rechts"/>
            <p:cNvSpPr/>
            <p:nvPr userDrawn="1"/>
          </p:nvSpPr>
          <p:spPr>
            <a:xfrm>
              <a:off x="10915875"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54" name="Mitte // Links"/>
            <p:cNvSpPr/>
            <p:nvPr userDrawn="1"/>
          </p:nvSpPr>
          <p:spPr>
            <a:xfrm>
              <a:off x="5177806"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55" name="Mitte // Rechts"/>
            <p:cNvSpPr/>
            <p:nvPr userDrawn="1"/>
          </p:nvSpPr>
          <p:spPr>
            <a:xfrm>
              <a:off x="7090494" y="1511767"/>
              <a:ext cx="885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grpSp>
        <p:nvGrpSpPr>
          <p:cNvPr id="65" name="Abstand Horizontal // fein" hidden="1"/>
          <p:cNvGrpSpPr/>
          <p:nvPr userDrawn="1"/>
        </p:nvGrpSpPr>
        <p:grpSpPr>
          <a:xfrm>
            <a:off x="1280395" y="1511767"/>
            <a:ext cx="9630427" cy="3895508"/>
            <a:chOff x="1281058" y="1511767"/>
            <a:chExt cx="9635443" cy="3895508"/>
          </a:xfrm>
        </p:grpSpPr>
        <p:sp>
          <p:nvSpPr>
            <p:cNvPr id="58" name="Abstand Rechts // Mitte"/>
            <p:cNvSpPr/>
            <p:nvPr userDrawn="1"/>
          </p:nvSpPr>
          <p:spPr>
            <a:xfrm>
              <a:off x="8931814"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59" name="Abstand Links // Mitte"/>
            <p:cNvSpPr/>
            <p:nvPr userDrawn="1"/>
          </p:nvSpPr>
          <p:spPr>
            <a:xfrm>
              <a:off x="1281058"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60" name="Abstand Mitte // Mitte"/>
            <p:cNvSpPr/>
            <p:nvPr userDrawn="1"/>
          </p:nvSpPr>
          <p:spPr>
            <a:xfrm>
              <a:off x="5106436"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61" name="Abstand Rechts // Mitte"/>
            <p:cNvSpPr/>
            <p:nvPr userDrawn="1"/>
          </p:nvSpPr>
          <p:spPr>
            <a:xfrm>
              <a:off x="10844501"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62" name="Abstand Links // Mitte"/>
            <p:cNvSpPr/>
            <p:nvPr userDrawn="1"/>
          </p:nvSpPr>
          <p:spPr>
            <a:xfrm>
              <a:off x="3193747"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63" name="Abstand Mitte // Mitte"/>
            <p:cNvSpPr/>
            <p:nvPr userDrawn="1"/>
          </p:nvSpPr>
          <p:spPr>
            <a:xfrm>
              <a:off x="7019125" y="1511767"/>
              <a:ext cx="72000" cy="38955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grpSp>
        <p:nvGrpSpPr>
          <p:cNvPr id="56" name="Horizontal // grob" hidden="1"/>
          <p:cNvGrpSpPr/>
          <p:nvPr userDrawn="1"/>
        </p:nvGrpSpPr>
        <p:grpSpPr>
          <a:xfrm>
            <a:off x="395880" y="1511300"/>
            <a:ext cx="11399452" cy="3895976"/>
            <a:chOff x="396086" y="1511300"/>
            <a:chExt cx="11405389" cy="3895976"/>
          </a:xfrm>
        </p:grpSpPr>
        <p:sp>
          <p:nvSpPr>
            <p:cNvPr id="25" name="Links // Links"/>
            <p:cNvSpPr/>
            <p:nvPr userDrawn="1"/>
          </p:nvSpPr>
          <p:spPr>
            <a:xfrm>
              <a:off x="396086"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26" name="Links // Rechts"/>
            <p:cNvSpPr/>
            <p:nvPr userDrawn="1"/>
          </p:nvSpPr>
          <p:spPr>
            <a:xfrm>
              <a:off x="2309244"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27" name="Rechts // Links"/>
            <p:cNvSpPr/>
            <p:nvPr userDrawn="1"/>
          </p:nvSpPr>
          <p:spPr>
            <a:xfrm>
              <a:off x="8048718"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28" name="Rechts // Rechts"/>
            <p:cNvSpPr/>
            <p:nvPr userDrawn="1"/>
          </p:nvSpPr>
          <p:spPr>
            <a:xfrm>
              <a:off x="9961875" y="1511768"/>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39" name="Mitte // Links"/>
            <p:cNvSpPr/>
            <p:nvPr userDrawn="1"/>
          </p:nvSpPr>
          <p:spPr>
            <a:xfrm>
              <a:off x="4222402"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40" name="Mitte // Rechts"/>
            <p:cNvSpPr/>
            <p:nvPr userDrawn="1"/>
          </p:nvSpPr>
          <p:spPr>
            <a:xfrm>
              <a:off x="6135560" y="1511300"/>
              <a:ext cx="1839600" cy="3895508"/>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23" name="Links"/>
            <p:cNvSpPr/>
            <p:nvPr userDrawn="1"/>
          </p:nvSpPr>
          <p:spPr>
            <a:xfrm>
              <a:off x="396086"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36" name="Mitte"/>
            <p:cNvSpPr/>
            <p:nvPr userDrawn="1"/>
          </p:nvSpPr>
          <p:spPr>
            <a:xfrm>
              <a:off x="4221380"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24" name="Rechts"/>
            <p:cNvSpPr/>
            <p:nvPr userDrawn="1"/>
          </p:nvSpPr>
          <p:spPr>
            <a:xfrm>
              <a:off x="8046675" y="1511767"/>
              <a:ext cx="3754800" cy="3895508"/>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grpSp>
        <p:nvGrpSpPr>
          <p:cNvPr id="67" name="Abstand Horizontal // grob" hidden="1"/>
          <p:cNvGrpSpPr/>
          <p:nvPr userDrawn="1"/>
        </p:nvGrpSpPr>
        <p:grpSpPr>
          <a:xfrm>
            <a:off x="2235301" y="1511300"/>
            <a:ext cx="7720610" cy="3895508"/>
            <a:chOff x="2236465" y="1511300"/>
            <a:chExt cx="7724631" cy="3895508"/>
          </a:xfrm>
        </p:grpSpPr>
        <p:sp>
          <p:nvSpPr>
            <p:cNvPr id="33" name="Abstand Links"/>
            <p:cNvSpPr/>
            <p:nvPr userDrawn="1"/>
          </p:nvSpPr>
          <p:spPr>
            <a:xfrm>
              <a:off x="4150133"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35" name="Abstand Rechts"/>
            <p:cNvSpPr/>
            <p:nvPr userDrawn="1"/>
          </p:nvSpPr>
          <p:spPr>
            <a:xfrm>
              <a:off x="7975427"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41" name="Abstand Rechts // Mitte"/>
            <p:cNvSpPr/>
            <p:nvPr userDrawn="1"/>
          </p:nvSpPr>
          <p:spPr>
            <a:xfrm>
              <a:off x="9889096"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42" name="Abstand Links // Mitte"/>
            <p:cNvSpPr/>
            <p:nvPr userDrawn="1"/>
          </p:nvSpPr>
          <p:spPr>
            <a:xfrm>
              <a:off x="2236465"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43" name="Abstand Mitte // Mitte"/>
            <p:cNvSpPr/>
            <p:nvPr userDrawn="1"/>
          </p:nvSpPr>
          <p:spPr>
            <a:xfrm>
              <a:off x="6062781" y="1511300"/>
              <a:ext cx="72000" cy="38955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grpSp>
        <p:nvGrpSpPr>
          <p:cNvPr id="99" name="Vertikal" hidden="1"/>
          <p:cNvGrpSpPr/>
          <p:nvPr userDrawn="1"/>
        </p:nvGrpSpPr>
        <p:grpSpPr>
          <a:xfrm>
            <a:off x="395082" y="1511299"/>
            <a:ext cx="11400250" cy="3895976"/>
            <a:chOff x="395287" y="1511299"/>
            <a:chExt cx="11406188" cy="3895976"/>
          </a:xfrm>
        </p:grpSpPr>
        <p:sp>
          <p:nvSpPr>
            <p:cNvPr id="19" name="Oben // Oben"/>
            <p:cNvSpPr/>
            <p:nvPr userDrawn="1"/>
          </p:nvSpPr>
          <p:spPr>
            <a:xfrm>
              <a:off x="396086" y="1511299"/>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20" name="Oben // Unten"/>
            <p:cNvSpPr/>
            <p:nvPr userDrawn="1"/>
          </p:nvSpPr>
          <p:spPr>
            <a:xfrm>
              <a:off x="396086" y="2502758"/>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21" name="Unten // Oben"/>
            <p:cNvSpPr/>
            <p:nvPr userDrawn="1"/>
          </p:nvSpPr>
          <p:spPr>
            <a:xfrm>
              <a:off x="395287" y="3494217"/>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22" name="Unten // Unten"/>
            <p:cNvSpPr/>
            <p:nvPr userDrawn="1"/>
          </p:nvSpPr>
          <p:spPr>
            <a:xfrm>
              <a:off x="396086" y="4485675"/>
              <a:ext cx="11405389" cy="92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16" name="Oben"/>
            <p:cNvSpPr/>
            <p:nvPr userDrawn="1"/>
          </p:nvSpPr>
          <p:spPr>
            <a:xfrm>
              <a:off x="396086" y="1511300"/>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18" name="Unten"/>
            <p:cNvSpPr/>
            <p:nvPr userDrawn="1"/>
          </p:nvSpPr>
          <p:spPr>
            <a:xfrm>
              <a:off x="396086" y="3495675"/>
              <a:ext cx="11405389" cy="1911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grpSp>
        <p:nvGrpSpPr>
          <p:cNvPr id="98" name="Abstand Vertikal" hidden="1"/>
          <p:cNvGrpSpPr/>
          <p:nvPr userDrawn="1"/>
        </p:nvGrpSpPr>
        <p:grpSpPr>
          <a:xfrm>
            <a:off x="395880" y="2431828"/>
            <a:ext cx="11399452" cy="2054918"/>
            <a:chOff x="396086" y="2431828"/>
            <a:chExt cx="11405389" cy="2054918"/>
          </a:xfrm>
        </p:grpSpPr>
        <p:sp>
          <p:nvSpPr>
            <p:cNvPr id="29" name="Abstand Mitte"/>
            <p:cNvSpPr/>
            <p:nvPr userDrawn="1"/>
          </p:nvSpPr>
          <p:spPr>
            <a:xfrm>
              <a:off x="396885" y="3423287"/>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31" name="Abstand Oben // Mitte"/>
            <p:cNvSpPr/>
            <p:nvPr userDrawn="1"/>
          </p:nvSpPr>
          <p:spPr>
            <a:xfrm>
              <a:off x="396086" y="2431828"/>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32" name="Abstand Unten // Mitte"/>
            <p:cNvSpPr/>
            <p:nvPr userDrawn="1"/>
          </p:nvSpPr>
          <p:spPr>
            <a:xfrm>
              <a:off x="396086" y="4414746"/>
              <a:ext cx="11404590"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sp>
        <p:nvSpPr>
          <p:cNvPr id="83" name="Titel 1"/>
          <p:cNvSpPr>
            <a:spLocks noGrp="1"/>
          </p:cNvSpPr>
          <p:nvPr>
            <p:ph type="title" hasCustomPrompt="1"/>
          </p:nvPr>
        </p:nvSpPr>
        <p:spPr>
          <a:xfrm>
            <a:off x="395289" y="368302"/>
            <a:ext cx="11406187" cy="1008360"/>
          </a:xfrm>
        </p:spPr>
        <p:txBody>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84" name="Textplatzhalter 6"/>
          <p:cNvSpPr>
            <a:spLocks noGrp="1"/>
          </p:cNvSpPr>
          <p:nvPr>
            <p:ph type="body" sz="quarter" idx="12" hasCustomPrompt="1"/>
          </p:nvPr>
        </p:nvSpPr>
        <p:spPr>
          <a:xfrm>
            <a:off x="395288" y="5436004"/>
            <a:ext cx="11406187" cy="990200"/>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de-DE" noProof="0" dirty="0" smtClean="0"/>
              <a:t>Text in CorpoS (Textkörper) in 20 pt. einfügen // für Aufzählungen: Start // Absatz // Listenebene erhöhen</a:t>
            </a:r>
          </a:p>
          <a:p>
            <a:pPr lvl="1"/>
            <a:r>
              <a:rPr lang="de-DE" noProof="0" dirty="0" smtClean="0"/>
              <a:t>Zweite Ebene</a:t>
            </a:r>
          </a:p>
          <a:p>
            <a:pPr lvl="2"/>
            <a:r>
              <a:rPr lang="de-DE" noProof="0" dirty="0" smtClean="0"/>
              <a:t>Dritte Ebene</a:t>
            </a:r>
          </a:p>
        </p:txBody>
      </p:sp>
      <p:sp>
        <p:nvSpPr>
          <p:cNvPr id="85" name="Bildplatzhalter 8"/>
          <p:cNvSpPr>
            <a:spLocks noGrp="1"/>
          </p:cNvSpPr>
          <p:nvPr>
            <p:ph type="pic" sz="quarter" idx="13" hasCustomPrompt="1"/>
          </p:nvPr>
        </p:nvSpPr>
        <p:spPr bwMode="gray">
          <a:xfrm>
            <a:off x="396885" y="1511770"/>
            <a:ext cx="1838802" cy="1912590"/>
          </a:xfrm>
          <a:solidFill>
            <a:schemeClr val="accent6"/>
          </a:solidFill>
        </p:spPr>
        <p:txBody>
          <a:bodyPr/>
          <a:lstStyle>
            <a:lvl1pPr algn="ctr">
              <a:lnSpc>
                <a:spcPct val="100000"/>
              </a:lnSpc>
              <a:spcAft>
                <a:spcPts val="0"/>
              </a:spcAft>
              <a:defRPr sz="1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86" name="Bildplatzhalter 8"/>
          <p:cNvSpPr>
            <a:spLocks noGrp="1"/>
          </p:cNvSpPr>
          <p:nvPr>
            <p:ph type="pic" sz="quarter" idx="14" hasCustomPrompt="1"/>
          </p:nvPr>
        </p:nvSpPr>
        <p:spPr bwMode="gray">
          <a:xfrm>
            <a:off x="2308466" y="1511770"/>
            <a:ext cx="1842252" cy="1912590"/>
          </a:xfrm>
          <a:solidFill>
            <a:schemeClr val="accent6"/>
          </a:solidFill>
        </p:spPr>
        <p:txBody>
          <a:bodyPr/>
          <a:lstStyle>
            <a:lvl1pPr algn="ctr">
              <a:lnSpc>
                <a:spcPct val="100000"/>
              </a:lnSpc>
              <a:spcAft>
                <a:spcPts val="0"/>
              </a:spcAft>
              <a:defRPr sz="1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87" name="Bildplatzhalter 8"/>
          <p:cNvSpPr>
            <a:spLocks noGrp="1"/>
          </p:cNvSpPr>
          <p:nvPr>
            <p:ph type="pic" sz="quarter" idx="16" hasCustomPrompt="1"/>
          </p:nvPr>
        </p:nvSpPr>
        <p:spPr bwMode="gray">
          <a:xfrm>
            <a:off x="395288" y="3495679"/>
            <a:ext cx="3753557" cy="1911131"/>
          </a:xfrm>
          <a:solidFill>
            <a:schemeClr val="accent6"/>
          </a:solidFill>
        </p:spPr>
        <p:txBody>
          <a:bodyPr/>
          <a:lstStyle>
            <a:lvl1pPr algn="ctr">
              <a:lnSpc>
                <a:spcPct val="100000"/>
              </a:lnSpc>
              <a:spcAft>
                <a:spcPts val="0"/>
              </a:spcAft>
              <a:defRPr sz="1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88" name="Bildplatzhalter 8"/>
          <p:cNvSpPr>
            <a:spLocks noGrp="1"/>
          </p:cNvSpPr>
          <p:nvPr>
            <p:ph type="pic" sz="quarter" idx="27" hasCustomPrompt="1"/>
          </p:nvPr>
        </p:nvSpPr>
        <p:spPr bwMode="gray">
          <a:xfrm>
            <a:off x="6134153" y="3495679"/>
            <a:ext cx="1841010" cy="1911131"/>
          </a:xfrm>
          <a:solidFill>
            <a:schemeClr val="accent6"/>
          </a:solidFill>
        </p:spPr>
        <p:txBody>
          <a:bodyPr/>
          <a:lstStyle>
            <a:lvl1pPr algn="ctr">
              <a:lnSpc>
                <a:spcPct val="100000"/>
              </a:lnSpc>
              <a:spcAft>
                <a:spcPts val="0"/>
              </a:spcAft>
              <a:defRPr sz="1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0" name="Bildplatzhalter 8"/>
          <p:cNvSpPr>
            <a:spLocks noGrp="1"/>
          </p:cNvSpPr>
          <p:nvPr>
            <p:ph type="pic" sz="quarter" idx="29" hasCustomPrompt="1"/>
          </p:nvPr>
        </p:nvSpPr>
        <p:spPr bwMode="gray">
          <a:xfrm>
            <a:off x="4222402" y="3495679"/>
            <a:ext cx="1839600" cy="1911131"/>
          </a:xfrm>
          <a:solidFill>
            <a:schemeClr val="accent6"/>
          </a:solidFill>
        </p:spPr>
        <p:txBody>
          <a:bodyPr/>
          <a:lstStyle>
            <a:lvl1pPr algn="ctr">
              <a:lnSpc>
                <a:spcPct val="100000"/>
              </a:lnSpc>
              <a:spcAft>
                <a:spcPts val="0"/>
              </a:spcAft>
              <a:defRPr sz="1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2" name="Bildplatzhalter 8"/>
          <p:cNvSpPr>
            <a:spLocks noGrp="1"/>
          </p:cNvSpPr>
          <p:nvPr>
            <p:ph type="pic" sz="quarter" idx="31" hasCustomPrompt="1"/>
          </p:nvPr>
        </p:nvSpPr>
        <p:spPr bwMode="gray">
          <a:xfrm>
            <a:off x="8046676" y="3495679"/>
            <a:ext cx="3754800" cy="1911131"/>
          </a:xfrm>
          <a:solidFill>
            <a:schemeClr val="accent6"/>
          </a:solidFill>
        </p:spPr>
        <p:txBody>
          <a:bodyPr/>
          <a:lstStyle>
            <a:lvl1pPr algn="ctr">
              <a:lnSpc>
                <a:spcPct val="100000"/>
              </a:lnSpc>
              <a:spcAft>
                <a:spcPts val="0"/>
              </a:spcAft>
              <a:defRPr sz="1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4" name="Bildplatzhalter 8"/>
          <p:cNvSpPr>
            <a:spLocks noGrp="1"/>
          </p:cNvSpPr>
          <p:nvPr>
            <p:ph type="pic" sz="quarter" idx="33" hasCustomPrompt="1"/>
          </p:nvPr>
        </p:nvSpPr>
        <p:spPr bwMode="gray">
          <a:xfrm>
            <a:off x="8046677" y="1511770"/>
            <a:ext cx="1842420" cy="1912590"/>
          </a:xfrm>
          <a:solidFill>
            <a:schemeClr val="accent6"/>
          </a:solidFill>
        </p:spPr>
        <p:txBody>
          <a:bodyPr/>
          <a:lstStyle>
            <a:lvl1pPr algn="ctr">
              <a:lnSpc>
                <a:spcPct val="100000"/>
              </a:lnSpc>
              <a:spcAft>
                <a:spcPts val="0"/>
              </a:spcAft>
              <a:defRPr sz="1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97" name="Bildplatzhalter 8"/>
          <p:cNvSpPr>
            <a:spLocks noGrp="1"/>
          </p:cNvSpPr>
          <p:nvPr>
            <p:ph type="pic" sz="quarter" idx="34" hasCustomPrompt="1"/>
          </p:nvPr>
        </p:nvSpPr>
        <p:spPr bwMode="gray">
          <a:xfrm>
            <a:off x="9961876" y="1511770"/>
            <a:ext cx="1839600" cy="1912590"/>
          </a:xfrm>
          <a:solidFill>
            <a:schemeClr val="accent6"/>
          </a:solidFill>
        </p:spPr>
        <p:txBody>
          <a:bodyPr/>
          <a:lstStyle>
            <a:lvl1pPr algn="ctr">
              <a:lnSpc>
                <a:spcPct val="100000"/>
              </a:lnSpc>
              <a:spcAft>
                <a:spcPts val="0"/>
              </a:spcAft>
              <a:defRPr sz="1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0" name="Bildplatzhalter 8"/>
          <p:cNvSpPr>
            <a:spLocks noGrp="1"/>
          </p:cNvSpPr>
          <p:nvPr>
            <p:ph type="pic" sz="quarter" idx="36" hasCustomPrompt="1"/>
          </p:nvPr>
        </p:nvSpPr>
        <p:spPr bwMode="gray">
          <a:xfrm>
            <a:off x="4222501" y="1511770"/>
            <a:ext cx="3752659" cy="1912590"/>
          </a:xfrm>
          <a:solidFill>
            <a:schemeClr val="accent6"/>
          </a:solidFill>
        </p:spPr>
        <p:txBody>
          <a:bodyPr/>
          <a:lstStyle>
            <a:lvl1pPr algn="ctr">
              <a:lnSpc>
                <a:spcPct val="100000"/>
              </a:lnSpc>
              <a:spcAft>
                <a:spcPts val="0"/>
              </a:spcAft>
              <a:defRPr sz="1000">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1" name="Textplatzhalter 3"/>
          <p:cNvSpPr>
            <a:spLocks noGrp="1"/>
          </p:cNvSpPr>
          <p:nvPr>
            <p:ph type="body" sz="quarter" idx="17"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02" name="Textplatzhalter 3"/>
          <p:cNvSpPr>
            <a:spLocks noGrp="1"/>
          </p:cNvSpPr>
          <p:nvPr>
            <p:ph type="body" sz="quarter" idx="18"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03" name="Textplatzhalter 3"/>
          <p:cNvSpPr>
            <a:spLocks noGrp="1"/>
          </p:cNvSpPr>
          <p:nvPr>
            <p:ph type="body" sz="quarter" idx="37"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04" name="Fußzeilenplatzhalter 4"/>
          <p:cNvSpPr>
            <a:spLocks noGrp="1"/>
          </p:cNvSpPr>
          <p:nvPr>
            <p:ph type="ftr" sz="quarter" idx="38"/>
          </p:nvPr>
        </p:nvSpPr>
        <p:spPr>
          <a:xfrm>
            <a:off x="3578400" y="6552000"/>
            <a:ext cx="7848000" cy="306000"/>
          </a:xfrm>
        </p:spPr>
        <p:txBody>
          <a:bodyPr/>
          <a:lstStyle/>
          <a:p>
            <a:r>
              <a:rPr lang="de-DE" dirty="0" smtClean="0">
                <a:solidFill>
                  <a:prstClr val="white"/>
                </a:solidFill>
              </a:rPr>
              <a:t>Titel der Präsentation in CorpoS (Textkörper) 10pt | Abteilung | Datum</a:t>
            </a:r>
            <a:endParaRPr lang="de-DE" dirty="0">
              <a:solidFill>
                <a:prstClr val="white"/>
              </a:solidFill>
            </a:endParaRPr>
          </a:p>
        </p:txBody>
      </p:sp>
      <p:sp>
        <p:nvSpPr>
          <p:cNvPr id="105" name="Foliennummernplatzhalter 5"/>
          <p:cNvSpPr>
            <a:spLocks noGrp="1"/>
          </p:cNvSpPr>
          <p:nvPr>
            <p:ph type="sldNum" sz="quarter" idx="39"/>
          </p:nvPr>
        </p:nvSpPr>
        <p:spPr>
          <a:xfrm>
            <a:off x="11800803" y="6552000"/>
            <a:ext cx="323999" cy="306000"/>
          </a:xfrm>
        </p:spPr>
        <p:txBody>
          <a:bodyPr/>
          <a:lstStyle/>
          <a:p>
            <a:fld id="{AD1D1349-391B-44DC-865F-5996B3E40F26}" type="slidenum">
              <a:rPr lang="de-DE" smtClean="0">
                <a:solidFill>
                  <a:prstClr val="white"/>
                </a:solidFill>
              </a:rPr>
              <a:pPr/>
              <a:t>‹#›</a:t>
            </a:fld>
            <a:endParaRPr lang="de-DE" dirty="0">
              <a:solidFill>
                <a:prstClr val="white"/>
              </a:solidFill>
            </a:endParaRPr>
          </a:p>
        </p:txBody>
      </p:sp>
      <p:sp>
        <p:nvSpPr>
          <p:cNvPr id="106" name="Textplatzhalter 7"/>
          <p:cNvSpPr>
            <a:spLocks noGrp="1"/>
          </p:cNvSpPr>
          <p:nvPr>
            <p:ph type="body" sz="quarter" idx="40" hasCustomPrompt="1"/>
          </p:nvPr>
        </p:nvSpPr>
        <p:spPr>
          <a:xfrm>
            <a:off x="395289"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Tree>
    <p:extLst>
      <p:ext uri="{BB962C8B-B14F-4D97-AF65-F5344CB8AC3E}">
        <p14:creationId xmlns:p14="http://schemas.microsoft.com/office/powerpoint/2010/main" val="557256649"/>
      </p:ext>
    </p:extLst>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Vollbild mit Highlights">
    <p:spTree>
      <p:nvGrpSpPr>
        <p:cNvPr id="1" name=""/>
        <p:cNvGrpSpPr/>
        <p:nvPr/>
      </p:nvGrpSpPr>
      <p:grpSpPr>
        <a:xfrm>
          <a:off x="0" y="0"/>
          <a:ext cx="0" cy="0"/>
          <a:chOff x="0" y="0"/>
          <a:chExt cx="0" cy="0"/>
        </a:xfrm>
      </p:grpSpPr>
      <p:sp>
        <p:nvSpPr>
          <p:cNvPr id="87" name="Bildplatzhalter 8"/>
          <p:cNvSpPr>
            <a:spLocks noGrp="1"/>
          </p:cNvSpPr>
          <p:nvPr>
            <p:ph type="pic" sz="quarter" idx="10" hasCustomPrompt="1"/>
          </p:nvPr>
        </p:nvSpPr>
        <p:spPr bwMode="gray">
          <a:xfrm>
            <a:off x="3" y="1"/>
            <a:ext cx="12193200" cy="6858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0" name="Textplatzhalter 3"/>
          <p:cNvSpPr>
            <a:spLocks noGrp="1"/>
          </p:cNvSpPr>
          <p:nvPr>
            <p:ph type="body" sz="quarter" idx="77" hasCustomPrompt="1"/>
          </p:nvPr>
        </p:nvSpPr>
        <p:spPr bwMode="gray">
          <a:xfrm>
            <a:off x="4528933" y="366999"/>
            <a:ext cx="3139584" cy="380470"/>
          </a:xfrm>
          <a:solidFill>
            <a:schemeClr val="tx1"/>
          </a:solidFill>
        </p:spPr>
        <p:txBody>
          <a:bodyPr wrap="none" lIns="107963" tIns="35987" rIns="107963" bIns="35987" anchor="ctr" anchorCtr="0">
            <a:spAutoFit/>
          </a:bodyPr>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de-DE" noProof="0" dirty="0" smtClean="0"/>
              <a:t>Highlight in CorpoS in 20 pt.</a:t>
            </a:r>
          </a:p>
        </p:txBody>
      </p:sp>
      <p:sp>
        <p:nvSpPr>
          <p:cNvPr id="101" name="Textplatzhalter 3"/>
          <p:cNvSpPr>
            <a:spLocks noGrp="1"/>
          </p:cNvSpPr>
          <p:nvPr>
            <p:ph type="body" sz="quarter" idx="71" hasCustomPrompt="1"/>
          </p:nvPr>
        </p:nvSpPr>
        <p:spPr bwMode="gray">
          <a:xfrm>
            <a:off x="396001" y="1786681"/>
            <a:ext cx="3139584" cy="380470"/>
          </a:xfrm>
          <a:solidFill>
            <a:schemeClr val="tx1"/>
          </a:solidFill>
        </p:spPr>
        <p:txBody>
          <a:bodyPr wrap="none" lIns="107963" tIns="35987" rIns="107963" bIns="35987" anchor="ctr" anchorCtr="0">
            <a:spAutoFit/>
          </a:bodyPr>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de-DE" noProof="0" dirty="0" smtClean="0"/>
              <a:t>Highlight in CorpoS in 20 pt.</a:t>
            </a:r>
          </a:p>
        </p:txBody>
      </p:sp>
      <p:sp>
        <p:nvSpPr>
          <p:cNvPr id="102" name="Textplatzhalter 3"/>
          <p:cNvSpPr>
            <a:spLocks noGrp="1"/>
          </p:cNvSpPr>
          <p:nvPr>
            <p:ph type="body" sz="quarter" idx="72" hasCustomPrompt="1"/>
          </p:nvPr>
        </p:nvSpPr>
        <p:spPr bwMode="gray">
          <a:xfrm>
            <a:off x="396001" y="4626044"/>
            <a:ext cx="3139584" cy="380470"/>
          </a:xfrm>
          <a:solidFill>
            <a:schemeClr val="tx1"/>
          </a:solidFill>
        </p:spPr>
        <p:txBody>
          <a:bodyPr wrap="none" lIns="107963" tIns="35987" rIns="107963" bIns="35987" anchor="ctr" anchorCtr="0">
            <a:spAutoFit/>
          </a:bodyPr>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de-DE" noProof="0" dirty="0" smtClean="0"/>
              <a:t>Highlight in CorpoS in 20 pt.</a:t>
            </a:r>
          </a:p>
        </p:txBody>
      </p:sp>
      <p:sp>
        <p:nvSpPr>
          <p:cNvPr id="103" name="Textplatzhalter 3"/>
          <p:cNvSpPr>
            <a:spLocks noGrp="1"/>
          </p:cNvSpPr>
          <p:nvPr>
            <p:ph type="body" sz="quarter" idx="75" hasCustomPrompt="1"/>
          </p:nvPr>
        </p:nvSpPr>
        <p:spPr bwMode="gray">
          <a:xfrm>
            <a:off x="396001" y="3206363"/>
            <a:ext cx="3139584" cy="380470"/>
          </a:xfrm>
          <a:solidFill>
            <a:schemeClr val="tx1"/>
          </a:solidFill>
        </p:spPr>
        <p:txBody>
          <a:bodyPr wrap="none" lIns="107963" tIns="35987" rIns="107963" bIns="35987" anchor="ctr" anchorCtr="0">
            <a:spAutoFit/>
          </a:bodyPr>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de-DE" noProof="0" dirty="0" smtClean="0"/>
              <a:t>Highlight in CorpoS in 20 pt.</a:t>
            </a:r>
          </a:p>
        </p:txBody>
      </p:sp>
      <p:sp>
        <p:nvSpPr>
          <p:cNvPr id="104" name="Textplatzhalter 3"/>
          <p:cNvSpPr>
            <a:spLocks noGrp="1"/>
          </p:cNvSpPr>
          <p:nvPr>
            <p:ph type="body" sz="quarter" idx="19" hasCustomPrompt="1"/>
          </p:nvPr>
        </p:nvSpPr>
        <p:spPr bwMode="gray">
          <a:xfrm>
            <a:off x="396001" y="366999"/>
            <a:ext cx="3139584" cy="380470"/>
          </a:xfrm>
          <a:solidFill>
            <a:schemeClr val="tx1"/>
          </a:solidFill>
        </p:spPr>
        <p:txBody>
          <a:bodyPr wrap="none" lIns="107963" tIns="35987" rIns="107963" bIns="35987" anchor="ctr" anchorCtr="0">
            <a:spAutoFit/>
          </a:bodyPr>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de-DE" noProof="0" dirty="0" smtClean="0"/>
              <a:t>Highlight in CorpoS in 20 pt.</a:t>
            </a:r>
          </a:p>
        </p:txBody>
      </p:sp>
      <p:sp>
        <p:nvSpPr>
          <p:cNvPr id="105" name="Textplatzhalter 3"/>
          <p:cNvSpPr>
            <a:spLocks noGrp="1"/>
          </p:cNvSpPr>
          <p:nvPr>
            <p:ph type="body" sz="quarter" idx="78" hasCustomPrompt="1"/>
          </p:nvPr>
        </p:nvSpPr>
        <p:spPr bwMode="gray">
          <a:xfrm>
            <a:off x="4528933" y="6043658"/>
            <a:ext cx="3139584" cy="380470"/>
          </a:xfrm>
          <a:solidFill>
            <a:schemeClr val="tx1"/>
          </a:solidFill>
        </p:spPr>
        <p:txBody>
          <a:bodyPr wrap="none" lIns="107963" tIns="35987" rIns="107963" bIns="35987" anchor="ctr" anchorCtr="0">
            <a:spAutoFit/>
          </a:bodyPr>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de-DE" noProof="0" dirty="0" smtClean="0"/>
              <a:t>Highlight in CorpoS in 20 pt.</a:t>
            </a:r>
          </a:p>
        </p:txBody>
      </p:sp>
      <p:sp>
        <p:nvSpPr>
          <p:cNvPr id="106" name="Textplatzhalter 3"/>
          <p:cNvSpPr>
            <a:spLocks noGrp="1"/>
          </p:cNvSpPr>
          <p:nvPr>
            <p:ph type="body" sz="quarter" idx="68" hasCustomPrompt="1"/>
          </p:nvPr>
        </p:nvSpPr>
        <p:spPr bwMode="gray">
          <a:xfrm>
            <a:off x="396001" y="6045725"/>
            <a:ext cx="3139584" cy="380470"/>
          </a:xfrm>
          <a:solidFill>
            <a:schemeClr val="tx1"/>
          </a:solidFill>
        </p:spPr>
        <p:txBody>
          <a:bodyPr wrap="none" lIns="107963" tIns="35987" rIns="107963" bIns="35987" anchor="ctr" anchorCtr="0">
            <a:spAutoFit/>
          </a:bodyPr>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de-DE" noProof="0" dirty="0" smtClean="0"/>
              <a:t>Highlight in CorpoS in 20 pt.</a:t>
            </a:r>
          </a:p>
        </p:txBody>
      </p:sp>
      <p:sp>
        <p:nvSpPr>
          <p:cNvPr id="107" name="Textplatzhalter 3"/>
          <p:cNvSpPr>
            <a:spLocks noGrp="1"/>
          </p:cNvSpPr>
          <p:nvPr>
            <p:ph type="body" sz="quarter" idx="73" hasCustomPrompt="1"/>
          </p:nvPr>
        </p:nvSpPr>
        <p:spPr bwMode="gray">
          <a:xfrm>
            <a:off x="8661861" y="1786164"/>
            <a:ext cx="3139584" cy="380470"/>
          </a:xfrm>
          <a:solidFill>
            <a:schemeClr val="tx1"/>
          </a:solidFill>
        </p:spPr>
        <p:txBody>
          <a:bodyPr wrap="none" lIns="107963" tIns="35987" rIns="107963" bIns="35987" anchor="ctr" anchorCtr="0">
            <a:spAutoFit/>
          </a:bodyPr>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de-DE" noProof="0" dirty="0" smtClean="0"/>
              <a:t>Highlight in CorpoS in 20 pt.</a:t>
            </a:r>
          </a:p>
        </p:txBody>
      </p:sp>
      <p:sp>
        <p:nvSpPr>
          <p:cNvPr id="108" name="Textplatzhalter 3"/>
          <p:cNvSpPr>
            <a:spLocks noGrp="1"/>
          </p:cNvSpPr>
          <p:nvPr>
            <p:ph type="body" sz="quarter" idx="74" hasCustomPrompt="1"/>
          </p:nvPr>
        </p:nvSpPr>
        <p:spPr bwMode="gray">
          <a:xfrm>
            <a:off x="8661861" y="4624494"/>
            <a:ext cx="3139584" cy="380470"/>
          </a:xfrm>
          <a:solidFill>
            <a:schemeClr val="tx1"/>
          </a:solidFill>
        </p:spPr>
        <p:txBody>
          <a:bodyPr wrap="none" lIns="107963" tIns="35987" rIns="107963" bIns="35987" anchor="ctr" anchorCtr="0">
            <a:spAutoFit/>
          </a:bodyPr>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de-DE" noProof="0" dirty="0" smtClean="0"/>
              <a:t>Highlight in CorpoS in 20 pt.</a:t>
            </a:r>
          </a:p>
        </p:txBody>
      </p:sp>
      <p:sp>
        <p:nvSpPr>
          <p:cNvPr id="114" name="Textplatzhalter 3"/>
          <p:cNvSpPr>
            <a:spLocks noGrp="1"/>
          </p:cNvSpPr>
          <p:nvPr>
            <p:ph type="body" sz="quarter" idx="76" hasCustomPrompt="1"/>
          </p:nvPr>
        </p:nvSpPr>
        <p:spPr bwMode="gray">
          <a:xfrm>
            <a:off x="8661861" y="3205329"/>
            <a:ext cx="3139584" cy="380470"/>
          </a:xfrm>
          <a:solidFill>
            <a:schemeClr val="tx1"/>
          </a:solidFill>
        </p:spPr>
        <p:txBody>
          <a:bodyPr wrap="none" lIns="107963" tIns="35987" rIns="107963" bIns="35987" anchor="ctr" anchorCtr="0">
            <a:spAutoFit/>
          </a:bodyPr>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de-DE" noProof="0" dirty="0" smtClean="0"/>
              <a:t>Highlight in CorpoS in 20 pt.</a:t>
            </a:r>
          </a:p>
        </p:txBody>
      </p:sp>
      <p:sp>
        <p:nvSpPr>
          <p:cNvPr id="117" name="Textplatzhalter 3"/>
          <p:cNvSpPr>
            <a:spLocks noGrp="1"/>
          </p:cNvSpPr>
          <p:nvPr>
            <p:ph type="body" sz="quarter" idx="69" hasCustomPrompt="1"/>
          </p:nvPr>
        </p:nvSpPr>
        <p:spPr bwMode="gray">
          <a:xfrm>
            <a:off x="8661861" y="366999"/>
            <a:ext cx="3139584" cy="380470"/>
          </a:xfrm>
          <a:solidFill>
            <a:schemeClr val="tx1"/>
          </a:solidFill>
        </p:spPr>
        <p:txBody>
          <a:bodyPr wrap="none" lIns="107963" tIns="35987" rIns="107963" bIns="35987" anchor="ctr" anchorCtr="0">
            <a:spAutoFit/>
          </a:bodyPr>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de-DE" noProof="0" dirty="0" smtClean="0"/>
              <a:t>Highlight in CorpoS in 20 pt.</a:t>
            </a:r>
          </a:p>
        </p:txBody>
      </p:sp>
      <p:sp>
        <p:nvSpPr>
          <p:cNvPr id="118" name="Textplatzhalter 3"/>
          <p:cNvSpPr>
            <a:spLocks noGrp="1"/>
          </p:cNvSpPr>
          <p:nvPr>
            <p:ph type="body" sz="quarter" idx="70" hasCustomPrompt="1"/>
          </p:nvPr>
        </p:nvSpPr>
        <p:spPr bwMode="gray">
          <a:xfrm>
            <a:off x="8661861" y="6043658"/>
            <a:ext cx="3139584" cy="380470"/>
          </a:xfrm>
          <a:solidFill>
            <a:schemeClr val="tx1"/>
          </a:solidFill>
        </p:spPr>
        <p:txBody>
          <a:bodyPr wrap="none" lIns="107963" tIns="35987" rIns="107963" bIns="35987" anchor="ctr" anchorCtr="0">
            <a:spAutoFit/>
          </a:bodyPr>
          <a:lstStyle>
            <a:lvl1pPr marL="0" indent="0" algn="l">
              <a:lnSpc>
                <a:spcPct val="100000"/>
              </a:lnSpc>
              <a:spcAft>
                <a:spcPts val="0"/>
              </a:spcAft>
              <a:buFont typeface="Arial" panose="020B0604020202020204" pitchFamily="34" charset="0"/>
              <a:buNone/>
              <a:defRPr sz="2000" b="0" i="0">
                <a:solidFill>
                  <a:schemeClr val="bg1"/>
                </a:solidFill>
              </a:defRPr>
            </a:lvl1pPr>
            <a:lvl2pPr marL="0" indent="0" algn="l">
              <a:lnSpc>
                <a:spcPct val="100000"/>
              </a:lnSpc>
              <a:spcAft>
                <a:spcPts val="0"/>
              </a:spcAft>
              <a:buNone/>
              <a:defRPr sz="2000" b="0" i="0">
                <a:solidFill>
                  <a:schemeClr val="bg1"/>
                </a:solidFill>
              </a:defRPr>
            </a:lvl2pPr>
            <a:lvl3pPr marL="0" indent="0" algn="l">
              <a:lnSpc>
                <a:spcPct val="100000"/>
              </a:lnSpc>
              <a:spcAft>
                <a:spcPts val="0"/>
              </a:spcAft>
              <a:buNone/>
              <a:defRPr sz="2000" b="0" i="0">
                <a:solidFill>
                  <a:schemeClr val="bg1"/>
                </a:solidFill>
              </a:defRPr>
            </a:lvl3pPr>
            <a:lvl4pPr marL="0" indent="0" algn="l">
              <a:lnSpc>
                <a:spcPct val="100000"/>
              </a:lnSpc>
              <a:spcAft>
                <a:spcPts val="0"/>
              </a:spcAft>
              <a:buNone/>
              <a:defRPr sz="2000" b="0" i="0">
                <a:solidFill>
                  <a:schemeClr val="bg1"/>
                </a:solidFill>
              </a:defRPr>
            </a:lvl4pPr>
            <a:lvl5pPr marL="0" indent="0" algn="l">
              <a:lnSpc>
                <a:spcPct val="100000"/>
              </a:lnSpc>
              <a:spcAft>
                <a:spcPts val="0"/>
              </a:spcAft>
              <a:buNone/>
              <a:defRPr sz="2000" b="0" i="0">
                <a:solidFill>
                  <a:schemeClr val="bg1"/>
                </a:solidFill>
              </a:defRPr>
            </a:lvl5pPr>
            <a:lvl6pPr marL="0" indent="0" algn="l">
              <a:lnSpc>
                <a:spcPct val="100000"/>
              </a:lnSpc>
              <a:spcAft>
                <a:spcPts val="0"/>
              </a:spcAft>
              <a:buNone/>
              <a:defRPr sz="2000" b="0" i="0">
                <a:solidFill>
                  <a:schemeClr val="bg1"/>
                </a:solidFill>
              </a:defRPr>
            </a:lvl6pPr>
            <a:lvl7pPr marL="0" indent="0" algn="l">
              <a:lnSpc>
                <a:spcPct val="100000"/>
              </a:lnSpc>
              <a:spcAft>
                <a:spcPts val="0"/>
              </a:spcAft>
              <a:buNone/>
              <a:defRPr sz="2000" b="0" i="0">
                <a:solidFill>
                  <a:schemeClr val="bg1"/>
                </a:solidFill>
              </a:defRPr>
            </a:lvl7pPr>
            <a:lvl8pPr marL="0" indent="0" algn="l">
              <a:lnSpc>
                <a:spcPct val="100000"/>
              </a:lnSpc>
              <a:spcAft>
                <a:spcPts val="0"/>
              </a:spcAft>
              <a:buNone/>
              <a:defRPr sz="2000" b="0" i="0">
                <a:solidFill>
                  <a:schemeClr val="bg1"/>
                </a:solidFill>
              </a:defRPr>
            </a:lvl8pPr>
            <a:lvl9pPr marL="0" indent="0" algn="l">
              <a:lnSpc>
                <a:spcPct val="100000"/>
              </a:lnSpc>
              <a:spcAft>
                <a:spcPts val="0"/>
              </a:spcAft>
              <a:buNone/>
              <a:defRPr sz="2000" b="0" i="0">
                <a:solidFill>
                  <a:schemeClr val="bg1"/>
                </a:solidFill>
              </a:defRPr>
            </a:lvl9pPr>
          </a:lstStyle>
          <a:p>
            <a:pPr lvl="0"/>
            <a:r>
              <a:rPr lang="de-DE" noProof="0" dirty="0" smtClean="0"/>
              <a:t>Highlight in CorpoS in 20 pt.</a:t>
            </a:r>
          </a:p>
        </p:txBody>
      </p:sp>
      <p:sp>
        <p:nvSpPr>
          <p:cNvPr id="119" name="Textplatzhalter 3"/>
          <p:cNvSpPr>
            <a:spLocks noGrp="1"/>
          </p:cNvSpPr>
          <p:nvPr>
            <p:ph type="body" sz="quarter" idx="17"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20" name="Textplatzhalter 3"/>
          <p:cNvSpPr>
            <a:spLocks noGrp="1"/>
          </p:cNvSpPr>
          <p:nvPr>
            <p:ph type="body" sz="quarter" idx="18"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21" name="Textplatzhalter 3"/>
          <p:cNvSpPr>
            <a:spLocks noGrp="1"/>
          </p:cNvSpPr>
          <p:nvPr>
            <p:ph type="body" sz="quarter" idx="79"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Tree>
    <p:extLst>
      <p:ext uri="{BB962C8B-B14F-4D97-AF65-F5344CB8AC3E}">
        <p14:creationId xmlns:p14="http://schemas.microsoft.com/office/powerpoint/2010/main" val="2833564117"/>
      </p:ext>
    </p:extLst>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Headline // Text/MultiPictures">
    <p:spTree>
      <p:nvGrpSpPr>
        <p:cNvPr id="1" name=""/>
        <p:cNvGrpSpPr/>
        <p:nvPr/>
      </p:nvGrpSpPr>
      <p:grpSpPr>
        <a:xfrm>
          <a:off x="0" y="0"/>
          <a:ext cx="0" cy="0"/>
          <a:chOff x="0" y="0"/>
          <a:chExt cx="0" cy="0"/>
        </a:xfrm>
      </p:grpSpPr>
      <p:grpSp>
        <p:nvGrpSpPr>
          <p:cNvPr id="6" name="Raster" hidden="1"/>
          <p:cNvGrpSpPr/>
          <p:nvPr userDrawn="1"/>
        </p:nvGrpSpPr>
        <p:grpSpPr>
          <a:xfrm>
            <a:off x="-851" y="1"/>
            <a:ext cx="12192855" cy="6858000"/>
            <a:chOff x="-855" y="0"/>
            <a:chExt cx="12199205" cy="6858000"/>
          </a:xfrm>
        </p:grpSpPr>
        <p:sp>
          <p:nvSpPr>
            <p:cNvPr id="24"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nvGrpSpPr>
            <p:cNvPr id="2" name="Abstand Horizontal"/>
            <p:cNvGrpSpPr/>
            <p:nvPr userDrawn="1"/>
          </p:nvGrpSpPr>
          <p:grpSpPr>
            <a:xfrm>
              <a:off x="2995458" y="0"/>
              <a:ext cx="6207434" cy="6858000"/>
              <a:chOff x="2995458" y="0"/>
              <a:chExt cx="6207434" cy="6858000"/>
            </a:xfrm>
          </p:grpSpPr>
          <p:sp>
            <p:nvSpPr>
              <p:cNvPr id="28"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29"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34" name="Abstand Rechts"/>
              <p:cNvSpPr/>
              <p:nvPr userDrawn="1"/>
            </p:nvSpPr>
            <p:spPr>
              <a:xfrm>
                <a:off x="9130892"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grpSp>
          <p:nvGrpSpPr>
            <p:cNvPr id="3" name="Abstand Vertikal"/>
            <p:cNvGrpSpPr/>
            <p:nvPr userDrawn="1"/>
          </p:nvGrpSpPr>
          <p:grpSpPr>
            <a:xfrm>
              <a:off x="0" y="1083600"/>
              <a:ext cx="12198350" cy="4690800"/>
              <a:chOff x="0" y="1083600"/>
              <a:chExt cx="12198350" cy="4690800"/>
            </a:xfrm>
          </p:grpSpPr>
          <p:sp>
            <p:nvSpPr>
              <p:cNvPr id="45"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46"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47"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61"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grpSp>
          <p:nvGrpSpPr>
            <p:cNvPr id="5" name="Horizontal" hidden="1"/>
            <p:cNvGrpSpPr/>
            <p:nvPr userDrawn="1"/>
          </p:nvGrpSpPr>
          <p:grpSpPr>
            <a:xfrm>
              <a:off x="0" y="0"/>
              <a:ext cx="12198350" cy="6858000"/>
              <a:chOff x="0" y="0"/>
              <a:chExt cx="12198350" cy="6858000"/>
            </a:xfrm>
          </p:grpSpPr>
          <p:sp>
            <p:nvSpPr>
              <p:cNvPr id="2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27"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30"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31"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32"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33"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grpSp>
          <p:nvGrpSpPr>
            <p:cNvPr id="4" name="Vertikal" hidden="1"/>
            <p:cNvGrpSpPr/>
            <p:nvPr userDrawn="1"/>
          </p:nvGrpSpPr>
          <p:grpSpPr>
            <a:xfrm>
              <a:off x="-855" y="0"/>
              <a:ext cx="12199205" cy="6858000"/>
              <a:chOff x="-855" y="0"/>
              <a:chExt cx="12199205" cy="6858000"/>
            </a:xfrm>
          </p:grpSpPr>
          <p:sp>
            <p:nvSpPr>
              <p:cNvPr id="42"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43"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44"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57"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58"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59"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60"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grpSp>
      <p:sp>
        <p:nvSpPr>
          <p:cNvPr id="105" name="Bildplatzhalter 8"/>
          <p:cNvSpPr>
            <a:spLocks noGrp="1"/>
          </p:cNvSpPr>
          <p:nvPr>
            <p:ph type="pic" sz="quarter" idx="11" hasCustomPrompt="1"/>
          </p:nvPr>
        </p:nvSpPr>
        <p:spPr bwMode="gray">
          <a:xfrm>
            <a:off x="2" y="4619702"/>
            <a:ext cx="6062917" cy="2239123"/>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6" name="Bildplatzhalter 8"/>
          <p:cNvSpPr>
            <a:spLocks noGrp="1"/>
          </p:cNvSpPr>
          <p:nvPr>
            <p:ph type="pic" sz="quarter" idx="12" hasCustomPrompt="1"/>
          </p:nvPr>
        </p:nvSpPr>
        <p:spPr bwMode="gray">
          <a:xfrm>
            <a:off x="9203153" y="-824"/>
            <a:ext cx="2995201" cy="6858824"/>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7" name="Bildplatzhalter 8"/>
          <p:cNvSpPr>
            <a:spLocks noGrp="1"/>
          </p:cNvSpPr>
          <p:nvPr>
            <p:ph type="pic" sz="quarter" idx="13" hasCustomPrompt="1"/>
          </p:nvPr>
        </p:nvSpPr>
        <p:spPr bwMode="gray">
          <a:xfrm>
            <a:off x="6135177" y="2"/>
            <a:ext cx="2995717" cy="10836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8" name="Bildplatzhalter 8"/>
          <p:cNvSpPr>
            <a:spLocks noGrp="1"/>
          </p:cNvSpPr>
          <p:nvPr>
            <p:ph type="pic" sz="quarter" idx="14" hasCustomPrompt="1"/>
          </p:nvPr>
        </p:nvSpPr>
        <p:spPr bwMode="gray">
          <a:xfrm>
            <a:off x="6135177" y="1155602"/>
            <a:ext cx="2995717" cy="33921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9" name="Bildplatzhalter 8"/>
          <p:cNvSpPr>
            <a:spLocks noGrp="1"/>
          </p:cNvSpPr>
          <p:nvPr>
            <p:ph type="pic" sz="quarter" idx="15" hasCustomPrompt="1"/>
          </p:nvPr>
        </p:nvSpPr>
        <p:spPr bwMode="gray">
          <a:xfrm>
            <a:off x="6135177" y="4619700"/>
            <a:ext cx="2995459" cy="22383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10" name="Titel 6"/>
          <p:cNvSpPr>
            <a:spLocks noGrp="1"/>
          </p:cNvSpPr>
          <p:nvPr>
            <p:ph type="title" hasCustomPrompt="1"/>
          </p:nvPr>
        </p:nvSpPr>
        <p:spPr>
          <a:xfrm>
            <a:off x="395292" y="368302"/>
            <a:ext cx="5508000" cy="1008360"/>
          </a:xfrm>
        </p:spPr>
        <p:txBody>
          <a:bodyPr/>
          <a:lstStyle/>
          <a:p>
            <a:r>
              <a:rPr lang="de-DE" noProof="0" dirty="0" smtClean="0"/>
              <a:t>Headline zweizeilig in CorpoA (Überschriften) 30 pt. </a:t>
            </a:r>
            <a:endParaRPr lang="de-DE" noProof="0" dirty="0"/>
          </a:p>
        </p:txBody>
      </p:sp>
      <p:sp>
        <p:nvSpPr>
          <p:cNvPr id="111" name="Textplatzhalter 13"/>
          <p:cNvSpPr>
            <a:spLocks noGrp="1"/>
          </p:cNvSpPr>
          <p:nvPr>
            <p:ph type="body" sz="quarter" idx="20" hasCustomPrompt="1"/>
          </p:nvPr>
        </p:nvSpPr>
        <p:spPr>
          <a:xfrm>
            <a:off x="395291" y="1512002"/>
            <a:ext cx="5508000" cy="2949301"/>
          </a:xfrm>
        </p:spPr>
        <p:txBody>
          <a:bodyPr/>
          <a:lstStyle/>
          <a:p>
            <a:pPr lvl="0"/>
            <a:r>
              <a:rPr lang="de-DE" noProof="0" dirty="0" smtClean="0"/>
              <a:t>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p:txBody>
      </p:sp>
      <p:sp>
        <p:nvSpPr>
          <p:cNvPr id="112" name="Textplatzhalter 7"/>
          <p:cNvSpPr>
            <a:spLocks noGrp="1"/>
          </p:cNvSpPr>
          <p:nvPr>
            <p:ph type="body" sz="quarter" idx="21" hasCustomPrompt="1"/>
          </p:nvPr>
        </p:nvSpPr>
        <p:spPr>
          <a:xfrm>
            <a:off x="395289" y="151202"/>
            <a:ext cx="5508000" cy="220274"/>
          </a:xfrm>
        </p:spPr>
        <p:txBody>
          <a:bodyPr/>
          <a:lstStyle>
            <a:lvl1pPr marL="0" indent="0">
              <a:lnSpc>
                <a:spcPct val="100000"/>
              </a:lnSpc>
              <a:spcAft>
                <a:spcPts val="0"/>
              </a:spcAft>
              <a:buFont typeface="Arial" panose="020B0604020202020204" pitchFamily="34" charset="0"/>
              <a:buNone/>
              <a:defRPr sz="1200"/>
            </a:lvl1pPr>
            <a:lvl2pPr marL="0" indent="0">
              <a:lnSpc>
                <a:spcPct val="100000"/>
              </a:lnSpc>
              <a:spcAft>
                <a:spcPts val="0"/>
              </a:spcAft>
              <a:buNone/>
              <a:defRPr sz="1200"/>
            </a:lvl2pPr>
            <a:lvl3pPr marL="0" indent="0">
              <a:lnSpc>
                <a:spcPct val="100000"/>
              </a:lnSpc>
              <a:spcAft>
                <a:spcPts val="0"/>
              </a:spcAft>
              <a:buNone/>
              <a:defRPr sz="1200"/>
            </a:lvl3pPr>
            <a:lvl4pPr marL="0" indent="0">
              <a:lnSpc>
                <a:spcPct val="100000"/>
              </a:lnSpc>
              <a:spcAft>
                <a:spcPts val="0"/>
              </a:spcAft>
              <a:buNone/>
              <a:defRPr sz="1200"/>
            </a:lvl4pPr>
            <a:lvl5pPr marL="0" indent="0">
              <a:lnSpc>
                <a:spcPct val="100000"/>
              </a:lnSpc>
              <a:spcAft>
                <a:spcPts val="0"/>
              </a:spcAft>
              <a:buNone/>
              <a:defRPr sz="1200"/>
            </a:lvl5pPr>
            <a:lvl6pPr marL="0" indent="0">
              <a:lnSpc>
                <a:spcPct val="100000"/>
              </a:lnSpc>
              <a:spcAft>
                <a:spcPts val="0"/>
              </a:spcAft>
              <a:buNone/>
              <a:defRPr sz="1200"/>
            </a:lvl6pPr>
            <a:lvl7pPr marL="0" indent="0">
              <a:lnSpc>
                <a:spcPct val="100000"/>
              </a:lnSpc>
              <a:spcAft>
                <a:spcPts val="0"/>
              </a:spcAft>
              <a:buNone/>
              <a:defRPr sz="1200"/>
            </a:lvl7pPr>
            <a:lvl8pPr marL="0" indent="0">
              <a:lnSpc>
                <a:spcPct val="100000"/>
              </a:lnSpc>
              <a:spcAft>
                <a:spcPts val="0"/>
              </a:spcAft>
              <a:buNone/>
              <a:defRPr sz="1200"/>
            </a:lvl8pPr>
            <a:lvl9pPr marL="0" indent="0">
              <a:lnSpc>
                <a:spcPct val="100000"/>
              </a:lnSpc>
              <a:spcAft>
                <a:spcPts val="0"/>
              </a:spcAft>
              <a:buNone/>
              <a:defRPr sz="1200"/>
            </a:lvl9pPr>
          </a:lstStyle>
          <a:p>
            <a:pPr lvl="0"/>
            <a:r>
              <a:rPr lang="de-DE" noProof="0" dirty="0" smtClean="0"/>
              <a:t>Optionale Kapitelüberschrift</a:t>
            </a:r>
          </a:p>
        </p:txBody>
      </p:sp>
      <p:sp>
        <p:nvSpPr>
          <p:cNvPr id="113" name="Textplatzhalter 3"/>
          <p:cNvSpPr>
            <a:spLocks noGrp="1"/>
          </p:cNvSpPr>
          <p:nvPr>
            <p:ph type="body" sz="quarter" idx="17"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14" name="Textplatzhalter 3"/>
          <p:cNvSpPr>
            <a:spLocks noGrp="1"/>
          </p:cNvSpPr>
          <p:nvPr>
            <p:ph type="body" sz="quarter" idx="18"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15" name="Textplatzhalter 3"/>
          <p:cNvSpPr>
            <a:spLocks noGrp="1"/>
          </p:cNvSpPr>
          <p:nvPr>
            <p:ph type="body" sz="quarter" idx="19"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Tree>
    <p:extLst>
      <p:ext uri="{BB962C8B-B14F-4D97-AF65-F5344CB8AC3E}">
        <p14:creationId xmlns:p14="http://schemas.microsoft.com/office/powerpoint/2010/main" val="3840405713"/>
      </p:ext>
    </p:extLst>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MultiPictures // 3">
    <p:spTree>
      <p:nvGrpSpPr>
        <p:cNvPr id="1" name=""/>
        <p:cNvGrpSpPr/>
        <p:nvPr/>
      </p:nvGrpSpPr>
      <p:grpSpPr>
        <a:xfrm>
          <a:off x="0" y="0"/>
          <a:ext cx="0" cy="0"/>
          <a:chOff x="0" y="0"/>
          <a:chExt cx="0" cy="0"/>
        </a:xfrm>
      </p:grpSpPr>
      <p:grpSp>
        <p:nvGrpSpPr>
          <p:cNvPr id="50" name="Raster" hidden="1"/>
          <p:cNvGrpSpPr/>
          <p:nvPr userDrawn="1"/>
        </p:nvGrpSpPr>
        <p:grpSpPr>
          <a:xfrm>
            <a:off x="-851" y="1"/>
            <a:ext cx="12192855" cy="6858000"/>
            <a:chOff x="-855" y="0"/>
            <a:chExt cx="12199205" cy="6858000"/>
          </a:xfrm>
        </p:grpSpPr>
        <p:sp>
          <p:nvSpPr>
            <p:cNvPr id="51"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nvGrpSpPr>
            <p:cNvPr id="52" name="Abstand Horizontal" hidden="1"/>
            <p:cNvGrpSpPr/>
            <p:nvPr userDrawn="1"/>
          </p:nvGrpSpPr>
          <p:grpSpPr>
            <a:xfrm>
              <a:off x="2995458" y="0"/>
              <a:ext cx="6207434" cy="6858000"/>
              <a:chOff x="2995458" y="0"/>
              <a:chExt cx="6207434" cy="6858000"/>
            </a:xfrm>
          </p:grpSpPr>
          <p:sp>
            <p:nvSpPr>
              <p:cNvPr id="105"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106"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107" name="Abstand Rechts"/>
              <p:cNvSpPr/>
              <p:nvPr userDrawn="1"/>
            </p:nvSpPr>
            <p:spPr>
              <a:xfrm>
                <a:off x="9130892"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grpSp>
          <p:nvGrpSpPr>
            <p:cNvPr id="53" name="Abstand Vertikal" hidden="1"/>
            <p:cNvGrpSpPr/>
            <p:nvPr userDrawn="1"/>
          </p:nvGrpSpPr>
          <p:grpSpPr>
            <a:xfrm>
              <a:off x="0" y="1083600"/>
              <a:ext cx="12198350" cy="4690800"/>
              <a:chOff x="0" y="1083600"/>
              <a:chExt cx="12198350" cy="4690800"/>
            </a:xfrm>
          </p:grpSpPr>
          <p:sp>
            <p:nvSpPr>
              <p:cNvPr id="101"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102"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103"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104"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grpSp>
          <p:nvGrpSpPr>
            <p:cNvPr id="54" name="Horizontal" hidden="1"/>
            <p:cNvGrpSpPr/>
            <p:nvPr userDrawn="1"/>
          </p:nvGrpSpPr>
          <p:grpSpPr>
            <a:xfrm>
              <a:off x="0" y="0"/>
              <a:ext cx="12198350" cy="6858000"/>
              <a:chOff x="0" y="0"/>
              <a:chExt cx="12198350" cy="6858000"/>
            </a:xfrm>
          </p:grpSpPr>
          <p:sp>
            <p:nvSpPr>
              <p:cNvPr id="9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96"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97"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98"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99"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100"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grpSp>
          <p:nvGrpSpPr>
            <p:cNvPr id="55" name="Vertikal" hidden="1"/>
            <p:cNvGrpSpPr/>
            <p:nvPr userDrawn="1"/>
          </p:nvGrpSpPr>
          <p:grpSpPr>
            <a:xfrm>
              <a:off x="-855" y="0"/>
              <a:ext cx="12199205" cy="6858000"/>
              <a:chOff x="-855" y="0"/>
              <a:chExt cx="12199205" cy="6858000"/>
            </a:xfrm>
          </p:grpSpPr>
          <p:sp>
            <p:nvSpPr>
              <p:cNvPr id="56"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62"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64"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66"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92"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93"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94"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grpSp>
      <p:sp>
        <p:nvSpPr>
          <p:cNvPr id="119" name="Bildplatzhalter 8"/>
          <p:cNvSpPr>
            <a:spLocks noGrp="1"/>
          </p:cNvSpPr>
          <p:nvPr>
            <p:ph type="pic" sz="quarter" idx="10" hasCustomPrompt="1"/>
          </p:nvPr>
        </p:nvSpPr>
        <p:spPr bwMode="gray">
          <a:xfrm>
            <a:off x="0" y="2310303"/>
            <a:ext cx="6062400" cy="45477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0" name="Bildplatzhalter 8"/>
          <p:cNvSpPr>
            <a:spLocks noGrp="1"/>
          </p:cNvSpPr>
          <p:nvPr>
            <p:ph type="pic" sz="quarter" idx="11" hasCustomPrompt="1"/>
          </p:nvPr>
        </p:nvSpPr>
        <p:spPr bwMode="gray">
          <a:xfrm>
            <a:off x="0" y="0"/>
            <a:ext cx="6062400" cy="22383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1" name="Bildplatzhalter 8"/>
          <p:cNvSpPr>
            <a:spLocks noGrp="1"/>
          </p:cNvSpPr>
          <p:nvPr>
            <p:ph type="pic" sz="quarter" idx="12" hasCustomPrompt="1"/>
          </p:nvPr>
        </p:nvSpPr>
        <p:spPr bwMode="gray">
          <a:xfrm>
            <a:off x="9203153" y="2"/>
            <a:ext cx="2995201" cy="6858001"/>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2" name="Bildplatzhalter 8"/>
          <p:cNvSpPr>
            <a:spLocks noGrp="1"/>
          </p:cNvSpPr>
          <p:nvPr>
            <p:ph type="pic" sz="quarter" idx="13" hasCustomPrompt="1"/>
          </p:nvPr>
        </p:nvSpPr>
        <p:spPr bwMode="gray">
          <a:xfrm>
            <a:off x="6135177" y="5774400"/>
            <a:ext cx="2995717" cy="10836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3" name="Bildplatzhalter 8"/>
          <p:cNvSpPr>
            <a:spLocks noGrp="1"/>
          </p:cNvSpPr>
          <p:nvPr>
            <p:ph type="pic" sz="quarter" idx="14" hasCustomPrompt="1"/>
          </p:nvPr>
        </p:nvSpPr>
        <p:spPr bwMode="gray">
          <a:xfrm>
            <a:off x="6135177" y="2309400"/>
            <a:ext cx="2995717" cy="33930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4" name="Bildplatzhalter 8"/>
          <p:cNvSpPr>
            <a:spLocks noGrp="1"/>
          </p:cNvSpPr>
          <p:nvPr>
            <p:ph type="pic" sz="quarter" idx="15" hasCustomPrompt="1"/>
          </p:nvPr>
        </p:nvSpPr>
        <p:spPr bwMode="gray">
          <a:xfrm>
            <a:off x="6135177" y="0"/>
            <a:ext cx="2995717" cy="22383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5" name="Textplatzhalter 3"/>
          <p:cNvSpPr>
            <a:spLocks noGrp="1"/>
          </p:cNvSpPr>
          <p:nvPr>
            <p:ph type="body" sz="quarter" idx="17"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26" name="Textplatzhalter 3"/>
          <p:cNvSpPr>
            <a:spLocks noGrp="1"/>
          </p:cNvSpPr>
          <p:nvPr>
            <p:ph type="body" sz="quarter" idx="18"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27" name="Textplatzhalter 3"/>
          <p:cNvSpPr>
            <a:spLocks noGrp="1"/>
          </p:cNvSpPr>
          <p:nvPr>
            <p:ph type="body" sz="quarter" idx="19"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Tree>
    <p:extLst>
      <p:ext uri="{BB962C8B-B14F-4D97-AF65-F5344CB8AC3E}">
        <p14:creationId xmlns:p14="http://schemas.microsoft.com/office/powerpoint/2010/main" val="3838533975"/>
      </p:ext>
    </p:extLst>
  </p:cSld>
  <p:clrMapOvr>
    <a:masterClrMapping/>
  </p:clrMapOvr>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MultiPictures // 4">
    <p:spTree>
      <p:nvGrpSpPr>
        <p:cNvPr id="1" name=""/>
        <p:cNvGrpSpPr/>
        <p:nvPr/>
      </p:nvGrpSpPr>
      <p:grpSpPr>
        <a:xfrm>
          <a:off x="0" y="0"/>
          <a:ext cx="0" cy="0"/>
          <a:chOff x="0" y="0"/>
          <a:chExt cx="0" cy="0"/>
        </a:xfrm>
      </p:grpSpPr>
      <p:grpSp>
        <p:nvGrpSpPr>
          <p:cNvPr id="51" name="Raster" hidden="1"/>
          <p:cNvGrpSpPr/>
          <p:nvPr userDrawn="1"/>
        </p:nvGrpSpPr>
        <p:grpSpPr>
          <a:xfrm>
            <a:off x="-851" y="1"/>
            <a:ext cx="12192855" cy="6858000"/>
            <a:chOff x="-855" y="0"/>
            <a:chExt cx="12199205" cy="6858000"/>
          </a:xfrm>
        </p:grpSpPr>
        <p:sp>
          <p:nvSpPr>
            <p:cNvPr id="52" name="Komplett"/>
            <p:cNvSpPr/>
            <p:nvPr userDrawn="1"/>
          </p:nvSpPr>
          <p:spPr>
            <a:xfrm>
              <a:off x="0" y="822"/>
              <a:ext cx="12198350" cy="6857177"/>
            </a:xfrm>
            <a:prstGeom prst="rect">
              <a:avLst/>
            </a:prstGeom>
            <a:solidFill>
              <a:schemeClr val="accent1"/>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nvGrpSpPr>
            <p:cNvPr id="53" name="Abstand Horizontal" hidden="1"/>
            <p:cNvGrpSpPr/>
            <p:nvPr userDrawn="1"/>
          </p:nvGrpSpPr>
          <p:grpSpPr>
            <a:xfrm>
              <a:off x="2995458" y="0"/>
              <a:ext cx="6207434" cy="6858000"/>
              <a:chOff x="2995458" y="0"/>
              <a:chExt cx="6207434" cy="6858000"/>
            </a:xfrm>
          </p:grpSpPr>
          <p:sp>
            <p:nvSpPr>
              <p:cNvPr id="105" name="Abstand Links"/>
              <p:cNvSpPr/>
              <p:nvPr userDrawn="1"/>
            </p:nvSpPr>
            <p:spPr>
              <a:xfrm>
                <a:off x="2995458"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106" name="Abstand Mitte"/>
              <p:cNvSpPr/>
              <p:nvPr userDrawn="1"/>
            </p:nvSpPr>
            <p:spPr>
              <a:xfrm>
                <a:off x="6063175" y="823"/>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107" name="Abstand Rechts"/>
              <p:cNvSpPr/>
              <p:nvPr userDrawn="1"/>
            </p:nvSpPr>
            <p:spPr>
              <a:xfrm>
                <a:off x="9130892" y="0"/>
                <a:ext cx="72000" cy="685717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grpSp>
          <p:nvGrpSpPr>
            <p:cNvPr id="54" name="Abstand Vertikal" hidden="1"/>
            <p:cNvGrpSpPr/>
            <p:nvPr userDrawn="1"/>
          </p:nvGrpSpPr>
          <p:grpSpPr>
            <a:xfrm>
              <a:off x="0" y="1083600"/>
              <a:ext cx="12198350" cy="4690800"/>
              <a:chOff x="0" y="1083600"/>
              <a:chExt cx="12198350" cy="4690800"/>
            </a:xfrm>
          </p:grpSpPr>
          <p:sp>
            <p:nvSpPr>
              <p:cNvPr id="101" name="Abstand Oben"/>
              <p:cNvSpPr/>
              <p:nvPr userDrawn="1"/>
            </p:nvSpPr>
            <p:spPr>
              <a:xfrm>
                <a:off x="855" y="22383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102" name="Abstand Unten"/>
              <p:cNvSpPr/>
              <p:nvPr userDrawn="1"/>
            </p:nvSpPr>
            <p:spPr>
              <a:xfrm>
                <a:off x="0" y="45477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103" name="Abstand Oben // Mitte"/>
              <p:cNvSpPr/>
              <p:nvPr userDrawn="1"/>
            </p:nvSpPr>
            <p:spPr>
              <a:xfrm>
                <a:off x="0" y="10836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104" name="Abstand Unten // Mitte"/>
              <p:cNvSpPr/>
              <p:nvPr userDrawn="1"/>
            </p:nvSpPr>
            <p:spPr>
              <a:xfrm>
                <a:off x="0" y="5702400"/>
                <a:ext cx="12197495" cy="7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grpSp>
          <p:nvGrpSpPr>
            <p:cNvPr id="55" name="Horizontal" hidden="1"/>
            <p:cNvGrpSpPr/>
            <p:nvPr userDrawn="1"/>
          </p:nvGrpSpPr>
          <p:grpSpPr>
            <a:xfrm>
              <a:off x="0" y="0"/>
              <a:ext cx="12198350" cy="6858000"/>
              <a:chOff x="0" y="0"/>
              <a:chExt cx="12198350" cy="6858000"/>
            </a:xfrm>
          </p:grpSpPr>
          <p:sp>
            <p:nvSpPr>
              <p:cNvPr id="95" name="Links"/>
              <p:cNvSpPr/>
              <p:nvPr userDrawn="1"/>
            </p:nvSpPr>
            <p:spPr>
              <a:xfrm>
                <a:off x="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96" name="Rechts"/>
              <p:cNvSpPr/>
              <p:nvPr userDrawn="1"/>
            </p:nvSpPr>
            <p:spPr>
              <a:xfrm>
                <a:off x="6135950" y="823"/>
                <a:ext cx="6062400" cy="6857177"/>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97" name="Links // Links"/>
              <p:cNvSpPr/>
              <p:nvPr userDrawn="1"/>
            </p:nvSpPr>
            <p:spPr>
              <a:xfrm>
                <a:off x="0"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98" name="Links // Rechts"/>
              <p:cNvSpPr/>
              <p:nvPr userDrawn="1"/>
            </p:nvSpPr>
            <p:spPr>
              <a:xfrm>
                <a:off x="3067717" y="0"/>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99" name="Rechts // Links"/>
              <p:cNvSpPr/>
              <p:nvPr userDrawn="1"/>
            </p:nvSpPr>
            <p:spPr>
              <a:xfrm>
                <a:off x="6135434"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100" name="Rechts // Rechts"/>
              <p:cNvSpPr/>
              <p:nvPr userDrawn="1"/>
            </p:nvSpPr>
            <p:spPr>
              <a:xfrm>
                <a:off x="9203150" y="823"/>
                <a:ext cx="2995200" cy="6857177"/>
              </a:xfrm>
              <a:prstGeom prst="rect">
                <a:avLst/>
              </a:prstGeom>
              <a:solidFill>
                <a:schemeClr val="accent3"/>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grpSp>
          <p:nvGrpSpPr>
            <p:cNvPr id="56" name="Vertikal" hidden="1"/>
            <p:cNvGrpSpPr/>
            <p:nvPr userDrawn="1"/>
          </p:nvGrpSpPr>
          <p:grpSpPr>
            <a:xfrm>
              <a:off x="-855" y="0"/>
              <a:ext cx="12199205" cy="6858000"/>
              <a:chOff x="-855" y="0"/>
              <a:chExt cx="12199205" cy="6858000"/>
            </a:xfrm>
          </p:grpSpPr>
          <p:sp>
            <p:nvSpPr>
              <p:cNvPr id="62" name="Oben"/>
              <p:cNvSpPr/>
              <p:nvPr userDrawn="1"/>
            </p:nvSpPr>
            <p:spPr>
              <a:xfrm>
                <a:off x="0" y="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64" name="Mitte"/>
              <p:cNvSpPr/>
              <p:nvPr userDrawn="1"/>
            </p:nvSpPr>
            <p:spPr>
              <a:xfrm>
                <a:off x="0" y="23094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66" name="Unten"/>
              <p:cNvSpPr/>
              <p:nvPr userDrawn="1"/>
            </p:nvSpPr>
            <p:spPr>
              <a:xfrm>
                <a:off x="0" y="4618800"/>
                <a:ext cx="12198350" cy="22392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67" name="Oben // Oben"/>
              <p:cNvSpPr/>
              <p:nvPr userDrawn="1"/>
            </p:nvSpPr>
            <p:spPr>
              <a:xfrm>
                <a:off x="0" y="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68" name="Oben // Unten"/>
              <p:cNvSpPr/>
              <p:nvPr userDrawn="1"/>
            </p:nvSpPr>
            <p:spPr>
              <a:xfrm>
                <a:off x="0" y="11556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93" name="Unten // Oben"/>
              <p:cNvSpPr/>
              <p:nvPr userDrawn="1"/>
            </p:nvSpPr>
            <p:spPr>
              <a:xfrm>
                <a:off x="-855" y="46188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sp>
            <p:nvSpPr>
              <p:cNvPr id="94" name="Unten // Unten"/>
              <p:cNvSpPr/>
              <p:nvPr userDrawn="1"/>
            </p:nvSpPr>
            <p:spPr>
              <a:xfrm>
                <a:off x="0" y="5774400"/>
                <a:ext cx="12198350" cy="1083600"/>
              </a:xfrm>
              <a:prstGeom prst="rect">
                <a:avLst/>
              </a:prstGeom>
              <a:solidFill>
                <a:schemeClr val="accent2"/>
              </a:solidFill>
              <a:ln w="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089">
                  <a:lnSpc>
                    <a:spcPct val="108000"/>
                  </a:lnSpc>
                  <a:spcAft>
                    <a:spcPts val="1006"/>
                  </a:spcAft>
                </a:pPr>
                <a:endParaRPr lang="de-DE" sz="2000" dirty="0" smtClean="0">
                  <a:solidFill>
                    <a:prstClr val="white"/>
                  </a:solidFill>
                </a:endParaRPr>
              </a:p>
            </p:txBody>
          </p:sp>
        </p:grpSp>
      </p:grpSp>
      <p:sp>
        <p:nvSpPr>
          <p:cNvPr id="120" name="Bildplatzhalter 8"/>
          <p:cNvSpPr>
            <a:spLocks noGrp="1"/>
          </p:cNvSpPr>
          <p:nvPr>
            <p:ph type="pic" sz="quarter" idx="10" hasCustomPrompt="1"/>
          </p:nvPr>
        </p:nvSpPr>
        <p:spPr bwMode="gray">
          <a:xfrm>
            <a:off x="0" y="-1"/>
            <a:ext cx="6062400" cy="6858001"/>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1" name="Bildplatzhalter 8"/>
          <p:cNvSpPr>
            <a:spLocks noGrp="1"/>
          </p:cNvSpPr>
          <p:nvPr>
            <p:ph type="pic" sz="quarter" idx="12" hasCustomPrompt="1"/>
          </p:nvPr>
        </p:nvSpPr>
        <p:spPr bwMode="gray">
          <a:xfrm>
            <a:off x="9203153" y="2"/>
            <a:ext cx="2995201" cy="10836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2" name="Bildplatzhalter 8"/>
          <p:cNvSpPr>
            <a:spLocks noGrp="1"/>
          </p:cNvSpPr>
          <p:nvPr>
            <p:ph type="pic" sz="quarter" idx="13" hasCustomPrompt="1"/>
          </p:nvPr>
        </p:nvSpPr>
        <p:spPr bwMode="gray">
          <a:xfrm>
            <a:off x="6135951" y="5774400"/>
            <a:ext cx="2994942" cy="10836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3" name="Bildplatzhalter 8"/>
          <p:cNvSpPr>
            <a:spLocks noGrp="1"/>
          </p:cNvSpPr>
          <p:nvPr>
            <p:ph type="pic" sz="quarter" idx="14" hasCustomPrompt="1"/>
          </p:nvPr>
        </p:nvSpPr>
        <p:spPr bwMode="gray">
          <a:xfrm>
            <a:off x="6135951" y="2309400"/>
            <a:ext cx="2994942" cy="33930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4" name="Bildplatzhalter 8"/>
          <p:cNvSpPr>
            <a:spLocks noGrp="1"/>
          </p:cNvSpPr>
          <p:nvPr>
            <p:ph type="pic" sz="quarter" idx="15" hasCustomPrompt="1"/>
          </p:nvPr>
        </p:nvSpPr>
        <p:spPr bwMode="gray">
          <a:xfrm>
            <a:off x="6135951" y="0"/>
            <a:ext cx="2994684" cy="22383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5" name="Bildplatzhalter 8"/>
          <p:cNvSpPr>
            <a:spLocks noGrp="1"/>
          </p:cNvSpPr>
          <p:nvPr>
            <p:ph type="pic" sz="quarter" idx="16" hasCustomPrompt="1"/>
          </p:nvPr>
        </p:nvSpPr>
        <p:spPr bwMode="gray">
          <a:xfrm>
            <a:off x="9203153" y="1155602"/>
            <a:ext cx="2995199" cy="33921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6" name="Bildplatzhalter 8"/>
          <p:cNvSpPr>
            <a:spLocks noGrp="1"/>
          </p:cNvSpPr>
          <p:nvPr>
            <p:ph type="pic" sz="quarter" idx="17" hasCustomPrompt="1"/>
          </p:nvPr>
        </p:nvSpPr>
        <p:spPr bwMode="gray">
          <a:xfrm>
            <a:off x="9203153" y="4619700"/>
            <a:ext cx="2995199" cy="2238300"/>
          </a:xfrm>
          <a:solidFill>
            <a:schemeClr val="accent6"/>
          </a:solidFill>
        </p:spPr>
        <p:txBody>
          <a:bodyPr/>
          <a:lstStyle>
            <a:lvl1pPr algn="ctr">
              <a:lnSpc>
                <a:spcPct val="100000"/>
              </a:lnSpc>
              <a:spcAft>
                <a:spcPts val="0"/>
              </a:spcAft>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7" name="Textplatzhalter 3"/>
          <p:cNvSpPr>
            <a:spLocks noGrp="1"/>
          </p:cNvSpPr>
          <p:nvPr>
            <p:ph type="body" sz="quarter" idx="18"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28" name="Textplatzhalter 3"/>
          <p:cNvSpPr>
            <a:spLocks noGrp="1"/>
          </p:cNvSpPr>
          <p:nvPr>
            <p:ph type="body" sz="quarter" idx="19"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129" name="Textplatzhalter 3"/>
          <p:cNvSpPr>
            <a:spLocks noGrp="1"/>
          </p:cNvSpPr>
          <p:nvPr>
            <p:ph type="body" sz="quarter" idx="20"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Tree>
    <p:extLst>
      <p:ext uri="{BB962C8B-B14F-4D97-AF65-F5344CB8AC3E}">
        <p14:creationId xmlns:p14="http://schemas.microsoft.com/office/powerpoint/2010/main" val="1038437954"/>
      </p:ext>
    </p:extLst>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Vollbild">
    <p:spTree>
      <p:nvGrpSpPr>
        <p:cNvPr id="1" name=""/>
        <p:cNvGrpSpPr/>
        <p:nvPr/>
      </p:nvGrpSpPr>
      <p:grpSpPr>
        <a:xfrm>
          <a:off x="0" y="0"/>
          <a:ext cx="0" cy="0"/>
          <a:chOff x="0" y="0"/>
          <a:chExt cx="0" cy="0"/>
        </a:xfrm>
      </p:grpSpPr>
      <p:sp>
        <p:nvSpPr>
          <p:cNvPr id="42" name="Bildplatzhalter 8"/>
          <p:cNvSpPr>
            <a:spLocks noGrp="1"/>
          </p:cNvSpPr>
          <p:nvPr>
            <p:ph type="pic" sz="quarter" idx="10" hasCustomPrompt="1"/>
          </p:nvPr>
        </p:nvSpPr>
        <p:spPr bwMode="gray">
          <a:xfrm>
            <a:off x="3" y="1"/>
            <a:ext cx="12193200" cy="6858000"/>
          </a:xfrm>
          <a:solidFill>
            <a:schemeClr val="accent6"/>
          </a:solidFill>
        </p:spPr>
        <p:txBody>
          <a:bodyPr/>
          <a:lstStyle>
            <a:lvl1pPr algn="ctr">
              <a:lnSpc>
                <a:spcPct val="100000"/>
              </a:lnSpc>
              <a:spcAft>
                <a:spcPts val="0"/>
              </a:spcAft>
              <a:defRPr>
                <a:solidFill>
                  <a:schemeClr val="tx1"/>
                </a:solidFill>
              </a:defRPr>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43" name="Titel 1"/>
          <p:cNvSpPr>
            <a:spLocks noGrp="1"/>
          </p:cNvSpPr>
          <p:nvPr>
            <p:ph type="title" hasCustomPrompt="1"/>
          </p:nvPr>
        </p:nvSpPr>
        <p:spPr>
          <a:xfrm>
            <a:off x="395289" y="368300"/>
            <a:ext cx="11406187" cy="540000"/>
          </a:xfrm>
        </p:spPr>
        <p:txBody>
          <a:bodyPr/>
          <a:lstStyle>
            <a:lvl1pPr>
              <a:defRPr sz="3000"/>
            </a:lvl1pPr>
          </a:lstStyle>
          <a:p>
            <a:r>
              <a:rPr lang="de-DE" noProof="0" dirty="0" smtClean="0"/>
              <a:t>Optionale Headline einzeilig in CorpoA (Überschriften) 30 pt. </a:t>
            </a:r>
            <a:endParaRPr lang="de-DE" noProof="0" dirty="0"/>
          </a:p>
        </p:txBody>
      </p:sp>
      <p:sp>
        <p:nvSpPr>
          <p:cNvPr id="46" name="Textplatzhalter 3"/>
          <p:cNvSpPr>
            <a:spLocks noGrp="1"/>
          </p:cNvSpPr>
          <p:nvPr>
            <p:ph type="body" sz="quarter" idx="17" hasCustomPrompt="1"/>
          </p:nvPr>
        </p:nvSpPr>
        <p:spPr>
          <a:xfrm>
            <a:off x="6973200" y="2"/>
            <a:ext cx="936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47" name="Textplatzhalter 3"/>
          <p:cNvSpPr>
            <a:spLocks noGrp="1"/>
          </p:cNvSpPr>
          <p:nvPr>
            <p:ph type="body" sz="quarter" idx="18" hasCustomPrompt="1"/>
          </p:nvPr>
        </p:nvSpPr>
        <p:spPr>
          <a:xfrm>
            <a:off x="7984802"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
        <p:nvSpPr>
          <p:cNvPr id="48" name="Textplatzhalter 3"/>
          <p:cNvSpPr>
            <a:spLocks noGrp="1"/>
          </p:cNvSpPr>
          <p:nvPr>
            <p:ph type="body" sz="quarter" idx="19" hasCustomPrompt="1"/>
          </p:nvPr>
        </p:nvSpPr>
        <p:spPr>
          <a:xfrm>
            <a:off x="9928800" y="2"/>
            <a:ext cx="1872000" cy="306000"/>
          </a:xfrm>
        </p:spPr>
        <p:txBody>
          <a:bodyPr/>
          <a:lstStyle>
            <a:lvl1pPr marL="0" indent="0">
              <a:lnSpc>
                <a:spcPct val="100000"/>
              </a:lnSpc>
              <a:spcAft>
                <a:spcPts val="0"/>
              </a:spcAft>
              <a:buFont typeface="Arial" panose="020B0604020202020204" pitchFamily="34" charset="0"/>
              <a:buNone/>
              <a:defRPr sz="600" baseline="0">
                <a:solidFill>
                  <a:schemeClr val="bg1"/>
                </a:solidFill>
              </a:defRPr>
            </a:lvl1pPr>
            <a:lvl2pPr marL="0" indent="0">
              <a:lnSpc>
                <a:spcPct val="100000"/>
              </a:lnSpc>
              <a:spcAft>
                <a:spcPts val="0"/>
              </a:spcAft>
              <a:buNone/>
              <a:defRPr sz="600">
                <a:solidFill>
                  <a:schemeClr val="bg1"/>
                </a:solidFill>
              </a:defRPr>
            </a:lvl2pPr>
            <a:lvl3pPr marL="0" indent="0">
              <a:lnSpc>
                <a:spcPct val="100000"/>
              </a:lnSpc>
              <a:spcAft>
                <a:spcPts val="0"/>
              </a:spcAft>
              <a:buNone/>
              <a:defRPr sz="600">
                <a:solidFill>
                  <a:schemeClr val="bg1"/>
                </a:solidFill>
              </a:defRPr>
            </a:lvl3pPr>
            <a:lvl4pPr marL="0" indent="0">
              <a:lnSpc>
                <a:spcPct val="100000"/>
              </a:lnSpc>
              <a:spcAft>
                <a:spcPts val="0"/>
              </a:spcAft>
              <a:buNone/>
              <a:defRPr sz="600">
                <a:solidFill>
                  <a:schemeClr val="bg1"/>
                </a:solidFill>
              </a:defRPr>
            </a:lvl4pPr>
            <a:lvl5pPr marL="0" indent="0">
              <a:lnSpc>
                <a:spcPct val="100000"/>
              </a:lnSpc>
              <a:spcAft>
                <a:spcPts val="0"/>
              </a:spcAft>
              <a:buNone/>
              <a:defRPr sz="600">
                <a:solidFill>
                  <a:schemeClr val="bg1"/>
                </a:solidFill>
              </a:defRPr>
            </a:lvl5pPr>
            <a:lvl6pPr marL="0" indent="0">
              <a:lnSpc>
                <a:spcPct val="100000"/>
              </a:lnSpc>
              <a:spcAft>
                <a:spcPts val="0"/>
              </a:spcAft>
              <a:buNone/>
              <a:defRPr sz="600">
                <a:solidFill>
                  <a:schemeClr val="bg1"/>
                </a:solidFill>
              </a:defRPr>
            </a:lvl6pPr>
            <a:lvl7pPr marL="0" indent="0">
              <a:lnSpc>
                <a:spcPct val="100000"/>
              </a:lnSpc>
              <a:spcAft>
                <a:spcPts val="0"/>
              </a:spcAft>
              <a:buNone/>
              <a:defRPr sz="600">
                <a:solidFill>
                  <a:schemeClr val="bg1"/>
                </a:solidFill>
              </a:defRPr>
            </a:lvl7pPr>
            <a:lvl8pPr marL="0" indent="0">
              <a:lnSpc>
                <a:spcPct val="100000"/>
              </a:lnSpc>
              <a:spcAft>
                <a:spcPts val="0"/>
              </a:spcAft>
              <a:buNone/>
              <a:defRPr sz="600">
                <a:solidFill>
                  <a:schemeClr val="bg1"/>
                </a:solidFill>
              </a:defRPr>
            </a:lvl8pPr>
            <a:lvl9pPr marL="0" indent="0">
              <a:lnSpc>
                <a:spcPct val="100000"/>
              </a:lnSpc>
              <a:spcAft>
                <a:spcPts val="0"/>
              </a:spcAft>
              <a:buNone/>
              <a:defRPr sz="600">
                <a:solidFill>
                  <a:schemeClr val="bg1"/>
                </a:solidFill>
              </a:defRPr>
            </a:lvl9pPr>
          </a:lstStyle>
          <a:p>
            <a:pPr lvl="0"/>
            <a:r>
              <a:rPr lang="de-DE" noProof="0" dirty="0" smtClean="0"/>
              <a:t>                                             </a:t>
            </a:r>
          </a:p>
        </p:txBody>
      </p:sp>
    </p:spTree>
    <p:extLst>
      <p:ext uri="{BB962C8B-B14F-4D97-AF65-F5344CB8AC3E}">
        <p14:creationId xmlns:p14="http://schemas.microsoft.com/office/powerpoint/2010/main" val="411230731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3/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en-GB" dirty="0"/>
              <a:t>Referent’s name: </a:t>
            </a:r>
            <a:r>
              <a:rPr lang="en-GB" noProof="0" dirty="0" err="1"/>
              <a:t>CorpoS</a:t>
            </a:r>
            <a:r>
              <a:rPr lang="en-GB" noProof="0" dirty="0"/>
              <a:t> </a:t>
            </a:r>
            <a:r>
              <a:rPr lang="en-GB" dirty="0"/>
              <a:t>(Body) 35 pt. Presentation title</a:t>
            </a:r>
            <a:br>
              <a:rPr lang="en-GB" dirty="0"/>
            </a:br>
            <a:r>
              <a:rPr lang="en-GB" dirty="0"/>
              <a:t>in two lines of text, dd. </a:t>
            </a:r>
            <a:r>
              <a:rPr lang="en-GB" dirty="0" err="1"/>
              <a:t>mmmm</a:t>
            </a:r>
            <a:r>
              <a:rPr lang="en-GB" dirty="0"/>
              <a:t> </a:t>
            </a:r>
            <a:r>
              <a:rPr lang="en-GB" dirty="0" err="1"/>
              <a:t>yyyy</a:t>
            </a:r>
            <a:endParaRPr lang="en-GB"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4292041316"/>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userDrawn="1">
  <p:cSld name="4.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1"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1326">
                <a:defRPr/>
              </a:pPr>
              <a:r>
                <a:rPr lang="en-GB" sz="1100" dirty="0" smtClean="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1326">
                <a:defRPr/>
              </a:pPr>
              <a:r>
                <a:rPr lang="en-GB" sz="1100" dirty="0" smtClean="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100" dirty="0" smtClean="0">
                    <a:solidFill>
                      <a:srgbClr val="444444"/>
                    </a:solidFill>
                  </a:rPr>
                  <a:t>Reset the slide back to its </a:t>
                </a:r>
              </a:p>
              <a:p>
                <a:pPr algn="r"/>
                <a:r>
                  <a:rPr lang="en-GB" sz="1100" dirty="0" smtClean="0">
                    <a:solidFill>
                      <a:srgbClr val="444444"/>
                    </a:solidFill>
                  </a:rPr>
                  <a:t>original form via menu bar:</a:t>
                </a:r>
              </a:p>
              <a:p>
                <a:pPr algn="r"/>
                <a:r>
                  <a:rPr lang="en-GB" sz="1100" dirty="0" smtClean="0">
                    <a:solidFill>
                      <a:srgbClr val="444444"/>
                    </a:solidFill>
                  </a:rPr>
                  <a:t>Home // Slides // Reset</a:t>
                </a:r>
              </a:p>
              <a:p>
                <a:pPr algn="r"/>
                <a:endParaRPr lang="en-GB" sz="1100" dirty="0" smtClean="0">
                  <a:solidFill>
                    <a:srgbClr val="444444"/>
                  </a:solidFill>
                </a:endParaRPr>
              </a:p>
              <a:p>
                <a:pPr algn="r"/>
                <a:r>
                  <a:rPr lang="en-GB" sz="1100" dirty="0" smtClean="0">
                    <a:solidFill>
                      <a:srgbClr val="444444"/>
                    </a:solidFill>
                  </a:rPr>
                  <a:t>Change the slide layout </a:t>
                </a:r>
              </a:p>
              <a:p>
                <a:pPr algn="r"/>
                <a:r>
                  <a:rPr lang="en-GB" sz="1100" dirty="0" smtClean="0">
                    <a:solidFill>
                      <a:srgbClr val="444444"/>
                    </a:solidFill>
                  </a:rPr>
                  <a:t>via menu bar:</a:t>
                </a:r>
              </a:p>
              <a:p>
                <a:pPr algn="r"/>
                <a:r>
                  <a:rPr lang="en-GB" sz="1100" dirty="0" smtClean="0">
                    <a:solidFill>
                      <a:srgbClr val="444444"/>
                    </a:solidFill>
                  </a:rPr>
                  <a:t>Home // Slides // Layout</a:t>
                </a:r>
              </a:p>
              <a:p>
                <a:pPr algn="r"/>
                <a:endParaRPr lang="en-GB" sz="1100" dirty="0" smtClean="0">
                  <a:solidFill>
                    <a:srgbClr val="444444"/>
                  </a:solidFill>
                </a:endParaRPr>
              </a:p>
              <a:p>
                <a:pPr algn="r"/>
                <a:r>
                  <a:rPr lang="en-GB" sz="1100" dirty="0" smtClean="0">
                    <a:solidFill>
                      <a:srgbClr val="444444"/>
                    </a:solidFill>
                  </a:rPr>
                  <a:t>Change the text level</a:t>
                </a:r>
              </a:p>
              <a:p>
                <a:pPr algn="r"/>
                <a:r>
                  <a:rPr lang="en-GB" sz="1100" dirty="0" smtClean="0">
                    <a:solidFill>
                      <a:srgbClr val="444444"/>
                    </a:solidFill>
                  </a:rPr>
                  <a:t>via menu bar: </a:t>
                </a:r>
                <a:br>
                  <a:rPr lang="en-GB" sz="1100" dirty="0" smtClean="0">
                    <a:solidFill>
                      <a:srgbClr val="444444"/>
                    </a:solidFill>
                  </a:rPr>
                </a:br>
                <a:r>
                  <a:rPr lang="en-GB" sz="1100" dirty="0" smtClean="0">
                    <a:solidFill>
                      <a:srgbClr val="444444"/>
                    </a:solidFill>
                  </a:rPr>
                  <a:t>Home // Paragraph // Increase/</a:t>
                </a:r>
              </a:p>
              <a:p>
                <a:pPr algn="r"/>
                <a:r>
                  <a:rPr lang="en-GB" sz="1100" dirty="0" smtClean="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2884">
                    <a:defRPr/>
                  </a:pPr>
                  <a:r>
                    <a:rPr lang="en-GB" sz="900" dirty="0" smtClean="0">
                      <a:solidFill>
                        <a:srgbClr val="444444"/>
                      </a:solidFill>
                    </a:rPr>
                    <a:t>Increase</a:t>
                  </a:r>
                </a:p>
                <a:p>
                  <a:pPr algn="r" defTabSz="912884">
                    <a:defRPr/>
                  </a:pPr>
                  <a:r>
                    <a:rPr lang="en-GB" sz="900" dirty="0" smtClean="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2884">
                    <a:defRPr/>
                  </a:pPr>
                  <a:r>
                    <a:rPr lang="en-GB" sz="900" dirty="0" smtClean="0">
                      <a:solidFill>
                        <a:srgbClr val="444444"/>
                      </a:solidFill>
                    </a:rPr>
                    <a:t>Decrease </a:t>
                  </a:r>
                </a:p>
                <a:p>
                  <a:pPr algn="r" defTabSz="912884">
                    <a:defRPr/>
                  </a:pPr>
                  <a:r>
                    <a:rPr lang="en-GB" sz="900" dirty="0" smtClean="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72" y="2281902"/>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 name="Titel 1"/>
          <p:cNvSpPr>
            <a:spLocks noGrp="1"/>
          </p:cNvSpPr>
          <p:nvPr>
            <p:ph type="ctrTitle" hasCustomPrompt="1"/>
          </p:nvPr>
        </p:nvSpPr>
        <p:spPr>
          <a:xfrm>
            <a:off x="628326" y="2044436"/>
            <a:ext cx="7232233" cy="648964"/>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en-GB" dirty="0" smtClean="0"/>
              <a:t>Headline for presentation</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4" y="790855"/>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5" y="998937"/>
            <a:ext cx="3742051" cy="236996"/>
          </a:xfrm>
          <a:prstGeom prst="rect">
            <a:avLst/>
          </a:prstGeom>
        </p:spPr>
      </p:pic>
      <p:grpSp>
        <p:nvGrpSpPr>
          <p:cNvPr id="19" name="Gruppieren 18"/>
          <p:cNvGrpSpPr/>
          <p:nvPr userDrawn="1"/>
        </p:nvGrpSpPr>
        <p:grpSpPr>
          <a:xfrm>
            <a:off x="-2250853" y="3527182"/>
            <a:ext cx="2229361" cy="4638856"/>
            <a:chOff x="12221581" y="-62687"/>
            <a:chExt cx="2230522" cy="4639930"/>
          </a:xfrm>
        </p:grpSpPr>
        <p:sp>
          <p:nvSpPr>
            <p:cNvPr id="20" name="Rechteck 19"/>
            <p:cNvSpPr/>
            <p:nvPr userDrawn="1"/>
          </p:nvSpPr>
          <p:spPr>
            <a:xfrm>
              <a:off x="12266612" y="-62687"/>
              <a:ext cx="2185491" cy="1446550"/>
            </a:xfrm>
            <a:prstGeom prst="rect">
              <a:avLst/>
            </a:prstGeom>
          </p:spPr>
          <p:txBody>
            <a:bodyPr wrap="square">
              <a:spAutoFit/>
            </a:bodyPr>
            <a:lstStyle/>
            <a:p>
              <a:pPr algn="r" defTabSz="1087306"/>
              <a:r>
                <a:rPr lang="en-GB" sz="1100" b="1" dirty="0" smtClean="0">
                  <a:solidFill>
                    <a:srgbClr val="444444"/>
                  </a:solidFill>
                </a:rPr>
                <a:t>Animation</a:t>
              </a:r>
            </a:p>
            <a:p>
              <a:pPr algn="r" defTabSz="1087306"/>
              <a:r>
                <a:rPr lang="en-GB" sz="1100" dirty="0" smtClean="0">
                  <a:solidFill>
                    <a:srgbClr val="444444"/>
                  </a:solidFill>
                </a:rPr>
                <a:t>You can change animations via menu bar: animation.</a:t>
              </a:r>
            </a:p>
            <a:p>
              <a:pPr algn="r" defTabSz="1087306"/>
              <a:endParaRPr lang="en-GB" sz="1100" dirty="0" smtClean="0">
                <a:solidFill>
                  <a:srgbClr val="444444"/>
                </a:solidFill>
              </a:endParaRPr>
            </a:p>
            <a:p>
              <a:pPr algn="r" defTabSz="1087306"/>
              <a:r>
                <a:rPr lang="en-GB" sz="1100" dirty="0" smtClean="0">
                  <a:solidFill>
                    <a:srgbClr val="444444"/>
                  </a:solidFill>
                </a:rPr>
                <a:t>To remove the animation choose the menu bar animation and insert the animation pane by click on the following button.</a:t>
              </a:r>
            </a:p>
          </p:txBody>
        </p:sp>
        <p:pic>
          <p:nvPicPr>
            <p:cNvPr id="21" name="Grafik 2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2" name="Grafik 2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3" name="Rechteck 22"/>
            <p:cNvSpPr/>
            <p:nvPr userDrawn="1"/>
          </p:nvSpPr>
          <p:spPr>
            <a:xfrm>
              <a:off x="12221581" y="1896262"/>
              <a:ext cx="2185491" cy="938719"/>
            </a:xfrm>
            <a:prstGeom prst="rect">
              <a:avLst/>
            </a:prstGeom>
          </p:spPr>
          <p:txBody>
            <a:bodyPr wrap="square">
              <a:spAutoFit/>
            </a:bodyPr>
            <a:lstStyle/>
            <a:p>
              <a:pPr algn="r" defTabSz="1087306"/>
              <a:r>
                <a:rPr lang="en-GB" sz="1100" dirty="0" smtClean="0">
                  <a:solidFill>
                    <a:srgbClr val="444444"/>
                  </a:solidFill>
                </a:rPr>
                <a:t>Within the window animation Pane you can choose the animated elements and by click on the blue arrow you can remove the animation.</a:t>
              </a:r>
            </a:p>
          </p:txBody>
        </p:sp>
      </p:grpSp>
      <p:grpSp>
        <p:nvGrpSpPr>
          <p:cNvPr id="24" name="Gruppieren 23"/>
          <p:cNvGrpSpPr/>
          <p:nvPr userDrawn="1"/>
        </p:nvGrpSpPr>
        <p:grpSpPr>
          <a:xfrm>
            <a:off x="12192009" y="-82363"/>
            <a:ext cx="2184353" cy="3786237"/>
            <a:chOff x="12266612" y="-62687"/>
            <a:chExt cx="2185491" cy="3787114"/>
          </a:xfrm>
        </p:grpSpPr>
        <p:sp>
          <p:nvSpPr>
            <p:cNvPr id="25" name="Rechteck 24"/>
            <p:cNvSpPr/>
            <p:nvPr userDrawn="1"/>
          </p:nvSpPr>
          <p:spPr>
            <a:xfrm>
              <a:off x="12266612" y="-62687"/>
              <a:ext cx="2185491" cy="779881"/>
            </a:xfrm>
            <a:prstGeom prst="rect">
              <a:avLst/>
            </a:prstGeom>
          </p:spPr>
          <p:txBody>
            <a:bodyPr wrap="square">
              <a:spAutoFit/>
            </a:bodyPr>
            <a:lstStyle/>
            <a:p>
              <a:pPr defTabSz="1087306"/>
              <a:r>
                <a:rPr lang="en-US" sz="1100" b="1" dirty="0" smtClean="0">
                  <a:solidFill>
                    <a:srgbClr val="444444"/>
                  </a:solidFill>
                </a:rPr>
                <a:t>Change pictures</a:t>
              </a:r>
            </a:p>
            <a:p>
              <a:pPr defTabSz="1087306"/>
              <a:r>
                <a:rPr lang="en-US" sz="1100" dirty="0" smtClean="0">
                  <a:solidFill>
                    <a:srgbClr val="444444"/>
                  </a:solidFill>
                </a:rPr>
                <a:t>Choose your desired picture, click right mouse button an choose change picture.</a:t>
              </a:r>
            </a:p>
          </p:txBody>
        </p:sp>
        <p:pic>
          <p:nvPicPr>
            <p:cNvPr id="26" name="Grafik 2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27" name="Gruppieren 26"/>
          <p:cNvGrpSpPr/>
          <p:nvPr userDrawn="1"/>
        </p:nvGrpSpPr>
        <p:grpSpPr>
          <a:xfrm>
            <a:off x="12192002" y="3909462"/>
            <a:ext cx="2383726" cy="3891079"/>
            <a:chOff x="12291863" y="5052225"/>
            <a:chExt cx="2384968" cy="3891979"/>
          </a:xfrm>
        </p:grpSpPr>
        <p:sp>
          <p:nvSpPr>
            <p:cNvPr id="36" name="Rechteck 35"/>
            <p:cNvSpPr/>
            <p:nvPr userDrawn="1"/>
          </p:nvSpPr>
          <p:spPr>
            <a:xfrm>
              <a:off x="12291863" y="5052225"/>
              <a:ext cx="2384968" cy="1107996"/>
            </a:xfrm>
            <a:prstGeom prst="rect">
              <a:avLst/>
            </a:prstGeom>
          </p:spPr>
          <p:txBody>
            <a:bodyPr wrap="square">
              <a:spAutoFit/>
            </a:bodyPr>
            <a:lstStyle/>
            <a:p>
              <a:pPr defTabSz="1087306"/>
              <a:r>
                <a:rPr lang="en-US" sz="1100" b="1" dirty="0" smtClean="0">
                  <a:solidFill>
                    <a:srgbClr val="444444"/>
                  </a:solidFill>
                </a:rPr>
                <a:t>Align</a:t>
              </a:r>
            </a:p>
            <a:p>
              <a:pPr defTabSz="1087306"/>
              <a:r>
                <a:rPr lang="en-US" sz="1100" dirty="0" smtClean="0">
                  <a:solidFill>
                    <a:srgbClr val="444444"/>
                  </a:solidFill>
                </a:rPr>
                <a:t>By using this tool you can align objects, pictures and text blocks with another:</a:t>
              </a:r>
            </a:p>
            <a:p>
              <a:pPr defTabSz="1087306"/>
              <a:r>
                <a:rPr lang="en-US" sz="1100" dirty="0" smtClean="0">
                  <a:solidFill>
                    <a:srgbClr val="444444"/>
                  </a:solidFill>
                </a:rPr>
                <a:t>Choose desired objects // Format // Align</a:t>
              </a:r>
            </a:p>
          </p:txBody>
        </p:sp>
        <p:pic>
          <p:nvPicPr>
            <p:cNvPr id="37" name="Picture 2"/>
            <p:cNvPicPr>
              <a:picLocks noChangeAspect="1" noChangeArrowheads="1"/>
            </p:cNvPicPr>
            <p:nvPr userDrawn="1"/>
          </p:nvPicPr>
          <p:blipFill>
            <a:blip r:embed="rId10">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uppieren 37"/>
          <p:cNvGrpSpPr/>
          <p:nvPr userDrawn="1"/>
        </p:nvGrpSpPr>
        <p:grpSpPr>
          <a:xfrm>
            <a:off x="14575736" y="-67787"/>
            <a:ext cx="2184353" cy="5224601"/>
            <a:chOff x="14583318" y="4183"/>
            <a:chExt cx="2185491" cy="5225811"/>
          </a:xfrm>
        </p:grpSpPr>
        <p:sp>
          <p:nvSpPr>
            <p:cNvPr id="39" name="Rechteck 38"/>
            <p:cNvSpPr/>
            <p:nvPr userDrawn="1"/>
          </p:nvSpPr>
          <p:spPr>
            <a:xfrm>
              <a:off x="14583318" y="4183"/>
              <a:ext cx="2185491" cy="1107996"/>
            </a:xfrm>
            <a:prstGeom prst="rect">
              <a:avLst/>
            </a:prstGeom>
          </p:spPr>
          <p:txBody>
            <a:bodyPr wrap="square">
              <a:spAutoFit/>
            </a:bodyPr>
            <a:lstStyle/>
            <a:p>
              <a:pPr defTabSz="1087306">
                <a:defRPr/>
              </a:pPr>
              <a:r>
                <a:rPr lang="en-US" sz="1100" b="1" dirty="0" smtClean="0">
                  <a:solidFill>
                    <a:srgbClr val="444444"/>
                  </a:solidFill>
                </a:rPr>
                <a:t>Crop pictures to shape</a:t>
              </a:r>
            </a:p>
            <a:p>
              <a:pPr defTabSz="1087306"/>
              <a:r>
                <a:rPr lang="en-US" sz="1100" dirty="0" smtClean="0">
                  <a:solidFill>
                    <a:srgbClr val="444444"/>
                  </a:solidFill>
                </a:rPr>
                <a:t>To crop pictures in a circle in the first step they have to be square-shaped. </a:t>
              </a:r>
            </a:p>
            <a:p>
              <a:pPr defTabSz="1087306"/>
              <a:r>
                <a:rPr lang="en-US" sz="1100" dirty="0" smtClean="0">
                  <a:solidFill>
                    <a:srgbClr val="444444"/>
                  </a:solidFill>
                </a:rPr>
                <a:t>Do this via menu bar:</a:t>
              </a:r>
            </a:p>
            <a:p>
              <a:pPr defTabSz="1087306"/>
              <a:r>
                <a:rPr lang="en-US" sz="1100" dirty="0" smtClean="0">
                  <a:solidFill>
                    <a:srgbClr val="444444"/>
                  </a:solidFill>
                </a:rPr>
                <a:t>Picture Tool // Format // Crop</a:t>
              </a:r>
              <a:endParaRPr lang="en-US" sz="1100" dirty="0">
                <a:solidFill>
                  <a:srgbClr val="444444"/>
                </a:solidFill>
              </a:endParaRPr>
            </a:p>
          </p:txBody>
        </p:sp>
        <p:pic>
          <p:nvPicPr>
            <p:cNvPr id="40" name="Grafik 39"/>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1" name="Grafik 40"/>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2" name="Rechteck 41"/>
            <p:cNvSpPr/>
            <p:nvPr userDrawn="1"/>
          </p:nvSpPr>
          <p:spPr>
            <a:xfrm>
              <a:off x="14583318" y="2076199"/>
              <a:ext cx="2185491" cy="938719"/>
            </a:xfrm>
            <a:prstGeom prst="rect">
              <a:avLst/>
            </a:prstGeom>
          </p:spPr>
          <p:txBody>
            <a:bodyPr wrap="square">
              <a:spAutoFit/>
            </a:bodyPr>
            <a:lstStyle/>
            <a:p>
              <a:pPr defTabSz="1087306"/>
              <a:r>
                <a:rPr lang="en-US" sz="1100" dirty="0" smtClean="0">
                  <a:solidFill>
                    <a:srgbClr val="444444"/>
                  </a:solidFill>
                </a:rPr>
                <a:t>Afterwards the picture can be cropped in a circle via following menu:</a:t>
              </a:r>
            </a:p>
            <a:p>
              <a:pPr defTabSz="1087306"/>
              <a:r>
                <a:rPr lang="en-US" sz="1100" dirty="0" smtClean="0">
                  <a:solidFill>
                    <a:srgbClr val="444444"/>
                  </a:solidFill>
                </a:rPr>
                <a:t>Picture Tool // Format // Crop // Crop to Shape</a:t>
              </a:r>
              <a:endParaRPr lang="en-US" sz="1100" dirty="0">
                <a:solidFill>
                  <a:srgbClr val="444444"/>
                </a:solidFill>
              </a:endParaRPr>
            </a:p>
          </p:txBody>
        </p:sp>
        <p:pic>
          <p:nvPicPr>
            <p:cNvPr id="43" name="Grafik 4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2467878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288">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1.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en-GB" dirty="0"/>
              <a:t>Referent’s name: </a:t>
            </a:r>
            <a:r>
              <a:rPr lang="en-GB" noProof="0" dirty="0"/>
              <a:t>CorpoS </a:t>
            </a:r>
            <a:r>
              <a:rPr lang="en-GB" dirty="0"/>
              <a:t>(Body) 35 pt. Presentation title</a:t>
            </a:r>
            <a:br>
              <a:rPr lang="en-GB" dirty="0"/>
            </a:br>
            <a:r>
              <a:rPr lang="en-GB" dirty="0"/>
              <a:t>in two lines of text, dd. </a:t>
            </a:r>
            <a:r>
              <a:rPr lang="en-GB" dirty="0" err="1"/>
              <a:t>mmmm</a:t>
            </a:r>
            <a:r>
              <a:rPr lang="en-GB" dirty="0"/>
              <a:t> </a:t>
            </a:r>
            <a:r>
              <a:rPr lang="en-GB" dirty="0" err="1"/>
              <a:t>yyyy</a:t>
            </a:r>
            <a:endParaRPr lang="en-GB"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1498682543"/>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2.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a:lvl1pPr>
          </a:lstStyle>
          <a:p>
            <a:r>
              <a:rPr lang="en-GB" dirty="0"/>
              <a:t>Referent’s name: </a:t>
            </a:r>
            <a:r>
              <a:rPr lang="en-GB" noProof="0" dirty="0"/>
              <a:t>CorpoS </a:t>
            </a:r>
            <a:r>
              <a:rPr lang="en-GB" dirty="0"/>
              <a:t>(Body) 35 pt. Presentation title</a:t>
            </a:r>
            <a:br>
              <a:rPr lang="en-GB" dirty="0"/>
            </a:br>
            <a:r>
              <a:rPr lang="en-GB" dirty="0"/>
              <a:t>in two or more lines of text, dd. </a:t>
            </a:r>
            <a:r>
              <a:rPr lang="en-GB" dirty="0" err="1"/>
              <a:t>mmmm</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147354361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385576629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4433"/>
            <a:ext cx="7232233" cy="648964"/>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en-GB" dirty="0"/>
              <a:t>Headline for presentation</a:t>
            </a:r>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421798465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Section chart">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1" y="0"/>
            <a:ext cx="12190451" cy="6487838"/>
          </a:xfrm>
          <a:prstGeom prst="rect">
            <a:avLst/>
          </a:prstGeom>
        </p:spPr>
      </p:pic>
      <p:sp>
        <p:nvSpPr>
          <p:cNvPr id="3" name="Title 2"/>
          <p:cNvSpPr>
            <a:spLocks noGrp="1"/>
          </p:cNvSpPr>
          <p:nvPr>
            <p:ph type="title" hasCustomPrompt="1"/>
          </p:nvPr>
        </p:nvSpPr>
        <p:spPr>
          <a:xfrm>
            <a:off x="628323" y="288859"/>
            <a:ext cx="10932455" cy="1025684"/>
          </a:xfrm>
        </p:spPr>
        <p:txBody>
          <a:bodyPr wrap="square">
            <a:spAutoFit/>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47751270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Text/ image brushing">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a:extLst>
              <a:ext uri="{28A0092B-C50C-407E-A947-70E740481C1C}">
                <a14:useLocalDpi xmlns:a14="http://schemas.microsoft.com/office/drawing/2010/main" val="0"/>
              </a:ext>
            </a:extLst>
          </a:blip>
          <a:srcRect b="5375"/>
          <a:stretch/>
        </p:blipFill>
        <p:spPr bwMode="white">
          <a:xfrm>
            <a:off x="0" y="-1"/>
            <a:ext cx="12190451" cy="6487839"/>
          </a:xfrm>
          <a:prstGeom prst="rect">
            <a:avLst/>
          </a:prstGeom>
        </p:spPr>
      </p:pic>
      <p:sp>
        <p:nvSpPr>
          <p:cNvPr id="3" name="Title 2"/>
          <p:cNvSpPr>
            <a:spLocks noGrp="1"/>
          </p:cNvSpPr>
          <p:nvPr>
            <p:ph type="title" hasCustomPrompt="1"/>
          </p:nvPr>
        </p:nvSpPr>
        <p:spPr>
          <a:xfrm>
            <a:off x="630116" y="288857"/>
            <a:ext cx="10930662" cy="1151733"/>
          </a:xfrm>
          <a:custGeom>
            <a:avLst/>
            <a:gdLst>
              <a:gd name="connsiteX0" fmla="*/ 0 w 10936355"/>
              <a:gd name="connsiteY0" fmla="*/ 0 h 1152000"/>
              <a:gd name="connsiteX1" fmla="*/ 10936355 w 10936355"/>
              <a:gd name="connsiteY1" fmla="*/ 0 h 1152000"/>
              <a:gd name="connsiteX2" fmla="*/ 10936355 w 10936355"/>
              <a:gd name="connsiteY2" fmla="*/ 1152000 h 1152000"/>
              <a:gd name="connsiteX3" fmla="*/ 0 w 10936355"/>
              <a:gd name="connsiteY3" fmla="*/ 1152000 h 1152000"/>
              <a:gd name="connsiteX4" fmla="*/ 0 w 10936355"/>
              <a:gd name="connsiteY4"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4948164 w 10936355"/>
              <a:gd name="connsiteY4" fmla="*/ 1147990 h 1152000"/>
              <a:gd name="connsiteX5" fmla="*/ 0 w 10936355"/>
              <a:gd name="connsiteY5" fmla="*/ 1152000 h 1152000"/>
              <a:gd name="connsiteX6" fmla="*/ 0 w 10936355"/>
              <a:gd name="connsiteY6"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355" h="1152000">
                <a:moveTo>
                  <a:pt x="0" y="0"/>
                </a:moveTo>
                <a:lnTo>
                  <a:pt x="10936355" y="0"/>
                </a:lnTo>
                <a:cubicBezTo>
                  <a:pt x="10935205" y="231775"/>
                  <a:pt x="10934056" y="463551"/>
                  <a:pt x="10932906" y="695326"/>
                </a:cubicBezTo>
                <a:lnTo>
                  <a:pt x="4948164" y="1147990"/>
                </a:lnTo>
                <a:lnTo>
                  <a:pt x="0" y="1152000"/>
                </a:lnTo>
                <a:lnTo>
                  <a:pt x="0" y="0"/>
                </a:lnTo>
                <a:close/>
              </a:path>
            </a:pathLst>
          </a:custGeom>
        </p:spPr>
        <p:txBody>
          <a:bodyPr/>
          <a:lstStyle>
            <a:lvl1pPr>
              <a:defRPr baseline="0">
                <a:solidFill>
                  <a:schemeClr val="bg1"/>
                </a:solidFill>
              </a:defRPr>
            </a:lvl1pPr>
          </a:lstStyle>
          <a:p>
            <a:r>
              <a:rPr lang="en-GB" dirty="0"/>
              <a:t>Image-chart, Headline </a:t>
            </a:r>
            <a:r>
              <a:rPr lang="en-GB" noProof="0" dirty="0"/>
              <a:t>CorpoS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28415546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Agenda with brushin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 name="Title 1"/>
          <p:cNvSpPr>
            <a:spLocks noGrp="1"/>
          </p:cNvSpPr>
          <p:nvPr>
            <p:ph type="title" hasCustomPrompt="1"/>
          </p:nvPr>
        </p:nvSpPr>
        <p:spPr>
          <a:xfrm>
            <a:off x="628323" y="288859"/>
            <a:ext cx="10932455" cy="1148857"/>
          </a:xfrm>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7" y="1504603"/>
            <a:ext cx="10931023" cy="3386305"/>
          </a:xfrm>
          <a:custGeom>
            <a:avLst/>
            <a:gdLst>
              <a:gd name="connsiteX0" fmla="*/ 0 w 10936081"/>
              <a:gd name="connsiteY0" fmla="*/ 0 h 3384000"/>
              <a:gd name="connsiteX1" fmla="*/ 10936081 w 10936081"/>
              <a:gd name="connsiteY1" fmla="*/ 0 h 3384000"/>
              <a:gd name="connsiteX2" fmla="*/ 10936081 w 10936081"/>
              <a:gd name="connsiteY2" fmla="*/ 3384000 h 3384000"/>
              <a:gd name="connsiteX3" fmla="*/ 0 w 10936081"/>
              <a:gd name="connsiteY3" fmla="*/ 3384000 h 3384000"/>
              <a:gd name="connsiteX4" fmla="*/ 0 w 10936081"/>
              <a:gd name="connsiteY4" fmla="*/ 0 h 3384000"/>
              <a:gd name="connsiteX0" fmla="*/ 0 w 10936081"/>
              <a:gd name="connsiteY0" fmla="*/ 0 h 3387089"/>
              <a:gd name="connsiteX1" fmla="*/ 10936081 w 10936081"/>
              <a:gd name="connsiteY1" fmla="*/ 0 h 3387089"/>
              <a:gd name="connsiteX2" fmla="*/ 10936081 w 10936081"/>
              <a:gd name="connsiteY2" fmla="*/ 3384000 h 3387089"/>
              <a:gd name="connsiteX3" fmla="*/ 2006076 w 10936081"/>
              <a:gd name="connsiteY3" fmla="*/ 3387089 h 3387089"/>
              <a:gd name="connsiteX4" fmla="*/ 0 w 10936081"/>
              <a:gd name="connsiteY4" fmla="*/ 3384000 h 3387089"/>
              <a:gd name="connsiteX5" fmla="*/ 0 w 10936081"/>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10936081 w 10936716"/>
              <a:gd name="connsiteY3" fmla="*/ 3384000 h 3387089"/>
              <a:gd name="connsiteX4" fmla="*/ 2006076 w 10936716"/>
              <a:gd name="connsiteY4" fmla="*/ 3387089 h 3387089"/>
              <a:gd name="connsiteX5" fmla="*/ 0 w 10936716"/>
              <a:gd name="connsiteY5" fmla="*/ 3384000 h 3387089"/>
              <a:gd name="connsiteX6" fmla="*/ 0 w 10936716"/>
              <a:gd name="connsiteY6"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3387089">
                <a:moveTo>
                  <a:pt x="0" y="0"/>
                </a:moveTo>
                <a:lnTo>
                  <a:pt x="10936081" y="0"/>
                </a:lnTo>
                <a:cubicBezTo>
                  <a:pt x="10936293" y="852170"/>
                  <a:pt x="10936504" y="1704339"/>
                  <a:pt x="10936716" y="2556509"/>
                </a:cubicBezTo>
                <a:lnTo>
                  <a:pt x="2006076" y="3387089"/>
                </a:lnTo>
                <a:lnTo>
                  <a:pt x="0" y="3384000"/>
                </a:lnTo>
                <a:lnTo>
                  <a:pt x="0" y="0"/>
                </a:lnTo>
                <a:close/>
              </a:path>
            </a:pathLst>
          </a:custGeo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17856767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117498823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355729625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2/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a:lvl1pPr>
          </a:lstStyle>
          <a:p>
            <a:r>
              <a:rPr lang="en-GB" dirty="0"/>
              <a:t>Referent’s name: </a:t>
            </a:r>
            <a:r>
              <a:rPr lang="en-GB" noProof="0" dirty="0" err="1"/>
              <a:t>CorpoS</a:t>
            </a:r>
            <a:r>
              <a:rPr lang="en-GB" noProof="0" dirty="0"/>
              <a:t> </a:t>
            </a:r>
            <a:r>
              <a:rPr lang="en-GB" dirty="0"/>
              <a:t>(Body) 35 pt. Presentation title</a:t>
            </a:r>
            <a:br>
              <a:rPr lang="en-GB" dirty="0"/>
            </a:br>
            <a:r>
              <a:rPr lang="en-GB" dirty="0"/>
              <a:t>in two or more lines of text, dd. </a:t>
            </a:r>
            <a:r>
              <a:rPr lang="en-GB" dirty="0" err="1"/>
              <a:t>mmmm</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412652444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2 lines">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a:t>
            </a:r>
            <a:r>
              <a:rPr lang="en-GB" noProof="0" dirty="0"/>
              <a:t> 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90209963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ext/ content/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30418712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1 line">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81203417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userDrawn="1">
  <p:cSld name="1.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97755429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2.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7" y="288858"/>
            <a:ext cx="10931023" cy="1115742"/>
          </a:xfrm>
          <a:custGeom>
            <a:avLst/>
            <a:gdLst>
              <a:gd name="connsiteX0" fmla="*/ 0 w 10936355"/>
              <a:gd name="connsiteY0" fmla="*/ 0 h 1116000"/>
              <a:gd name="connsiteX1" fmla="*/ 10936355 w 10936355"/>
              <a:gd name="connsiteY1" fmla="*/ 0 h 1116000"/>
              <a:gd name="connsiteX2" fmla="*/ 10936355 w 10936355"/>
              <a:gd name="connsiteY2" fmla="*/ 1116000 h 1116000"/>
              <a:gd name="connsiteX3" fmla="*/ 0 w 10936355"/>
              <a:gd name="connsiteY3" fmla="*/ 1116000 h 1116000"/>
              <a:gd name="connsiteX4" fmla="*/ 0 w 10936355"/>
              <a:gd name="connsiteY4" fmla="*/ 0 h 1116000"/>
              <a:gd name="connsiteX0" fmla="*/ 0 w 10936355"/>
              <a:gd name="connsiteY0" fmla="*/ 0 h 1116000"/>
              <a:gd name="connsiteX1" fmla="*/ 10936355 w 10936355"/>
              <a:gd name="connsiteY1" fmla="*/ 0 h 1116000"/>
              <a:gd name="connsiteX2" fmla="*/ 10936355 w 10936355"/>
              <a:gd name="connsiteY2" fmla="*/ 1116000 h 1116000"/>
              <a:gd name="connsiteX3" fmla="*/ 5793216 w 10936355"/>
              <a:gd name="connsiteY3" fmla="*/ 1113155 h 1116000"/>
              <a:gd name="connsiteX4" fmla="*/ 0 w 10936355"/>
              <a:gd name="connsiteY4" fmla="*/ 1116000 h 1116000"/>
              <a:gd name="connsiteX5" fmla="*/ 0 w 10936355"/>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10936355 w 10936716"/>
              <a:gd name="connsiteY3" fmla="*/ 1116000 h 1116000"/>
              <a:gd name="connsiteX4" fmla="*/ 5793216 w 10936716"/>
              <a:gd name="connsiteY4" fmla="*/ 1113155 h 1116000"/>
              <a:gd name="connsiteX5" fmla="*/ 0 w 10936716"/>
              <a:gd name="connsiteY5" fmla="*/ 1116000 h 1116000"/>
              <a:gd name="connsiteX6" fmla="*/ 0 w 10936716"/>
              <a:gd name="connsiteY6"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1116000">
                <a:moveTo>
                  <a:pt x="0" y="0"/>
                </a:moveTo>
                <a:lnTo>
                  <a:pt x="10936355" y="0"/>
                </a:lnTo>
                <a:cubicBezTo>
                  <a:pt x="10936475" y="226272"/>
                  <a:pt x="10936596" y="452543"/>
                  <a:pt x="10936716" y="678815"/>
                </a:cubicBezTo>
                <a:lnTo>
                  <a:pt x="5793216" y="1113155"/>
                </a:lnTo>
                <a:lnTo>
                  <a:pt x="0" y="1116000"/>
                </a:lnTo>
                <a:lnTo>
                  <a:pt x="0" y="0"/>
                </a:lnTo>
                <a:close/>
              </a:path>
            </a:pathLst>
          </a:custGeom>
        </p:spPr>
        <p:txBody>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08686746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3. Brushing/ image 2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55648780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4.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a:t>CorpoS (Body) 24 pt. (Mark-ups in Bold) </a:t>
            </a:r>
            <a:r>
              <a:rPr lang="en-GB" dirty="0"/>
              <a:t>// for Body text: Home // Paragraph// Increase List Level</a:t>
            </a:r>
          </a:p>
          <a:p>
            <a:pPr lvl="1"/>
            <a:r>
              <a:rPr lang="en-GB" dirty="0"/>
              <a:t>Second level (Body text)</a:t>
            </a:r>
          </a:p>
        </p:txBody>
      </p:sp>
      <p:sp>
        <p:nvSpPr>
          <p:cNvPr id="2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42057424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5. Brushing/ image 3 columns">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3"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a:t>CorpoS (Body) 24 pt. (Mark-ups in Bold) </a:t>
            </a:r>
            <a:r>
              <a:rPr lang="en-GB" dirty="0"/>
              <a:t>// for Body text: Home // Paragraph// Increase List Level</a:t>
            </a:r>
          </a:p>
          <a:p>
            <a:pPr lvl="1"/>
            <a:r>
              <a:rPr lang="en-GB" dirty="0"/>
              <a:t>Second level (Body text)</a:t>
            </a:r>
          </a:p>
          <a:p>
            <a:pPr lvl="2"/>
            <a:r>
              <a:rPr lang="en-GB" dirty="0"/>
              <a:t>Third level</a:t>
            </a:r>
          </a:p>
          <a:p>
            <a:pPr lvl="3"/>
            <a:r>
              <a:rPr lang="en-GB" dirty="0"/>
              <a:t>Fourth level</a:t>
            </a:r>
          </a:p>
          <a:p>
            <a:pPr lvl="4"/>
            <a:r>
              <a:rPr lang="en-GB" dirty="0"/>
              <a:t>Fifth level</a:t>
            </a:r>
          </a:p>
          <a:p>
            <a:pPr lvl="5"/>
            <a:r>
              <a:rPr lang="en-GB" dirty="0"/>
              <a:t>Sixth level</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9947567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Full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407549976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userDrawn="1">
  <p:cSld name="Full image/ 2 columns">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605990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2" name="Picture Placeholder 3"/>
          <p:cNvSpPr>
            <a:spLocks noGrp="1"/>
          </p:cNvSpPr>
          <p:nvPr>
            <p:ph type="pic" sz="quarter" idx="14" hasCustomPrompt="1"/>
          </p:nvPr>
        </p:nvSpPr>
        <p:spPr bwMode="gray">
          <a:xfrm>
            <a:off x="6132096" y="0"/>
            <a:ext cx="605990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02588834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1/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4608438"/>
            <a:ext cx="10930832" cy="1538527"/>
          </a:xfrm>
        </p:spPr>
        <p:txBody>
          <a:bodyPr wrap="square" anchor="b" anchorCtr="0">
            <a:spAutoFit/>
          </a:bodyPr>
          <a:lstStyle>
            <a:lvl1pPr>
              <a:defRPr baseline="0"/>
            </a:lvl1pPr>
          </a:lstStyle>
          <a:p>
            <a:r>
              <a:rPr lang="en-GB" dirty="0"/>
              <a:t>Referent’s name: </a:t>
            </a:r>
            <a:r>
              <a:rPr lang="en-GB" noProof="0" dirty="0" err="1"/>
              <a:t>CorpoS</a:t>
            </a:r>
            <a:r>
              <a:rPr lang="en-GB" noProof="0" dirty="0"/>
              <a:t> </a:t>
            </a:r>
            <a:r>
              <a:rPr lang="en-GB" dirty="0"/>
              <a:t>(Body) 35 pt.</a:t>
            </a:r>
            <a:br>
              <a:rPr lang="en-GB" dirty="0"/>
            </a:br>
            <a:r>
              <a:rPr lang="en-GB" dirty="0"/>
              <a:t>Presentation title in two lines or </a:t>
            </a:r>
            <a:br>
              <a:rPr lang="en-GB" dirty="0"/>
            </a:br>
            <a:r>
              <a:rPr lang="en-GB" dirty="0"/>
              <a:t>more lines of text, dd. </a:t>
            </a:r>
            <a:r>
              <a:rPr lang="en-GB" dirty="0" err="1"/>
              <a:t>mmmm</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64074875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Full image/ 4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3279297"/>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2" name="Picture Placeholder 3"/>
          <p:cNvSpPr>
            <a:spLocks noGrp="1"/>
          </p:cNvSpPr>
          <p:nvPr>
            <p:ph type="pic" sz="quarter" idx="14" hasCustomPrompt="1"/>
          </p:nvPr>
        </p:nvSpPr>
        <p:spPr bwMode="gray">
          <a:xfrm>
            <a:off x="6132096" y="3279297"/>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Picture Placeholder 3"/>
          <p:cNvSpPr>
            <a:spLocks noGrp="1"/>
          </p:cNvSpPr>
          <p:nvPr>
            <p:ph type="pic" sz="quarter" idx="15" hasCustomPrompt="1"/>
          </p:nvPr>
        </p:nvSpPr>
        <p:spPr bwMode="gray">
          <a:xfrm>
            <a:off x="0" y="1"/>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3" name="Picture Placeholder 3"/>
          <p:cNvSpPr>
            <a:spLocks noGrp="1"/>
          </p:cNvSpPr>
          <p:nvPr>
            <p:ph type="pic" sz="quarter" idx="16" hasCustomPrompt="1"/>
          </p:nvPr>
        </p:nvSpPr>
        <p:spPr bwMode="gray">
          <a:xfrm>
            <a:off x="6132096" y="1"/>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27236800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Full image/ 3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6" name="Picture Placeholder 3"/>
          <p:cNvSpPr>
            <a:spLocks noGrp="1"/>
          </p:cNvSpPr>
          <p:nvPr>
            <p:ph type="pic" sz="quarter" idx="14" hasCustomPrompt="1"/>
          </p:nvPr>
        </p:nvSpPr>
        <p:spPr bwMode="gray">
          <a:xfrm>
            <a:off x="3913531" y="0"/>
            <a:ext cx="419992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49576456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Full image/ 6 image">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3279297"/>
            <a:ext cx="3841337"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6" name="Picture Placeholder 3"/>
          <p:cNvSpPr>
            <a:spLocks noGrp="1"/>
          </p:cNvSpPr>
          <p:nvPr>
            <p:ph type="pic" sz="quarter" idx="14" hasCustomPrompt="1"/>
          </p:nvPr>
        </p:nvSpPr>
        <p:spPr bwMode="gray">
          <a:xfrm>
            <a:off x="3913531" y="3279297"/>
            <a:ext cx="419992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7" name="Picture Placeholder 3"/>
          <p:cNvSpPr>
            <a:spLocks noGrp="1"/>
          </p:cNvSpPr>
          <p:nvPr>
            <p:ph type="pic" sz="quarter" idx="15" hasCustomPrompt="1"/>
          </p:nvPr>
        </p:nvSpPr>
        <p:spPr bwMode="gray">
          <a:xfrm>
            <a:off x="8185649" y="3279297"/>
            <a:ext cx="4006350"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Picture Placeholder 3"/>
          <p:cNvSpPr>
            <a:spLocks noGrp="1"/>
          </p:cNvSpPr>
          <p:nvPr>
            <p:ph type="pic" sz="quarter" idx="16" hasCustomPrompt="1"/>
          </p:nvPr>
        </p:nvSpPr>
        <p:spPr bwMode="gray">
          <a:xfrm>
            <a:off x="0" y="1"/>
            <a:ext cx="3841337"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9" name="Picture Placeholder 3"/>
          <p:cNvSpPr>
            <a:spLocks noGrp="1"/>
          </p:cNvSpPr>
          <p:nvPr>
            <p:ph type="pic" sz="quarter" idx="17" hasCustomPrompt="1"/>
          </p:nvPr>
        </p:nvSpPr>
        <p:spPr bwMode="gray">
          <a:xfrm>
            <a:off x="8185650" y="1"/>
            <a:ext cx="4006350"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0" name="Picture Placeholder 3"/>
          <p:cNvSpPr>
            <a:spLocks noGrp="1"/>
          </p:cNvSpPr>
          <p:nvPr>
            <p:ph type="pic" sz="quarter" idx="18" hasCustomPrompt="1"/>
          </p:nvPr>
        </p:nvSpPr>
        <p:spPr bwMode="gray">
          <a:xfrm>
            <a:off x="3913531" y="1"/>
            <a:ext cx="419992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429178475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ext/ 3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99243209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ext/ 3 images/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36051373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Tree>
    <p:extLst>
      <p:ext uri="{BB962C8B-B14F-4D97-AF65-F5344CB8AC3E}">
        <p14:creationId xmlns:p14="http://schemas.microsoft.com/office/powerpoint/2010/main" val="2331648892"/>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ablet/ 4 colum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7"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Tree>
    <p:extLst>
      <p:ext uri="{BB962C8B-B14F-4D97-AF65-F5344CB8AC3E}">
        <p14:creationId xmlns:p14="http://schemas.microsoft.com/office/powerpoint/2010/main" val="206596742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324" y="288858"/>
            <a:ext cx="10932454" cy="1148857"/>
          </a:xfrm>
        </p:spPr>
        <p:txBody>
          <a:bodyPr/>
          <a:lstStyle/>
          <a:p>
            <a:r>
              <a:rPr lang="en-GB" noProof="0" dirty="0"/>
              <a:t>Headline in CorpoS (Body) 35 pt.</a:t>
            </a:r>
            <a:br>
              <a:rPr lang="en-GB" noProof="0" dirty="0"/>
            </a:br>
            <a:r>
              <a:rPr lang="en-GB" noProof="0" dirty="0"/>
              <a:t>in two lines</a:t>
            </a:r>
            <a:endParaRPr lang="en-GB" dirty="0"/>
          </a:p>
        </p:txBody>
      </p:sp>
    </p:spTree>
    <p:extLst>
      <p:ext uri="{BB962C8B-B14F-4D97-AF65-F5344CB8AC3E}">
        <p14:creationId xmlns:p14="http://schemas.microsoft.com/office/powerpoint/2010/main" val="68045433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Blank/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617237460"/>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userDrawn="1">
  <p:cSld name="3. Bürstung/ Bild 2-spaltig">
    <p:bg>
      <p:bgRef idx="1001">
        <a:schemeClr val="bg1"/>
      </p:bgRef>
    </p:bg>
    <p:spTree>
      <p:nvGrpSpPr>
        <p:cNvPr id="1" name=""/>
        <p:cNvGrpSpPr/>
        <p:nvPr/>
      </p:nvGrpSpPr>
      <p:grpSpPr>
        <a:xfrm>
          <a:off x="0" y="0"/>
          <a:ext cx="0" cy="0"/>
          <a:chOff x="0" y="0"/>
          <a:chExt cx="0" cy="0"/>
        </a:xfrm>
      </p:grpSpPr>
      <p:grpSp>
        <p:nvGrpSpPr>
          <p:cNvPr id="24" name="Regieanweisungen"/>
          <p:cNvGrpSpPr/>
          <p:nvPr userDrawn="1"/>
        </p:nvGrpSpPr>
        <p:grpSpPr>
          <a:xfrm>
            <a:off x="-2086913" y="-467892"/>
            <a:ext cx="13647691" cy="7792196"/>
            <a:chOff x="-2088000" y="-468000"/>
            <a:chExt cx="13654799" cy="7794000"/>
          </a:xfrm>
        </p:grpSpPr>
        <p:sp>
          <p:nvSpPr>
            <p:cNvPr id="2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9" name="Listenebenen"/>
              <p:cNvGrpSpPr/>
              <p:nvPr userDrawn="1"/>
            </p:nvGrpSpPr>
            <p:grpSpPr>
              <a:xfrm>
                <a:off x="-1692000" y="2232000"/>
                <a:ext cx="1548000" cy="792000"/>
                <a:chOff x="-1692000" y="2160000"/>
                <a:chExt cx="1548000" cy="792000"/>
              </a:xfrm>
            </p:grpSpPr>
            <p:sp>
              <p:nvSpPr>
                <p:cNvPr id="30"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1"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2"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3"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5"/>
          </p:nvPr>
        </p:nvSpPr>
        <p:spPr/>
        <p:txBody>
          <a:bodyPr/>
          <a:lstStyle/>
          <a:p>
            <a:r>
              <a:rPr lang="en-US">
                <a:solidFill>
                  <a:prstClr val="black"/>
                </a:solidFill>
              </a:rPr>
              <a:t>DFS Capital Market Day</a:t>
            </a:r>
            <a:endParaRPr lang="de-DE" dirty="0">
              <a:solidFill>
                <a:prstClr val="black"/>
              </a:solidFill>
            </a:endParaRPr>
          </a:p>
        </p:txBody>
      </p:sp>
      <p:sp>
        <p:nvSpPr>
          <p:cNvPr id="4" name="Foliennummernplatzhalter 3"/>
          <p:cNvSpPr>
            <a:spLocks noGrp="1"/>
          </p:cNvSpPr>
          <p:nvPr>
            <p:ph type="sldNum" sz="quarter" idx="16"/>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8934407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3/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763324"/>
          </a:xfrm>
        </p:spPr>
        <p:txBody>
          <a:bodyPr wrap="square" anchor="t" anchorCtr="0">
            <a:noAutofit/>
          </a:bodyPr>
          <a:lstStyle>
            <a:lvl1pPr>
              <a:defRPr baseline="0">
                <a:solidFill>
                  <a:schemeClr val="bg1"/>
                </a:solidFill>
              </a:defRPr>
            </a:lvl1pPr>
          </a:lstStyle>
          <a:p>
            <a:r>
              <a:rPr lang="en-GB" dirty="0"/>
              <a:t>Referent’s name: </a:t>
            </a:r>
            <a:r>
              <a:rPr lang="en-GB" noProof="0" dirty="0" err="1"/>
              <a:t>CorpoS</a:t>
            </a:r>
            <a:r>
              <a:rPr lang="en-GB" noProof="0" dirty="0"/>
              <a:t>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355398880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3/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763324"/>
          </a:xfrm>
        </p:spPr>
        <p:txBody>
          <a:bodyPr wrap="square" anchor="t" anchorCtr="0">
            <a:noAutofit/>
          </a:bodyPr>
          <a:lstStyle>
            <a:lvl1pPr>
              <a:defRPr baseline="0">
                <a:solidFill>
                  <a:schemeClr val="bg1"/>
                </a:solidFill>
              </a:defRPr>
            </a:lvl1pPr>
          </a:lstStyle>
          <a:p>
            <a:r>
              <a:rPr lang="en-GB" dirty="0"/>
              <a:t>Referent’s name: </a:t>
            </a:r>
            <a:r>
              <a:rPr lang="en-GB" noProof="0" dirty="0" err="1"/>
              <a:t>CorpoS</a:t>
            </a:r>
            <a:r>
              <a:rPr lang="en-GB" noProof="0" dirty="0"/>
              <a:t>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77265179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userDrawn="1">
  <p:cSld name="4. Bürstung/ Bild 2-spaltig">
    <p:bg>
      <p:bgRef idx="1001">
        <a:schemeClr val="bg1"/>
      </p:bgRef>
    </p:bg>
    <p:spTree>
      <p:nvGrpSpPr>
        <p:cNvPr id="1" name=""/>
        <p:cNvGrpSpPr/>
        <p:nvPr/>
      </p:nvGrpSpPr>
      <p:grpSpPr>
        <a:xfrm>
          <a:off x="0" y="0"/>
          <a:ext cx="0" cy="0"/>
          <a:chOff x="0" y="0"/>
          <a:chExt cx="0" cy="0"/>
        </a:xfrm>
      </p:grpSpPr>
      <p:grpSp>
        <p:nvGrpSpPr>
          <p:cNvPr id="27" name="Regieanweisungen"/>
          <p:cNvGrpSpPr/>
          <p:nvPr userDrawn="1"/>
        </p:nvGrpSpPr>
        <p:grpSpPr>
          <a:xfrm>
            <a:off x="-2086913" y="-467892"/>
            <a:ext cx="13647691" cy="7792196"/>
            <a:chOff x="-2088000" y="-468000"/>
            <a:chExt cx="13654799" cy="7794000"/>
          </a:xfrm>
        </p:grpSpPr>
        <p:sp>
          <p:nvSpPr>
            <p:cNvPr id="2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0"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Text oder Inhalt einfügen in </a:t>
            </a:r>
            <a:r>
              <a:rPr lang="de-DE" noProof="0" dirty="0"/>
              <a:t>CorpoS (Body) 24 pt. (Hervorhebungen in fett) </a:t>
            </a:r>
            <a:r>
              <a:rPr lang="de-DE" dirty="0"/>
              <a:t>// für Zusammenfassung oder kurzes Highlight: Start // Absatz // Listenebene erhöhen</a:t>
            </a:r>
          </a:p>
          <a:p>
            <a:pPr lvl="1"/>
            <a:r>
              <a:rPr lang="de-DE" dirty="0"/>
              <a:t>Zweite Ebene</a:t>
            </a:r>
          </a:p>
        </p:txBody>
      </p:sp>
      <p:sp>
        <p:nvSpPr>
          <p:cNvPr id="2" name="Fußzeilenplatzhalter 1"/>
          <p:cNvSpPr>
            <a:spLocks noGrp="1"/>
          </p:cNvSpPr>
          <p:nvPr>
            <p:ph type="ftr" sz="quarter" idx="16"/>
          </p:nvPr>
        </p:nvSpPr>
        <p:spPr/>
        <p:txBody>
          <a:bodyPr/>
          <a:lstStyle/>
          <a:p>
            <a:r>
              <a:rPr lang="en-US">
                <a:solidFill>
                  <a:prstClr val="black"/>
                </a:solidFill>
              </a:rPr>
              <a:t>DFS Capital Market Day</a:t>
            </a:r>
            <a:endParaRPr lang="de-DE" dirty="0">
              <a:solidFill>
                <a:prstClr val="black"/>
              </a:solidFill>
            </a:endParaRPr>
          </a:p>
        </p:txBody>
      </p:sp>
      <p:sp>
        <p:nvSpPr>
          <p:cNvPr id="5" name="Foliennummernplatzhalter 4"/>
          <p:cNvSpPr>
            <a:spLocks noGrp="1"/>
          </p:cNvSpPr>
          <p:nvPr>
            <p:ph type="sldNum" sz="quarter" idx="17"/>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49490989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userDrawn="1">
  <p:cSld name="Text/ Bild/ Ü 1 Zeile ">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2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3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1" name="Hinweise links"/>
            <p:cNvGrpSpPr/>
            <p:nvPr userDrawn="1"/>
          </p:nvGrpSpPr>
          <p:grpSpPr>
            <a:xfrm>
              <a:off x="-2088000" y="0"/>
              <a:ext cx="1980000" cy="3528000"/>
              <a:chOff x="-2088000" y="0"/>
              <a:chExt cx="1980000" cy="3528000"/>
            </a:xfrm>
          </p:grpSpPr>
          <p:sp>
            <p:nvSpPr>
              <p:cNvPr id="3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3" name="Listenebenen"/>
              <p:cNvGrpSpPr/>
              <p:nvPr userDrawn="1"/>
            </p:nvGrpSpPr>
            <p:grpSpPr>
              <a:xfrm>
                <a:off x="-1692000" y="2232000"/>
                <a:ext cx="1548000" cy="792000"/>
                <a:chOff x="-1692000" y="2160000"/>
                <a:chExt cx="1548000" cy="792000"/>
              </a:xfrm>
            </p:grpSpPr>
            <p:sp>
              <p:nvSpPr>
                <p:cNvPr id="3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6"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7"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a:xfrm>
            <a:off x="629671" y="285982"/>
            <a:ext cx="10931106" cy="683842"/>
          </a:xfrm>
        </p:spPr>
        <p:txBody>
          <a:bodyPr/>
          <a:lstStyle/>
          <a:p>
            <a:r>
              <a:rPr lang="de-DE" noProof="0" dirty="0"/>
              <a:t>Headline in CorpoS (Textkörper) 35 pt.</a:t>
            </a:r>
            <a:endParaRPr lang="de-DE" dirty="0"/>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4"/>
          </p:nvPr>
        </p:nvSpPr>
        <p:spPr/>
        <p:txBody>
          <a:bodyPr/>
          <a:lstStyle/>
          <a:p>
            <a:r>
              <a:rPr lang="en-US">
                <a:solidFill>
                  <a:prstClr val="black"/>
                </a:solidFill>
              </a:rPr>
              <a:t>DFS Capital Market Day</a:t>
            </a:r>
            <a:endParaRPr lang="de-DE" dirty="0">
              <a:solidFill>
                <a:prstClr val="black"/>
              </a:solidFill>
            </a:endParaRPr>
          </a:p>
        </p:txBody>
      </p:sp>
      <p:sp>
        <p:nvSpPr>
          <p:cNvPr id="6" name="Foliennummernplatzhalter 5"/>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76743560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userDrawn="1">
  <p:cSld name="Vollbild">
    <p:bg>
      <p:bgRef idx="1001">
        <a:schemeClr val="bg1"/>
      </p:bgRef>
    </p:bg>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4"/>
          </p:nvPr>
        </p:nvSpPr>
        <p:spPr/>
        <p:txBody>
          <a:bodyPr/>
          <a:lstStyle/>
          <a:p>
            <a:r>
              <a:rPr lang="de-DE">
                <a:solidFill>
                  <a:prstClr val="black"/>
                </a:solidFill>
              </a:rPr>
              <a:t>DFS Capital Market Day</a:t>
            </a:r>
            <a:endParaRPr lang="de-DE" dirty="0">
              <a:solidFill>
                <a:prstClr val="black"/>
              </a:solidFill>
            </a:endParaRPr>
          </a:p>
        </p:txBody>
      </p:sp>
      <p:sp>
        <p:nvSpPr>
          <p:cNvPr id="3" name="Foliennummernplatzhalter 2"/>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77835821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771939" y="6224373"/>
            <a:ext cx="424638" cy="329184"/>
          </a:xfrm>
        </p:spPr>
        <p:txBody>
          <a:bodyPr/>
          <a:lstStyle/>
          <a:p>
            <a:fld id="{96D389FB-5F15-6747-8C7C-A5F122A35A60}" type="slidenum">
              <a:rPr lang="en-US" smtClean="0">
                <a:solidFill>
                  <a:prstClr val="black"/>
                </a:solidFill>
              </a:rPr>
              <a:pPr/>
              <a:t>‹#›</a:t>
            </a:fld>
            <a:endParaRPr lang="en-US">
              <a:solidFill>
                <a:prstClr val="black"/>
              </a:solidFill>
            </a:endParaRPr>
          </a:p>
        </p:txBody>
      </p:sp>
      <p:sp>
        <p:nvSpPr>
          <p:cNvPr id="4" name="Title 3"/>
          <p:cNvSpPr>
            <a:spLocks noGrp="1"/>
          </p:cNvSpPr>
          <p:nvPr>
            <p:ph type="title"/>
          </p:nvPr>
        </p:nvSpPr>
        <p:spPr>
          <a:xfrm>
            <a:off x="838201" y="607274"/>
            <a:ext cx="10515600" cy="523220"/>
          </a:xfrm>
          <a:prstGeom prst="rect">
            <a:avLst/>
          </a:prstGeom>
        </p:spPr>
        <p:txBody>
          <a:bodyPr/>
          <a:lstStyle>
            <a:lvl1pPr algn="ctr">
              <a:defRPr sz="2800" b="0">
                <a:solidFill>
                  <a:srgbClr val="3F98FF"/>
                </a:solidFill>
                <a:latin typeface="Franklin Gothic Book" panose="020B0503020102020204" pitchFamily="34" charset="0"/>
              </a:defRPr>
            </a:lvl1pPr>
          </a:lstStyle>
          <a:p>
            <a:r>
              <a:rPr lang="en-US" dirty="0"/>
              <a:t>Click to edit Master title style</a:t>
            </a:r>
          </a:p>
        </p:txBody>
      </p:sp>
      <p:sp>
        <p:nvSpPr>
          <p:cNvPr id="8" name="Text Placeholder 7"/>
          <p:cNvSpPr>
            <a:spLocks noGrp="1"/>
          </p:cNvSpPr>
          <p:nvPr>
            <p:ph type="body" sz="quarter" idx="13"/>
          </p:nvPr>
        </p:nvSpPr>
        <p:spPr>
          <a:xfrm>
            <a:off x="533401" y="1854200"/>
            <a:ext cx="11070835" cy="4095750"/>
          </a:xfrm>
          <a:prstGeom prst="rect">
            <a:avLst/>
          </a:prstGeom>
        </p:spPr>
        <p:txBody>
          <a:bodyPr/>
          <a:lstStyle>
            <a:lvl1pPr>
              <a:defRPr sz="2399" b="1">
                <a:solidFill>
                  <a:schemeClr val="bg1">
                    <a:lumMod val="50000"/>
                  </a:schemeClr>
                </a:solidFill>
              </a:defRPr>
            </a:lvl1pPr>
            <a:lvl2pPr>
              <a:defRPr sz="1999">
                <a:solidFill>
                  <a:schemeClr val="bg1">
                    <a:lumMod val="50000"/>
                  </a:schemeClr>
                </a:solidFill>
              </a:defRPr>
            </a:lvl2pPr>
            <a:lvl3pPr>
              <a:defRPr sz="1999">
                <a:solidFill>
                  <a:schemeClr val="bg1">
                    <a:lumMod val="50000"/>
                  </a:schemeClr>
                </a:solidFill>
              </a:defRPr>
            </a:lvl3pPr>
            <a:lvl4pPr>
              <a:defRPr sz="1999">
                <a:solidFill>
                  <a:schemeClr val="bg1">
                    <a:lumMod val="50000"/>
                  </a:schemeClr>
                </a:solidFill>
              </a:defRPr>
            </a:lvl4pPr>
            <a:lvl5pPr>
              <a:defRPr sz="1999">
                <a:solidFill>
                  <a:schemeClr val="bg1">
                    <a:lumMod val="5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4"/>
          <p:cNvSpPr>
            <a:spLocks noGrp="1"/>
          </p:cNvSpPr>
          <p:nvPr>
            <p:ph type="body" sz="quarter" idx="14" hasCustomPrompt="1"/>
          </p:nvPr>
        </p:nvSpPr>
        <p:spPr>
          <a:xfrm>
            <a:off x="1896488" y="1215031"/>
            <a:ext cx="8460827" cy="400110"/>
          </a:xfrm>
          <a:prstGeom prst="rect">
            <a:avLst/>
          </a:prstGeom>
        </p:spPr>
        <p:txBody>
          <a:bodyPr/>
          <a:lstStyle>
            <a:lvl1pPr marL="0" indent="0" algn="ctr">
              <a:buNone/>
              <a:defRPr sz="1999" baseline="0">
                <a:solidFill>
                  <a:schemeClr val="bg1">
                    <a:lumMod val="50000"/>
                  </a:schemeClr>
                </a:solidFill>
              </a:defRPr>
            </a:lvl1pPr>
          </a:lstStyle>
          <a:p>
            <a:pPr algn="ctr"/>
            <a:r>
              <a:rPr lang="en-US" sz="1999" dirty="0">
                <a:solidFill>
                  <a:schemeClr val="tx1">
                    <a:lumMod val="50000"/>
                    <a:lumOff val="50000"/>
                  </a:schemeClr>
                </a:solidFill>
                <a:latin typeface="Calibri" charset="0"/>
                <a:ea typeface="Calibri" charset="0"/>
                <a:cs typeface="Calibri" charset="0"/>
              </a:rPr>
              <a:t>Click to edit Master subtitle style</a:t>
            </a:r>
          </a:p>
        </p:txBody>
      </p:sp>
    </p:spTree>
    <p:extLst>
      <p:ext uri="{BB962C8B-B14F-4D97-AF65-F5344CB8AC3E}">
        <p14:creationId xmlns:p14="http://schemas.microsoft.com/office/powerpoint/2010/main" val="644705645"/>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5865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cxnSp>
        <p:nvCxnSpPr>
          <p:cNvPr id="8" name="Footerline"/>
          <p:cNvCxnSpPr/>
          <p:nvPr userDrawn="1"/>
        </p:nvCxnSpPr>
        <p:spPr bwMode="auto">
          <a:xfrm>
            <a:off x="626241" y="6308653"/>
            <a:ext cx="10938303" cy="0"/>
          </a:xfrm>
          <a:prstGeom prst="line">
            <a:avLst/>
          </a:prstGeom>
          <a:solidFill>
            <a:schemeClr val="bg1"/>
          </a:solidFill>
          <a:ln w="12700" cap="flat" cmpd="sng" algn="ctr">
            <a:solidFill>
              <a:srgbClr val="C8C8C8"/>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0" name="Rectangle 4"/>
          <p:cNvSpPr txBox="1">
            <a:spLocks noChangeArrowheads="1"/>
          </p:cNvSpPr>
          <p:nvPr userDrawn="1"/>
        </p:nvSpPr>
        <p:spPr bwMode="auto">
          <a:xfrm>
            <a:off x="10846134" y="6667816"/>
            <a:ext cx="719625" cy="1439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defPPr>
              <a:defRPr lang="de-DE"/>
            </a:defPPr>
            <a:lvl1pPr algn="r" rtl="0" eaLnBrk="0" fontAlgn="base" hangingPunct="0">
              <a:lnSpc>
                <a:spcPct val="90000"/>
              </a:lnSpc>
              <a:spcBef>
                <a:spcPct val="0"/>
              </a:spcBef>
              <a:spcAft>
                <a:spcPct val="50000"/>
              </a:spcAft>
              <a:defRPr sz="1000" kern="1200">
                <a:solidFill>
                  <a:schemeClr val="tx1"/>
                </a:solidFill>
                <a:latin typeface="CorpoS" pitchFamily="2" charset="0"/>
                <a:ea typeface="+mn-ea"/>
                <a:cs typeface="+mn-cs"/>
              </a:defRPr>
            </a:lvl1pPr>
            <a:lvl2pPr marL="457200" algn="l" rtl="0" eaLnBrk="0" fontAlgn="base" hangingPunct="0">
              <a:spcBef>
                <a:spcPct val="0"/>
              </a:spcBef>
              <a:spcAft>
                <a:spcPct val="0"/>
              </a:spcAft>
              <a:defRPr sz="2000" kern="1200">
                <a:solidFill>
                  <a:schemeClr val="tx1"/>
                </a:solidFill>
                <a:latin typeface="CorpoS" pitchFamily="2" charset="0"/>
                <a:ea typeface="+mn-ea"/>
                <a:cs typeface="+mn-cs"/>
              </a:defRPr>
            </a:lvl2pPr>
            <a:lvl3pPr marL="914400" algn="l" rtl="0" eaLnBrk="0" fontAlgn="base" hangingPunct="0">
              <a:spcBef>
                <a:spcPct val="0"/>
              </a:spcBef>
              <a:spcAft>
                <a:spcPct val="0"/>
              </a:spcAft>
              <a:defRPr sz="2000" kern="1200">
                <a:solidFill>
                  <a:schemeClr val="tx1"/>
                </a:solidFill>
                <a:latin typeface="CorpoS" pitchFamily="2" charset="0"/>
                <a:ea typeface="+mn-ea"/>
                <a:cs typeface="+mn-cs"/>
              </a:defRPr>
            </a:lvl3pPr>
            <a:lvl4pPr marL="1371600" algn="l" rtl="0" eaLnBrk="0" fontAlgn="base" hangingPunct="0">
              <a:spcBef>
                <a:spcPct val="0"/>
              </a:spcBef>
              <a:spcAft>
                <a:spcPct val="0"/>
              </a:spcAft>
              <a:defRPr sz="2000" kern="1200">
                <a:solidFill>
                  <a:schemeClr val="tx1"/>
                </a:solidFill>
                <a:latin typeface="CorpoS" pitchFamily="2" charset="0"/>
                <a:ea typeface="+mn-ea"/>
                <a:cs typeface="+mn-cs"/>
              </a:defRPr>
            </a:lvl4pPr>
            <a:lvl5pPr marL="1828800" algn="l" rtl="0" eaLnBrk="0" fontAlgn="base" hangingPunct="0">
              <a:spcBef>
                <a:spcPct val="0"/>
              </a:spcBef>
              <a:spcAft>
                <a:spcPct val="0"/>
              </a:spcAft>
              <a:defRPr sz="2000" kern="1200">
                <a:solidFill>
                  <a:schemeClr val="tx1"/>
                </a:solidFill>
                <a:latin typeface="CorpoS" pitchFamily="2" charset="0"/>
                <a:ea typeface="+mn-ea"/>
                <a:cs typeface="+mn-cs"/>
              </a:defRPr>
            </a:lvl5pPr>
            <a:lvl6pPr marL="2286000" algn="l" defTabSz="914400" rtl="0" eaLnBrk="1" latinLnBrk="0" hangingPunct="1">
              <a:defRPr sz="2000" kern="1200">
                <a:solidFill>
                  <a:schemeClr val="tx1"/>
                </a:solidFill>
                <a:latin typeface="CorpoS" pitchFamily="2" charset="0"/>
                <a:ea typeface="+mn-ea"/>
                <a:cs typeface="+mn-cs"/>
              </a:defRPr>
            </a:lvl6pPr>
            <a:lvl7pPr marL="2743200" algn="l" defTabSz="914400" rtl="0" eaLnBrk="1" latinLnBrk="0" hangingPunct="1">
              <a:defRPr sz="2000" kern="1200">
                <a:solidFill>
                  <a:schemeClr val="tx1"/>
                </a:solidFill>
                <a:latin typeface="CorpoS" pitchFamily="2" charset="0"/>
                <a:ea typeface="+mn-ea"/>
                <a:cs typeface="+mn-cs"/>
              </a:defRPr>
            </a:lvl7pPr>
            <a:lvl8pPr marL="3200400" algn="l" defTabSz="914400" rtl="0" eaLnBrk="1" latinLnBrk="0" hangingPunct="1">
              <a:defRPr sz="2000" kern="1200">
                <a:solidFill>
                  <a:schemeClr val="tx1"/>
                </a:solidFill>
                <a:latin typeface="CorpoS" pitchFamily="2" charset="0"/>
                <a:ea typeface="+mn-ea"/>
                <a:cs typeface="+mn-cs"/>
              </a:defRPr>
            </a:lvl8pPr>
            <a:lvl9pPr marL="3657600" algn="l" defTabSz="914400" rtl="0" eaLnBrk="1" latinLnBrk="0" hangingPunct="1">
              <a:defRPr sz="2000" kern="1200">
                <a:solidFill>
                  <a:schemeClr val="tx1"/>
                </a:solidFill>
                <a:latin typeface="CorpoS" pitchFamily="2" charset="0"/>
                <a:ea typeface="+mn-ea"/>
                <a:cs typeface="+mn-cs"/>
              </a:defRPr>
            </a:lvl9pPr>
          </a:lstStyle>
          <a:p>
            <a:fld id="{D33D5760-650C-41B7-8FFB-2EDCBED7E542}" type="slidenum">
              <a:rPr lang="de-DE" altLang="de-DE" sz="1099" smtClean="0">
                <a:solidFill>
                  <a:prstClr val="black"/>
                </a:solidFill>
              </a:rPr>
              <a:pPr/>
              <a:t>‹#›</a:t>
            </a:fld>
            <a:endParaRPr lang="de-DE" altLang="de-DE" sz="1099" dirty="0">
              <a:solidFill>
                <a:prstClr val="black"/>
              </a:solidFill>
            </a:endParaRPr>
          </a:p>
        </p:txBody>
      </p:sp>
    </p:spTree>
    <p:extLst>
      <p:ext uri="{BB962C8B-B14F-4D97-AF65-F5344CB8AC3E}">
        <p14:creationId xmlns:p14="http://schemas.microsoft.com/office/powerpoint/2010/main" val="585346243"/>
      </p:ext>
    </p:extLst>
  </p:cSld>
  <p:clrMapOvr>
    <a:masterClrMapping/>
  </p:clrMapOvr>
  <p:transition spd="slow">
    <p:fade/>
  </p:transition>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de-DE" noProof="0" dirty="0" smtClean="0"/>
              <a:t>Headline für Agenda in </a:t>
            </a:r>
            <a:r>
              <a:rPr lang="de-DE" noProof="0" dirty="0" err="1" smtClean="0"/>
              <a:t>CorpoS</a:t>
            </a:r>
            <a:r>
              <a:rPr lang="de-DE" noProof="0" dirty="0" smtClean="0"/>
              <a:t> (Textkörper) 35 pt. </a:t>
            </a:r>
            <a:br>
              <a:rPr lang="de-DE" noProof="0" dirty="0" smtClean="0"/>
            </a:br>
            <a:r>
              <a:rPr lang="de-DE" noProof="0" dirty="0" smtClean="0"/>
              <a:t>in ein oder zwei Zeilen</a:t>
            </a:r>
            <a:endParaRPr lang="de-DE" dirty="0"/>
          </a:p>
        </p:txBody>
      </p:sp>
      <p:sp>
        <p:nvSpPr>
          <p:cNvPr id="6" name="Text Placeholder 5"/>
          <p:cNvSpPr>
            <a:spLocks noGrp="1"/>
          </p:cNvSpPr>
          <p:nvPr>
            <p:ph type="body" sz="quarter" idx="12" hasCustomPrompt="1"/>
          </p:nvPr>
        </p:nvSpPr>
        <p:spPr>
          <a:xfrm>
            <a:off x="628325" y="1504603"/>
            <a:ext cx="10932180" cy="4875671"/>
          </a:xfrm>
        </p:spPr>
        <p:txBody>
          <a:bodyPr/>
          <a:lstStyle>
            <a:lvl1pPr marL="359691" indent="-359691">
              <a:buSzPct val="100000"/>
              <a:buFont typeface="+mj-lt"/>
              <a:buAutoNum type="arabicPeriod"/>
              <a:defRPr baseline="0">
                <a:solidFill>
                  <a:schemeClr val="tx1"/>
                </a:solidFill>
              </a:defRPr>
            </a:lvl1pPr>
            <a:lvl2pPr marL="359691" indent="-359691">
              <a:buFont typeface="+mj-lt"/>
              <a:buAutoNum type="arabicPeriod"/>
              <a:defRPr>
                <a:solidFill>
                  <a:schemeClr val="tx1"/>
                </a:solidFill>
              </a:defRPr>
            </a:lvl2pPr>
            <a:lvl3pPr marL="359691" indent="-359691">
              <a:buFont typeface="+mj-lt"/>
              <a:buAutoNum type="arabicPeriod"/>
              <a:defRPr>
                <a:solidFill>
                  <a:schemeClr val="tx1"/>
                </a:solidFill>
              </a:defRPr>
            </a:lvl3pPr>
            <a:lvl4pPr marL="359691" indent="-359691">
              <a:buFont typeface="+mj-lt"/>
              <a:buAutoNum type="arabicPeriod"/>
              <a:defRPr>
                <a:solidFill>
                  <a:schemeClr val="tx1"/>
                </a:solidFill>
              </a:defRPr>
            </a:lvl4pPr>
            <a:lvl5pPr marL="359691" indent="-359691">
              <a:buFont typeface="+mj-lt"/>
              <a:buAutoNum type="arabicPeriod"/>
              <a:defRPr>
                <a:solidFill>
                  <a:schemeClr val="tx1"/>
                </a:solidFill>
              </a:defRPr>
            </a:lvl5pPr>
            <a:lvl6pPr marL="359691" indent="-359691">
              <a:buFont typeface="+mj-lt"/>
              <a:buAutoNum type="arabicPeriod"/>
              <a:defRPr>
                <a:solidFill>
                  <a:schemeClr val="tx1"/>
                </a:solidFill>
              </a:defRPr>
            </a:lvl6pPr>
            <a:lvl7pPr marL="359691" indent="-359691">
              <a:buFont typeface="+mj-lt"/>
              <a:buAutoNum type="arabicPeriod"/>
              <a:defRPr>
                <a:solidFill>
                  <a:schemeClr val="tx1"/>
                </a:solidFill>
              </a:defRPr>
            </a:lvl7pPr>
            <a:lvl8pPr marL="359691" indent="-359691">
              <a:buFont typeface="+mj-lt"/>
              <a:buAutoNum type="arabicPeriod"/>
              <a:defRPr>
                <a:solidFill>
                  <a:schemeClr val="tx1"/>
                </a:solidFill>
              </a:defRPr>
            </a:lvl8pPr>
            <a:lvl9pPr marL="359691" indent="-359691">
              <a:buFont typeface="+mj-lt"/>
              <a:buAutoNum type="arabicPeriod"/>
              <a:defRPr>
                <a:solidFill>
                  <a:schemeClr val="tx1"/>
                </a:solidFill>
              </a:defRPr>
            </a:lvl9pPr>
          </a:lstStyle>
          <a:p>
            <a:pPr lvl="0"/>
            <a:r>
              <a:rPr lang="de-DE" dirty="0" smtClean="0"/>
              <a:t>Agenda Punkt einfügen</a:t>
            </a:r>
          </a:p>
          <a:p>
            <a:pPr lvl="1"/>
            <a:r>
              <a:rPr lang="de-DE" dirty="0" smtClean="0"/>
              <a:t>Zweite Ebene</a:t>
            </a:r>
          </a:p>
          <a:p>
            <a:pPr lvl="2"/>
            <a:r>
              <a:rPr lang="de-DE" dirty="0" smtClean="0"/>
              <a:t>Dritte Ebene </a:t>
            </a:r>
          </a:p>
          <a:p>
            <a:pPr lvl="3"/>
            <a:r>
              <a:rPr lang="de-DE" dirty="0" smtClean="0"/>
              <a:t>Vierte Ebene </a:t>
            </a:r>
          </a:p>
          <a:p>
            <a:pPr lvl="4"/>
            <a:r>
              <a:rPr lang="de-DE" dirty="0" smtClean="0"/>
              <a:t>Fünfte Ebene </a:t>
            </a:r>
          </a:p>
          <a:p>
            <a:pPr lvl="5"/>
            <a:r>
              <a:rPr lang="de-DE" dirty="0" smtClean="0"/>
              <a:t>Sechste Ebene </a:t>
            </a:r>
          </a:p>
          <a:p>
            <a:pPr lvl="6"/>
            <a:r>
              <a:rPr lang="de-DE" dirty="0" smtClean="0"/>
              <a:t>Siebte Ebene </a:t>
            </a:r>
          </a:p>
          <a:p>
            <a:pPr lvl="7"/>
            <a:r>
              <a:rPr lang="de-DE" dirty="0" smtClean="0"/>
              <a:t>Achte Ebene </a:t>
            </a:r>
          </a:p>
          <a:p>
            <a:pPr lvl="8"/>
            <a:r>
              <a:rPr lang="de-DE" dirty="0" smtClean="0"/>
              <a:t>Neunte Ebene </a:t>
            </a:r>
          </a:p>
        </p:txBody>
      </p:sp>
      <p:sp>
        <p:nvSpPr>
          <p:cNvPr id="8" name="Footer Placeholder 10"/>
          <p:cNvSpPr>
            <a:spLocks noGrp="1"/>
          </p:cNvSpPr>
          <p:nvPr>
            <p:ph type="ftr" sz="quarter" idx="11"/>
          </p:nvPr>
        </p:nvSpPr>
        <p:spPr>
          <a:xfrm>
            <a:off x="2878501" y="6564881"/>
            <a:ext cx="8120971" cy="215949"/>
          </a:xfrm>
        </p:spPr>
        <p:txBody>
          <a:bodyPr/>
          <a:lstStyle/>
          <a:p>
            <a:r>
              <a:rPr lang="en-US" smtClean="0">
                <a:solidFill>
                  <a:prstClr val="black"/>
                </a:solidFill>
              </a:rPr>
              <a:t>BOM - EA 2 2016 &amp; OP 17-18 Overview / FS-CC / November 8, 2016 /</a:t>
            </a:r>
            <a:endParaRPr lang="en-GB" dirty="0" smtClean="0">
              <a:solidFill>
                <a:prstClr val="black"/>
              </a:solidFill>
            </a:endParaRPr>
          </a:p>
        </p:txBody>
      </p:sp>
      <p:sp>
        <p:nvSpPr>
          <p:cNvPr id="9" name="Slide Number Placeholder 11"/>
          <p:cNvSpPr>
            <a:spLocks noGrp="1"/>
          </p:cNvSpPr>
          <p:nvPr>
            <p:ph type="sldNum" sz="quarter" idx="13"/>
          </p:nvPr>
        </p:nvSpPr>
        <p:spPr>
          <a:xfrm>
            <a:off x="11036805" y="6564881"/>
            <a:ext cx="1155196" cy="215949"/>
          </a:xfrm>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579191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1.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en-GB" dirty="0"/>
              <a:t>Referent’s name: </a:t>
            </a:r>
            <a:r>
              <a:rPr lang="en-GB" noProof="0" dirty="0"/>
              <a:t>CorpoS </a:t>
            </a:r>
            <a:r>
              <a:rPr lang="en-GB" dirty="0"/>
              <a:t>(Body) 35 pt. Presentation title</a:t>
            </a:r>
            <a:br>
              <a:rPr lang="en-GB" dirty="0"/>
            </a:br>
            <a:r>
              <a:rPr lang="en-GB" dirty="0"/>
              <a:t>in two lines of text, dd. </a:t>
            </a:r>
            <a:r>
              <a:rPr lang="en-GB" dirty="0" err="1"/>
              <a:t>mmmm</a:t>
            </a:r>
            <a:r>
              <a:rPr lang="en-GB" dirty="0"/>
              <a:t> </a:t>
            </a:r>
            <a:r>
              <a:rPr lang="en-GB" dirty="0" err="1"/>
              <a:t>yyyy</a:t>
            </a:r>
            <a:endParaRPr lang="en-GB"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2799551110"/>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2.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a:lvl1pPr>
          </a:lstStyle>
          <a:p>
            <a:r>
              <a:rPr lang="en-GB" dirty="0"/>
              <a:t>Referent’s name: </a:t>
            </a:r>
            <a:r>
              <a:rPr lang="en-GB" noProof="0" dirty="0"/>
              <a:t>CorpoS </a:t>
            </a:r>
            <a:r>
              <a:rPr lang="en-GB" dirty="0"/>
              <a:t>(Body) 35 pt. Presentation title</a:t>
            </a:r>
            <a:br>
              <a:rPr lang="en-GB" dirty="0"/>
            </a:br>
            <a:r>
              <a:rPr lang="en-GB" dirty="0"/>
              <a:t>in two or more lines of text, dd. </a:t>
            </a:r>
            <a:r>
              <a:rPr lang="en-GB" dirty="0" err="1"/>
              <a:t>mmmm</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213047968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29612093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4433"/>
            <a:ext cx="7232233" cy="648964"/>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en-GB" dirty="0"/>
              <a:t>Headline for presentation</a:t>
            </a:r>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174451445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2/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4433"/>
            <a:ext cx="10932181" cy="648964"/>
          </a:xfrm>
        </p:spPr>
        <p:txBody>
          <a:bodyPr wrap="square" anchor="t" anchorCtr="0">
            <a:noAutofit/>
          </a:bodyPr>
          <a:lstStyle>
            <a:lvl1pPr>
              <a:defRPr>
                <a:solidFill>
                  <a:schemeClr val="bg1"/>
                </a:solidFill>
              </a:defRPr>
            </a:lvl1pPr>
          </a:lstStyle>
          <a:p>
            <a:r>
              <a:rPr lang="en-GB" dirty="0"/>
              <a:t>Headline for presentation</a:t>
            </a:r>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98909206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Section chart">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1" y="0"/>
            <a:ext cx="12190451" cy="6487838"/>
          </a:xfrm>
          <a:prstGeom prst="rect">
            <a:avLst/>
          </a:prstGeom>
        </p:spPr>
      </p:pic>
      <p:sp>
        <p:nvSpPr>
          <p:cNvPr id="3" name="Title 2"/>
          <p:cNvSpPr>
            <a:spLocks noGrp="1"/>
          </p:cNvSpPr>
          <p:nvPr>
            <p:ph type="title" hasCustomPrompt="1"/>
          </p:nvPr>
        </p:nvSpPr>
        <p:spPr>
          <a:xfrm>
            <a:off x="628323" y="288859"/>
            <a:ext cx="10932455" cy="1025684"/>
          </a:xfrm>
        </p:spPr>
        <p:txBody>
          <a:bodyPr wrap="square">
            <a:spAutoFit/>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38473495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Text/ image brushing">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a:extLst>
              <a:ext uri="{28A0092B-C50C-407E-A947-70E740481C1C}">
                <a14:useLocalDpi xmlns:a14="http://schemas.microsoft.com/office/drawing/2010/main" val="0"/>
              </a:ext>
            </a:extLst>
          </a:blip>
          <a:srcRect b="5375"/>
          <a:stretch/>
        </p:blipFill>
        <p:spPr bwMode="white">
          <a:xfrm>
            <a:off x="0" y="-1"/>
            <a:ext cx="12190451" cy="6487839"/>
          </a:xfrm>
          <a:prstGeom prst="rect">
            <a:avLst/>
          </a:prstGeom>
        </p:spPr>
      </p:pic>
      <p:sp>
        <p:nvSpPr>
          <p:cNvPr id="3" name="Title 2"/>
          <p:cNvSpPr>
            <a:spLocks noGrp="1"/>
          </p:cNvSpPr>
          <p:nvPr>
            <p:ph type="title" hasCustomPrompt="1"/>
          </p:nvPr>
        </p:nvSpPr>
        <p:spPr>
          <a:xfrm>
            <a:off x="630116" y="288857"/>
            <a:ext cx="10930662" cy="1151733"/>
          </a:xfrm>
          <a:custGeom>
            <a:avLst/>
            <a:gdLst>
              <a:gd name="connsiteX0" fmla="*/ 0 w 10936355"/>
              <a:gd name="connsiteY0" fmla="*/ 0 h 1152000"/>
              <a:gd name="connsiteX1" fmla="*/ 10936355 w 10936355"/>
              <a:gd name="connsiteY1" fmla="*/ 0 h 1152000"/>
              <a:gd name="connsiteX2" fmla="*/ 10936355 w 10936355"/>
              <a:gd name="connsiteY2" fmla="*/ 1152000 h 1152000"/>
              <a:gd name="connsiteX3" fmla="*/ 0 w 10936355"/>
              <a:gd name="connsiteY3" fmla="*/ 1152000 h 1152000"/>
              <a:gd name="connsiteX4" fmla="*/ 0 w 10936355"/>
              <a:gd name="connsiteY4"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4948164 w 10936355"/>
              <a:gd name="connsiteY4" fmla="*/ 1147990 h 1152000"/>
              <a:gd name="connsiteX5" fmla="*/ 0 w 10936355"/>
              <a:gd name="connsiteY5" fmla="*/ 1152000 h 1152000"/>
              <a:gd name="connsiteX6" fmla="*/ 0 w 10936355"/>
              <a:gd name="connsiteY6"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355" h="1152000">
                <a:moveTo>
                  <a:pt x="0" y="0"/>
                </a:moveTo>
                <a:lnTo>
                  <a:pt x="10936355" y="0"/>
                </a:lnTo>
                <a:cubicBezTo>
                  <a:pt x="10935205" y="231775"/>
                  <a:pt x="10934056" y="463551"/>
                  <a:pt x="10932906" y="695326"/>
                </a:cubicBezTo>
                <a:lnTo>
                  <a:pt x="4948164" y="1147990"/>
                </a:lnTo>
                <a:lnTo>
                  <a:pt x="0" y="1152000"/>
                </a:lnTo>
                <a:lnTo>
                  <a:pt x="0" y="0"/>
                </a:lnTo>
                <a:close/>
              </a:path>
            </a:pathLst>
          </a:custGeom>
        </p:spPr>
        <p:txBody>
          <a:bodyPr/>
          <a:lstStyle>
            <a:lvl1pPr>
              <a:defRPr baseline="0">
                <a:solidFill>
                  <a:schemeClr val="bg1"/>
                </a:solidFill>
              </a:defRPr>
            </a:lvl1pPr>
          </a:lstStyle>
          <a:p>
            <a:r>
              <a:rPr lang="en-GB" dirty="0"/>
              <a:t>Image-chart, Headline </a:t>
            </a:r>
            <a:r>
              <a:rPr lang="en-GB" noProof="0" dirty="0"/>
              <a:t>CorpoS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28892113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Agenda with brushin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 name="Title 1"/>
          <p:cNvSpPr>
            <a:spLocks noGrp="1"/>
          </p:cNvSpPr>
          <p:nvPr>
            <p:ph type="title" hasCustomPrompt="1"/>
          </p:nvPr>
        </p:nvSpPr>
        <p:spPr>
          <a:xfrm>
            <a:off x="628323" y="288859"/>
            <a:ext cx="10932455" cy="1148857"/>
          </a:xfrm>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7" y="1504603"/>
            <a:ext cx="10931023" cy="3386305"/>
          </a:xfrm>
          <a:custGeom>
            <a:avLst/>
            <a:gdLst>
              <a:gd name="connsiteX0" fmla="*/ 0 w 10936081"/>
              <a:gd name="connsiteY0" fmla="*/ 0 h 3384000"/>
              <a:gd name="connsiteX1" fmla="*/ 10936081 w 10936081"/>
              <a:gd name="connsiteY1" fmla="*/ 0 h 3384000"/>
              <a:gd name="connsiteX2" fmla="*/ 10936081 w 10936081"/>
              <a:gd name="connsiteY2" fmla="*/ 3384000 h 3384000"/>
              <a:gd name="connsiteX3" fmla="*/ 0 w 10936081"/>
              <a:gd name="connsiteY3" fmla="*/ 3384000 h 3384000"/>
              <a:gd name="connsiteX4" fmla="*/ 0 w 10936081"/>
              <a:gd name="connsiteY4" fmla="*/ 0 h 3384000"/>
              <a:gd name="connsiteX0" fmla="*/ 0 w 10936081"/>
              <a:gd name="connsiteY0" fmla="*/ 0 h 3387089"/>
              <a:gd name="connsiteX1" fmla="*/ 10936081 w 10936081"/>
              <a:gd name="connsiteY1" fmla="*/ 0 h 3387089"/>
              <a:gd name="connsiteX2" fmla="*/ 10936081 w 10936081"/>
              <a:gd name="connsiteY2" fmla="*/ 3384000 h 3387089"/>
              <a:gd name="connsiteX3" fmla="*/ 2006076 w 10936081"/>
              <a:gd name="connsiteY3" fmla="*/ 3387089 h 3387089"/>
              <a:gd name="connsiteX4" fmla="*/ 0 w 10936081"/>
              <a:gd name="connsiteY4" fmla="*/ 3384000 h 3387089"/>
              <a:gd name="connsiteX5" fmla="*/ 0 w 10936081"/>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10936081 w 10936716"/>
              <a:gd name="connsiteY3" fmla="*/ 3384000 h 3387089"/>
              <a:gd name="connsiteX4" fmla="*/ 2006076 w 10936716"/>
              <a:gd name="connsiteY4" fmla="*/ 3387089 h 3387089"/>
              <a:gd name="connsiteX5" fmla="*/ 0 w 10936716"/>
              <a:gd name="connsiteY5" fmla="*/ 3384000 h 3387089"/>
              <a:gd name="connsiteX6" fmla="*/ 0 w 10936716"/>
              <a:gd name="connsiteY6"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3387089">
                <a:moveTo>
                  <a:pt x="0" y="0"/>
                </a:moveTo>
                <a:lnTo>
                  <a:pt x="10936081" y="0"/>
                </a:lnTo>
                <a:cubicBezTo>
                  <a:pt x="10936293" y="852170"/>
                  <a:pt x="10936504" y="1704339"/>
                  <a:pt x="10936716" y="2556509"/>
                </a:cubicBezTo>
                <a:lnTo>
                  <a:pt x="2006076" y="3387089"/>
                </a:lnTo>
                <a:lnTo>
                  <a:pt x="0" y="3384000"/>
                </a:lnTo>
                <a:lnTo>
                  <a:pt x="0" y="0"/>
                </a:lnTo>
                <a:close/>
              </a:path>
            </a:pathLst>
          </a:custGeo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87096418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153658539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314977514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2 lines">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a:t>
            </a:r>
            <a:r>
              <a:rPr lang="en-GB" noProof="0" dirty="0"/>
              <a:t> 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80160959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ext/ content/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387900381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1 line">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8915725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1.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72372143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userDrawn="1">
  <p:cSld name="2.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7" y="288858"/>
            <a:ext cx="10931023" cy="1115742"/>
          </a:xfrm>
          <a:custGeom>
            <a:avLst/>
            <a:gdLst>
              <a:gd name="connsiteX0" fmla="*/ 0 w 10936355"/>
              <a:gd name="connsiteY0" fmla="*/ 0 h 1116000"/>
              <a:gd name="connsiteX1" fmla="*/ 10936355 w 10936355"/>
              <a:gd name="connsiteY1" fmla="*/ 0 h 1116000"/>
              <a:gd name="connsiteX2" fmla="*/ 10936355 w 10936355"/>
              <a:gd name="connsiteY2" fmla="*/ 1116000 h 1116000"/>
              <a:gd name="connsiteX3" fmla="*/ 0 w 10936355"/>
              <a:gd name="connsiteY3" fmla="*/ 1116000 h 1116000"/>
              <a:gd name="connsiteX4" fmla="*/ 0 w 10936355"/>
              <a:gd name="connsiteY4" fmla="*/ 0 h 1116000"/>
              <a:gd name="connsiteX0" fmla="*/ 0 w 10936355"/>
              <a:gd name="connsiteY0" fmla="*/ 0 h 1116000"/>
              <a:gd name="connsiteX1" fmla="*/ 10936355 w 10936355"/>
              <a:gd name="connsiteY1" fmla="*/ 0 h 1116000"/>
              <a:gd name="connsiteX2" fmla="*/ 10936355 w 10936355"/>
              <a:gd name="connsiteY2" fmla="*/ 1116000 h 1116000"/>
              <a:gd name="connsiteX3" fmla="*/ 5793216 w 10936355"/>
              <a:gd name="connsiteY3" fmla="*/ 1113155 h 1116000"/>
              <a:gd name="connsiteX4" fmla="*/ 0 w 10936355"/>
              <a:gd name="connsiteY4" fmla="*/ 1116000 h 1116000"/>
              <a:gd name="connsiteX5" fmla="*/ 0 w 10936355"/>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10936355 w 10936716"/>
              <a:gd name="connsiteY3" fmla="*/ 1116000 h 1116000"/>
              <a:gd name="connsiteX4" fmla="*/ 5793216 w 10936716"/>
              <a:gd name="connsiteY4" fmla="*/ 1113155 h 1116000"/>
              <a:gd name="connsiteX5" fmla="*/ 0 w 10936716"/>
              <a:gd name="connsiteY5" fmla="*/ 1116000 h 1116000"/>
              <a:gd name="connsiteX6" fmla="*/ 0 w 10936716"/>
              <a:gd name="connsiteY6"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1116000">
                <a:moveTo>
                  <a:pt x="0" y="0"/>
                </a:moveTo>
                <a:lnTo>
                  <a:pt x="10936355" y="0"/>
                </a:lnTo>
                <a:cubicBezTo>
                  <a:pt x="10936475" y="226272"/>
                  <a:pt x="10936596" y="452543"/>
                  <a:pt x="10936716" y="678815"/>
                </a:cubicBezTo>
                <a:lnTo>
                  <a:pt x="5793216" y="1113155"/>
                </a:lnTo>
                <a:lnTo>
                  <a:pt x="0" y="1116000"/>
                </a:lnTo>
                <a:lnTo>
                  <a:pt x="0" y="0"/>
                </a:lnTo>
                <a:close/>
              </a:path>
            </a:pathLst>
          </a:custGeom>
        </p:spPr>
        <p:txBody>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10705386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Image-chart 3/4 brushed ">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1"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3" name="Title 2"/>
          <p:cNvSpPr>
            <a:spLocks noGrp="1"/>
          </p:cNvSpPr>
          <p:nvPr>
            <p:ph type="title" hasCustomPrompt="1"/>
          </p:nvPr>
        </p:nvSpPr>
        <p:spPr>
          <a:xfrm>
            <a:off x="628323" y="288859"/>
            <a:ext cx="10932455" cy="1025684"/>
          </a:xfrm>
        </p:spPr>
        <p:txBody>
          <a:bodyPr wrap="square">
            <a:spAutoFit/>
          </a:bodyPr>
          <a:lstStyle>
            <a:lvl1pPr>
              <a:defRPr>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84235532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3. Brushing/ image 2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69730524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4.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a:t>CorpoS (Body) 24 pt. (Mark-ups in Bold) </a:t>
            </a:r>
            <a:r>
              <a:rPr lang="en-GB" dirty="0"/>
              <a:t>// for Body text: Home // Paragraph// Increase List Level</a:t>
            </a:r>
          </a:p>
          <a:p>
            <a:pPr lvl="1"/>
            <a:r>
              <a:rPr lang="en-GB" dirty="0"/>
              <a:t>Second level (Body text)</a:t>
            </a:r>
          </a:p>
        </p:txBody>
      </p:sp>
      <p:sp>
        <p:nvSpPr>
          <p:cNvPr id="2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23515688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5. Brushing/ image 3 columns">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3"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a:t>CorpoS (Body) 24 pt. (Mark-ups in Bold) </a:t>
            </a:r>
            <a:r>
              <a:rPr lang="en-GB" dirty="0"/>
              <a:t>// for Body text: Home // Paragraph// Increase List Level</a:t>
            </a:r>
          </a:p>
          <a:p>
            <a:pPr lvl="1"/>
            <a:r>
              <a:rPr lang="en-GB" dirty="0"/>
              <a:t>Second level (Body text)</a:t>
            </a:r>
          </a:p>
          <a:p>
            <a:pPr lvl="2"/>
            <a:r>
              <a:rPr lang="en-GB" dirty="0"/>
              <a:t>Third level</a:t>
            </a:r>
          </a:p>
          <a:p>
            <a:pPr lvl="3"/>
            <a:r>
              <a:rPr lang="en-GB" dirty="0"/>
              <a:t>Fourth level</a:t>
            </a:r>
          </a:p>
          <a:p>
            <a:pPr lvl="4"/>
            <a:r>
              <a:rPr lang="en-GB" dirty="0"/>
              <a:t>Fifth level</a:t>
            </a:r>
          </a:p>
          <a:p>
            <a:pPr lvl="5"/>
            <a:r>
              <a:rPr lang="en-GB" dirty="0"/>
              <a:t>Sixth level</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56812336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Full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28154897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Full image/ 2 columns">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605990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2" name="Picture Placeholder 3"/>
          <p:cNvSpPr>
            <a:spLocks noGrp="1"/>
          </p:cNvSpPr>
          <p:nvPr>
            <p:ph type="pic" sz="quarter" idx="14" hasCustomPrompt="1"/>
          </p:nvPr>
        </p:nvSpPr>
        <p:spPr bwMode="gray">
          <a:xfrm>
            <a:off x="6132096" y="0"/>
            <a:ext cx="605990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51519172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Full image/ 4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3279297"/>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2" name="Picture Placeholder 3"/>
          <p:cNvSpPr>
            <a:spLocks noGrp="1"/>
          </p:cNvSpPr>
          <p:nvPr>
            <p:ph type="pic" sz="quarter" idx="14" hasCustomPrompt="1"/>
          </p:nvPr>
        </p:nvSpPr>
        <p:spPr bwMode="gray">
          <a:xfrm>
            <a:off x="6132096" y="3279297"/>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Picture Placeholder 3"/>
          <p:cNvSpPr>
            <a:spLocks noGrp="1"/>
          </p:cNvSpPr>
          <p:nvPr>
            <p:ph type="pic" sz="quarter" idx="15" hasCustomPrompt="1"/>
          </p:nvPr>
        </p:nvSpPr>
        <p:spPr bwMode="gray">
          <a:xfrm>
            <a:off x="0" y="1"/>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3" name="Picture Placeholder 3"/>
          <p:cNvSpPr>
            <a:spLocks noGrp="1"/>
          </p:cNvSpPr>
          <p:nvPr>
            <p:ph type="pic" sz="quarter" idx="16" hasCustomPrompt="1"/>
          </p:nvPr>
        </p:nvSpPr>
        <p:spPr bwMode="gray">
          <a:xfrm>
            <a:off x="6132096" y="1"/>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03309352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Full image/ 3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6" name="Picture Placeholder 3"/>
          <p:cNvSpPr>
            <a:spLocks noGrp="1"/>
          </p:cNvSpPr>
          <p:nvPr>
            <p:ph type="pic" sz="quarter" idx="14" hasCustomPrompt="1"/>
          </p:nvPr>
        </p:nvSpPr>
        <p:spPr bwMode="gray">
          <a:xfrm>
            <a:off x="3913531" y="0"/>
            <a:ext cx="419992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10811797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Full image/ 6 image">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3279297"/>
            <a:ext cx="3841337"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6" name="Picture Placeholder 3"/>
          <p:cNvSpPr>
            <a:spLocks noGrp="1"/>
          </p:cNvSpPr>
          <p:nvPr>
            <p:ph type="pic" sz="quarter" idx="14" hasCustomPrompt="1"/>
          </p:nvPr>
        </p:nvSpPr>
        <p:spPr bwMode="gray">
          <a:xfrm>
            <a:off x="3913531" y="3279297"/>
            <a:ext cx="419992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7" name="Picture Placeholder 3"/>
          <p:cNvSpPr>
            <a:spLocks noGrp="1"/>
          </p:cNvSpPr>
          <p:nvPr>
            <p:ph type="pic" sz="quarter" idx="15" hasCustomPrompt="1"/>
          </p:nvPr>
        </p:nvSpPr>
        <p:spPr bwMode="gray">
          <a:xfrm>
            <a:off x="8185649" y="3279297"/>
            <a:ext cx="4006350"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Picture Placeholder 3"/>
          <p:cNvSpPr>
            <a:spLocks noGrp="1"/>
          </p:cNvSpPr>
          <p:nvPr>
            <p:ph type="pic" sz="quarter" idx="16" hasCustomPrompt="1"/>
          </p:nvPr>
        </p:nvSpPr>
        <p:spPr bwMode="gray">
          <a:xfrm>
            <a:off x="0" y="1"/>
            <a:ext cx="3841337"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9" name="Picture Placeholder 3"/>
          <p:cNvSpPr>
            <a:spLocks noGrp="1"/>
          </p:cNvSpPr>
          <p:nvPr>
            <p:ph type="pic" sz="quarter" idx="17" hasCustomPrompt="1"/>
          </p:nvPr>
        </p:nvSpPr>
        <p:spPr bwMode="gray">
          <a:xfrm>
            <a:off x="8185650" y="1"/>
            <a:ext cx="4006350"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0" name="Picture Placeholder 3"/>
          <p:cNvSpPr>
            <a:spLocks noGrp="1"/>
          </p:cNvSpPr>
          <p:nvPr>
            <p:ph type="pic" sz="quarter" idx="18" hasCustomPrompt="1"/>
          </p:nvPr>
        </p:nvSpPr>
        <p:spPr bwMode="gray">
          <a:xfrm>
            <a:off x="3913531" y="1"/>
            <a:ext cx="419992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68863176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ext/ 3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428413657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ext/ 3 images/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410271156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Image-chart 1/4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a:extLst>
              <a:ext uri="{28A0092B-C50C-407E-A947-70E740481C1C}">
                <a14:useLocalDpi xmlns:a14="http://schemas.microsoft.com/office/drawing/2010/main" val="0"/>
              </a:ext>
            </a:extLst>
          </a:blip>
          <a:srcRect b="5375"/>
          <a:stretch/>
        </p:blipFill>
        <p:spPr bwMode="white">
          <a:xfrm>
            <a:off x="0" y="-1"/>
            <a:ext cx="12190451" cy="6487839"/>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3" name="Title 2"/>
          <p:cNvSpPr>
            <a:spLocks noGrp="1"/>
          </p:cNvSpPr>
          <p:nvPr>
            <p:ph type="title" hasCustomPrompt="1"/>
          </p:nvPr>
        </p:nvSpPr>
        <p:spPr>
          <a:xfrm>
            <a:off x="630116" y="288857"/>
            <a:ext cx="10930662" cy="1151733"/>
          </a:xfrm>
        </p:spPr>
        <p:txBody>
          <a:bodyPr/>
          <a:lstStyle>
            <a:lvl1pPr>
              <a:defRPr baseline="0">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76720593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Tree>
    <p:extLst>
      <p:ext uri="{BB962C8B-B14F-4D97-AF65-F5344CB8AC3E}">
        <p14:creationId xmlns:p14="http://schemas.microsoft.com/office/powerpoint/2010/main" val="2067896486"/>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ablet/ 4 colum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7"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Tree>
    <p:extLst>
      <p:ext uri="{BB962C8B-B14F-4D97-AF65-F5344CB8AC3E}">
        <p14:creationId xmlns:p14="http://schemas.microsoft.com/office/powerpoint/2010/main" val="179136654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324" y="288858"/>
            <a:ext cx="10932454" cy="1148857"/>
          </a:xfrm>
        </p:spPr>
        <p:txBody>
          <a:bodyPr/>
          <a:lstStyle/>
          <a:p>
            <a:r>
              <a:rPr lang="en-GB" noProof="0" dirty="0"/>
              <a:t>Headline in CorpoS (Body) 35 pt.</a:t>
            </a:r>
            <a:br>
              <a:rPr lang="en-GB" noProof="0" dirty="0"/>
            </a:br>
            <a:r>
              <a:rPr lang="en-GB" noProof="0" dirty="0"/>
              <a:t>in two lines</a:t>
            </a:r>
            <a:endParaRPr lang="en-GB" dirty="0"/>
          </a:p>
        </p:txBody>
      </p:sp>
    </p:spTree>
    <p:extLst>
      <p:ext uri="{BB962C8B-B14F-4D97-AF65-F5344CB8AC3E}">
        <p14:creationId xmlns:p14="http://schemas.microsoft.com/office/powerpoint/2010/main" val="414807479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lank/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3300051791"/>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userDrawn="1">
  <p:cSld name="3. Bürstung/ Bild 2-spaltig">
    <p:bg>
      <p:bgRef idx="1001">
        <a:schemeClr val="bg1"/>
      </p:bgRef>
    </p:bg>
    <p:spTree>
      <p:nvGrpSpPr>
        <p:cNvPr id="1" name=""/>
        <p:cNvGrpSpPr/>
        <p:nvPr/>
      </p:nvGrpSpPr>
      <p:grpSpPr>
        <a:xfrm>
          <a:off x="0" y="0"/>
          <a:ext cx="0" cy="0"/>
          <a:chOff x="0" y="0"/>
          <a:chExt cx="0" cy="0"/>
        </a:xfrm>
      </p:grpSpPr>
      <p:grpSp>
        <p:nvGrpSpPr>
          <p:cNvPr id="24" name="Regieanweisungen"/>
          <p:cNvGrpSpPr/>
          <p:nvPr userDrawn="1"/>
        </p:nvGrpSpPr>
        <p:grpSpPr>
          <a:xfrm>
            <a:off x="-2086913" y="-467892"/>
            <a:ext cx="13647691" cy="7792196"/>
            <a:chOff x="-2088000" y="-468000"/>
            <a:chExt cx="13654799" cy="7794000"/>
          </a:xfrm>
        </p:grpSpPr>
        <p:sp>
          <p:nvSpPr>
            <p:cNvPr id="2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9" name="Listenebenen"/>
              <p:cNvGrpSpPr/>
              <p:nvPr userDrawn="1"/>
            </p:nvGrpSpPr>
            <p:grpSpPr>
              <a:xfrm>
                <a:off x="-1692000" y="2232000"/>
                <a:ext cx="1548000" cy="792000"/>
                <a:chOff x="-1692000" y="2160000"/>
                <a:chExt cx="1548000" cy="792000"/>
              </a:xfrm>
            </p:grpSpPr>
            <p:sp>
              <p:nvSpPr>
                <p:cNvPr id="30"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1"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2"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3"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5"/>
          </p:nvPr>
        </p:nvSpPr>
        <p:spPr/>
        <p:txBody>
          <a:bodyPr/>
          <a:lstStyle/>
          <a:p>
            <a:r>
              <a:rPr lang="en-US">
                <a:solidFill>
                  <a:prstClr val="black"/>
                </a:solidFill>
              </a:rPr>
              <a:t>DFS Capital Market Day</a:t>
            </a:r>
            <a:endParaRPr lang="de-DE" dirty="0">
              <a:solidFill>
                <a:prstClr val="black"/>
              </a:solidFill>
            </a:endParaRPr>
          </a:p>
        </p:txBody>
      </p:sp>
      <p:sp>
        <p:nvSpPr>
          <p:cNvPr id="4" name="Foliennummernplatzhalter 3"/>
          <p:cNvSpPr>
            <a:spLocks noGrp="1"/>
          </p:cNvSpPr>
          <p:nvPr>
            <p:ph type="sldNum" sz="quarter" idx="16"/>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79968025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userDrawn="1">
  <p:cSld name="4. Bürstung/ Bild 2-spaltig">
    <p:bg>
      <p:bgRef idx="1001">
        <a:schemeClr val="bg1"/>
      </p:bgRef>
    </p:bg>
    <p:spTree>
      <p:nvGrpSpPr>
        <p:cNvPr id="1" name=""/>
        <p:cNvGrpSpPr/>
        <p:nvPr/>
      </p:nvGrpSpPr>
      <p:grpSpPr>
        <a:xfrm>
          <a:off x="0" y="0"/>
          <a:ext cx="0" cy="0"/>
          <a:chOff x="0" y="0"/>
          <a:chExt cx="0" cy="0"/>
        </a:xfrm>
      </p:grpSpPr>
      <p:grpSp>
        <p:nvGrpSpPr>
          <p:cNvPr id="27" name="Regieanweisungen"/>
          <p:cNvGrpSpPr/>
          <p:nvPr userDrawn="1"/>
        </p:nvGrpSpPr>
        <p:grpSpPr>
          <a:xfrm>
            <a:off x="-2086913" y="-467892"/>
            <a:ext cx="13647691" cy="7792196"/>
            <a:chOff x="-2088000" y="-468000"/>
            <a:chExt cx="13654799" cy="7794000"/>
          </a:xfrm>
        </p:grpSpPr>
        <p:sp>
          <p:nvSpPr>
            <p:cNvPr id="2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0"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Text oder Inhalt einfügen in </a:t>
            </a:r>
            <a:r>
              <a:rPr lang="de-DE" noProof="0" dirty="0"/>
              <a:t>CorpoS (Body) 24 pt. (Hervorhebungen in fett) </a:t>
            </a:r>
            <a:r>
              <a:rPr lang="de-DE" dirty="0"/>
              <a:t>// für Zusammenfassung oder kurzes Highlight: Start // Absatz // Listenebene erhöhen</a:t>
            </a:r>
          </a:p>
          <a:p>
            <a:pPr lvl="1"/>
            <a:r>
              <a:rPr lang="de-DE" dirty="0"/>
              <a:t>Zweite Ebene</a:t>
            </a:r>
          </a:p>
        </p:txBody>
      </p:sp>
      <p:sp>
        <p:nvSpPr>
          <p:cNvPr id="2" name="Fußzeilenplatzhalter 1"/>
          <p:cNvSpPr>
            <a:spLocks noGrp="1"/>
          </p:cNvSpPr>
          <p:nvPr>
            <p:ph type="ftr" sz="quarter" idx="16"/>
          </p:nvPr>
        </p:nvSpPr>
        <p:spPr/>
        <p:txBody>
          <a:bodyPr/>
          <a:lstStyle/>
          <a:p>
            <a:r>
              <a:rPr lang="en-US">
                <a:solidFill>
                  <a:prstClr val="black"/>
                </a:solidFill>
              </a:rPr>
              <a:t>DFS Capital Market Day</a:t>
            </a:r>
            <a:endParaRPr lang="de-DE" dirty="0">
              <a:solidFill>
                <a:prstClr val="black"/>
              </a:solidFill>
            </a:endParaRPr>
          </a:p>
        </p:txBody>
      </p:sp>
      <p:sp>
        <p:nvSpPr>
          <p:cNvPr id="5" name="Foliennummernplatzhalter 4"/>
          <p:cNvSpPr>
            <a:spLocks noGrp="1"/>
          </p:cNvSpPr>
          <p:nvPr>
            <p:ph type="sldNum" sz="quarter" idx="17"/>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99470759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userDrawn="1">
  <p:cSld name="Text/ Bild/ Ü 1 Zeile ">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2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3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1" name="Hinweise links"/>
            <p:cNvGrpSpPr/>
            <p:nvPr userDrawn="1"/>
          </p:nvGrpSpPr>
          <p:grpSpPr>
            <a:xfrm>
              <a:off x="-2088000" y="0"/>
              <a:ext cx="1980000" cy="3528000"/>
              <a:chOff x="-2088000" y="0"/>
              <a:chExt cx="1980000" cy="3528000"/>
            </a:xfrm>
          </p:grpSpPr>
          <p:sp>
            <p:nvSpPr>
              <p:cNvPr id="3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3" name="Listenebenen"/>
              <p:cNvGrpSpPr/>
              <p:nvPr userDrawn="1"/>
            </p:nvGrpSpPr>
            <p:grpSpPr>
              <a:xfrm>
                <a:off x="-1692000" y="2232000"/>
                <a:ext cx="1548000" cy="792000"/>
                <a:chOff x="-1692000" y="2160000"/>
                <a:chExt cx="1548000" cy="792000"/>
              </a:xfrm>
            </p:grpSpPr>
            <p:sp>
              <p:nvSpPr>
                <p:cNvPr id="3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6"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7"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a:xfrm>
            <a:off x="629671" y="285982"/>
            <a:ext cx="10931106" cy="683842"/>
          </a:xfrm>
        </p:spPr>
        <p:txBody>
          <a:bodyPr/>
          <a:lstStyle/>
          <a:p>
            <a:r>
              <a:rPr lang="de-DE" noProof="0" dirty="0"/>
              <a:t>Headline in CorpoS (Textkörper) 35 pt.</a:t>
            </a:r>
            <a:endParaRPr lang="de-DE" dirty="0"/>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4"/>
          </p:nvPr>
        </p:nvSpPr>
        <p:spPr/>
        <p:txBody>
          <a:bodyPr/>
          <a:lstStyle/>
          <a:p>
            <a:r>
              <a:rPr lang="en-US">
                <a:solidFill>
                  <a:prstClr val="black"/>
                </a:solidFill>
              </a:rPr>
              <a:t>DFS Capital Market Day</a:t>
            </a:r>
            <a:endParaRPr lang="de-DE" dirty="0">
              <a:solidFill>
                <a:prstClr val="black"/>
              </a:solidFill>
            </a:endParaRPr>
          </a:p>
        </p:txBody>
      </p:sp>
      <p:sp>
        <p:nvSpPr>
          <p:cNvPr id="6" name="Foliennummernplatzhalter 5"/>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46008237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userDrawn="1">
  <p:cSld name="Vollbild">
    <p:bg>
      <p:bgRef idx="1001">
        <a:schemeClr val="bg1"/>
      </p:bgRef>
    </p:bg>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4"/>
          </p:nvPr>
        </p:nvSpPr>
        <p:spPr/>
        <p:txBody>
          <a:bodyPr/>
          <a:lstStyle/>
          <a:p>
            <a:r>
              <a:rPr lang="de-DE">
                <a:solidFill>
                  <a:prstClr val="black"/>
                </a:solidFill>
              </a:rPr>
              <a:t>DFS Capital Market Day</a:t>
            </a:r>
            <a:endParaRPr lang="de-DE" dirty="0">
              <a:solidFill>
                <a:prstClr val="black"/>
              </a:solidFill>
            </a:endParaRPr>
          </a:p>
        </p:txBody>
      </p:sp>
      <p:sp>
        <p:nvSpPr>
          <p:cNvPr id="3" name="Foliennummernplatzhalter 2"/>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48133345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771939" y="6224373"/>
            <a:ext cx="424638" cy="329184"/>
          </a:xfrm>
        </p:spPr>
        <p:txBody>
          <a:bodyPr/>
          <a:lstStyle/>
          <a:p>
            <a:fld id="{96D389FB-5F15-6747-8C7C-A5F122A35A60}" type="slidenum">
              <a:rPr lang="en-US" smtClean="0">
                <a:solidFill>
                  <a:prstClr val="black"/>
                </a:solidFill>
              </a:rPr>
              <a:pPr/>
              <a:t>‹#›</a:t>
            </a:fld>
            <a:endParaRPr lang="en-US">
              <a:solidFill>
                <a:prstClr val="black"/>
              </a:solidFill>
            </a:endParaRPr>
          </a:p>
        </p:txBody>
      </p:sp>
      <p:sp>
        <p:nvSpPr>
          <p:cNvPr id="4" name="Title 3"/>
          <p:cNvSpPr>
            <a:spLocks noGrp="1"/>
          </p:cNvSpPr>
          <p:nvPr>
            <p:ph type="title"/>
          </p:nvPr>
        </p:nvSpPr>
        <p:spPr>
          <a:xfrm>
            <a:off x="838201" y="607274"/>
            <a:ext cx="10515600" cy="523220"/>
          </a:xfrm>
          <a:prstGeom prst="rect">
            <a:avLst/>
          </a:prstGeom>
        </p:spPr>
        <p:txBody>
          <a:bodyPr/>
          <a:lstStyle>
            <a:lvl1pPr algn="ctr">
              <a:defRPr sz="2800" b="0">
                <a:solidFill>
                  <a:srgbClr val="3F98FF"/>
                </a:solidFill>
                <a:latin typeface="Franklin Gothic Book" panose="020B0503020102020204" pitchFamily="34" charset="0"/>
              </a:defRPr>
            </a:lvl1pPr>
          </a:lstStyle>
          <a:p>
            <a:r>
              <a:rPr lang="en-US" dirty="0"/>
              <a:t>Click to edit Master title style</a:t>
            </a:r>
          </a:p>
        </p:txBody>
      </p:sp>
      <p:sp>
        <p:nvSpPr>
          <p:cNvPr id="8" name="Text Placeholder 7"/>
          <p:cNvSpPr>
            <a:spLocks noGrp="1"/>
          </p:cNvSpPr>
          <p:nvPr>
            <p:ph type="body" sz="quarter" idx="13"/>
          </p:nvPr>
        </p:nvSpPr>
        <p:spPr>
          <a:xfrm>
            <a:off x="533401" y="1854200"/>
            <a:ext cx="11070835" cy="4095750"/>
          </a:xfrm>
          <a:prstGeom prst="rect">
            <a:avLst/>
          </a:prstGeom>
        </p:spPr>
        <p:txBody>
          <a:bodyPr/>
          <a:lstStyle>
            <a:lvl1pPr>
              <a:defRPr sz="2399" b="1">
                <a:solidFill>
                  <a:schemeClr val="bg1">
                    <a:lumMod val="50000"/>
                  </a:schemeClr>
                </a:solidFill>
              </a:defRPr>
            </a:lvl1pPr>
            <a:lvl2pPr>
              <a:defRPr sz="1999">
                <a:solidFill>
                  <a:schemeClr val="bg1">
                    <a:lumMod val="50000"/>
                  </a:schemeClr>
                </a:solidFill>
              </a:defRPr>
            </a:lvl2pPr>
            <a:lvl3pPr>
              <a:defRPr sz="1999">
                <a:solidFill>
                  <a:schemeClr val="bg1">
                    <a:lumMod val="50000"/>
                  </a:schemeClr>
                </a:solidFill>
              </a:defRPr>
            </a:lvl3pPr>
            <a:lvl4pPr>
              <a:defRPr sz="1999">
                <a:solidFill>
                  <a:schemeClr val="bg1">
                    <a:lumMod val="50000"/>
                  </a:schemeClr>
                </a:solidFill>
              </a:defRPr>
            </a:lvl4pPr>
            <a:lvl5pPr>
              <a:defRPr sz="1999">
                <a:solidFill>
                  <a:schemeClr val="bg1">
                    <a:lumMod val="5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4"/>
          <p:cNvSpPr>
            <a:spLocks noGrp="1"/>
          </p:cNvSpPr>
          <p:nvPr>
            <p:ph type="body" sz="quarter" idx="14" hasCustomPrompt="1"/>
          </p:nvPr>
        </p:nvSpPr>
        <p:spPr>
          <a:xfrm>
            <a:off x="1896488" y="1215031"/>
            <a:ext cx="8460827" cy="400110"/>
          </a:xfrm>
          <a:prstGeom prst="rect">
            <a:avLst/>
          </a:prstGeom>
        </p:spPr>
        <p:txBody>
          <a:bodyPr/>
          <a:lstStyle>
            <a:lvl1pPr marL="0" indent="0" algn="ctr">
              <a:buNone/>
              <a:defRPr sz="1999" baseline="0">
                <a:solidFill>
                  <a:schemeClr val="bg1">
                    <a:lumMod val="50000"/>
                  </a:schemeClr>
                </a:solidFill>
              </a:defRPr>
            </a:lvl1pPr>
          </a:lstStyle>
          <a:p>
            <a:pPr algn="ctr"/>
            <a:r>
              <a:rPr lang="en-US" sz="1999" dirty="0">
                <a:solidFill>
                  <a:schemeClr val="tx1">
                    <a:lumMod val="50000"/>
                    <a:lumOff val="50000"/>
                  </a:schemeClr>
                </a:solidFill>
                <a:latin typeface="Calibri" charset="0"/>
                <a:ea typeface="Calibri" charset="0"/>
                <a:cs typeface="Calibri" charset="0"/>
              </a:rPr>
              <a:t>Click to edit Master subtitle style</a:t>
            </a:r>
          </a:p>
        </p:txBody>
      </p:sp>
    </p:spTree>
    <p:extLst>
      <p:ext uri="{BB962C8B-B14F-4D97-AF65-F5344CB8AC3E}">
        <p14:creationId xmlns:p14="http://schemas.microsoft.com/office/powerpoint/2010/main" val="35886326"/>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de-DE" noProof="0" dirty="0" smtClean="0"/>
              <a:t>Headline für Agenda in </a:t>
            </a:r>
            <a:r>
              <a:rPr lang="de-DE" noProof="0" dirty="0" err="1" smtClean="0"/>
              <a:t>CorpoS</a:t>
            </a:r>
            <a:r>
              <a:rPr lang="de-DE" noProof="0" dirty="0" smtClean="0"/>
              <a:t> (Textkörper) 35 pt. </a:t>
            </a:r>
            <a:br>
              <a:rPr lang="de-DE" noProof="0" dirty="0" smtClean="0"/>
            </a:br>
            <a:r>
              <a:rPr lang="de-DE" noProof="0" dirty="0" smtClean="0"/>
              <a:t>in ein oder zwei Zeilen</a:t>
            </a:r>
            <a:endParaRPr lang="de-DE" dirty="0"/>
          </a:p>
        </p:txBody>
      </p:sp>
      <p:sp>
        <p:nvSpPr>
          <p:cNvPr id="6" name="Text Placeholder 5"/>
          <p:cNvSpPr>
            <a:spLocks noGrp="1"/>
          </p:cNvSpPr>
          <p:nvPr>
            <p:ph type="body" sz="quarter" idx="12" hasCustomPrompt="1"/>
          </p:nvPr>
        </p:nvSpPr>
        <p:spPr>
          <a:xfrm>
            <a:off x="628325" y="1504603"/>
            <a:ext cx="10932180" cy="4875671"/>
          </a:xfrm>
        </p:spPr>
        <p:txBody>
          <a:bodyPr/>
          <a:lstStyle>
            <a:lvl1pPr marL="359691" indent="-359691">
              <a:buSzPct val="100000"/>
              <a:buFont typeface="+mj-lt"/>
              <a:buAutoNum type="arabicPeriod"/>
              <a:defRPr baseline="0">
                <a:solidFill>
                  <a:schemeClr val="tx1"/>
                </a:solidFill>
              </a:defRPr>
            </a:lvl1pPr>
            <a:lvl2pPr marL="359691" indent="-359691">
              <a:buFont typeface="+mj-lt"/>
              <a:buAutoNum type="arabicPeriod"/>
              <a:defRPr>
                <a:solidFill>
                  <a:schemeClr val="tx1"/>
                </a:solidFill>
              </a:defRPr>
            </a:lvl2pPr>
            <a:lvl3pPr marL="359691" indent="-359691">
              <a:buFont typeface="+mj-lt"/>
              <a:buAutoNum type="arabicPeriod"/>
              <a:defRPr>
                <a:solidFill>
                  <a:schemeClr val="tx1"/>
                </a:solidFill>
              </a:defRPr>
            </a:lvl3pPr>
            <a:lvl4pPr marL="359691" indent="-359691">
              <a:buFont typeface="+mj-lt"/>
              <a:buAutoNum type="arabicPeriod"/>
              <a:defRPr>
                <a:solidFill>
                  <a:schemeClr val="tx1"/>
                </a:solidFill>
              </a:defRPr>
            </a:lvl4pPr>
            <a:lvl5pPr marL="359691" indent="-359691">
              <a:buFont typeface="+mj-lt"/>
              <a:buAutoNum type="arabicPeriod"/>
              <a:defRPr>
                <a:solidFill>
                  <a:schemeClr val="tx1"/>
                </a:solidFill>
              </a:defRPr>
            </a:lvl5pPr>
            <a:lvl6pPr marL="359691" indent="-359691">
              <a:buFont typeface="+mj-lt"/>
              <a:buAutoNum type="arabicPeriod"/>
              <a:defRPr>
                <a:solidFill>
                  <a:schemeClr val="tx1"/>
                </a:solidFill>
              </a:defRPr>
            </a:lvl6pPr>
            <a:lvl7pPr marL="359691" indent="-359691">
              <a:buFont typeface="+mj-lt"/>
              <a:buAutoNum type="arabicPeriod"/>
              <a:defRPr>
                <a:solidFill>
                  <a:schemeClr val="tx1"/>
                </a:solidFill>
              </a:defRPr>
            </a:lvl7pPr>
            <a:lvl8pPr marL="359691" indent="-359691">
              <a:buFont typeface="+mj-lt"/>
              <a:buAutoNum type="arabicPeriod"/>
              <a:defRPr>
                <a:solidFill>
                  <a:schemeClr val="tx1"/>
                </a:solidFill>
              </a:defRPr>
            </a:lvl8pPr>
            <a:lvl9pPr marL="359691" indent="-359691">
              <a:buFont typeface="+mj-lt"/>
              <a:buAutoNum type="arabicPeriod"/>
              <a:defRPr>
                <a:solidFill>
                  <a:schemeClr val="tx1"/>
                </a:solidFill>
              </a:defRPr>
            </a:lvl9pPr>
          </a:lstStyle>
          <a:p>
            <a:pPr lvl="0"/>
            <a:r>
              <a:rPr lang="de-DE" dirty="0" smtClean="0"/>
              <a:t>Agenda Punkt einfügen</a:t>
            </a:r>
          </a:p>
          <a:p>
            <a:pPr lvl="1"/>
            <a:r>
              <a:rPr lang="de-DE" dirty="0" smtClean="0"/>
              <a:t>Zweite Ebene</a:t>
            </a:r>
          </a:p>
          <a:p>
            <a:pPr lvl="2"/>
            <a:r>
              <a:rPr lang="de-DE" dirty="0" smtClean="0"/>
              <a:t>Dritte Ebene </a:t>
            </a:r>
          </a:p>
          <a:p>
            <a:pPr lvl="3"/>
            <a:r>
              <a:rPr lang="de-DE" dirty="0" smtClean="0"/>
              <a:t>Vierte Ebene </a:t>
            </a:r>
          </a:p>
          <a:p>
            <a:pPr lvl="4"/>
            <a:r>
              <a:rPr lang="de-DE" dirty="0" smtClean="0"/>
              <a:t>Fünfte Ebene </a:t>
            </a:r>
          </a:p>
          <a:p>
            <a:pPr lvl="5"/>
            <a:r>
              <a:rPr lang="de-DE" dirty="0" smtClean="0"/>
              <a:t>Sechste Ebene </a:t>
            </a:r>
          </a:p>
          <a:p>
            <a:pPr lvl="6"/>
            <a:r>
              <a:rPr lang="de-DE" dirty="0" smtClean="0"/>
              <a:t>Siebte Ebene </a:t>
            </a:r>
          </a:p>
          <a:p>
            <a:pPr lvl="7"/>
            <a:r>
              <a:rPr lang="de-DE" dirty="0" smtClean="0"/>
              <a:t>Achte Ebene </a:t>
            </a:r>
          </a:p>
          <a:p>
            <a:pPr lvl="8"/>
            <a:r>
              <a:rPr lang="de-DE" dirty="0" smtClean="0"/>
              <a:t>Neunte Ebene </a:t>
            </a:r>
          </a:p>
        </p:txBody>
      </p:sp>
      <p:sp>
        <p:nvSpPr>
          <p:cNvPr id="8" name="Footer Placeholder 10"/>
          <p:cNvSpPr>
            <a:spLocks noGrp="1"/>
          </p:cNvSpPr>
          <p:nvPr>
            <p:ph type="ftr" sz="quarter" idx="11"/>
          </p:nvPr>
        </p:nvSpPr>
        <p:spPr>
          <a:xfrm>
            <a:off x="2878501" y="6564881"/>
            <a:ext cx="8120971" cy="215949"/>
          </a:xfrm>
        </p:spPr>
        <p:txBody>
          <a:bodyPr/>
          <a:lstStyle/>
          <a:p>
            <a:r>
              <a:rPr lang="en-US" smtClean="0">
                <a:solidFill>
                  <a:prstClr val="black"/>
                </a:solidFill>
              </a:rPr>
              <a:t>BOM - EA 2 2016 &amp; OP 17-18 Overview / FS-CC / November 8, 2016 /</a:t>
            </a:r>
            <a:endParaRPr lang="en-GB" dirty="0" smtClean="0">
              <a:solidFill>
                <a:prstClr val="black"/>
              </a:solidFill>
            </a:endParaRPr>
          </a:p>
        </p:txBody>
      </p:sp>
      <p:sp>
        <p:nvSpPr>
          <p:cNvPr id="9" name="Slide Number Placeholder 11"/>
          <p:cNvSpPr>
            <a:spLocks noGrp="1"/>
          </p:cNvSpPr>
          <p:nvPr>
            <p:ph type="sldNum" sz="quarter" idx="13"/>
          </p:nvPr>
        </p:nvSpPr>
        <p:spPr>
          <a:xfrm>
            <a:off x="11036805" y="6564881"/>
            <a:ext cx="1155196" cy="215949"/>
          </a:xfrm>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28725695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genda 1/3 brushed">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2" name="Title 1"/>
          <p:cNvSpPr>
            <a:spLocks noGrp="1"/>
          </p:cNvSpPr>
          <p:nvPr>
            <p:ph type="title" hasCustomPrompt="1"/>
          </p:nvPr>
        </p:nvSpPr>
        <p:spPr>
          <a:xfrm>
            <a:off x="628323" y="288859"/>
            <a:ext cx="10932455" cy="1148857"/>
          </a:xfrm>
        </p:spPr>
        <p:txBody>
          <a:bodyPr/>
          <a:lstStyle>
            <a:lvl1pPr>
              <a:defRPr/>
            </a:lvl1pPr>
          </a:lstStyle>
          <a:p>
            <a:r>
              <a:rPr lang="en-GB" noProof="0" dirty="0"/>
              <a:t>Headline for Agenda in </a:t>
            </a:r>
            <a:r>
              <a:rPr lang="en-GB" noProof="0" dirty="0" err="1"/>
              <a:t>CorpoS</a:t>
            </a:r>
            <a:r>
              <a:rPr lang="en-GB" noProof="0" dirty="0"/>
              <a:t>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6" y="1504603"/>
            <a:ext cx="10930388" cy="3759916"/>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425209013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1.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en-GB" dirty="0"/>
              <a:t>Referent’s name: </a:t>
            </a:r>
            <a:r>
              <a:rPr lang="en-GB" noProof="0" dirty="0"/>
              <a:t>CorpoS </a:t>
            </a:r>
            <a:r>
              <a:rPr lang="en-GB" dirty="0"/>
              <a:t>(Body) 35 pt. Presentation title</a:t>
            </a:r>
            <a:br>
              <a:rPr lang="en-GB" dirty="0"/>
            </a:br>
            <a:r>
              <a:rPr lang="en-GB" dirty="0"/>
              <a:t>in two lines of text, dd. </a:t>
            </a:r>
            <a:r>
              <a:rPr lang="en-GB" dirty="0" err="1"/>
              <a:t>mmmm</a:t>
            </a:r>
            <a:r>
              <a:rPr lang="en-GB" dirty="0"/>
              <a:t> </a:t>
            </a:r>
            <a:r>
              <a:rPr lang="en-GB" dirty="0" err="1"/>
              <a:t>yyyy</a:t>
            </a:r>
            <a:endParaRPr lang="en-GB"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1994878506"/>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2.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a:lvl1pPr>
          </a:lstStyle>
          <a:p>
            <a:r>
              <a:rPr lang="en-GB" dirty="0"/>
              <a:t>Referent’s name: </a:t>
            </a:r>
            <a:r>
              <a:rPr lang="en-GB" noProof="0" dirty="0"/>
              <a:t>CorpoS </a:t>
            </a:r>
            <a:r>
              <a:rPr lang="en-GB" dirty="0"/>
              <a:t>(Body) 35 pt. Presentation title</a:t>
            </a:r>
            <a:br>
              <a:rPr lang="en-GB" dirty="0"/>
            </a:br>
            <a:r>
              <a:rPr lang="en-GB" dirty="0"/>
              <a:t>in two or more lines of text, dd. </a:t>
            </a:r>
            <a:r>
              <a:rPr lang="en-GB" dirty="0" err="1"/>
              <a:t>mmmm</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268608062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59060773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4433"/>
            <a:ext cx="7232233" cy="648964"/>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en-GB" dirty="0"/>
              <a:t>Headline for presentation</a:t>
            </a:r>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272902794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Section chart">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1" y="0"/>
            <a:ext cx="12190451" cy="6487838"/>
          </a:xfrm>
          <a:prstGeom prst="rect">
            <a:avLst/>
          </a:prstGeom>
        </p:spPr>
      </p:pic>
      <p:sp>
        <p:nvSpPr>
          <p:cNvPr id="3" name="Title 2"/>
          <p:cNvSpPr>
            <a:spLocks noGrp="1"/>
          </p:cNvSpPr>
          <p:nvPr>
            <p:ph type="title" hasCustomPrompt="1"/>
          </p:nvPr>
        </p:nvSpPr>
        <p:spPr>
          <a:xfrm>
            <a:off x="628323" y="288859"/>
            <a:ext cx="10932455" cy="1025684"/>
          </a:xfrm>
        </p:spPr>
        <p:txBody>
          <a:bodyPr wrap="square">
            <a:spAutoFit/>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99323779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Text/ image brushing">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a:extLst>
              <a:ext uri="{28A0092B-C50C-407E-A947-70E740481C1C}">
                <a14:useLocalDpi xmlns:a14="http://schemas.microsoft.com/office/drawing/2010/main" val="0"/>
              </a:ext>
            </a:extLst>
          </a:blip>
          <a:srcRect b="5375"/>
          <a:stretch/>
        </p:blipFill>
        <p:spPr bwMode="white">
          <a:xfrm>
            <a:off x="0" y="-1"/>
            <a:ext cx="12190451" cy="6487839"/>
          </a:xfrm>
          <a:prstGeom prst="rect">
            <a:avLst/>
          </a:prstGeom>
        </p:spPr>
      </p:pic>
      <p:sp>
        <p:nvSpPr>
          <p:cNvPr id="3" name="Title 2"/>
          <p:cNvSpPr>
            <a:spLocks noGrp="1"/>
          </p:cNvSpPr>
          <p:nvPr>
            <p:ph type="title" hasCustomPrompt="1"/>
          </p:nvPr>
        </p:nvSpPr>
        <p:spPr>
          <a:xfrm>
            <a:off x="630116" y="288857"/>
            <a:ext cx="10930662" cy="1151733"/>
          </a:xfrm>
          <a:custGeom>
            <a:avLst/>
            <a:gdLst>
              <a:gd name="connsiteX0" fmla="*/ 0 w 10936355"/>
              <a:gd name="connsiteY0" fmla="*/ 0 h 1152000"/>
              <a:gd name="connsiteX1" fmla="*/ 10936355 w 10936355"/>
              <a:gd name="connsiteY1" fmla="*/ 0 h 1152000"/>
              <a:gd name="connsiteX2" fmla="*/ 10936355 w 10936355"/>
              <a:gd name="connsiteY2" fmla="*/ 1152000 h 1152000"/>
              <a:gd name="connsiteX3" fmla="*/ 0 w 10936355"/>
              <a:gd name="connsiteY3" fmla="*/ 1152000 h 1152000"/>
              <a:gd name="connsiteX4" fmla="*/ 0 w 10936355"/>
              <a:gd name="connsiteY4"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4948164 w 10936355"/>
              <a:gd name="connsiteY4" fmla="*/ 1147990 h 1152000"/>
              <a:gd name="connsiteX5" fmla="*/ 0 w 10936355"/>
              <a:gd name="connsiteY5" fmla="*/ 1152000 h 1152000"/>
              <a:gd name="connsiteX6" fmla="*/ 0 w 10936355"/>
              <a:gd name="connsiteY6"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355" h="1152000">
                <a:moveTo>
                  <a:pt x="0" y="0"/>
                </a:moveTo>
                <a:lnTo>
                  <a:pt x="10936355" y="0"/>
                </a:lnTo>
                <a:cubicBezTo>
                  <a:pt x="10935205" y="231775"/>
                  <a:pt x="10934056" y="463551"/>
                  <a:pt x="10932906" y="695326"/>
                </a:cubicBezTo>
                <a:lnTo>
                  <a:pt x="4948164" y="1147990"/>
                </a:lnTo>
                <a:lnTo>
                  <a:pt x="0" y="1152000"/>
                </a:lnTo>
                <a:lnTo>
                  <a:pt x="0" y="0"/>
                </a:lnTo>
                <a:close/>
              </a:path>
            </a:pathLst>
          </a:custGeom>
        </p:spPr>
        <p:txBody>
          <a:bodyPr/>
          <a:lstStyle>
            <a:lvl1pPr>
              <a:defRPr baseline="0">
                <a:solidFill>
                  <a:schemeClr val="bg1"/>
                </a:solidFill>
              </a:defRPr>
            </a:lvl1pPr>
          </a:lstStyle>
          <a:p>
            <a:r>
              <a:rPr lang="en-GB" dirty="0"/>
              <a:t>Image-chart, Headline </a:t>
            </a:r>
            <a:r>
              <a:rPr lang="en-GB" noProof="0" dirty="0"/>
              <a:t>CorpoS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44468539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Agenda with brushin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 name="Title 1"/>
          <p:cNvSpPr>
            <a:spLocks noGrp="1"/>
          </p:cNvSpPr>
          <p:nvPr>
            <p:ph type="title" hasCustomPrompt="1"/>
          </p:nvPr>
        </p:nvSpPr>
        <p:spPr>
          <a:xfrm>
            <a:off x="628323" y="288859"/>
            <a:ext cx="10932455" cy="1148857"/>
          </a:xfrm>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7" y="1504603"/>
            <a:ext cx="10931023" cy="3386305"/>
          </a:xfrm>
          <a:custGeom>
            <a:avLst/>
            <a:gdLst>
              <a:gd name="connsiteX0" fmla="*/ 0 w 10936081"/>
              <a:gd name="connsiteY0" fmla="*/ 0 h 3384000"/>
              <a:gd name="connsiteX1" fmla="*/ 10936081 w 10936081"/>
              <a:gd name="connsiteY1" fmla="*/ 0 h 3384000"/>
              <a:gd name="connsiteX2" fmla="*/ 10936081 w 10936081"/>
              <a:gd name="connsiteY2" fmla="*/ 3384000 h 3384000"/>
              <a:gd name="connsiteX3" fmla="*/ 0 w 10936081"/>
              <a:gd name="connsiteY3" fmla="*/ 3384000 h 3384000"/>
              <a:gd name="connsiteX4" fmla="*/ 0 w 10936081"/>
              <a:gd name="connsiteY4" fmla="*/ 0 h 3384000"/>
              <a:gd name="connsiteX0" fmla="*/ 0 w 10936081"/>
              <a:gd name="connsiteY0" fmla="*/ 0 h 3387089"/>
              <a:gd name="connsiteX1" fmla="*/ 10936081 w 10936081"/>
              <a:gd name="connsiteY1" fmla="*/ 0 h 3387089"/>
              <a:gd name="connsiteX2" fmla="*/ 10936081 w 10936081"/>
              <a:gd name="connsiteY2" fmla="*/ 3384000 h 3387089"/>
              <a:gd name="connsiteX3" fmla="*/ 2006076 w 10936081"/>
              <a:gd name="connsiteY3" fmla="*/ 3387089 h 3387089"/>
              <a:gd name="connsiteX4" fmla="*/ 0 w 10936081"/>
              <a:gd name="connsiteY4" fmla="*/ 3384000 h 3387089"/>
              <a:gd name="connsiteX5" fmla="*/ 0 w 10936081"/>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10936081 w 10936716"/>
              <a:gd name="connsiteY3" fmla="*/ 3384000 h 3387089"/>
              <a:gd name="connsiteX4" fmla="*/ 2006076 w 10936716"/>
              <a:gd name="connsiteY4" fmla="*/ 3387089 h 3387089"/>
              <a:gd name="connsiteX5" fmla="*/ 0 w 10936716"/>
              <a:gd name="connsiteY5" fmla="*/ 3384000 h 3387089"/>
              <a:gd name="connsiteX6" fmla="*/ 0 w 10936716"/>
              <a:gd name="connsiteY6"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3387089">
                <a:moveTo>
                  <a:pt x="0" y="0"/>
                </a:moveTo>
                <a:lnTo>
                  <a:pt x="10936081" y="0"/>
                </a:lnTo>
                <a:cubicBezTo>
                  <a:pt x="10936293" y="852170"/>
                  <a:pt x="10936504" y="1704339"/>
                  <a:pt x="10936716" y="2556509"/>
                </a:cubicBezTo>
                <a:lnTo>
                  <a:pt x="2006076" y="3387089"/>
                </a:lnTo>
                <a:lnTo>
                  <a:pt x="0" y="3384000"/>
                </a:lnTo>
                <a:lnTo>
                  <a:pt x="0" y="0"/>
                </a:lnTo>
                <a:close/>
              </a:path>
            </a:pathLst>
          </a:custGeo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55055075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104260694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228951675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2 lines">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a:t>
            </a:r>
            <a:r>
              <a:rPr lang="en-GB" noProof="0" dirty="0"/>
              <a:t> 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410516080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for Agenda in </a:t>
            </a:r>
            <a:r>
              <a:rPr lang="en-GB" noProof="0" dirty="0" err="1"/>
              <a:t>CorpoS</a:t>
            </a:r>
            <a:r>
              <a:rPr lang="en-GB" noProof="0" dirty="0"/>
              <a:t>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62726005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ext/ content/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370418844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1 line">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28874181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1.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6674530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2.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7" y="288858"/>
            <a:ext cx="10931023" cy="1115742"/>
          </a:xfrm>
          <a:custGeom>
            <a:avLst/>
            <a:gdLst>
              <a:gd name="connsiteX0" fmla="*/ 0 w 10936355"/>
              <a:gd name="connsiteY0" fmla="*/ 0 h 1116000"/>
              <a:gd name="connsiteX1" fmla="*/ 10936355 w 10936355"/>
              <a:gd name="connsiteY1" fmla="*/ 0 h 1116000"/>
              <a:gd name="connsiteX2" fmla="*/ 10936355 w 10936355"/>
              <a:gd name="connsiteY2" fmla="*/ 1116000 h 1116000"/>
              <a:gd name="connsiteX3" fmla="*/ 0 w 10936355"/>
              <a:gd name="connsiteY3" fmla="*/ 1116000 h 1116000"/>
              <a:gd name="connsiteX4" fmla="*/ 0 w 10936355"/>
              <a:gd name="connsiteY4" fmla="*/ 0 h 1116000"/>
              <a:gd name="connsiteX0" fmla="*/ 0 w 10936355"/>
              <a:gd name="connsiteY0" fmla="*/ 0 h 1116000"/>
              <a:gd name="connsiteX1" fmla="*/ 10936355 w 10936355"/>
              <a:gd name="connsiteY1" fmla="*/ 0 h 1116000"/>
              <a:gd name="connsiteX2" fmla="*/ 10936355 w 10936355"/>
              <a:gd name="connsiteY2" fmla="*/ 1116000 h 1116000"/>
              <a:gd name="connsiteX3" fmla="*/ 5793216 w 10936355"/>
              <a:gd name="connsiteY3" fmla="*/ 1113155 h 1116000"/>
              <a:gd name="connsiteX4" fmla="*/ 0 w 10936355"/>
              <a:gd name="connsiteY4" fmla="*/ 1116000 h 1116000"/>
              <a:gd name="connsiteX5" fmla="*/ 0 w 10936355"/>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10936355 w 10936716"/>
              <a:gd name="connsiteY3" fmla="*/ 1116000 h 1116000"/>
              <a:gd name="connsiteX4" fmla="*/ 5793216 w 10936716"/>
              <a:gd name="connsiteY4" fmla="*/ 1113155 h 1116000"/>
              <a:gd name="connsiteX5" fmla="*/ 0 w 10936716"/>
              <a:gd name="connsiteY5" fmla="*/ 1116000 h 1116000"/>
              <a:gd name="connsiteX6" fmla="*/ 0 w 10936716"/>
              <a:gd name="connsiteY6"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1116000">
                <a:moveTo>
                  <a:pt x="0" y="0"/>
                </a:moveTo>
                <a:lnTo>
                  <a:pt x="10936355" y="0"/>
                </a:lnTo>
                <a:cubicBezTo>
                  <a:pt x="10936475" y="226272"/>
                  <a:pt x="10936596" y="452543"/>
                  <a:pt x="10936716" y="678815"/>
                </a:cubicBezTo>
                <a:lnTo>
                  <a:pt x="5793216" y="1113155"/>
                </a:lnTo>
                <a:lnTo>
                  <a:pt x="0" y="1116000"/>
                </a:lnTo>
                <a:lnTo>
                  <a:pt x="0" y="0"/>
                </a:lnTo>
                <a:close/>
              </a:path>
            </a:pathLst>
          </a:custGeom>
        </p:spPr>
        <p:txBody>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4381992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3. Brushing/ image 2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44637584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4.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a:t>CorpoS (Body) 24 pt. (Mark-ups in Bold) </a:t>
            </a:r>
            <a:r>
              <a:rPr lang="en-GB" dirty="0"/>
              <a:t>// for Body text: Home // Paragraph// Increase List Level</a:t>
            </a:r>
          </a:p>
          <a:p>
            <a:pPr lvl="1"/>
            <a:r>
              <a:rPr lang="en-GB" dirty="0"/>
              <a:t>Second level (Body text)</a:t>
            </a:r>
          </a:p>
        </p:txBody>
      </p:sp>
      <p:sp>
        <p:nvSpPr>
          <p:cNvPr id="2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19442271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5. Brushing/ image 3 columns">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3"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a:t>CorpoS (Body) 24 pt. (Mark-ups in Bold) </a:t>
            </a:r>
            <a:r>
              <a:rPr lang="en-GB" dirty="0"/>
              <a:t>// for Body text: Home // Paragraph// Increase List Level</a:t>
            </a:r>
          </a:p>
          <a:p>
            <a:pPr lvl="1"/>
            <a:r>
              <a:rPr lang="en-GB" dirty="0"/>
              <a:t>Second level (Body text)</a:t>
            </a:r>
          </a:p>
          <a:p>
            <a:pPr lvl="2"/>
            <a:r>
              <a:rPr lang="en-GB" dirty="0"/>
              <a:t>Third level</a:t>
            </a:r>
          </a:p>
          <a:p>
            <a:pPr lvl="3"/>
            <a:r>
              <a:rPr lang="en-GB" dirty="0"/>
              <a:t>Fourth level</a:t>
            </a:r>
          </a:p>
          <a:p>
            <a:pPr lvl="4"/>
            <a:r>
              <a:rPr lang="en-GB" dirty="0"/>
              <a:t>Fifth level</a:t>
            </a:r>
          </a:p>
          <a:p>
            <a:pPr lvl="5"/>
            <a:r>
              <a:rPr lang="en-GB" dirty="0"/>
              <a:t>Sixth level</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23476219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Full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05212990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Full image/ 2 columns">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605990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2" name="Picture Placeholder 3"/>
          <p:cNvSpPr>
            <a:spLocks noGrp="1"/>
          </p:cNvSpPr>
          <p:nvPr>
            <p:ph type="pic" sz="quarter" idx="14" hasCustomPrompt="1"/>
          </p:nvPr>
        </p:nvSpPr>
        <p:spPr bwMode="gray">
          <a:xfrm>
            <a:off x="6132096" y="0"/>
            <a:ext cx="605990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32609619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Full image/ 4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3279297"/>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2" name="Picture Placeholder 3"/>
          <p:cNvSpPr>
            <a:spLocks noGrp="1"/>
          </p:cNvSpPr>
          <p:nvPr>
            <p:ph type="pic" sz="quarter" idx="14" hasCustomPrompt="1"/>
          </p:nvPr>
        </p:nvSpPr>
        <p:spPr bwMode="gray">
          <a:xfrm>
            <a:off x="6132096" y="3279297"/>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Picture Placeholder 3"/>
          <p:cNvSpPr>
            <a:spLocks noGrp="1"/>
          </p:cNvSpPr>
          <p:nvPr>
            <p:ph type="pic" sz="quarter" idx="15" hasCustomPrompt="1"/>
          </p:nvPr>
        </p:nvSpPr>
        <p:spPr bwMode="gray">
          <a:xfrm>
            <a:off x="0" y="1"/>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3" name="Picture Placeholder 3"/>
          <p:cNvSpPr>
            <a:spLocks noGrp="1"/>
          </p:cNvSpPr>
          <p:nvPr>
            <p:ph type="pic" sz="quarter" idx="16" hasCustomPrompt="1"/>
          </p:nvPr>
        </p:nvSpPr>
        <p:spPr bwMode="gray">
          <a:xfrm>
            <a:off x="6132096" y="1"/>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71788560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eadline two line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29661092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Full image/ 3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6" name="Picture Placeholder 3"/>
          <p:cNvSpPr>
            <a:spLocks noGrp="1"/>
          </p:cNvSpPr>
          <p:nvPr>
            <p:ph type="pic" sz="quarter" idx="14" hasCustomPrompt="1"/>
          </p:nvPr>
        </p:nvSpPr>
        <p:spPr bwMode="gray">
          <a:xfrm>
            <a:off x="3913531" y="0"/>
            <a:ext cx="419992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46679126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Full image/ 6 image">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3279297"/>
            <a:ext cx="3841337"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6" name="Picture Placeholder 3"/>
          <p:cNvSpPr>
            <a:spLocks noGrp="1"/>
          </p:cNvSpPr>
          <p:nvPr>
            <p:ph type="pic" sz="quarter" idx="14" hasCustomPrompt="1"/>
          </p:nvPr>
        </p:nvSpPr>
        <p:spPr bwMode="gray">
          <a:xfrm>
            <a:off x="3913531" y="3279297"/>
            <a:ext cx="419992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7" name="Picture Placeholder 3"/>
          <p:cNvSpPr>
            <a:spLocks noGrp="1"/>
          </p:cNvSpPr>
          <p:nvPr>
            <p:ph type="pic" sz="quarter" idx="15" hasCustomPrompt="1"/>
          </p:nvPr>
        </p:nvSpPr>
        <p:spPr bwMode="gray">
          <a:xfrm>
            <a:off x="8185649" y="3279297"/>
            <a:ext cx="4006350"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Picture Placeholder 3"/>
          <p:cNvSpPr>
            <a:spLocks noGrp="1"/>
          </p:cNvSpPr>
          <p:nvPr>
            <p:ph type="pic" sz="quarter" idx="16" hasCustomPrompt="1"/>
          </p:nvPr>
        </p:nvSpPr>
        <p:spPr bwMode="gray">
          <a:xfrm>
            <a:off x="0" y="1"/>
            <a:ext cx="3841337"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9" name="Picture Placeholder 3"/>
          <p:cNvSpPr>
            <a:spLocks noGrp="1"/>
          </p:cNvSpPr>
          <p:nvPr>
            <p:ph type="pic" sz="quarter" idx="17" hasCustomPrompt="1"/>
          </p:nvPr>
        </p:nvSpPr>
        <p:spPr bwMode="gray">
          <a:xfrm>
            <a:off x="8185650" y="1"/>
            <a:ext cx="4006350"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0" name="Picture Placeholder 3"/>
          <p:cNvSpPr>
            <a:spLocks noGrp="1"/>
          </p:cNvSpPr>
          <p:nvPr>
            <p:ph type="pic" sz="quarter" idx="18" hasCustomPrompt="1"/>
          </p:nvPr>
        </p:nvSpPr>
        <p:spPr bwMode="gray">
          <a:xfrm>
            <a:off x="3913531" y="1"/>
            <a:ext cx="419992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52154240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ext/ 3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08945442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ext/ 3 images/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203549332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Tree>
    <p:extLst>
      <p:ext uri="{BB962C8B-B14F-4D97-AF65-F5344CB8AC3E}">
        <p14:creationId xmlns:p14="http://schemas.microsoft.com/office/powerpoint/2010/main" val="3150989115"/>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ablet/ 4 colum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7"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Tree>
    <p:extLst>
      <p:ext uri="{BB962C8B-B14F-4D97-AF65-F5344CB8AC3E}">
        <p14:creationId xmlns:p14="http://schemas.microsoft.com/office/powerpoint/2010/main" val="384741003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324" y="288858"/>
            <a:ext cx="10932454" cy="1148857"/>
          </a:xfrm>
        </p:spPr>
        <p:txBody>
          <a:bodyPr/>
          <a:lstStyle/>
          <a:p>
            <a:r>
              <a:rPr lang="en-GB" noProof="0" dirty="0"/>
              <a:t>Headline in CorpoS (Body) 35 pt.</a:t>
            </a:r>
            <a:br>
              <a:rPr lang="en-GB" noProof="0" dirty="0"/>
            </a:br>
            <a:r>
              <a:rPr lang="en-GB" noProof="0" dirty="0"/>
              <a:t>in two lines</a:t>
            </a:r>
            <a:endParaRPr lang="en-GB" dirty="0"/>
          </a:p>
        </p:txBody>
      </p:sp>
    </p:spTree>
    <p:extLst>
      <p:ext uri="{BB962C8B-B14F-4D97-AF65-F5344CB8AC3E}">
        <p14:creationId xmlns:p14="http://schemas.microsoft.com/office/powerpoint/2010/main" val="251335727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lank/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552446679"/>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userDrawn="1">
  <p:cSld name="3. Bürstung/ Bild 2-spaltig">
    <p:bg>
      <p:bgRef idx="1001">
        <a:schemeClr val="bg1"/>
      </p:bgRef>
    </p:bg>
    <p:spTree>
      <p:nvGrpSpPr>
        <p:cNvPr id="1" name=""/>
        <p:cNvGrpSpPr/>
        <p:nvPr/>
      </p:nvGrpSpPr>
      <p:grpSpPr>
        <a:xfrm>
          <a:off x="0" y="0"/>
          <a:ext cx="0" cy="0"/>
          <a:chOff x="0" y="0"/>
          <a:chExt cx="0" cy="0"/>
        </a:xfrm>
      </p:grpSpPr>
      <p:grpSp>
        <p:nvGrpSpPr>
          <p:cNvPr id="24" name="Regieanweisungen"/>
          <p:cNvGrpSpPr/>
          <p:nvPr userDrawn="1"/>
        </p:nvGrpSpPr>
        <p:grpSpPr>
          <a:xfrm>
            <a:off x="-2086913" y="-467892"/>
            <a:ext cx="13647691" cy="7792196"/>
            <a:chOff x="-2088000" y="-468000"/>
            <a:chExt cx="13654799" cy="7794000"/>
          </a:xfrm>
        </p:grpSpPr>
        <p:sp>
          <p:nvSpPr>
            <p:cNvPr id="2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9" name="Listenebenen"/>
              <p:cNvGrpSpPr/>
              <p:nvPr userDrawn="1"/>
            </p:nvGrpSpPr>
            <p:grpSpPr>
              <a:xfrm>
                <a:off x="-1692000" y="2232000"/>
                <a:ext cx="1548000" cy="792000"/>
                <a:chOff x="-1692000" y="2160000"/>
                <a:chExt cx="1548000" cy="792000"/>
              </a:xfrm>
            </p:grpSpPr>
            <p:sp>
              <p:nvSpPr>
                <p:cNvPr id="30"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1"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2"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3"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5"/>
          </p:nvPr>
        </p:nvSpPr>
        <p:spPr/>
        <p:txBody>
          <a:bodyPr/>
          <a:lstStyle/>
          <a:p>
            <a:r>
              <a:rPr lang="en-US">
                <a:solidFill>
                  <a:prstClr val="black"/>
                </a:solidFill>
              </a:rPr>
              <a:t>DFS Capital Market Day</a:t>
            </a:r>
            <a:endParaRPr lang="de-DE" dirty="0">
              <a:solidFill>
                <a:prstClr val="black"/>
              </a:solidFill>
            </a:endParaRPr>
          </a:p>
        </p:txBody>
      </p:sp>
      <p:sp>
        <p:nvSpPr>
          <p:cNvPr id="4" name="Foliennummernplatzhalter 3"/>
          <p:cNvSpPr>
            <a:spLocks noGrp="1"/>
          </p:cNvSpPr>
          <p:nvPr>
            <p:ph type="sldNum" sz="quarter" idx="16"/>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70420790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userDrawn="1">
  <p:cSld name="4. Bürstung/ Bild 2-spaltig">
    <p:bg>
      <p:bgRef idx="1001">
        <a:schemeClr val="bg1"/>
      </p:bgRef>
    </p:bg>
    <p:spTree>
      <p:nvGrpSpPr>
        <p:cNvPr id="1" name=""/>
        <p:cNvGrpSpPr/>
        <p:nvPr/>
      </p:nvGrpSpPr>
      <p:grpSpPr>
        <a:xfrm>
          <a:off x="0" y="0"/>
          <a:ext cx="0" cy="0"/>
          <a:chOff x="0" y="0"/>
          <a:chExt cx="0" cy="0"/>
        </a:xfrm>
      </p:grpSpPr>
      <p:grpSp>
        <p:nvGrpSpPr>
          <p:cNvPr id="27" name="Regieanweisungen"/>
          <p:cNvGrpSpPr/>
          <p:nvPr userDrawn="1"/>
        </p:nvGrpSpPr>
        <p:grpSpPr>
          <a:xfrm>
            <a:off x="-2086913" y="-467892"/>
            <a:ext cx="13647691" cy="7792196"/>
            <a:chOff x="-2088000" y="-468000"/>
            <a:chExt cx="13654799" cy="7794000"/>
          </a:xfrm>
        </p:grpSpPr>
        <p:sp>
          <p:nvSpPr>
            <p:cNvPr id="2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0"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Text oder Inhalt einfügen in </a:t>
            </a:r>
            <a:r>
              <a:rPr lang="de-DE" noProof="0" dirty="0"/>
              <a:t>CorpoS (Body) 24 pt. (Hervorhebungen in fett) </a:t>
            </a:r>
            <a:r>
              <a:rPr lang="de-DE" dirty="0"/>
              <a:t>// für Zusammenfassung oder kurzes Highlight: Start // Absatz // Listenebene erhöhen</a:t>
            </a:r>
          </a:p>
          <a:p>
            <a:pPr lvl="1"/>
            <a:r>
              <a:rPr lang="de-DE" dirty="0"/>
              <a:t>Zweite Ebene</a:t>
            </a:r>
          </a:p>
        </p:txBody>
      </p:sp>
      <p:sp>
        <p:nvSpPr>
          <p:cNvPr id="2" name="Fußzeilenplatzhalter 1"/>
          <p:cNvSpPr>
            <a:spLocks noGrp="1"/>
          </p:cNvSpPr>
          <p:nvPr>
            <p:ph type="ftr" sz="quarter" idx="16"/>
          </p:nvPr>
        </p:nvSpPr>
        <p:spPr/>
        <p:txBody>
          <a:bodyPr/>
          <a:lstStyle/>
          <a:p>
            <a:r>
              <a:rPr lang="en-US">
                <a:solidFill>
                  <a:prstClr val="black"/>
                </a:solidFill>
              </a:rPr>
              <a:t>DFS Capital Market Day</a:t>
            </a:r>
            <a:endParaRPr lang="de-DE" dirty="0">
              <a:solidFill>
                <a:prstClr val="black"/>
              </a:solidFill>
            </a:endParaRPr>
          </a:p>
        </p:txBody>
      </p:sp>
      <p:sp>
        <p:nvSpPr>
          <p:cNvPr id="5" name="Foliennummernplatzhalter 4"/>
          <p:cNvSpPr>
            <a:spLocks noGrp="1"/>
          </p:cNvSpPr>
          <p:nvPr>
            <p:ph type="sldNum" sz="quarter" idx="17"/>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33113964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Headline two lines // Image">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a:t>
            </a:r>
            <a:r>
              <a:rPr lang="en-GB" noProof="0" dirty="0"/>
              <a:t> 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89063303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userDrawn="1">
  <p:cSld name="Text/ Bild/ Ü 1 Zeile ">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2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3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1" name="Hinweise links"/>
            <p:cNvGrpSpPr/>
            <p:nvPr userDrawn="1"/>
          </p:nvGrpSpPr>
          <p:grpSpPr>
            <a:xfrm>
              <a:off x="-2088000" y="0"/>
              <a:ext cx="1980000" cy="3528000"/>
              <a:chOff x="-2088000" y="0"/>
              <a:chExt cx="1980000" cy="3528000"/>
            </a:xfrm>
          </p:grpSpPr>
          <p:sp>
            <p:nvSpPr>
              <p:cNvPr id="3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3" name="Listenebenen"/>
              <p:cNvGrpSpPr/>
              <p:nvPr userDrawn="1"/>
            </p:nvGrpSpPr>
            <p:grpSpPr>
              <a:xfrm>
                <a:off x="-1692000" y="2232000"/>
                <a:ext cx="1548000" cy="792000"/>
                <a:chOff x="-1692000" y="2160000"/>
                <a:chExt cx="1548000" cy="792000"/>
              </a:xfrm>
            </p:grpSpPr>
            <p:sp>
              <p:nvSpPr>
                <p:cNvPr id="3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6"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7"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a:xfrm>
            <a:off x="629671" y="285982"/>
            <a:ext cx="10931106" cy="683842"/>
          </a:xfrm>
        </p:spPr>
        <p:txBody>
          <a:bodyPr/>
          <a:lstStyle/>
          <a:p>
            <a:r>
              <a:rPr lang="de-DE" noProof="0" dirty="0"/>
              <a:t>Headline in CorpoS (Textkörper) 35 pt.</a:t>
            </a:r>
            <a:endParaRPr lang="de-DE" dirty="0"/>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4"/>
          </p:nvPr>
        </p:nvSpPr>
        <p:spPr/>
        <p:txBody>
          <a:bodyPr/>
          <a:lstStyle/>
          <a:p>
            <a:r>
              <a:rPr lang="en-US">
                <a:solidFill>
                  <a:prstClr val="black"/>
                </a:solidFill>
              </a:rPr>
              <a:t>DFS Capital Market Day</a:t>
            </a:r>
            <a:endParaRPr lang="de-DE" dirty="0">
              <a:solidFill>
                <a:prstClr val="black"/>
              </a:solidFill>
            </a:endParaRPr>
          </a:p>
        </p:txBody>
      </p:sp>
      <p:sp>
        <p:nvSpPr>
          <p:cNvPr id="6" name="Foliennummernplatzhalter 5"/>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96128010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userDrawn="1">
  <p:cSld name="Vollbild">
    <p:bg>
      <p:bgRef idx="1001">
        <a:schemeClr val="bg1"/>
      </p:bgRef>
    </p:bg>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4"/>
          </p:nvPr>
        </p:nvSpPr>
        <p:spPr/>
        <p:txBody>
          <a:bodyPr/>
          <a:lstStyle/>
          <a:p>
            <a:r>
              <a:rPr lang="de-DE">
                <a:solidFill>
                  <a:prstClr val="black"/>
                </a:solidFill>
              </a:rPr>
              <a:t>DFS Capital Market Day</a:t>
            </a:r>
            <a:endParaRPr lang="de-DE" dirty="0">
              <a:solidFill>
                <a:prstClr val="black"/>
              </a:solidFill>
            </a:endParaRPr>
          </a:p>
        </p:txBody>
      </p:sp>
      <p:sp>
        <p:nvSpPr>
          <p:cNvPr id="3" name="Foliennummernplatzhalter 2"/>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400219795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771939" y="6224373"/>
            <a:ext cx="424638" cy="329184"/>
          </a:xfrm>
        </p:spPr>
        <p:txBody>
          <a:bodyPr/>
          <a:lstStyle/>
          <a:p>
            <a:fld id="{96D389FB-5F15-6747-8C7C-A5F122A35A60}" type="slidenum">
              <a:rPr lang="en-US" smtClean="0">
                <a:solidFill>
                  <a:prstClr val="black"/>
                </a:solidFill>
              </a:rPr>
              <a:pPr/>
              <a:t>‹#›</a:t>
            </a:fld>
            <a:endParaRPr lang="en-US">
              <a:solidFill>
                <a:prstClr val="black"/>
              </a:solidFill>
            </a:endParaRPr>
          </a:p>
        </p:txBody>
      </p:sp>
      <p:sp>
        <p:nvSpPr>
          <p:cNvPr id="4" name="Title 3"/>
          <p:cNvSpPr>
            <a:spLocks noGrp="1"/>
          </p:cNvSpPr>
          <p:nvPr>
            <p:ph type="title"/>
          </p:nvPr>
        </p:nvSpPr>
        <p:spPr>
          <a:xfrm>
            <a:off x="838201" y="607274"/>
            <a:ext cx="10515600" cy="523220"/>
          </a:xfrm>
          <a:prstGeom prst="rect">
            <a:avLst/>
          </a:prstGeom>
        </p:spPr>
        <p:txBody>
          <a:bodyPr/>
          <a:lstStyle>
            <a:lvl1pPr algn="ctr">
              <a:defRPr sz="2800" b="0">
                <a:solidFill>
                  <a:srgbClr val="3F98FF"/>
                </a:solidFill>
                <a:latin typeface="Franklin Gothic Book" panose="020B0503020102020204" pitchFamily="34" charset="0"/>
              </a:defRPr>
            </a:lvl1pPr>
          </a:lstStyle>
          <a:p>
            <a:r>
              <a:rPr lang="en-US" dirty="0"/>
              <a:t>Click to edit Master title style</a:t>
            </a:r>
          </a:p>
        </p:txBody>
      </p:sp>
      <p:sp>
        <p:nvSpPr>
          <p:cNvPr id="8" name="Text Placeholder 7"/>
          <p:cNvSpPr>
            <a:spLocks noGrp="1"/>
          </p:cNvSpPr>
          <p:nvPr>
            <p:ph type="body" sz="quarter" idx="13"/>
          </p:nvPr>
        </p:nvSpPr>
        <p:spPr>
          <a:xfrm>
            <a:off x="533401" y="1854200"/>
            <a:ext cx="11070835" cy="4095750"/>
          </a:xfrm>
          <a:prstGeom prst="rect">
            <a:avLst/>
          </a:prstGeom>
        </p:spPr>
        <p:txBody>
          <a:bodyPr/>
          <a:lstStyle>
            <a:lvl1pPr>
              <a:defRPr sz="2399" b="1">
                <a:solidFill>
                  <a:schemeClr val="bg1">
                    <a:lumMod val="50000"/>
                  </a:schemeClr>
                </a:solidFill>
              </a:defRPr>
            </a:lvl1pPr>
            <a:lvl2pPr>
              <a:defRPr sz="1999">
                <a:solidFill>
                  <a:schemeClr val="bg1">
                    <a:lumMod val="50000"/>
                  </a:schemeClr>
                </a:solidFill>
              </a:defRPr>
            </a:lvl2pPr>
            <a:lvl3pPr>
              <a:defRPr sz="1999">
                <a:solidFill>
                  <a:schemeClr val="bg1">
                    <a:lumMod val="50000"/>
                  </a:schemeClr>
                </a:solidFill>
              </a:defRPr>
            </a:lvl3pPr>
            <a:lvl4pPr>
              <a:defRPr sz="1999">
                <a:solidFill>
                  <a:schemeClr val="bg1">
                    <a:lumMod val="50000"/>
                  </a:schemeClr>
                </a:solidFill>
              </a:defRPr>
            </a:lvl4pPr>
            <a:lvl5pPr>
              <a:defRPr sz="1999">
                <a:solidFill>
                  <a:schemeClr val="bg1">
                    <a:lumMod val="5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4"/>
          <p:cNvSpPr>
            <a:spLocks noGrp="1"/>
          </p:cNvSpPr>
          <p:nvPr>
            <p:ph type="body" sz="quarter" idx="14" hasCustomPrompt="1"/>
          </p:nvPr>
        </p:nvSpPr>
        <p:spPr>
          <a:xfrm>
            <a:off x="1896488" y="1215031"/>
            <a:ext cx="8460827" cy="400110"/>
          </a:xfrm>
          <a:prstGeom prst="rect">
            <a:avLst/>
          </a:prstGeom>
        </p:spPr>
        <p:txBody>
          <a:bodyPr/>
          <a:lstStyle>
            <a:lvl1pPr marL="0" indent="0" algn="ctr">
              <a:buNone/>
              <a:defRPr sz="1999" baseline="0">
                <a:solidFill>
                  <a:schemeClr val="bg1">
                    <a:lumMod val="50000"/>
                  </a:schemeClr>
                </a:solidFill>
              </a:defRPr>
            </a:lvl1pPr>
          </a:lstStyle>
          <a:p>
            <a:pPr algn="ctr"/>
            <a:r>
              <a:rPr lang="en-US" sz="1999" dirty="0">
                <a:solidFill>
                  <a:schemeClr val="tx1">
                    <a:lumMod val="50000"/>
                    <a:lumOff val="50000"/>
                  </a:schemeClr>
                </a:solidFill>
                <a:latin typeface="Calibri" charset="0"/>
                <a:ea typeface="Calibri" charset="0"/>
                <a:cs typeface="Calibri" charset="0"/>
              </a:rPr>
              <a:t>Click to edit Master subtitle style</a:t>
            </a:r>
          </a:p>
        </p:txBody>
      </p:sp>
    </p:spTree>
    <p:extLst>
      <p:ext uri="{BB962C8B-B14F-4D97-AF65-F5344CB8AC3E}">
        <p14:creationId xmlns:p14="http://schemas.microsoft.com/office/powerpoint/2010/main" val="1004689246"/>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Headline two line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CAReer - Getting Started | DFS Global Strategy | 16.11.2016 |</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10" y="1504602"/>
            <a:ext cx="10930593" cy="4983236"/>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371869623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6275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cxnSp>
        <p:nvCxnSpPr>
          <p:cNvPr id="8" name="Footerline"/>
          <p:cNvCxnSpPr/>
          <p:nvPr userDrawn="1"/>
        </p:nvCxnSpPr>
        <p:spPr bwMode="auto">
          <a:xfrm>
            <a:off x="626241" y="6308653"/>
            <a:ext cx="10938303" cy="0"/>
          </a:xfrm>
          <a:prstGeom prst="line">
            <a:avLst/>
          </a:prstGeom>
          <a:solidFill>
            <a:schemeClr val="bg1"/>
          </a:solidFill>
          <a:ln w="12700" cap="flat" cmpd="sng" algn="ctr">
            <a:solidFill>
              <a:srgbClr val="C8C8C8"/>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0" name="Rectangle 4"/>
          <p:cNvSpPr txBox="1">
            <a:spLocks noChangeArrowheads="1"/>
          </p:cNvSpPr>
          <p:nvPr userDrawn="1"/>
        </p:nvSpPr>
        <p:spPr bwMode="auto">
          <a:xfrm>
            <a:off x="10846134" y="6667816"/>
            <a:ext cx="719625" cy="1439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defPPr>
              <a:defRPr lang="de-DE"/>
            </a:defPPr>
            <a:lvl1pPr algn="r" rtl="0" eaLnBrk="0" fontAlgn="base" hangingPunct="0">
              <a:lnSpc>
                <a:spcPct val="90000"/>
              </a:lnSpc>
              <a:spcBef>
                <a:spcPct val="0"/>
              </a:spcBef>
              <a:spcAft>
                <a:spcPct val="50000"/>
              </a:spcAft>
              <a:defRPr sz="1000" kern="1200">
                <a:solidFill>
                  <a:schemeClr val="tx1"/>
                </a:solidFill>
                <a:latin typeface="CorpoS" pitchFamily="2" charset="0"/>
                <a:ea typeface="+mn-ea"/>
                <a:cs typeface="+mn-cs"/>
              </a:defRPr>
            </a:lvl1pPr>
            <a:lvl2pPr marL="457200" algn="l" rtl="0" eaLnBrk="0" fontAlgn="base" hangingPunct="0">
              <a:spcBef>
                <a:spcPct val="0"/>
              </a:spcBef>
              <a:spcAft>
                <a:spcPct val="0"/>
              </a:spcAft>
              <a:defRPr sz="2000" kern="1200">
                <a:solidFill>
                  <a:schemeClr val="tx1"/>
                </a:solidFill>
                <a:latin typeface="CorpoS" pitchFamily="2" charset="0"/>
                <a:ea typeface="+mn-ea"/>
                <a:cs typeface="+mn-cs"/>
              </a:defRPr>
            </a:lvl2pPr>
            <a:lvl3pPr marL="914400" algn="l" rtl="0" eaLnBrk="0" fontAlgn="base" hangingPunct="0">
              <a:spcBef>
                <a:spcPct val="0"/>
              </a:spcBef>
              <a:spcAft>
                <a:spcPct val="0"/>
              </a:spcAft>
              <a:defRPr sz="2000" kern="1200">
                <a:solidFill>
                  <a:schemeClr val="tx1"/>
                </a:solidFill>
                <a:latin typeface="CorpoS" pitchFamily="2" charset="0"/>
                <a:ea typeface="+mn-ea"/>
                <a:cs typeface="+mn-cs"/>
              </a:defRPr>
            </a:lvl3pPr>
            <a:lvl4pPr marL="1371600" algn="l" rtl="0" eaLnBrk="0" fontAlgn="base" hangingPunct="0">
              <a:spcBef>
                <a:spcPct val="0"/>
              </a:spcBef>
              <a:spcAft>
                <a:spcPct val="0"/>
              </a:spcAft>
              <a:defRPr sz="2000" kern="1200">
                <a:solidFill>
                  <a:schemeClr val="tx1"/>
                </a:solidFill>
                <a:latin typeface="CorpoS" pitchFamily="2" charset="0"/>
                <a:ea typeface="+mn-ea"/>
                <a:cs typeface="+mn-cs"/>
              </a:defRPr>
            </a:lvl4pPr>
            <a:lvl5pPr marL="1828800" algn="l" rtl="0" eaLnBrk="0" fontAlgn="base" hangingPunct="0">
              <a:spcBef>
                <a:spcPct val="0"/>
              </a:spcBef>
              <a:spcAft>
                <a:spcPct val="0"/>
              </a:spcAft>
              <a:defRPr sz="2000" kern="1200">
                <a:solidFill>
                  <a:schemeClr val="tx1"/>
                </a:solidFill>
                <a:latin typeface="CorpoS" pitchFamily="2" charset="0"/>
                <a:ea typeface="+mn-ea"/>
                <a:cs typeface="+mn-cs"/>
              </a:defRPr>
            </a:lvl5pPr>
            <a:lvl6pPr marL="2286000" algn="l" defTabSz="914400" rtl="0" eaLnBrk="1" latinLnBrk="0" hangingPunct="1">
              <a:defRPr sz="2000" kern="1200">
                <a:solidFill>
                  <a:schemeClr val="tx1"/>
                </a:solidFill>
                <a:latin typeface="CorpoS" pitchFamily="2" charset="0"/>
                <a:ea typeface="+mn-ea"/>
                <a:cs typeface="+mn-cs"/>
              </a:defRPr>
            </a:lvl6pPr>
            <a:lvl7pPr marL="2743200" algn="l" defTabSz="914400" rtl="0" eaLnBrk="1" latinLnBrk="0" hangingPunct="1">
              <a:defRPr sz="2000" kern="1200">
                <a:solidFill>
                  <a:schemeClr val="tx1"/>
                </a:solidFill>
                <a:latin typeface="CorpoS" pitchFamily="2" charset="0"/>
                <a:ea typeface="+mn-ea"/>
                <a:cs typeface="+mn-cs"/>
              </a:defRPr>
            </a:lvl7pPr>
            <a:lvl8pPr marL="3200400" algn="l" defTabSz="914400" rtl="0" eaLnBrk="1" latinLnBrk="0" hangingPunct="1">
              <a:defRPr sz="2000" kern="1200">
                <a:solidFill>
                  <a:schemeClr val="tx1"/>
                </a:solidFill>
                <a:latin typeface="CorpoS" pitchFamily="2" charset="0"/>
                <a:ea typeface="+mn-ea"/>
                <a:cs typeface="+mn-cs"/>
              </a:defRPr>
            </a:lvl8pPr>
            <a:lvl9pPr marL="3657600" algn="l" defTabSz="914400" rtl="0" eaLnBrk="1" latinLnBrk="0" hangingPunct="1">
              <a:defRPr sz="2000" kern="1200">
                <a:solidFill>
                  <a:schemeClr val="tx1"/>
                </a:solidFill>
                <a:latin typeface="CorpoS" pitchFamily="2" charset="0"/>
                <a:ea typeface="+mn-ea"/>
                <a:cs typeface="+mn-cs"/>
              </a:defRPr>
            </a:lvl9pPr>
          </a:lstStyle>
          <a:p>
            <a:fld id="{D33D5760-650C-41B7-8FFB-2EDCBED7E542}" type="slidenum">
              <a:rPr lang="de-DE" altLang="de-DE" sz="1099" smtClean="0">
                <a:solidFill>
                  <a:prstClr val="black"/>
                </a:solidFill>
              </a:rPr>
              <a:pPr/>
              <a:t>‹#›</a:t>
            </a:fld>
            <a:endParaRPr lang="de-DE" altLang="de-DE" sz="1099" dirty="0">
              <a:solidFill>
                <a:prstClr val="black"/>
              </a:solidFill>
            </a:endParaRPr>
          </a:p>
        </p:txBody>
      </p:sp>
    </p:spTree>
    <p:extLst>
      <p:ext uri="{BB962C8B-B14F-4D97-AF65-F5344CB8AC3E}">
        <p14:creationId xmlns:p14="http://schemas.microsoft.com/office/powerpoint/2010/main" val="4202425495"/>
      </p:ext>
    </p:extLst>
  </p:cSld>
  <p:clrMapOvr>
    <a:masterClrMapping/>
  </p:clrMapOvr>
  <p:transition spd="slow">
    <p:fade/>
  </p:transition>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1.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2"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3" y="5121280"/>
            <a:ext cx="10930832" cy="1025684"/>
          </a:xfrm>
        </p:spPr>
        <p:txBody>
          <a:bodyPr wrap="square" anchor="b" anchorCtr="0">
            <a:spAutoFit/>
          </a:bodyPr>
          <a:lstStyle>
            <a:lvl1pPr>
              <a:defRPr baseline="0"/>
            </a:lvl1pPr>
          </a:lstStyle>
          <a:p>
            <a:r>
              <a:rPr lang="en-GB" dirty="0" smtClean="0"/>
              <a:t>Referent’s name: </a:t>
            </a:r>
            <a:r>
              <a:rPr lang="en-GB" noProof="0" dirty="0" smtClean="0"/>
              <a:t>CorpoS </a:t>
            </a:r>
            <a:r>
              <a:rPr lang="en-GB" dirty="0" smtClean="0"/>
              <a:t>(Body) 35 pt. Presentation title</a:t>
            </a:r>
            <a:br>
              <a:rPr lang="en-GB" dirty="0" smtClean="0"/>
            </a:br>
            <a:r>
              <a:rPr lang="en-GB" dirty="0" smtClean="0"/>
              <a:t>in two lines of text, dd. </a:t>
            </a:r>
            <a:r>
              <a:rPr lang="en-GB" dirty="0" err="1" smtClean="0"/>
              <a:t>mmmm</a:t>
            </a:r>
            <a:r>
              <a:rPr lang="en-GB" dirty="0" smtClean="0"/>
              <a:t> </a:t>
            </a:r>
            <a:r>
              <a:rPr lang="en-GB" dirty="0" err="1" smtClean="0"/>
              <a:t>yyyy</a:t>
            </a:r>
            <a:endParaRPr lang="en-GB"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4" y="790855"/>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5" y="998977"/>
            <a:ext cx="3742051" cy="236996"/>
          </a:xfrm>
          <a:prstGeom prst="rect">
            <a:avLst/>
          </a:prstGeom>
        </p:spPr>
      </p:pic>
      <p:grpSp>
        <p:nvGrpSpPr>
          <p:cNvPr id="18" name="Gruppieren 17"/>
          <p:cNvGrpSpPr/>
          <p:nvPr userDrawn="1"/>
        </p:nvGrpSpPr>
        <p:grpSpPr>
          <a:xfrm>
            <a:off x="-2250853" y="3527182"/>
            <a:ext cx="2229361" cy="4638856"/>
            <a:chOff x="12221581" y="-62687"/>
            <a:chExt cx="2230522" cy="4639930"/>
          </a:xfrm>
        </p:grpSpPr>
        <p:sp>
          <p:nvSpPr>
            <p:cNvPr id="19" name="Rechteck 18"/>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0" name="Grafik 1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1" name="Grafik 2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2" name="Rechteck 21"/>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3" name="Gruppieren 22"/>
          <p:cNvGrpSpPr/>
          <p:nvPr userDrawn="1"/>
        </p:nvGrpSpPr>
        <p:grpSpPr>
          <a:xfrm>
            <a:off x="12192048" y="-82363"/>
            <a:ext cx="2184353" cy="3786237"/>
            <a:chOff x="12266612" y="-62687"/>
            <a:chExt cx="2185491" cy="3787114"/>
          </a:xfrm>
        </p:grpSpPr>
        <p:sp>
          <p:nvSpPr>
            <p:cNvPr id="24" name="Rechteck 23"/>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25" name="Grafik 2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26" name="Gruppieren 25"/>
          <p:cNvGrpSpPr/>
          <p:nvPr userDrawn="1"/>
        </p:nvGrpSpPr>
        <p:grpSpPr>
          <a:xfrm>
            <a:off x="12192002" y="3909447"/>
            <a:ext cx="2383726" cy="3891079"/>
            <a:chOff x="12291863" y="5052225"/>
            <a:chExt cx="2384968" cy="3891979"/>
          </a:xfrm>
        </p:grpSpPr>
        <p:sp>
          <p:nvSpPr>
            <p:cNvPr id="35" name="Rechteck 34"/>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36" name="Picture 2"/>
            <p:cNvPicPr>
              <a:picLocks noChangeAspect="1" noChangeArrowheads="1"/>
            </p:cNvPicPr>
            <p:nvPr userDrawn="1"/>
          </p:nvPicPr>
          <p:blipFill>
            <a:blip r:embed="rId10">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uppieren 36"/>
          <p:cNvGrpSpPr/>
          <p:nvPr userDrawn="1"/>
        </p:nvGrpSpPr>
        <p:grpSpPr>
          <a:xfrm>
            <a:off x="14575773" y="-67762"/>
            <a:ext cx="2184353" cy="5224601"/>
            <a:chOff x="14583318" y="4183"/>
            <a:chExt cx="2185491" cy="5225811"/>
          </a:xfrm>
        </p:grpSpPr>
        <p:sp>
          <p:nvSpPr>
            <p:cNvPr id="38" name="Rechteck 37"/>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39" name="Grafik 38"/>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0" name="Grafik 39"/>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1" name="Rechteck 40"/>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2" name="Grafik 4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252969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873">
          <p15:clr>
            <a:srgbClr val="FBAE4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userDrawn="1">
  <p:cSld name="2.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2"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4" y="5121280"/>
            <a:ext cx="10932181" cy="1025684"/>
          </a:xfrm>
        </p:spPr>
        <p:txBody>
          <a:bodyPr wrap="square" anchor="b" anchorCtr="0">
            <a:spAutoFit/>
          </a:bodyPr>
          <a:lstStyle>
            <a:lvl1pPr>
              <a:defRPr/>
            </a:lvl1pPr>
          </a:lstStyle>
          <a:p>
            <a:r>
              <a:rPr lang="en-GB" dirty="0" smtClean="0"/>
              <a:t>Referent’s name: </a:t>
            </a:r>
            <a:r>
              <a:rPr lang="en-GB" noProof="0" dirty="0" smtClean="0"/>
              <a:t>CorpoS </a:t>
            </a:r>
            <a:r>
              <a:rPr lang="en-GB" dirty="0" smtClean="0"/>
              <a:t>(Body) 35 pt. Presentation title</a:t>
            </a:r>
            <a:br>
              <a:rPr lang="en-GB" dirty="0" smtClean="0"/>
            </a:br>
            <a:r>
              <a:rPr lang="en-GB" dirty="0" smtClean="0"/>
              <a:t>in two or more lines of text, dd. </a:t>
            </a:r>
            <a:r>
              <a:rPr lang="en-GB" dirty="0" err="1" smtClean="0"/>
              <a:t>mmmm</a:t>
            </a:r>
            <a:r>
              <a:rPr lang="en-GB" dirty="0" smtClean="0"/>
              <a:t> </a:t>
            </a:r>
            <a:r>
              <a:rPr lang="en-GB" dirty="0" err="1" smtClean="0"/>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4" y="790855"/>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5" y="998977"/>
            <a:ext cx="3742051" cy="236996"/>
          </a:xfrm>
          <a:prstGeom prst="rect">
            <a:avLst/>
          </a:prstGeom>
        </p:spPr>
      </p:pic>
      <p:grpSp>
        <p:nvGrpSpPr>
          <p:cNvPr id="18" name="Gruppieren 17"/>
          <p:cNvGrpSpPr/>
          <p:nvPr userDrawn="1"/>
        </p:nvGrpSpPr>
        <p:grpSpPr>
          <a:xfrm>
            <a:off x="-2250853" y="3527182"/>
            <a:ext cx="2229361" cy="4638856"/>
            <a:chOff x="12221581" y="-62687"/>
            <a:chExt cx="2230522" cy="4639930"/>
          </a:xfrm>
        </p:grpSpPr>
        <p:sp>
          <p:nvSpPr>
            <p:cNvPr id="19" name="Rechteck 18"/>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0" name="Grafik 1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1" name="Grafik 2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2" name="Rechteck 21"/>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3" name="Gruppieren 22"/>
          <p:cNvGrpSpPr/>
          <p:nvPr userDrawn="1"/>
        </p:nvGrpSpPr>
        <p:grpSpPr>
          <a:xfrm>
            <a:off x="12192048" y="-82363"/>
            <a:ext cx="2184353" cy="3786237"/>
            <a:chOff x="12266612" y="-62687"/>
            <a:chExt cx="2185491" cy="3787114"/>
          </a:xfrm>
        </p:grpSpPr>
        <p:sp>
          <p:nvSpPr>
            <p:cNvPr id="24" name="Rechteck 23"/>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25" name="Grafik 2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26" name="Gruppieren 25"/>
          <p:cNvGrpSpPr/>
          <p:nvPr userDrawn="1"/>
        </p:nvGrpSpPr>
        <p:grpSpPr>
          <a:xfrm>
            <a:off x="12192002" y="3909447"/>
            <a:ext cx="2383726" cy="3891079"/>
            <a:chOff x="12291863" y="5052225"/>
            <a:chExt cx="2384968" cy="3891979"/>
          </a:xfrm>
        </p:grpSpPr>
        <p:sp>
          <p:nvSpPr>
            <p:cNvPr id="35" name="Rechteck 34"/>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36" name="Picture 2"/>
            <p:cNvPicPr>
              <a:picLocks noChangeAspect="1" noChangeArrowheads="1"/>
            </p:cNvPicPr>
            <p:nvPr userDrawn="1"/>
          </p:nvPicPr>
          <p:blipFill>
            <a:blip r:embed="rId10">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uppieren 36"/>
          <p:cNvGrpSpPr/>
          <p:nvPr userDrawn="1"/>
        </p:nvGrpSpPr>
        <p:grpSpPr>
          <a:xfrm>
            <a:off x="14575773" y="-67762"/>
            <a:ext cx="2184353" cy="5224601"/>
            <a:chOff x="14583318" y="4183"/>
            <a:chExt cx="2185491" cy="5225811"/>
          </a:xfrm>
        </p:grpSpPr>
        <p:sp>
          <p:nvSpPr>
            <p:cNvPr id="38" name="Rechteck 37"/>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39" name="Grafik 38"/>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0" name="Grafik 39"/>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1" name="Rechteck 40"/>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2" name="Grafik 4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3109843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873">
          <p15:clr>
            <a:srgbClr val="FBAE4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userDrawn="1">
  <p:cSld name="1_2.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2"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4" y="5121280"/>
            <a:ext cx="10932181" cy="1025684"/>
          </a:xfrm>
        </p:spPr>
        <p:txBody>
          <a:bodyPr wrap="square" anchor="b" anchorCtr="0">
            <a:spAutoFit/>
          </a:bodyPr>
          <a:lstStyle>
            <a:lvl1pPr>
              <a:defRPr/>
            </a:lvl1pPr>
          </a:lstStyle>
          <a:p>
            <a:r>
              <a:rPr lang="en-GB" dirty="0" smtClean="0"/>
              <a:t>Referent’s name: </a:t>
            </a:r>
            <a:r>
              <a:rPr lang="en-GB" noProof="0" dirty="0" smtClean="0"/>
              <a:t>CorpoS </a:t>
            </a:r>
            <a:r>
              <a:rPr lang="en-GB" dirty="0" smtClean="0"/>
              <a:t>(Body) 35 pt. Presentation title</a:t>
            </a:r>
            <a:br>
              <a:rPr lang="en-GB" dirty="0" smtClean="0"/>
            </a:br>
            <a:r>
              <a:rPr lang="en-GB" dirty="0" smtClean="0"/>
              <a:t>in two or more lines of text, dd. </a:t>
            </a:r>
            <a:r>
              <a:rPr lang="en-GB" dirty="0" err="1" smtClean="0"/>
              <a:t>mmmm</a:t>
            </a:r>
            <a:r>
              <a:rPr lang="en-GB" dirty="0" smtClean="0"/>
              <a:t> </a:t>
            </a:r>
            <a:r>
              <a:rPr lang="en-GB" dirty="0" err="1" smtClean="0"/>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4" y="790855"/>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5" y="998977"/>
            <a:ext cx="3742051" cy="236996"/>
          </a:xfrm>
          <a:prstGeom prst="rect">
            <a:avLst/>
          </a:prstGeom>
        </p:spPr>
      </p:pic>
      <p:grpSp>
        <p:nvGrpSpPr>
          <p:cNvPr id="18" name="Gruppieren 17"/>
          <p:cNvGrpSpPr/>
          <p:nvPr userDrawn="1"/>
        </p:nvGrpSpPr>
        <p:grpSpPr>
          <a:xfrm>
            <a:off x="-2250853" y="3527182"/>
            <a:ext cx="2229361" cy="4638856"/>
            <a:chOff x="12221581" y="-62687"/>
            <a:chExt cx="2230522" cy="4639930"/>
          </a:xfrm>
        </p:grpSpPr>
        <p:sp>
          <p:nvSpPr>
            <p:cNvPr id="19" name="Rechteck 18"/>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0" name="Grafik 1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1" name="Grafik 2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2" name="Rechteck 21"/>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3" name="Gruppieren 22"/>
          <p:cNvGrpSpPr/>
          <p:nvPr userDrawn="1"/>
        </p:nvGrpSpPr>
        <p:grpSpPr>
          <a:xfrm>
            <a:off x="12192048" y="-82363"/>
            <a:ext cx="2184353" cy="3786237"/>
            <a:chOff x="12266612" y="-62687"/>
            <a:chExt cx="2185491" cy="3787114"/>
          </a:xfrm>
        </p:grpSpPr>
        <p:sp>
          <p:nvSpPr>
            <p:cNvPr id="24" name="Rechteck 23"/>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25" name="Grafik 2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26" name="Gruppieren 25"/>
          <p:cNvGrpSpPr/>
          <p:nvPr userDrawn="1"/>
        </p:nvGrpSpPr>
        <p:grpSpPr>
          <a:xfrm>
            <a:off x="12192002" y="3909447"/>
            <a:ext cx="2383726" cy="3891079"/>
            <a:chOff x="12291863" y="5052225"/>
            <a:chExt cx="2384968" cy="3891979"/>
          </a:xfrm>
        </p:grpSpPr>
        <p:sp>
          <p:nvSpPr>
            <p:cNvPr id="35" name="Rechteck 34"/>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36" name="Picture 2"/>
            <p:cNvPicPr>
              <a:picLocks noChangeAspect="1" noChangeArrowheads="1"/>
            </p:cNvPicPr>
            <p:nvPr userDrawn="1"/>
          </p:nvPicPr>
          <p:blipFill>
            <a:blip r:embed="rId10">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uppieren 36"/>
          <p:cNvGrpSpPr/>
          <p:nvPr userDrawn="1"/>
        </p:nvGrpSpPr>
        <p:grpSpPr>
          <a:xfrm>
            <a:off x="14575773" y="-67762"/>
            <a:ext cx="2184353" cy="5224601"/>
            <a:chOff x="14583318" y="4183"/>
            <a:chExt cx="2185491" cy="5225811"/>
          </a:xfrm>
        </p:grpSpPr>
        <p:sp>
          <p:nvSpPr>
            <p:cNvPr id="38" name="Rechteck 37"/>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39" name="Grafik 38"/>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0" name="Grafik 39"/>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1" name="Rechteck 40"/>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2" name="Grafik 4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14179491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873">
          <p15:clr>
            <a:srgbClr val="FBAE4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2"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 name="Titel 1"/>
          <p:cNvSpPr>
            <a:spLocks noGrp="1"/>
          </p:cNvSpPr>
          <p:nvPr>
            <p:ph type="ctrTitle" hasCustomPrompt="1"/>
          </p:nvPr>
        </p:nvSpPr>
        <p:spPr>
          <a:xfrm>
            <a:off x="628324" y="2045815"/>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smtClean="0"/>
              <a:t>Referent’s name: </a:t>
            </a:r>
            <a:r>
              <a:rPr lang="en-GB" noProof="0" dirty="0" smtClean="0"/>
              <a:t>CorpoS </a:t>
            </a:r>
            <a:r>
              <a:rPr lang="en-GB" dirty="0" smtClean="0"/>
              <a:t>(Body) 35 pt.</a:t>
            </a:r>
            <a:br>
              <a:rPr lang="en-GB" dirty="0" smtClean="0"/>
            </a:br>
            <a:r>
              <a:rPr lang="en-GB" dirty="0" smtClean="0"/>
              <a:t>Presentation title in two or three </a:t>
            </a:r>
            <a:br>
              <a:rPr lang="en-GB" dirty="0" smtClean="0"/>
            </a:br>
            <a:r>
              <a:rPr lang="en-GB" dirty="0" smtClean="0"/>
              <a:t>lines of text, dd. </a:t>
            </a:r>
            <a:r>
              <a:rPr lang="en-GB" dirty="0" err="1" smtClean="0"/>
              <a:t>mmmm</a:t>
            </a:r>
            <a:r>
              <a:rPr lang="en-GB" dirty="0" smtClean="0"/>
              <a:t> </a:t>
            </a:r>
            <a:r>
              <a:rPr lang="en-GB" dirty="0" err="1" smtClean="0"/>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4" y="790855"/>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5" y="998977"/>
            <a:ext cx="3742051" cy="236996"/>
          </a:xfrm>
          <a:prstGeom prst="rect">
            <a:avLst/>
          </a:prstGeom>
        </p:spPr>
      </p:pic>
      <p:grpSp>
        <p:nvGrpSpPr>
          <p:cNvPr id="19" name="Gruppieren 18"/>
          <p:cNvGrpSpPr/>
          <p:nvPr userDrawn="1"/>
        </p:nvGrpSpPr>
        <p:grpSpPr>
          <a:xfrm>
            <a:off x="-2250853" y="3527182"/>
            <a:ext cx="2229361" cy="4638856"/>
            <a:chOff x="12221581" y="-62687"/>
            <a:chExt cx="2230522" cy="4639930"/>
          </a:xfrm>
        </p:grpSpPr>
        <p:sp>
          <p:nvSpPr>
            <p:cNvPr id="20" name="Rechteck 19"/>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1" name="Grafik 2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2" name="Grafik 2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3" name="Rechteck 22"/>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4" name="Gruppieren 23"/>
          <p:cNvGrpSpPr/>
          <p:nvPr userDrawn="1"/>
        </p:nvGrpSpPr>
        <p:grpSpPr>
          <a:xfrm>
            <a:off x="12192048" y="-82363"/>
            <a:ext cx="2184353" cy="3786237"/>
            <a:chOff x="12266612" y="-62687"/>
            <a:chExt cx="2185491" cy="3787114"/>
          </a:xfrm>
        </p:grpSpPr>
        <p:sp>
          <p:nvSpPr>
            <p:cNvPr id="25" name="Rechteck 24"/>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26" name="Grafik 2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27" name="Gruppieren 26"/>
          <p:cNvGrpSpPr/>
          <p:nvPr userDrawn="1"/>
        </p:nvGrpSpPr>
        <p:grpSpPr>
          <a:xfrm>
            <a:off x="12192002" y="3909447"/>
            <a:ext cx="2383726" cy="3891079"/>
            <a:chOff x="12291863" y="5052225"/>
            <a:chExt cx="2384968" cy="3891979"/>
          </a:xfrm>
        </p:grpSpPr>
        <p:sp>
          <p:nvSpPr>
            <p:cNvPr id="36" name="Rechteck 35"/>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37" name="Picture 2"/>
            <p:cNvPicPr>
              <a:picLocks noChangeAspect="1" noChangeArrowheads="1"/>
            </p:cNvPicPr>
            <p:nvPr userDrawn="1"/>
          </p:nvPicPr>
          <p:blipFill>
            <a:blip r:embed="rId10">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uppieren 37"/>
          <p:cNvGrpSpPr/>
          <p:nvPr userDrawn="1"/>
        </p:nvGrpSpPr>
        <p:grpSpPr>
          <a:xfrm>
            <a:off x="14575773" y="-67762"/>
            <a:ext cx="2184353" cy="5224601"/>
            <a:chOff x="14583318" y="4183"/>
            <a:chExt cx="2185491" cy="5225811"/>
          </a:xfrm>
        </p:grpSpPr>
        <p:sp>
          <p:nvSpPr>
            <p:cNvPr id="39" name="Rechteck 38"/>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0" name="Grafik 39"/>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1" name="Grafik 40"/>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2" name="Rechteck 41"/>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3" name="Grafik 4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517425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289">
          <p15:clr>
            <a:srgbClr val="FBAE4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2"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36" y="2281902"/>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 name="Titel 1"/>
          <p:cNvSpPr>
            <a:spLocks noGrp="1"/>
          </p:cNvSpPr>
          <p:nvPr>
            <p:ph type="ctrTitle" hasCustomPrompt="1"/>
          </p:nvPr>
        </p:nvSpPr>
        <p:spPr>
          <a:xfrm>
            <a:off x="628326" y="2044436"/>
            <a:ext cx="7232233" cy="648964"/>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en-GB" dirty="0" smtClean="0"/>
              <a:t>Headline for presentation</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4" y="790855"/>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5" y="998977"/>
            <a:ext cx="3742051" cy="236996"/>
          </a:xfrm>
          <a:prstGeom prst="rect">
            <a:avLst/>
          </a:prstGeom>
        </p:spPr>
      </p:pic>
      <p:grpSp>
        <p:nvGrpSpPr>
          <p:cNvPr id="19" name="Gruppieren 18"/>
          <p:cNvGrpSpPr/>
          <p:nvPr userDrawn="1"/>
        </p:nvGrpSpPr>
        <p:grpSpPr>
          <a:xfrm>
            <a:off x="-2250853" y="3527182"/>
            <a:ext cx="2229361" cy="4638856"/>
            <a:chOff x="12221581" y="-62687"/>
            <a:chExt cx="2230522" cy="4639930"/>
          </a:xfrm>
        </p:grpSpPr>
        <p:sp>
          <p:nvSpPr>
            <p:cNvPr id="20" name="Rechteck 19"/>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1" name="Grafik 2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2" name="Grafik 2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3" name="Rechteck 22"/>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4" name="Gruppieren 23"/>
          <p:cNvGrpSpPr/>
          <p:nvPr userDrawn="1"/>
        </p:nvGrpSpPr>
        <p:grpSpPr>
          <a:xfrm>
            <a:off x="12192048" y="-82363"/>
            <a:ext cx="2184353" cy="3786237"/>
            <a:chOff x="12266612" y="-62687"/>
            <a:chExt cx="2185491" cy="3787114"/>
          </a:xfrm>
        </p:grpSpPr>
        <p:sp>
          <p:nvSpPr>
            <p:cNvPr id="25" name="Rechteck 24"/>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26" name="Grafik 2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27" name="Gruppieren 26"/>
          <p:cNvGrpSpPr/>
          <p:nvPr userDrawn="1"/>
        </p:nvGrpSpPr>
        <p:grpSpPr>
          <a:xfrm>
            <a:off x="12192002" y="3909447"/>
            <a:ext cx="2383726" cy="3891079"/>
            <a:chOff x="12291863" y="5052225"/>
            <a:chExt cx="2384968" cy="3891979"/>
          </a:xfrm>
        </p:grpSpPr>
        <p:sp>
          <p:nvSpPr>
            <p:cNvPr id="36" name="Rechteck 35"/>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37" name="Picture 2"/>
            <p:cNvPicPr>
              <a:picLocks noChangeAspect="1" noChangeArrowheads="1"/>
            </p:cNvPicPr>
            <p:nvPr userDrawn="1"/>
          </p:nvPicPr>
          <p:blipFill>
            <a:blip r:embed="rId10">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uppieren 37"/>
          <p:cNvGrpSpPr/>
          <p:nvPr userDrawn="1"/>
        </p:nvGrpSpPr>
        <p:grpSpPr>
          <a:xfrm>
            <a:off x="14575773" y="-67762"/>
            <a:ext cx="2184353" cy="5224601"/>
            <a:chOff x="14583318" y="4183"/>
            <a:chExt cx="2185491" cy="5225811"/>
          </a:xfrm>
        </p:grpSpPr>
        <p:sp>
          <p:nvSpPr>
            <p:cNvPr id="39" name="Rechteck 38"/>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0" name="Grafik 39"/>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1" name="Grafik 40"/>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2" name="Rechteck 41"/>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3" name="Grafik 4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235572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28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Headlin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176194214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userDrawn="1">
  <p:cSld name="Section chart">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2"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1" y="0"/>
            <a:ext cx="12190451" cy="6487838"/>
          </a:xfrm>
          <a:prstGeom prst="rect">
            <a:avLst/>
          </a:prstGeom>
        </p:spPr>
      </p:pic>
      <p:sp>
        <p:nvSpPr>
          <p:cNvPr id="3" name="Title 2"/>
          <p:cNvSpPr>
            <a:spLocks noGrp="1"/>
          </p:cNvSpPr>
          <p:nvPr>
            <p:ph type="title" hasCustomPrompt="1"/>
          </p:nvPr>
        </p:nvSpPr>
        <p:spPr>
          <a:xfrm>
            <a:off x="628370" y="288860"/>
            <a:ext cx="10932455" cy="1025684"/>
          </a:xfrm>
        </p:spPr>
        <p:txBody>
          <a:bodyPr wrap="square">
            <a:spAutoFit/>
          </a:bodyPr>
          <a:lstStyle>
            <a:lvl1pPr>
              <a:defRPr>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or more lines of text</a:t>
            </a:r>
            <a:endParaRPr lang="en-GB" dirty="0"/>
          </a:p>
        </p:txBody>
      </p:sp>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3427199"/>
            <a:ext cx="12190451" cy="3059412"/>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6"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5" name="Gruppieren 24"/>
          <p:cNvGrpSpPr/>
          <p:nvPr userDrawn="1"/>
        </p:nvGrpSpPr>
        <p:grpSpPr>
          <a:xfrm>
            <a:off x="-2250853" y="3527182"/>
            <a:ext cx="2229361" cy="4638856"/>
            <a:chOff x="12221581" y="-62687"/>
            <a:chExt cx="2230522" cy="4639930"/>
          </a:xfrm>
        </p:grpSpPr>
        <p:sp>
          <p:nvSpPr>
            <p:cNvPr id="27" name="Rechteck 26"/>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8" name="Grafik 2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9" name="Grafik 2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30" name="Rechteck 29"/>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31" name="Gruppieren 30"/>
          <p:cNvGrpSpPr/>
          <p:nvPr userDrawn="1"/>
        </p:nvGrpSpPr>
        <p:grpSpPr>
          <a:xfrm>
            <a:off x="12192048" y="-82363"/>
            <a:ext cx="2184353" cy="3786237"/>
            <a:chOff x="12266612" y="-62687"/>
            <a:chExt cx="2185491" cy="3787114"/>
          </a:xfrm>
        </p:grpSpPr>
        <p:sp>
          <p:nvSpPr>
            <p:cNvPr id="32" name="Rechteck 31"/>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3" name="Grafik 3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4" name="Gruppieren 33"/>
          <p:cNvGrpSpPr/>
          <p:nvPr userDrawn="1"/>
        </p:nvGrpSpPr>
        <p:grpSpPr>
          <a:xfrm>
            <a:off x="12192002" y="3909447"/>
            <a:ext cx="2383726" cy="3891079"/>
            <a:chOff x="12291863" y="5052225"/>
            <a:chExt cx="2384968" cy="3891979"/>
          </a:xfrm>
        </p:grpSpPr>
        <p:sp>
          <p:nvSpPr>
            <p:cNvPr id="35" name="Rechteck 34"/>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40" name="Picture 2"/>
            <p:cNvPicPr>
              <a:picLocks noChangeAspect="1" noChangeArrowheads="1"/>
            </p:cNvPicPr>
            <p:nvPr userDrawn="1"/>
          </p:nvPicPr>
          <p:blipFill>
            <a:blip r:embed="rId8">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uppieren 40"/>
          <p:cNvGrpSpPr/>
          <p:nvPr userDrawn="1"/>
        </p:nvGrpSpPr>
        <p:grpSpPr>
          <a:xfrm>
            <a:off x="14575773" y="-67762"/>
            <a:ext cx="2184353" cy="5224601"/>
            <a:chOff x="14583318" y="4183"/>
            <a:chExt cx="2185491" cy="5225811"/>
          </a:xfrm>
        </p:grpSpPr>
        <p:sp>
          <p:nvSpPr>
            <p:cNvPr id="42" name="Rechteck 41"/>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3" name="Grafik 4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4" name="Grafik 4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5" name="Rechteck 44"/>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6" name="Grafik 4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95906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Text/ image brushing">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2"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a:extLst>
              <a:ext uri="{28A0092B-C50C-407E-A947-70E740481C1C}">
                <a14:useLocalDpi xmlns:a14="http://schemas.microsoft.com/office/drawing/2010/main" val="0"/>
              </a:ext>
            </a:extLst>
          </a:blip>
          <a:srcRect b="5375"/>
          <a:stretch/>
        </p:blipFill>
        <p:spPr bwMode="white">
          <a:xfrm>
            <a:off x="0" y="46"/>
            <a:ext cx="12190451" cy="6487839"/>
          </a:xfrm>
          <a:prstGeom prst="rect">
            <a:avLst/>
          </a:prstGeom>
        </p:spPr>
      </p:pic>
      <p:sp>
        <p:nvSpPr>
          <p:cNvPr id="3" name="Title 2"/>
          <p:cNvSpPr>
            <a:spLocks noGrp="1"/>
          </p:cNvSpPr>
          <p:nvPr>
            <p:ph type="title" hasCustomPrompt="1"/>
          </p:nvPr>
        </p:nvSpPr>
        <p:spPr>
          <a:xfrm>
            <a:off x="630118" y="288857"/>
            <a:ext cx="10930661" cy="1151733"/>
          </a:xfrm>
          <a:custGeom>
            <a:avLst/>
            <a:gdLst>
              <a:gd name="connsiteX0" fmla="*/ 0 w 10936355"/>
              <a:gd name="connsiteY0" fmla="*/ 0 h 1152000"/>
              <a:gd name="connsiteX1" fmla="*/ 10936355 w 10936355"/>
              <a:gd name="connsiteY1" fmla="*/ 0 h 1152000"/>
              <a:gd name="connsiteX2" fmla="*/ 10936355 w 10936355"/>
              <a:gd name="connsiteY2" fmla="*/ 1152000 h 1152000"/>
              <a:gd name="connsiteX3" fmla="*/ 0 w 10936355"/>
              <a:gd name="connsiteY3" fmla="*/ 1152000 h 1152000"/>
              <a:gd name="connsiteX4" fmla="*/ 0 w 10936355"/>
              <a:gd name="connsiteY4"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4948164 w 10936355"/>
              <a:gd name="connsiteY4" fmla="*/ 1147990 h 1152000"/>
              <a:gd name="connsiteX5" fmla="*/ 0 w 10936355"/>
              <a:gd name="connsiteY5" fmla="*/ 1152000 h 1152000"/>
              <a:gd name="connsiteX6" fmla="*/ 0 w 10936355"/>
              <a:gd name="connsiteY6"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355" h="1152000">
                <a:moveTo>
                  <a:pt x="0" y="0"/>
                </a:moveTo>
                <a:lnTo>
                  <a:pt x="10936355" y="0"/>
                </a:lnTo>
                <a:cubicBezTo>
                  <a:pt x="10935205" y="231775"/>
                  <a:pt x="10934056" y="463551"/>
                  <a:pt x="10932906" y="695326"/>
                </a:cubicBezTo>
                <a:lnTo>
                  <a:pt x="4948164" y="1147990"/>
                </a:lnTo>
                <a:lnTo>
                  <a:pt x="0" y="1152000"/>
                </a:lnTo>
                <a:lnTo>
                  <a:pt x="0" y="0"/>
                </a:lnTo>
                <a:close/>
              </a:path>
            </a:pathLst>
          </a:custGeom>
        </p:spPr>
        <p:txBody>
          <a:bodyPr/>
          <a:lstStyle>
            <a:lvl1pPr>
              <a:defRPr baseline="0">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lines of text</a:t>
            </a:r>
            <a:endParaRPr lang="en-GB" dirty="0"/>
          </a:p>
        </p:txBody>
      </p:sp>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6"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5" name="Gruppieren 24"/>
          <p:cNvGrpSpPr/>
          <p:nvPr userDrawn="1"/>
        </p:nvGrpSpPr>
        <p:grpSpPr>
          <a:xfrm>
            <a:off x="-2250853" y="3527182"/>
            <a:ext cx="2229361" cy="4638856"/>
            <a:chOff x="12221581" y="-62687"/>
            <a:chExt cx="2230522" cy="4639930"/>
          </a:xfrm>
        </p:grpSpPr>
        <p:sp>
          <p:nvSpPr>
            <p:cNvPr id="27" name="Rechteck 26"/>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8" name="Grafik 2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9" name="Grafik 2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30" name="Rechteck 29"/>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31" name="Gruppieren 30"/>
          <p:cNvGrpSpPr/>
          <p:nvPr userDrawn="1"/>
        </p:nvGrpSpPr>
        <p:grpSpPr>
          <a:xfrm>
            <a:off x="12192048" y="-82363"/>
            <a:ext cx="2184353" cy="3786237"/>
            <a:chOff x="12266612" y="-62687"/>
            <a:chExt cx="2185491" cy="3787114"/>
          </a:xfrm>
        </p:grpSpPr>
        <p:sp>
          <p:nvSpPr>
            <p:cNvPr id="32" name="Rechteck 31"/>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3" name="Grafik 3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4" name="Gruppieren 33"/>
          <p:cNvGrpSpPr/>
          <p:nvPr userDrawn="1"/>
        </p:nvGrpSpPr>
        <p:grpSpPr>
          <a:xfrm>
            <a:off x="12192002" y="3909447"/>
            <a:ext cx="2383726" cy="3891079"/>
            <a:chOff x="12291863" y="5052225"/>
            <a:chExt cx="2384968" cy="3891979"/>
          </a:xfrm>
        </p:grpSpPr>
        <p:sp>
          <p:nvSpPr>
            <p:cNvPr id="35" name="Rechteck 34"/>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40" name="Picture 2"/>
            <p:cNvPicPr>
              <a:picLocks noChangeAspect="1" noChangeArrowheads="1"/>
            </p:cNvPicPr>
            <p:nvPr userDrawn="1"/>
          </p:nvPicPr>
          <p:blipFill>
            <a:blip r:embed="rId8">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uppieren 40"/>
          <p:cNvGrpSpPr/>
          <p:nvPr userDrawn="1"/>
        </p:nvGrpSpPr>
        <p:grpSpPr>
          <a:xfrm>
            <a:off x="14575773" y="-67762"/>
            <a:ext cx="2184353" cy="5224601"/>
            <a:chOff x="14583318" y="4183"/>
            <a:chExt cx="2185491" cy="5225811"/>
          </a:xfrm>
        </p:grpSpPr>
        <p:sp>
          <p:nvSpPr>
            <p:cNvPr id="42" name="Rechteck 41"/>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3" name="Grafik 4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4" name="Grafik 4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5" name="Rechteck 44"/>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6" name="Grafik 4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39343899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preserve="1" userDrawn="1">
  <p:cSld name="Agenda with brushing">
    <p:spTree>
      <p:nvGrpSpPr>
        <p:cNvPr id="1" name=""/>
        <p:cNvGrpSpPr/>
        <p:nvPr/>
      </p:nvGrpSpPr>
      <p:grpSpPr>
        <a:xfrm>
          <a:off x="0" y="0"/>
          <a:ext cx="0" cy="0"/>
          <a:chOff x="0" y="0"/>
          <a:chExt cx="0" cy="0"/>
        </a:xfrm>
      </p:grpSpPr>
      <p:grpSp>
        <p:nvGrpSpPr>
          <p:cNvPr id="18" name="Regieanweisungen"/>
          <p:cNvGrpSpPr/>
          <p:nvPr userDrawn="1"/>
        </p:nvGrpSpPr>
        <p:grpSpPr>
          <a:xfrm>
            <a:off x="-2086912"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47" y="3"/>
            <a:ext cx="12190450" cy="6490343"/>
          </a:xfrm>
          <a:prstGeom prst="rect">
            <a:avLst/>
          </a:prstGeom>
        </p:spPr>
      </p:pic>
      <p:sp>
        <p:nvSpPr>
          <p:cNvPr id="2" name="Title 1"/>
          <p:cNvSpPr>
            <a:spLocks noGrp="1"/>
          </p:cNvSpPr>
          <p:nvPr>
            <p:ph type="title" hasCustomPrompt="1"/>
          </p:nvPr>
        </p:nvSpPr>
        <p:spPr>
          <a:xfrm>
            <a:off x="628370" y="288907"/>
            <a:ext cx="10932455" cy="1148857"/>
          </a:xfrm>
        </p:spPr>
        <p:txBody>
          <a:bodyPr/>
          <a:lstStyle>
            <a:lvl1pPr>
              <a:defRPr/>
            </a:lvl1pPr>
          </a:lstStyle>
          <a:p>
            <a:r>
              <a:rPr lang="en-GB" noProof="0" dirty="0" smtClean="0"/>
              <a:t>Headline for Agenda in CorpoS (Body) 35 pt. </a:t>
            </a:r>
            <a:br>
              <a:rPr lang="en-GB" noProof="0" dirty="0" smtClean="0"/>
            </a:br>
            <a:r>
              <a:rPr lang="en-GB" noProof="0" dirty="0" smtClean="0"/>
              <a:t>one or two lines</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8" y="1504651"/>
            <a:ext cx="10931023" cy="3386305"/>
          </a:xfrm>
          <a:custGeom>
            <a:avLst/>
            <a:gdLst>
              <a:gd name="connsiteX0" fmla="*/ 0 w 10936081"/>
              <a:gd name="connsiteY0" fmla="*/ 0 h 3384000"/>
              <a:gd name="connsiteX1" fmla="*/ 10936081 w 10936081"/>
              <a:gd name="connsiteY1" fmla="*/ 0 h 3384000"/>
              <a:gd name="connsiteX2" fmla="*/ 10936081 w 10936081"/>
              <a:gd name="connsiteY2" fmla="*/ 3384000 h 3384000"/>
              <a:gd name="connsiteX3" fmla="*/ 0 w 10936081"/>
              <a:gd name="connsiteY3" fmla="*/ 3384000 h 3384000"/>
              <a:gd name="connsiteX4" fmla="*/ 0 w 10936081"/>
              <a:gd name="connsiteY4" fmla="*/ 0 h 3384000"/>
              <a:gd name="connsiteX0" fmla="*/ 0 w 10936081"/>
              <a:gd name="connsiteY0" fmla="*/ 0 h 3387089"/>
              <a:gd name="connsiteX1" fmla="*/ 10936081 w 10936081"/>
              <a:gd name="connsiteY1" fmla="*/ 0 h 3387089"/>
              <a:gd name="connsiteX2" fmla="*/ 10936081 w 10936081"/>
              <a:gd name="connsiteY2" fmla="*/ 3384000 h 3387089"/>
              <a:gd name="connsiteX3" fmla="*/ 2006076 w 10936081"/>
              <a:gd name="connsiteY3" fmla="*/ 3387089 h 3387089"/>
              <a:gd name="connsiteX4" fmla="*/ 0 w 10936081"/>
              <a:gd name="connsiteY4" fmla="*/ 3384000 h 3387089"/>
              <a:gd name="connsiteX5" fmla="*/ 0 w 10936081"/>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10936081 w 10936716"/>
              <a:gd name="connsiteY3" fmla="*/ 3384000 h 3387089"/>
              <a:gd name="connsiteX4" fmla="*/ 2006076 w 10936716"/>
              <a:gd name="connsiteY4" fmla="*/ 3387089 h 3387089"/>
              <a:gd name="connsiteX5" fmla="*/ 0 w 10936716"/>
              <a:gd name="connsiteY5" fmla="*/ 3384000 h 3387089"/>
              <a:gd name="connsiteX6" fmla="*/ 0 w 10936716"/>
              <a:gd name="connsiteY6"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3387089">
                <a:moveTo>
                  <a:pt x="0" y="0"/>
                </a:moveTo>
                <a:lnTo>
                  <a:pt x="10936081" y="0"/>
                </a:lnTo>
                <a:cubicBezTo>
                  <a:pt x="10936293" y="852170"/>
                  <a:pt x="10936504" y="1704339"/>
                  <a:pt x="10936716" y="2556509"/>
                </a:cubicBezTo>
                <a:lnTo>
                  <a:pt x="2006076" y="3387089"/>
                </a:lnTo>
                <a:lnTo>
                  <a:pt x="0" y="3384000"/>
                </a:lnTo>
                <a:lnTo>
                  <a:pt x="0" y="0"/>
                </a:lnTo>
                <a:close/>
              </a:path>
            </a:pathLst>
          </a:custGeom>
        </p:spPr>
        <p:txBody>
          <a:bodyPr/>
          <a:lstStyle>
            <a:lvl1pPr marL="357481" indent="-357481">
              <a:buSzPct val="100000"/>
              <a:buFont typeface="+mj-lt"/>
              <a:buAutoNum type="arabicPeriod"/>
              <a:defRPr>
                <a:solidFill>
                  <a:schemeClr val="tx1"/>
                </a:solidFill>
              </a:defRPr>
            </a:lvl1pPr>
            <a:lvl2pPr marL="357481" indent="-357481">
              <a:buFont typeface="+mj-lt"/>
              <a:buAutoNum type="arabicPeriod"/>
              <a:defRPr>
                <a:solidFill>
                  <a:schemeClr val="tx1"/>
                </a:solidFill>
              </a:defRPr>
            </a:lvl2pPr>
            <a:lvl3pPr marL="357481" indent="-357481">
              <a:buFont typeface="+mj-lt"/>
              <a:buAutoNum type="arabicPeriod"/>
              <a:defRPr>
                <a:solidFill>
                  <a:schemeClr val="tx1"/>
                </a:solidFill>
              </a:defRPr>
            </a:lvl3pPr>
            <a:lvl4pPr marL="357481" indent="-357481">
              <a:buFont typeface="+mj-lt"/>
              <a:buAutoNum type="arabicPeriod"/>
              <a:defRPr>
                <a:solidFill>
                  <a:schemeClr val="tx1"/>
                </a:solidFill>
              </a:defRPr>
            </a:lvl4pPr>
            <a:lvl5pPr marL="357481" indent="-357481">
              <a:buFont typeface="+mj-lt"/>
              <a:buAutoNum type="arabicPeriod"/>
              <a:defRPr>
                <a:solidFill>
                  <a:schemeClr val="tx1"/>
                </a:solidFill>
              </a:defRPr>
            </a:lvl5pPr>
            <a:lvl6pPr marL="357481" indent="-357481">
              <a:buFont typeface="+mj-lt"/>
              <a:buAutoNum type="arabicPeriod"/>
              <a:defRPr>
                <a:solidFill>
                  <a:schemeClr val="tx1"/>
                </a:solidFill>
              </a:defRPr>
            </a:lvl6pPr>
            <a:lvl7pPr marL="357481" indent="-357481">
              <a:buFont typeface="+mj-lt"/>
              <a:buAutoNum type="arabicPeriod"/>
              <a:defRPr>
                <a:solidFill>
                  <a:schemeClr val="tx1"/>
                </a:solidFill>
              </a:defRPr>
            </a:lvl7pPr>
            <a:lvl8pPr marL="357481" indent="-357481">
              <a:buFont typeface="+mj-lt"/>
              <a:buAutoNum type="arabicPeriod"/>
              <a:defRPr>
                <a:solidFill>
                  <a:schemeClr val="tx1"/>
                </a:solidFill>
              </a:defRPr>
            </a:lvl8pPr>
            <a:lvl9pPr marL="357481" indent="-357481">
              <a:buFont typeface="+mj-lt"/>
              <a:buAutoNum type="arabicPeriod"/>
              <a:defRPr>
                <a:solidFill>
                  <a:schemeClr val="tx1"/>
                </a:solidFill>
              </a:defRPr>
            </a:lvl9pPr>
          </a:lstStyle>
          <a:p>
            <a:pPr lvl="0"/>
            <a:r>
              <a:rPr lang="en-GB" dirty="0" smtClean="0"/>
              <a:t>Insert Agenda point</a:t>
            </a:r>
          </a:p>
          <a:p>
            <a:pPr lvl="1"/>
            <a:r>
              <a:rPr lang="en-GB" dirty="0" smtClean="0"/>
              <a:t>Second level </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p:txBody>
      </p:sp>
      <p:sp>
        <p:nvSpPr>
          <p:cNvPr id="21"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0" name="Gruppieren 19"/>
          <p:cNvGrpSpPr/>
          <p:nvPr userDrawn="1"/>
        </p:nvGrpSpPr>
        <p:grpSpPr>
          <a:xfrm>
            <a:off x="-2250853" y="3527182"/>
            <a:ext cx="2229361" cy="4638856"/>
            <a:chOff x="12221581" y="-62687"/>
            <a:chExt cx="2230522" cy="4639930"/>
          </a:xfrm>
        </p:grpSpPr>
        <p:sp>
          <p:nvSpPr>
            <p:cNvPr id="22" name="Rechteck 21"/>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3" name="Grafik 2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4" name="Grafik 2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5" name="Rechteck 24"/>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6" name="Gruppieren 25"/>
          <p:cNvGrpSpPr/>
          <p:nvPr userDrawn="1"/>
        </p:nvGrpSpPr>
        <p:grpSpPr>
          <a:xfrm>
            <a:off x="12192048" y="-82363"/>
            <a:ext cx="2184353" cy="3786237"/>
            <a:chOff x="12266612" y="-62687"/>
            <a:chExt cx="2185491" cy="3787114"/>
          </a:xfrm>
        </p:grpSpPr>
        <p:sp>
          <p:nvSpPr>
            <p:cNvPr id="27" name="Rechteck 26"/>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28" name="Grafik 2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29" name="Gruppieren 28"/>
          <p:cNvGrpSpPr/>
          <p:nvPr userDrawn="1"/>
        </p:nvGrpSpPr>
        <p:grpSpPr>
          <a:xfrm>
            <a:off x="12192002" y="3909447"/>
            <a:ext cx="2383726" cy="3891079"/>
            <a:chOff x="12291863" y="5052225"/>
            <a:chExt cx="2384968" cy="3891979"/>
          </a:xfrm>
        </p:grpSpPr>
        <p:sp>
          <p:nvSpPr>
            <p:cNvPr id="30" name="Rechteck 29"/>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40" name="Picture 2"/>
            <p:cNvPicPr>
              <a:picLocks noChangeAspect="1" noChangeArrowheads="1"/>
            </p:cNvPicPr>
            <p:nvPr userDrawn="1"/>
          </p:nvPicPr>
          <p:blipFill>
            <a:blip r:embed="rId8">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uppieren 40"/>
          <p:cNvGrpSpPr/>
          <p:nvPr userDrawn="1"/>
        </p:nvGrpSpPr>
        <p:grpSpPr>
          <a:xfrm>
            <a:off x="14575773" y="-67762"/>
            <a:ext cx="2184353" cy="5224601"/>
            <a:chOff x="14583318" y="4183"/>
            <a:chExt cx="2185491" cy="5225811"/>
          </a:xfrm>
        </p:grpSpPr>
        <p:sp>
          <p:nvSpPr>
            <p:cNvPr id="42" name="Rechteck 41"/>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3" name="Grafik 4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4" name="Grafik 4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5" name="Rechteck 44"/>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6" name="Grafik 4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4001218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smtClean="0"/>
              <a:t>Headline for Agenda in CorpoS (Body) 35 pt. </a:t>
            </a:r>
            <a:br>
              <a:rPr lang="en-GB" noProof="0" dirty="0" smtClean="0"/>
            </a:br>
            <a:r>
              <a:rPr lang="en-GB" noProof="0" dirty="0" smtClean="0"/>
              <a:t>one or two lines</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6" y="1504602"/>
            <a:ext cx="10932180" cy="4875671"/>
          </a:xfrm>
        </p:spPr>
        <p:txBody>
          <a:bodyPr/>
          <a:lstStyle>
            <a:lvl1pPr marL="357481" indent="-357481">
              <a:buSzPct val="100000"/>
              <a:buFont typeface="+mj-lt"/>
              <a:buAutoNum type="arabicPeriod"/>
              <a:defRPr>
                <a:solidFill>
                  <a:schemeClr val="tx1"/>
                </a:solidFill>
              </a:defRPr>
            </a:lvl1pPr>
            <a:lvl2pPr marL="357481" indent="-357481">
              <a:buFont typeface="+mj-lt"/>
              <a:buAutoNum type="arabicPeriod"/>
              <a:defRPr>
                <a:solidFill>
                  <a:schemeClr val="tx1"/>
                </a:solidFill>
              </a:defRPr>
            </a:lvl2pPr>
            <a:lvl3pPr marL="357481" indent="-357481">
              <a:buFont typeface="+mj-lt"/>
              <a:buAutoNum type="arabicPeriod"/>
              <a:defRPr>
                <a:solidFill>
                  <a:schemeClr val="tx1"/>
                </a:solidFill>
              </a:defRPr>
            </a:lvl3pPr>
            <a:lvl4pPr marL="357481" indent="-357481">
              <a:buFont typeface="+mj-lt"/>
              <a:buAutoNum type="arabicPeriod"/>
              <a:defRPr>
                <a:solidFill>
                  <a:schemeClr val="tx1"/>
                </a:solidFill>
              </a:defRPr>
            </a:lvl4pPr>
            <a:lvl5pPr marL="357481" indent="-357481">
              <a:buFont typeface="+mj-lt"/>
              <a:buAutoNum type="arabicPeriod"/>
              <a:defRPr>
                <a:solidFill>
                  <a:schemeClr val="tx1"/>
                </a:solidFill>
              </a:defRPr>
            </a:lvl5pPr>
            <a:lvl6pPr marL="357481" indent="-357481">
              <a:buFont typeface="+mj-lt"/>
              <a:buAutoNum type="arabicPeriod"/>
              <a:defRPr>
                <a:solidFill>
                  <a:schemeClr val="tx1"/>
                </a:solidFill>
              </a:defRPr>
            </a:lvl6pPr>
            <a:lvl7pPr marL="357481" indent="-357481">
              <a:buFont typeface="+mj-lt"/>
              <a:buAutoNum type="arabicPeriod"/>
              <a:defRPr>
                <a:solidFill>
                  <a:schemeClr val="tx1"/>
                </a:solidFill>
              </a:defRPr>
            </a:lvl7pPr>
            <a:lvl8pPr marL="357481" indent="-357481">
              <a:buFont typeface="+mj-lt"/>
              <a:buAutoNum type="arabicPeriod"/>
              <a:defRPr>
                <a:solidFill>
                  <a:schemeClr val="tx1"/>
                </a:solidFill>
              </a:defRPr>
            </a:lvl8pPr>
            <a:lvl9pPr marL="357481" indent="-357481">
              <a:buFont typeface="+mj-lt"/>
              <a:buAutoNum type="arabicPeriod"/>
              <a:defRPr>
                <a:solidFill>
                  <a:schemeClr val="tx1"/>
                </a:solidFill>
              </a:defRPr>
            </a:lvl9pPr>
          </a:lstStyle>
          <a:p>
            <a:pPr lvl="0"/>
            <a:r>
              <a:rPr lang="en-GB" dirty="0" smtClean="0"/>
              <a:t>Insert Agenda point</a:t>
            </a:r>
          </a:p>
          <a:p>
            <a:pPr lvl="1"/>
            <a:r>
              <a:rPr lang="en-GB" dirty="0" smtClean="0"/>
              <a:t>Second level </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a:p>
            <a:pPr lvl="8"/>
            <a:r>
              <a:rPr lang="en-GB" dirty="0" smtClean="0"/>
              <a:t>Ninth level</a:t>
            </a:r>
          </a:p>
        </p:txBody>
      </p:sp>
    </p:spTree>
    <p:extLst>
      <p:ext uri="{BB962C8B-B14F-4D97-AF65-F5344CB8AC3E}">
        <p14:creationId xmlns:p14="http://schemas.microsoft.com/office/powerpoint/2010/main" val="36826211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14" y="1504602"/>
            <a:ext cx="10930593" cy="4983236"/>
          </a:xfrm>
        </p:spPr>
        <p:txBody>
          <a:bodyPr/>
          <a:lstStyle>
            <a:lvl1pPr>
              <a:defRPr baseline="0"/>
            </a:lvl1pPr>
          </a:lstStyle>
          <a:p>
            <a:pPr lvl="0"/>
            <a:r>
              <a:rPr lang="en-GB" noProof="0" dirty="0" smtClean="0"/>
              <a:t>Insert content or text in CorpoS (Body) 24 pt. (Mark-ups in Bold) // for conclusion, summary or short highlight: Home // Paragraph// Increase List Level</a:t>
            </a:r>
          </a:p>
          <a:p>
            <a:pPr lvl="1"/>
            <a:r>
              <a:rPr lang="en-GB" noProof="0" dirty="0" smtClean="0"/>
              <a:t>Second level (Conclusion, summary or short highlight)</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s level</a:t>
            </a:r>
          </a:p>
          <a:p>
            <a:pPr lvl="7"/>
            <a:r>
              <a:rPr lang="en-GB" noProof="0" dirty="0" smtClean="0"/>
              <a:t>Eight level</a:t>
            </a:r>
          </a:p>
          <a:p>
            <a:pPr lvl="8"/>
            <a:r>
              <a:rPr lang="en-GB" noProof="0" dirty="0" smtClean="0"/>
              <a:t>Ninth level</a:t>
            </a:r>
          </a:p>
        </p:txBody>
      </p:sp>
    </p:spTree>
    <p:extLst>
      <p:ext uri="{BB962C8B-B14F-4D97-AF65-F5344CB8AC3E}">
        <p14:creationId xmlns:p14="http://schemas.microsoft.com/office/powerpoint/2010/main" val="2596442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2 lines">
    <p:spTree>
      <p:nvGrpSpPr>
        <p:cNvPr id="1" name=""/>
        <p:cNvGrpSpPr/>
        <p:nvPr/>
      </p:nvGrpSpPr>
      <p:grpSpPr>
        <a:xfrm>
          <a:off x="0" y="0"/>
          <a:ext cx="0" cy="0"/>
          <a:chOff x="0" y="0"/>
          <a:chExt cx="0" cy="0"/>
        </a:xfrm>
      </p:grpSpPr>
      <p:grpSp>
        <p:nvGrpSpPr>
          <p:cNvPr id="21" name="Regieanweisungen"/>
          <p:cNvGrpSpPr/>
          <p:nvPr userDrawn="1"/>
        </p:nvGrpSpPr>
        <p:grpSpPr>
          <a:xfrm>
            <a:off x="-2086912"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p:txBody>
          <a:bodyPr/>
          <a:lstStyle>
            <a:lvl1pPr>
              <a:defRPr/>
            </a:lvl1p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14" y="1504602"/>
            <a:ext cx="10930593" cy="4983236"/>
          </a:xfrm>
        </p:spPr>
        <p:txBody>
          <a:bodyPr/>
          <a:lstStyle>
            <a:lvl1pPr>
              <a:defRPr baseline="0"/>
            </a:lvl1pPr>
          </a:lstStyle>
          <a:p>
            <a:pPr lvl="0"/>
            <a:r>
              <a:rPr lang="en-GB" noProof="0" dirty="0" smtClean="0"/>
              <a:t>Insert content or text in </a:t>
            </a:r>
            <a:r>
              <a:rPr lang="en-GB" noProof="0" dirty="0" err="1" smtClean="0"/>
              <a:t>Corpo</a:t>
            </a:r>
            <a:r>
              <a:rPr lang="en-GB" noProof="0" dirty="0" smtClean="0"/>
              <a:t> S (Body) 24 pt. (Mark-ups in Bold) // for conclusion, summary or short highlight: Home // Paragraph// Increase List Level</a:t>
            </a:r>
          </a:p>
          <a:p>
            <a:pPr lvl="1"/>
            <a:r>
              <a:rPr lang="en-GB" noProof="0" dirty="0" smtClean="0"/>
              <a:t>Second level (Conclusion, summary or short highlight)</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s level</a:t>
            </a:r>
          </a:p>
          <a:p>
            <a:pPr lvl="7"/>
            <a:r>
              <a:rPr lang="en-GB" noProof="0" dirty="0" smtClean="0"/>
              <a:t>Eight level</a:t>
            </a:r>
          </a:p>
          <a:p>
            <a:pPr lvl="8"/>
            <a:r>
              <a:rPr lang="en-GB" noProof="0" dirty="0" smtClean="0"/>
              <a:t>Ninth level</a:t>
            </a:r>
          </a:p>
        </p:txBody>
      </p:sp>
      <p:sp>
        <p:nvSpPr>
          <p:cNvPr id="7" name="Picture Placeholder 3"/>
          <p:cNvSpPr>
            <a:spLocks noGrp="1"/>
          </p:cNvSpPr>
          <p:nvPr>
            <p:ph type="pic" sz="quarter" idx="13" hasCustomPrompt="1"/>
          </p:nvPr>
        </p:nvSpPr>
        <p:spPr bwMode="gray">
          <a:xfrm>
            <a:off x="629910" y="1504602"/>
            <a:ext cx="10930593" cy="4983236"/>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8"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19" name="Gruppieren 18"/>
          <p:cNvGrpSpPr/>
          <p:nvPr userDrawn="1"/>
        </p:nvGrpSpPr>
        <p:grpSpPr>
          <a:xfrm>
            <a:off x="-2250853" y="3527182"/>
            <a:ext cx="2229361" cy="4638856"/>
            <a:chOff x="12221581" y="-62687"/>
            <a:chExt cx="2230522" cy="4639930"/>
          </a:xfrm>
        </p:grpSpPr>
        <p:sp>
          <p:nvSpPr>
            <p:cNvPr id="20" name="Rechteck 19"/>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31" name="Grafik 3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32" name="Grafik 3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33" name="Rechteck 32"/>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34" name="Gruppieren 33"/>
          <p:cNvGrpSpPr/>
          <p:nvPr userDrawn="1"/>
        </p:nvGrpSpPr>
        <p:grpSpPr>
          <a:xfrm>
            <a:off x="12192048" y="-82363"/>
            <a:ext cx="2184353" cy="3786237"/>
            <a:chOff x="12266612" y="-62687"/>
            <a:chExt cx="2185491" cy="3787114"/>
          </a:xfrm>
        </p:grpSpPr>
        <p:sp>
          <p:nvSpPr>
            <p:cNvPr id="35" name="Rechteck 34"/>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6" name="Grafik 3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7" name="Gruppieren 36"/>
          <p:cNvGrpSpPr/>
          <p:nvPr userDrawn="1"/>
        </p:nvGrpSpPr>
        <p:grpSpPr>
          <a:xfrm>
            <a:off x="12192002" y="3909447"/>
            <a:ext cx="2383726" cy="3891079"/>
            <a:chOff x="12291863" y="5052225"/>
            <a:chExt cx="2384968" cy="3891979"/>
          </a:xfrm>
        </p:grpSpPr>
        <p:sp>
          <p:nvSpPr>
            <p:cNvPr id="38" name="Rechteck 37"/>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39" name="Picture 2"/>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uppieren 39"/>
          <p:cNvGrpSpPr/>
          <p:nvPr userDrawn="1"/>
        </p:nvGrpSpPr>
        <p:grpSpPr>
          <a:xfrm>
            <a:off x="14575773" y="-67762"/>
            <a:ext cx="2184353" cy="5224601"/>
            <a:chOff x="14583318" y="4183"/>
            <a:chExt cx="2185491" cy="5225811"/>
          </a:xfrm>
        </p:grpSpPr>
        <p:sp>
          <p:nvSpPr>
            <p:cNvPr id="41" name="Rechteck 40"/>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2" name="Grafik 4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3" name="Grafik 4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4" name="Rechteck 43"/>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5" name="Grafik 44"/>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3539471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ext/ content/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719" y="285982"/>
            <a:ext cx="10931106" cy="683842"/>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672" y="1233206"/>
            <a:ext cx="10930832" cy="5254634"/>
          </a:xfrm>
        </p:spPr>
        <p:txBody>
          <a:bodyPr/>
          <a:lstStyle>
            <a:lvl1pPr>
              <a:defRPr baseline="0"/>
            </a:lvl1pPr>
          </a:lstStyle>
          <a:p>
            <a:pPr lvl="0"/>
            <a:r>
              <a:rPr lang="en-GB" noProof="0" dirty="0" smtClean="0"/>
              <a:t>Insert content or text in CorpoS (Body) 24 pt. (Mark-ups in Bold) // for conclusion, summary or short highlight: Home // Paragraph// Increase List Level</a:t>
            </a:r>
          </a:p>
          <a:p>
            <a:pPr lvl="1"/>
            <a:r>
              <a:rPr lang="en-GB" noProof="0" dirty="0" smtClean="0"/>
              <a:t>Second level (Conclusion, summary or short highlight)</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s level</a:t>
            </a:r>
          </a:p>
          <a:p>
            <a:pPr lvl="7"/>
            <a:r>
              <a:rPr lang="en-GB" noProof="0" dirty="0" smtClean="0"/>
              <a:t>Eight level</a:t>
            </a:r>
          </a:p>
          <a:p>
            <a:pPr lvl="8"/>
            <a:r>
              <a:rPr lang="en-GB" noProof="0" dirty="0" smtClean="0"/>
              <a:t>Ninth level</a:t>
            </a:r>
          </a:p>
        </p:txBody>
      </p:sp>
    </p:spTree>
    <p:extLst>
      <p:ext uri="{BB962C8B-B14F-4D97-AF65-F5344CB8AC3E}">
        <p14:creationId xmlns:p14="http://schemas.microsoft.com/office/powerpoint/2010/main" val="13855394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1 line">
    <p:spTree>
      <p:nvGrpSpPr>
        <p:cNvPr id="1" name=""/>
        <p:cNvGrpSpPr/>
        <p:nvPr/>
      </p:nvGrpSpPr>
      <p:grpSpPr>
        <a:xfrm>
          <a:off x="0" y="0"/>
          <a:ext cx="0" cy="0"/>
          <a:chOff x="0" y="0"/>
          <a:chExt cx="0" cy="0"/>
        </a:xfrm>
      </p:grpSpPr>
      <p:grpSp>
        <p:nvGrpSpPr>
          <p:cNvPr id="19" name="Regieanweisungen"/>
          <p:cNvGrpSpPr/>
          <p:nvPr userDrawn="1"/>
        </p:nvGrpSpPr>
        <p:grpSpPr>
          <a:xfrm>
            <a:off x="-2086912"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a:xfrm>
            <a:off x="629719" y="285982"/>
            <a:ext cx="10931106" cy="683842"/>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8" name="Picture Placeholder 3"/>
          <p:cNvSpPr>
            <a:spLocks noGrp="1"/>
          </p:cNvSpPr>
          <p:nvPr>
            <p:ph type="pic" sz="quarter" idx="13" hasCustomPrompt="1"/>
          </p:nvPr>
        </p:nvSpPr>
        <p:spPr bwMode="gray">
          <a:xfrm>
            <a:off x="629910" y="1233206"/>
            <a:ext cx="10930593" cy="525463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7"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9" name="Gruppieren 28"/>
          <p:cNvGrpSpPr/>
          <p:nvPr userDrawn="1"/>
        </p:nvGrpSpPr>
        <p:grpSpPr>
          <a:xfrm>
            <a:off x="-2250853" y="3527182"/>
            <a:ext cx="2229361" cy="4638856"/>
            <a:chOff x="12221581" y="-62687"/>
            <a:chExt cx="2230522" cy="4639930"/>
          </a:xfrm>
        </p:grpSpPr>
        <p:sp>
          <p:nvSpPr>
            <p:cNvPr id="30" name="Rechteck 29"/>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31" name="Grafik 3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32" name="Grafik 3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33" name="Rechteck 32"/>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34" name="Gruppieren 33"/>
          <p:cNvGrpSpPr/>
          <p:nvPr userDrawn="1"/>
        </p:nvGrpSpPr>
        <p:grpSpPr>
          <a:xfrm>
            <a:off x="12192048" y="-82363"/>
            <a:ext cx="2184353" cy="3786237"/>
            <a:chOff x="12266612" y="-62687"/>
            <a:chExt cx="2185491" cy="3787114"/>
          </a:xfrm>
        </p:grpSpPr>
        <p:sp>
          <p:nvSpPr>
            <p:cNvPr id="35" name="Rechteck 34"/>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6" name="Grafik 3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7" name="Gruppieren 36"/>
          <p:cNvGrpSpPr/>
          <p:nvPr userDrawn="1"/>
        </p:nvGrpSpPr>
        <p:grpSpPr>
          <a:xfrm>
            <a:off x="12192002" y="3909447"/>
            <a:ext cx="2383726" cy="3891079"/>
            <a:chOff x="12291863" y="5052225"/>
            <a:chExt cx="2384968" cy="3891979"/>
          </a:xfrm>
        </p:grpSpPr>
        <p:sp>
          <p:nvSpPr>
            <p:cNvPr id="38" name="Rechteck 37"/>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39" name="Picture 2"/>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uppieren 39"/>
          <p:cNvGrpSpPr/>
          <p:nvPr userDrawn="1"/>
        </p:nvGrpSpPr>
        <p:grpSpPr>
          <a:xfrm>
            <a:off x="14575773" y="-67762"/>
            <a:ext cx="2184353" cy="5224601"/>
            <a:chOff x="14583318" y="4183"/>
            <a:chExt cx="2185491" cy="5225811"/>
          </a:xfrm>
        </p:grpSpPr>
        <p:sp>
          <p:nvSpPr>
            <p:cNvPr id="41" name="Rechteck 40"/>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2" name="Grafik 4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3" name="Grafik 4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4" name="Rechteck 43"/>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5" name="Grafik 44"/>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3617475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1.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2"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47" y="3"/>
            <a:ext cx="12190450" cy="6490343"/>
          </a:xfrm>
          <a:prstGeom prst="rect">
            <a:avLst/>
          </a:prstGeom>
        </p:spPr>
      </p:pic>
      <p:sp>
        <p:nvSpPr>
          <p:cNvPr id="4" name="Picture Placeholder 3"/>
          <p:cNvSpPr>
            <a:spLocks noGrp="1"/>
          </p:cNvSpPr>
          <p:nvPr>
            <p:ph type="pic" sz="quarter" idx="10" hasCustomPrompt="1"/>
          </p:nvPr>
        </p:nvSpPr>
        <p:spPr bwMode="gray">
          <a:xfrm>
            <a:off x="48"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 name="Title 2"/>
          <p:cNvSpPr>
            <a:spLocks noGrp="1"/>
          </p:cNvSpPr>
          <p:nvPr>
            <p:ph type="title" hasCustomPrompt="1"/>
          </p:nvPr>
        </p:nvSpPr>
        <p:spPr>
          <a:xfrm>
            <a:off x="630116" y="288860"/>
            <a:ext cx="10930661" cy="1025684"/>
          </a:xfrm>
        </p:spPr>
        <p:txBody>
          <a:bodyPr wrap="square">
            <a:spAutoFit/>
          </a:bodyPr>
          <a:lstStyle>
            <a:lvl1pPr>
              <a:defRPr>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or more lines of text</a:t>
            </a:r>
            <a:endParaRPr lang="en-GB" dirty="0"/>
          </a:p>
        </p:txBody>
      </p:sp>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193185" y="2284569"/>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5"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4" name="Gruppieren 23"/>
          <p:cNvGrpSpPr/>
          <p:nvPr userDrawn="1"/>
        </p:nvGrpSpPr>
        <p:grpSpPr>
          <a:xfrm>
            <a:off x="-2250853" y="3527182"/>
            <a:ext cx="2229361" cy="4638856"/>
            <a:chOff x="12221581" y="-62687"/>
            <a:chExt cx="2230522" cy="4639930"/>
          </a:xfrm>
        </p:grpSpPr>
        <p:sp>
          <p:nvSpPr>
            <p:cNvPr id="26" name="Rechteck 25"/>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7" name="Grafik 2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8" name="Grafik 2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9" name="Rechteck 28"/>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30" name="Gruppieren 29"/>
          <p:cNvGrpSpPr/>
          <p:nvPr userDrawn="1"/>
        </p:nvGrpSpPr>
        <p:grpSpPr>
          <a:xfrm>
            <a:off x="12192048" y="-82363"/>
            <a:ext cx="2184353" cy="3786237"/>
            <a:chOff x="12266612" y="-62687"/>
            <a:chExt cx="2185491" cy="3787114"/>
          </a:xfrm>
        </p:grpSpPr>
        <p:sp>
          <p:nvSpPr>
            <p:cNvPr id="31" name="Rechteck 30"/>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2" name="Grafik 3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3" name="Gruppieren 32"/>
          <p:cNvGrpSpPr/>
          <p:nvPr userDrawn="1"/>
        </p:nvGrpSpPr>
        <p:grpSpPr>
          <a:xfrm>
            <a:off x="12192002" y="3909447"/>
            <a:ext cx="2383726" cy="3891079"/>
            <a:chOff x="12291863" y="5052225"/>
            <a:chExt cx="2384968" cy="3891979"/>
          </a:xfrm>
        </p:grpSpPr>
        <p:sp>
          <p:nvSpPr>
            <p:cNvPr id="34" name="Rechteck 33"/>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40" name="Picture 2"/>
            <p:cNvPicPr>
              <a:picLocks noChangeAspect="1" noChangeArrowheads="1"/>
            </p:cNvPicPr>
            <p:nvPr userDrawn="1"/>
          </p:nvPicPr>
          <p:blipFill>
            <a:blip r:embed="rId8">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uppieren 40"/>
          <p:cNvGrpSpPr/>
          <p:nvPr userDrawn="1"/>
        </p:nvGrpSpPr>
        <p:grpSpPr>
          <a:xfrm>
            <a:off x="14575773" y="-67762"/>
            <a:ext cx="2184353" cy="5224601"/>
            <a:chOff x="14583318" y="4183"/>
            <a:chExt cx="2185491" cy="5225811"/>
          </a:xfrm>
        </p:grpSpPr>
        <p:sp>
          <p:nvSpPr>
            <p:cNvPr id="42" name="Rechteck 41"/>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3" name="Grafik 4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4" name="Grafik 4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5" name="Rechteck 44"/>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6" name="Grafik 4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40542823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preserve="1" userDrawn="1">
  <p:cSld name="2.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2"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47" y="3"/>
            <a:ext cx="12190450" cy="6490343"/>
          </a:xfrm>
          <a:prstGeom prst="rect">
            <a:avLst/>
          </a:prstGeom>
        </p:spPr>
      </p:pic>
      <p:sp>
        <p:nvSpPr>
          <p:cNvPr id="4" name="Picture Placeholder 3"/>
          <p:cNvSpPr>
            <a:spLocks noGrp="1"/>
          </p:cNvSpPr>
          <p:nvPr>
            <p:ph type="pic" sz="quarter" idx="10" hasCustomPrompt="1"/>
          </p:nvPr>
        </p:nvSpPr>
        <p:spPr bwMode="gray">
          <a:xfrm>
            <a:off x="2" y="1688656"/>
            <a:ext cx="6059507" cy="4797955"/>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 name="Title 2"/>
          <p:cNvSpPr>
            <a:spLocks noGrp="1"/>
          </p:cNvSpPr>
          <p:nvPr>
            <p:ph type="title" hasCustomPrompt="1"/>
          </p:nvPr>
        </p:nvSpPr>
        <p:spPr>
          <a:xfrm>
            <a:off x="630118" y="288858"/>
            <a:ext cx="10931023" cy="1115742"/>
          </a:xfrm>
          <a:custGeom>
            <a:avLst/>
            <a:gdLst>
              <a:gd name="connsiteX0" fmla="*/ 0 w 10936355"/>
              <a:gd name="connsiteY0" fmla="*/ 0 h 1116000"/>
              <a:gd name="connsiteX1" fmla="*/ 10936355 w 10936355"/>
              <a:gd name="connsiteY1" fmla="*/ 0 h 1116000"/>
              <a:gd name="connsiteX2" fmla="*/ 10936355 w 10936355"/>
              <a:gd name="connsiteY2" fmla="*/ 1116000 h 1116000"/>
              <a:gd name="connsiteX3" fmla="*/ 0 w 10936355"/>
              <a:gd name="connsiteY3" fmla="*/ 1116000 h 1116000"/>
              <a:gd name="connsiteX4" fmla="*/ 0 w 10936355"/>
              <a:gd name="connsiteY4" fmla="*/ 0 h 1116000"/>
              <a:gd name="connsiteX0" fmla="*/ 0 w 10936355"/>
              <a:gd name="connsiteY0" fmla="*/ 0 h 1116000"/>
              <a:gd name="connsiteX1" fmla="*/ 10936355 w 10936355"/>
              <a:gd name="connsiteY1" fmla="*/ 0 h 1116000"/>
              <a:gd name="connsiteX2" fmla="*/ 10936355 w 10936355"/>
              <a:gd name="connsiteY2" fmla="*/ 1116000 h 1116000"/>
              <a:gd name="connsiteX3" fmla="*/ 5793216 w 10936355"/>
              <a:gd name="connsiteY3" fmla="*/ 1113155 h 1116000"/>
              <a:gd name="connsiteX4" fmla="*/ 0 w 10936355"/>
              <a:gd name="connsiteY4" fmla="*/ 1116000 h 1116000"/>
              <a:gd name="connsiteX5" fmla="*/ 0 w 10936355"/>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10936355 w 10936716"/>
              <a:gd name="connsiteY3" fmla="*/ 1116000 h 1116000"/>
              <a:gd name="connsiteX4" fmla="*/ 5793216 w 10936716"/>
              <a:gd name="connsiteY4" fmla="*/ 1113155 h 1116000"/>
              <a:gd name="connsiteX5" fmla="*/ 0 w 10936716"/>
              <a:gd name="connsiteY5" fmla="*/ 1116000 h 1116000"/>
              <a:gd name="connsiteX6" fmla="*/ 0 w 10936716"/>
              <a:gd name="connsiteY6"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1116000">
                <a:moveTo>
                  <a:pt x="0" y="0"/>
                </a:moveTo>
                <a:lnTo>
                  <a:pt x="10936355" y="0"/>
                </a:lnTo>
                <a:cubicBezTo>
                  <a:pt x="10936475" y="226272"/>
                  <a:pt x="10936596" y="452543"/>
                  <a:pt x="10936716" y="678815"/>
                </a:cubicBezTo>
                <a:lnTo>
                  <a:pt x="5793216" y="1113155"/>
                </a:lnTo>
                <a:lnTo>
                  <a:pt x="0" y="1116000"/>
                </a:lnTo>
                <a:lnTo>
                  <a:pt x="0" y="0"/>
                </a:lnTo>
                <a:close/>
              </a:path>
            </a:pathLst>
          </a:custGeom>
        </p:spPr>
        <p:txBody>
          <a:bodyPr/>
          <a:lstStyle>
            <a:lvl1pPr>
              <a:defRPr>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lines of text</a:t>
            </a:r>
            <a:endParaRPr lang="en-GB" dirty="0"/>
          </a:p>
        </p:txBody>
      </p:sp>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132496"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4"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3" name="Gruppieren 22"/>
          <p:cNvGrpSpPr/>
          <p:nvPr userDrawn="1"/>
        </p:nvGrpSpPr>
        <p:grpSpPr>
          <a:xfrm>
            <a:off x="-2250853" y="3527182"/>
            <a:ext cx="2229361" cy="4638856"/>
            <a:chOff x="12221581" y="-62687"/>
            <a:chExt cx="2230522" cy="4639930"/>
          </a:xfrm>
        </p:grpSpPr>
        <p:sp>
          <p:nvSpPr>
            <p:cNvPr id="25" name="Rechteck 24"/>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6" name="Grafik 2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7" name="Grafik 2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8" name="Rechteck 27"/>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9" name="Gruppieren 28"/>
          <p:cNvGrpSpPr/>
          <p:nvPr userDrawn="1"/>
        </p:nvGrpSpPr>
        <p:grpSpPr>
          <a:xfrm>
            <a:off x="12192048" y="-82363"/>
            <a:ext cx="2184353" cy="3786237"/>
            <a:chOff x="12266612" y="-62687"/>
            <a:chExt cx="2185491" cy="3787114"/>
          </a:xfrm>
        </p:grpSpPr>
        <p:sp>
          <p:nvSpPr>
            <p:cNvPr id="30" name="Rechteck 29"/>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1" name="Grafik 3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2" name="Gruppieren 31"/>
          <p:cNvGrpSpPr/>
          <p:nvPr userDrawn="1"/>
        </p:nvGrpSpPr>
        <p:grpSpPr>
          <a:xfrm>
            <a:off x="12192002" y="3909447"/>
            <a:ext cx="2383726" cy="3891079"/>
            <a:chOff x="12291863" y="5052225"/>
            <a:chExt cx="2384968" cy="3891979"/>
          </a:xfrm>
        </p:grpSpPr>
        <p:sp>
          <p:nvSpPr>
            <p:cNvPr id="33" name="Rechteck 32"/>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40" name="Picture 2"/>
            <p:cNvPicPr>
              <a:picLocks noChangeAspect="1" noChangeArrowheads="1"/>
            </p:cNvPicPr>
            <p:nvPr userDrawn="1"/>
          </p:nvPicPr>
          <p:blipFill>
            <a:blip r:embed="rId8">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uppieren 40"/>
          <p:cNvGrpSpPr/>
          <p:nvPr userDrawn="1"/>
        </p:nvGrpSpPr>
        <p:grpSpPr>
          <a:xfrm>
            <a:off x="14575773" y="-67762"/>
            <a:ext cx="2184353" cy="5224601"/>
            <a:chOff x="14583318" y="4183"/>
            <a:chExt cx="2185491" cy="5225811"/>
          </a:xfrm>
        </p:grpSpPr>
        <p:sp>
          <p:nvSpPr>
            <p:cNvPr id="42" name="Rechteck 41"/>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3" name="Grafik 4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4" name="Grafik 4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5" name="Rechteck 44"/>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6" name="Grafik 4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2990883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Headline // Image">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222476704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3. Brushing/ image 2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2"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614090" y="2"/>
            <a:ext cx="5576364" cy="5066125"/>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4" name="Picture Placeholder 3"/>
          <p:cNvSpPr>
            <a:spLocks noGrp="1"/>
          </p:cNvSpPr>
          <p:nvPr>
            <p:ph type="pic" sz="quarter" idx="14" hasCustomPrompt="1"/>
          </p:nvPr>
        </p:nvSpPr>
        <p:spPr bwMode="gray">
          <a:xfrm>
            <a:off x="2" y="3"/>
            <a:ext cx="6546630"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4"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3" name="Gruppieren 22"/>
          <p:cNvGrpSpPr/>
          <p:nvPr userDrawn="1"/>
        </p:nvGrpSpPr>
        <p:grpSpPr>
          <a:xfrm>
            <a:off x="-2250853" y="3527182"/>
            <a:ext cx="2229361" cy="4638856"/>
            <a:chOff x="12221581" y="-62687"/>
            <a:chExt cx="2230522" cy="4639930"/>
          </a:xfrm>
        </p:grpSpPr>
        <p:sp>
          <p:nvSpPr>
            <p:cNvPr id="25" name="Rechteck 24"/>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6" name="Grafik 2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7" name="Grafik 2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8" name="Rechteck 27"/>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9" name="Gruppieren 28"/>
          <p:cNvGrpSpPr/>
          <p:nvPr userDrawn="1"/>
        </p:nvGrpSpPr>
        <p:grpSpPr>
          <a:xfrm>
            <a:off x="12192048" y="-82363"/>
            <a:ext cx="2184353" cy="3786237"/>
            <a:chOff x="12266612" y="-62687"/>
            <a:chExt cx="2185491" cy="3787114"/>
          </a:xfrm>
        </p:grpSpPr>
        <p:sp>
          <p:nvSpPr>
            <p:cNvPr id="30" name="Rechteck 29"/>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1" name="Grafik 3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2" name="Gruppieren 31"/>
          <p:cNvGrpSpPr/>
          <p:nvPr userDrawn="1"/>
        </p:nvGrpSpPr>
        <p:grpSpPr>
          <a:xfrm>
            <a:off x="12192002" y="3909447"/>
            <a:ext cx="2383726" cy="3891079"/>
            <a:chOff x="12291863" y="5052225"/>
            <a:chExt cx="2384968" cy="3891979"/>
          </a:xfrm>
        </p:grpSpPr>
        <p:sp>
          <p:nvSpPr>
            <p:cNvPr id="33" name="Rechteck 32"/>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40" name="Picture 2"/>
            <p:cNvPicPr>
              <a:picLocks noChangeAspect="1" noChangeArrowheads="1"/>
            </p:cNvPicPr>
            <p:nvPr userDrawn="1"/>
          </p:nvPicPr>
          <p:blipFill>
            <a:blip r:embed="rId8">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uppieren 40"/>
          <p:cNvGrpSpPr/>
          <p:nvPr userDrawn="1"/>
        </p:nvGrpSpPr>
        <p:grpSpPr>
          <a:xfrm>
            <a:off x="14575773" y="-67762"/>
            <a:ext cx="2184353" cy="5224601"/>
            <a:chOff x="14583318" y="4183"/>
            <a:chExt cx="2185491" cy="5225811"/>
          </a:xfrm>
        </p:grpSpPr>
        <p:sp>
          <p:nvSpPr>
            <p:cNvPr id="42" name="Rechteck 41"/>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3" name="Grafik 4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4" name="Grafik 4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5" name="Rechteck 44"/>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6" name="Grafik 4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32224009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4.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2"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0" y="2"/>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017063" y="47"/>
            <a:ext cx="7175731" cy="4085055"/>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6" name="Text Placeholder 4"/>
          <p:cNvSpPr>
            <a:spLocks noGrp="1"/>
          </p:cNvSpPr>
          <p:nvPr>
            <p:ph type="body" sz="quarter" idx="15" hasCustomPrompt="1"/>
          </p:nvPr>
        </p:nvSpPr>
        <p:spPr>
          <a:xfrm>
            <a:off x="630162" y="4745529"/>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smtClean="0"/>
              <a:t>Insert text in </a:t>
            </a:r>
            <a:r>
              <a:rPr lang="en-GB" noProof="0" dirty="0" smtClean="0"/>
              <a:t>CorpoS (Body) 24 pt. (Mark-ups in Bold) </a:t>
            </a:r>
            <a:r>
              <a:rPr lang="en-GB" dirty="0" smtClean="0"/>
              <a:t>// for Body text: Home // Paragraph// Increase List Level</a:t>
            </a:r>
          </a:p>
          <a:p>
            <a:pPr lvl="1"/>
            <a:r>
              <a:rPr lang="en-GB" dirty="0" smtClean="0"/>
              <a:t>Second level (Body text)</a:t>
            </a:r>
          </a:p>
        </p:txBody>
      </p:sp>
      <p:sp>
        <p:nvSpPr>
          <p:cNvPr id="27"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6" name="Gruppieren 25"/>
          <p:cNvGrpSpPr/>
          <p:nvPr userDrawn="1"/>
        </p:nvGrpSpPr>
        <p:grpSpPr>
          <a:xfrm>
            <a:off x="-2250853" y="3527182"/>
            <a:ext cx="2229361" cy="4638856"/>
            <a:chOff x="12221581" y="-62687"/>
            <a:chExt cx="2230522" cy="4639930"/>
          </a:xfrm>
        </p:grpSpPr>
        <p:sp>
          <p:nvSpPr>
            <p:cNvPr id="28" name="Rechteck 27"/>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9" name="Grafik 2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30" name="Grafik 2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31" name="Rechteck 30"/>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32" name="Gruppieren 31"/>
          <p:cNvGrpSpPr/>
          <p:nvPr userDrawn="1"/>
        </p:nvGrpSpPr>
        <p:grpSpPr>
          <a:xfrm>
            <a:off x="12192048" y="-82363"/>
            <a:ext cx="2184353" cy="3786237"/>
            <a:chOff x="12266612" y="-62687"/>
            <a:chExt cx="2185491" cy="3787114"/>
          </a:xfrm>
        </p:grpSpPr>
        <p:sp>
          <p:nvSpPr>
            <p:cNvPr id="33" name="Rechteck 32"/>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4" name="Grafik 3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5" name="Gruppieren 34"/>
          <p:cNvGrpSpPr/>
          <p:nvPr userDrawn="1"/>
        </p:nvGrpSpPr>
        <p:grpSpPr>
          <a:xfrm>
            <a:off x="12192002" y="3909447"/>
            <a:ext cx="2383726" cy="3891079"/>
            <a:chOff x="12291863" y="5052225"/>
            <a:chExt cx="2384968" cy="3891979"/>
          </a:xfrm>
        </p:grpSpPr>
        <p:sp>
          <p:nvSpPr>
            <p:cNvPr id="36" name="Rechteck 35"/>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40" name="Picture 2"/>
            <p:cNvPicPr>
              <a:picLocks noChangeAspect="1" noChangeArrowheads="1"/>
            </p:cNvPicPr>
            <p:nvPr userDrawn="1"/>
          </p:nvPicPr>
          <p:blipFill>
            <a:blip r:embed="rId8">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uppieren 40"/>
          <p:cNvGrpSpPr/>
          <p:nvPr userDrawn="1"/>
        </p:nvGrpSpPr>
        <p:grpSpPr>
          <a:xfrm>
            <a:off x="14575773" y="-67762"/>
            <a:ext cx="2184353" cy="5224601"/>
            <a:chOff x="14583318" y="4183"/>
            <a:chExt cx="2185491" cy="5225811"/>
          </a:xfrm>
        </p:grpSpPr>
        <p:sp>
          <p:nvSpPr>
            <p:cNvPr id="42" name="Rechteck 41"/>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3" name="Grafik 4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4" name="Grafik 4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5" name="Rechteck 44"/>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6" name="Grafik 4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24651105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5. Brushing/ image 3 columns">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2"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48" y="2"/>
            <a:ext cx="4598180" cy="3373449"/>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4669582" y="1"/>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5" name="Picture Placeholder 3"/>
          <p:cNvSpPr>
            <a:spLocks noGrp="1"/>
          </p:cNvSpPr>
          <p:nvPr>
            <p:ph type="pic" sz="quarter" idx="14" hasCustomPrompt="1"/>
          </p:nvPr>
        </p:nvSpPr>
        <p:spPr bwMode="gray">
          <a:xfrm>
            <a:off x="8053955" y="0"/>
            <a:ext cx="4136496" cy="2664003"/>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5" name="Text Placeholder 4"/>
          <p:cNvSpPr>
            <a:spLocks noGrp="1"/>
          </p:cNvSpPr>
          <p:nvPr>
            <p:ph type="body" sz="quarter" idx="15" hasCustomPrompt="1"/>
          </p:nvPr>
        </p:nvSpPr>
        <p:spPr>
          <a:xfrm>
            <a:off x="628324" y="3526611"/>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smtClean="0"/>
              <a:t>Insert text in </a:t>
            </a:r>
            <a:r>
              <a:rPr lang="en-GB" noProof="0" dirty="0" smtClean="0"/>
              <a:t>CorpoS (Body) 24 pt. (Mark-ups in Bold) </a:t>
            </a:r>
            <a:r>
              <a:rPr lang="en-GB" dirty="0" smtClean="0"/>
              <a:t>// for Body text: Home // Paragraph// Increase List Level</a:t>
            </a:r>
          </a:p>
          <a:p>
            <a:pPr lvl="1"/>
            <a:r>
              <a:rPr lang="en-GB" dirty="0" smtClean="0"/>
              <a:t>Second level (Body text)</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p:txBody>
      </p:sp>
      <p:sp>
        <p:nvSpPr>
          <p:cNvPr id="26"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5" name="Gruppieren 24"/>
          <p:cNvGrpSpPr/>
          <p:nvPr userDrawn="1"/>
        </p:nvGrpSpPr>
        <p:grpSpPr>
          <a:xfrm>
            <a:off x="-2250853" y="3527182"/>
            <a:ext cx="2229361" cy="4638856"/>
            <a:chOff x="12221581" y="-62687"/>
            <a:chExt cx="2230522" cy="4639930"/>
          </a:xfrm>
        </p:grpSpPr>
        <p:sp>
          <p:nvSpPr>
            <p:cNvPr id="27" name="Rechteck 26"/>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8" name="Grafik 2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9" name="Grafik 2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30" name="Rechteck 29"/>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31" name="Gruppieren 30"/>
          <p:cNvGrpSpPr/>
          <p:nvPr userDrawn="1"/>
        </p:nvGrpSpPr>
        <p:grpSpPr>
          <a:xfrm>
            <a:off x="12192048" y="-82363"/>
            <a:ext cx="2184353" cy="3786237"/>
            <a:chOff x="12266612" y="-62687"/>
            <a:chExt cx="2185491" cy="3787114"/>
          </a:xfrm>
        </p:grpSpPr>
        <p:sp>
          <p:nvSpPr>
            <p:cNvPr id="32" name="Rechteck 31"/>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3" name="Grafik 3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4" name="Gruppieren 33"/>
          <p:cNvGrpSpPr/>
          <p:nvPr userDrawn="1"/>
        </p:nvGrpSpPr>
        <p:grpSpPr>
          <a:xfrm>
            <a:off x="12192002" y="3909447"/>
            <a:ext cx="2383726" cy="3891079"/>
            <a:chOff x="12291863" y="5052225"/>
            <a:chExt cx="2384968" cy="3891979"/>
          </a:xfrm>
        </p:grpSpPr>
        <p:sp>
          <p:nvSpPr>
            <p:cNvPr id="35" name="Rechteck 34"/>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41" name="Picture 2"/>
            <p:cNvPicPr>
              <a:picLocks noChangeAspect="1" noChangeArrowheads="1"/>
            </p:cNvPicPr>
            <p:nvPr userDrawn="1"/>
          </p:nvPicPr>
          <p:blipFill>
            <a:blip r:embed="rId8">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 name="Gruppieren 41"/>
          <p:cNvGrpSpPr/>
          <p:nvPr userDrawn="1"/>
        </p:nvGrpSpPr>
        <p:grpSpPr>
          <a:xfrm>
            <a:off x="14575773" y="-67762"/>
            <a:ext cx="2184353" cy="5224601"/>
            <a:chOff x="14583318" y="4183"/>
            <a:chExt cx="2185491" cy="5225811"/>
          </a:xfrm>
        </p:grpSpPr>
        <p:sp>
          <p:nvSpPr>
            <p:cNvPr id="43" name="Rechteck 42"/>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4" name="Grafik 4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5" name="Grafik 44"/>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6" name="Rechteck 45"/>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7" name="Grafik 46"/>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33201932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Full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2"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1"/>
            <a:ext cx="12190451" cy="6486611"/>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1"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0" name="Gruppieren 19"/>
          <p:cNvGrpSpPr/>
          <p:nvPr userDrawn="1"/>
        </p:nvGrpSpPr>
        <p:grpSpPr>
          <a:xfrm>
            <a:off x="-2250853" y="3527182"/>
            <a:ext cx="2229361" cy="4638856"/>
            <a:chOff x="12221581" y="-62687"/>
            <a:chExt cx="2230522" cy="4639930"/>
          </a:xfrm>
        </p:grpSpPr>
        <p:sp>
          <p:nvSpPr>
            <p:cNvPr id="22" name="Rechteck 21"/>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3" name="Grafik 2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4" name="Grafik 2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5" name="Rechteck 24"/>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6" name="Gruppieren 25"/>
          <p:cNvGrpSpPr/>
          <p:nvPr userDrawn="1"/>
        </p:nvGrpSpPr>
        <p:grpSpPr>
          <a:xfrm>
            <a:off x="12192048" y="-82363"/>
            <a:ext cx="2184353" cy="3786237"/>
            <a:chOff x="12266612" y="-62687"/>
            <a:chExt cx="2185491" cy="3787114"/>
          </a:xfrm>
        </p:grpSpPr>
        <p:sp>
          <p:nvSpPr>
            <p:cNvPr id="27" name="Rechteck 26"/>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28" name="Grafik 2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29" name="Gruppieren 28"/>
          <p:cNvGrpSpPr/>
          <p:nvPr userDrawn="1"/>
        </p:nvGrpSpPr>
        <p:grpSpPr>
          <a:xfrm>
            <a:off x="12192002" y="3909447"/>
            <a:ext cx="2383726" cy="3891079"/>
            <a:chOff x="12291863" y="5052225"/>
            <a:chExt cx="2384968" cy="3891979"/>
          </a:xfrm>
        </p:grpSpPr>
        <p:sp>
          <p:nvSpPr>
            <p:cNvPr id="30" name="Rechteck 29"/>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37" name="Picture 2"/>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uppieren 37"/>
          <p:cNvGrpSpPr/>
          <p:nvPr userDrawn="1"/>
        </p:nvGrpSpPr>
        <p:grpSpPr>
          <a:xfrm>
            <a:off x="14575773" y="-67762"/>
            <a:ext cx="2184353" cy="5224601"/>
            <a:chOff x="14583318" y="4183"/>
            <a:chExt cx="2185491" cy="5225811"/>
          </a:xfrm>
        </p:grpSpPr>
        <p:sp>
          <p:nvSpPr>
            <p:cNvPr id="39" name="Rechteck 38"/>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0" name="Grafik 3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1" name="Grafik 4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2" name="Rechteck 41"/>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3" name="Grafik 42"/>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1057683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Full image/ 2 columns">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2"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3" y="1"/>
            <a:ext cx="6059906" cy="6486611"/>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2" name="Picture Placeholder 3"/>
          <p:cNvSpPr>
            <a:spLocks noGrp="1"/>
          </p:cNvSpPr>
          <p:nvPr>
            <p:ph type="pic" sz="quarter" idx="14" hasCustomPrompt="1"/>
          </p:nvPr>
        </p:nvSpPr>
        <p:spPr bwMode="gray">
          <a:xfrm>
            <a:off x="6132096" y="1"/>
            <a:ext cx="6059906" cy="6486611"/>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1"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0" name="Gruppieren 19"/>
          <p:cNvGrpSpPr/>
          <p:nvPr userDrawn="1"/>
        </p:nvGrpSpPr>
        <p:grpSpPr>
          <a:xfrm>
            <a:off x="-2250853" y="3527182"/>
            <a:ext cx="2229361" cy="4638856"/>
            <a:chOff x="12221581" y="-62687"/>
            <a:chExt cx="2230522" cy="4639930"/>
          </a:xfrm>
        </p:grpSpPr>
        <p:sp>
          <p:nvSpPr>
            <p:cNvPr id="23" name="Rechteck 22"/>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4" name="Grafik 2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5" name="Grafik 2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6" name="Rechteck 25"/>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7" name="Gruppieren 26"/>
          <p:cNvGrpSpPr/>
          <p:nvPr userDrawn="1"/>
        </p:nvGrpSpPr>
        <p:grpSpPr>
          <a:xfrm>
            <a:off x="12192048" y="-82363"/>
            <a:ext cx="2184353" cy="3786237"/>
            <a:chOff x="12266612" y="-62687"/>
            <a:chExt cx="2185491" cy="3787114"/>
          </a:xfrm>
        </p:grpSpPr>
        <p:sp>
          <p:nvSpPr>
            <p:cNvPr id="28" name="Rechteck 27"/>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29" name="Grafik 2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0" name="Gruppieren 29"/>
          <p:cNvGrpSpPr/>
          <p:nvPr userDrawn="1"/>
        </p:nvGrpSpPr>
        <p:grpSpPr>
          <a:xfrm>
            <a:off x="12192002" y="3909447"/>
            <a:ext cx="2383726" cy="3891079"/>
            <a:chOff x="12291863" y="5052225"/>
            <a:chExt cx="2384968" cy="3891979"/>
          </a:xfrm>
        </p:grpSpPr>
        <p:sp>
          <p:nvSpPr>
            <p:cNvPr id="37" name="Rechteck 36"/>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38" name="Picture 2"/>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uppieren 38"/>
          <p:cNvGrpSpPr/>
          <p:nvPr userDrawn="1"/>
        </p:nvGrpSpPr>
        <p:grpSpPr>
          <a:xfrm>
            <a:off x="14575773" y="-67762"/>
            <a:ext cx="2184353" cy="5224601"/>
            <a:chOff x="14583318" y="4183"/>
            <a:chExt cx="2185491" cy="5225811"/>
          </a:xfrm>
        </p:grpSpPr>
        <p:sp>
          <p:nvSpPr>
            <p:cNvPr id="40" name="Rechteck 39"/>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1" name="Grafik 4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2" name="Grafik 4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3" name="Rechteck 42"/>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4" name="Grafik 4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28105587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Full image/ 4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2"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3" y="3279298"/>
            <a:ext cx="6059906"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2" name="Picture Placeholder 3"/>
          <p:cNvSpPr>
            <a:spLocks noGrp="1"/>
          </p:cNvSpPr>
          <p:nvPr>
            <p:ph type="pic" sz="quarter" idx="14" hasCustomPrompt="1"/>
          </p:nvPr>
        </p:nvSpPr>
        <p:spPr bwMode="gray">
          <a:xfrm>
            <a:off x="6132096" y="3279298"/>
            <a:ext cx="6059906"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1" name="Picture Placeholder 3"/>
          <p:cNvSpPr>
            <a:spLocks noGrp="1"/>
          </p:cNvSpPr>
          <p:nvPr>
            <p:ph type="pic" sz="quarter" idx="15" hasCustomPrompt="1"/>
          </p:nvPr>
        </p:nvSpPr>
        <p:spPr bwMode="gray">
          <a:xfrm>
            <a:off x="3" y="4"/>
            <a:ext cx="6059906"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3" name="Picture Placeholder 3"/>
          <p:cNvSpPr>
            <a:spLocks noGrp="1"/>
          </p:cNvSpPr>
          <p:nvPr>
            <p:ph type="pic" sz="quarter" idx="16" hasCustomPrompt="1"/>
          </p:nvPr>
        </p:nvSpPr>
        <p:spPr bwMode="gray">
          <a:xfrm>
            <a:off x="6132096" y="4"/>
            <a:ext cx="6059906"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4"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0" name="Gruppieren 19"/>
          <p:cNvGrpSpPr/>
          <p:nvPr userDrawn="1"/>
        </p:nvGrpSpPr>
        <p:grpSpPr>
          <a:xfrm>
            <a:off x="-2250853" y="3527182"/>
            <a:ext cx="2229361" cy="4638856"/>
            <a:chOff x="12221581" y="-62687"/>
            <a:chExt cx="2230522" cy="4639930"/>
          </a:xfrm>
        </p:grpSpPr>
        <p:sp>
          <p:nvSpPr>
            <p:cNvPr id="25" name="Rechteck 24"/>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6" name="Grafik 2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7" name="Grafik 2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8" name="Rechteck 27"/>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9" name="Gruppieren 28"/>
          <p:cNvGrpSpPr/>
          <p:nvPr userDrawn="1"/>
        </p:nvGrpSpPr>
        <p:grpSpPr>
          <a:xfrm>
            <a:off x="12192048" y="-82363"/>
            <a:ext cx="2184353" cy="3786237"/>
            <a:chOff x="12266612" y="-62687"/>
            <a:chExt cx="2185491" cy="3787114"/>
          </a:xfrm>
        </p:grpSpPr>
        <p:sp>
          <p:nvSpPr>
            <p:cNvPr id="30" name="Rechteck 29"/>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7" name="Grafik 3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8" name="Gruppieren 37"/>
          <p:cNvGrpSpPr/>
          <p:nvPr userDrawn="1"/>
        </p:nvGrpSpPr>
        <p:grpSpPr>
          <a:xfrm>
            <a:off x="12192002" y="3909447"/>
            <a:ext cx="2383726" cy="3891079"/>
            <a:chOff x="12291863" y="5052225"/>
            <a:chExt cx="2384968" cy="3891979"/>
          </a:xfrm>
        </p:grpSpPr>
        <p:sp>
          <p:nvSpPr>
            <p:cNvPr id="39" name="Rechteck 38"/>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40" name="Picture 2"/>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uppieren 40"/>
          <p:cNvGrpSpPr/>
          <p:nvPr userDrawn="1"/>
        </p:nvGrpSpPr>
        <p:grpSpPr>
          <a:xfrm>
            <a:off x="14575773" y="-67762"/>
            <a:ext cx="2184353" cy="5224601"/>
            <a:chOff x="14583318" y="4183"/>
            <a:chExt cx="2185491" cy="5225811"/>
          </a:xfrm>
        </p:grpSpPr>
        <p:sp>
          <p:nvSpPr>
            <p:cNvPr id="42" name="Rechteck 41"/>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3" name="Grafik 4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4" name="Grafik 4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5" name="Rechteck 44"/>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6" name="Grafik 4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559591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Full image/ 3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2"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2" y="1"/>
            <a:ext cx="3841337" cy="6486611"/>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6" name="Picture Placeholder 3"/>
          <p:cNvSpPr>
            <a:spLocks noGrp="1"/>
          </p:cNvSpPr>
          <p:nvPr>
            <p:ph type="pic" sz="quarter" idx="14" hasCustomPrompt="1"/>
          </p:nvPr>
        </p:nvSpPr>
        <p:spPr bwMode="gray">
          <a:xfrm>
            <a:off x="3913579" y="1"/>
            <a:ext cx="4199924" cy="6486611"/>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7" name="Picture Placeholder 3"/>
          <p:cNvSpPr>
            <a:spLocks noGrp="1"/>
          </p:cNvSpPr>
          <p:nvPr>
            <p:ph type="pic" sz="quarter" idx="15" hasCustomPrompt="1"/>
          </p:nvPr>
        </p:nvSpPr>
        <p:spPr bwMode="gray">
          <a:xfrm>
            <a:off x="8185696" y="1"/>
            <a:ext cx="4006350" cy="6486611"/>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5"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4" name="Gruppieren 23"/>
          <p:cNvGrpSpPr/>
          <p:nvPr userDrawn="1"/>
        </p:nvGrpSpPr>
        <p:grpSpPr>
          <a:xfrm>
            <a:off x="-2250853" y="3527182"/>
            <a:ext cx="2229361" cy="4638856"/>
            <a:chOff x="12221581" y="-62687"/>
            <a:chExt cx="2230522" cy="4639930"/>
          </a:xfrm>
        </p:grpSpPr>
        <p:sp>
          <p:nvSpPr>
            <p:cNvPr id="26" name="Rechteck 25"/>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7" name="Grafik 2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8" name="Grafik 2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9" name="Rechteck 28"/>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30" name="Gruppieren 29"/>
          <p:cNvGrpSpPr/>
          <p:nvPr userDrawn="1"/>
        </p:nvGrpSpPr>
        <p:grpSpPr>
          <a:xfrm>
            <a:off x="12192048" y="-82363"/>
            <a:ext cx="2184353" cy="3786237"/>
            <a:chOff x="12266612" y="-62687"/>
            <a:chExt cx="2185491" cy="3787114"/>
          </a:xfrm>
        </p:grpSpPr>
        <p:sp>
          <p:nvSpPr>
            <p:cNvPr id="31" name="Rechteck 30"/>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2" name="Grafik 3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3" name="Gruppieren 32"/>
          <p:cNvGrpSpPr/>
          <p:nvPr userDrawn="1"/>
        </p:nvGrpSpPr>
        <p:grpSpPr>
          <a:xfrm>
            <a:off x="12192002" y="3909447"/>
            <a:ext cx="2383726" cy="3891079"/>
            <a:chOff x="12291863" y="5052225"/>
            <a:chExt cx="2384968" cy="3891979"/>
          </a:xfrm>
        </p:grpSpPr>
        <p:sp>
          <p:nvSpPr>
            <p:cNvPr id="34" name="Rechteck 33"/>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39" name="Picture 2"/>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uppieren 39"/>
          <p:cNvGrpSpPr/>
          <p:nvPr userDrawn="1"/>
        </p:nvGrpSpPr>
        <p:grpSpPr>
          <a:xfrm>
            <a:off x="14575773" y="-67762"/>
            <a:ext cx="2184353" cy="5224601"/>
            <a:chOff x="14583318" y="4183"/>
            <a:chExt cx="2185491" cy="5225811"/>
          </a:xfrm>
        </p:grpSpPr>
        <p:sp>
          <p:nvSpPr>
            <p:cNvPr id="41" name="Rechteck 40"/>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2" name="Grafik 4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3" name="Grafik 4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4" name="Rechteck 43"/>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5" name="Grafik 44"/>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6040843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preserve="1" userDrawn="1">
  <p:cSld name="Full image/ 6 image">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2"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2" y="3279298"/>
            <a:ext cx="3841337"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6" name="Picture Placeholder 3"/>
          <p:cNvSpPr>
            <a:spLocks noGrp="1"/>
          </p:cNvSpPr>
          <p:nvPr>
            <p:ph type="pic" sz="quarter" idx="14" hasCustomPrompt="1"/>
          </p:nvPr>
        </p:nvSpPr>
        <p:spPr bwMode="gray">
          <a:xfrm>
            <a:off x="3913579" y="3279298"/>
            <a:ext cx="4199924"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7" name="Picture Placeholder 3"/>
          <p:cNvSpPr>
            <a:spLocks noGrp="1"/>
          </p:cNvSpPr>
          <p:nvPr>
            <p:ph type="pic" sz="quarter" idx="15" hasCustomPrompt="1"/>
          </p:nvPr>
        </p:nvSpPr>
        <p:spPr bwMode="gray">
          <a:xfrm>
            <a:off x="8185696" y="3279298"/>
            <a:ext cx="4006350"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5" name="Picture Placeholder 3"/>
          <p:cNvSpPr>
            <a:spLocks noGrp="1"/>
          </p:cNvSpPr>
          <p:nvPr>
            <p:ph type="pic" sz="quarter" idx="16" hasCustomPrompt="1"/>
          </p:nvPr>
        </p:nvSpPr>
        <p:spPr bwMode="gray">
          <a:xfrm>
            <a:off x="2" y="4"/>
            <a:ext cx="3841337"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9" name="Picture Placeholder 3"/>
          <p:cNvSpPr>
            <a:spLocks noGrp="1"/>
          </p:cNvSpPr>
          <p:nvPr>
            <p:ph type="pic" sz="quarter" idx="17" hasCustomPrompt="1"/>
          </p:nvPr>
        </p:nvSpPr>
        <p:spPr bwMode="gray">
          <a:xfrm>
            <a:off x="8185697" y="4"/>
            <a:ext cx="4006350"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0" name="Picture Placeholder 3"/>
          <p:cNvSpPr>
            <a:spLocks noGrp="1"/>
          </p:cNvSpPr>
          <p:nvPr>
            <p:ph type="pic" sz="quarter" idx="18" hasCustomPrompt="1"/>
          </p:nvPr>
        </p:nvSpPr>
        <p:spPr bwMode="gray">
          <a:xfrm>
            <a:off x="3913579" y="4"/>
            <a:ext cx="4199924"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6"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4" name="Gruppieren 23"/>
          <p:cNvGrpSpPr/>
          <p:nvPr userDrawn="1"/>
        </p:nvGrpSpPr>
        <p:grpSpPr>
          <a:xfrm>
            <a:off x="-2250853" y="3527182"/>
            <a:ext cx="2229361" cy="4638856"/>
            <a:chOff x="12221581" y="-62687"/>
            <a:chExt cx="2230522" cy="4639930"/>
          </a:xfrm>
        </p:grpSpPr>
        <p:sp>
          <p:nvSpPr>
            <p:cNvPr id="27" name="Rechteck 26"/>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8" name="Grafik 2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31" name="Grafik 3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32" name="Rechteck 31"/>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33" name="Gruppieren 32"/>
          <p:cNvGrpSpPr/>
          <p:nvPr userDrawn="1"/>
        </p:nvGrpSpPr>
        <p:grpSpPr>
          <a:xfrm>
            <a:off x="12192048" y="-82363"/>
            <a:ext cx="2184353" cy="3786237"/>
            <a:chOff x="12266612" y="-62687"/>
            <a:chExt cx="2185491" cy="3787114"/>
          </a:xfrm>
        </p:grpSpPr>
        <p:sp>
          <p:nvSpPr>
            <p:cNvPr id="34" name="Rechteck 33"/>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9" name="Grafik 3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40" name="Gruppieren 39"/>
          <p:cNvGrpSpPr/>
          <p:nvPr userDrawn="1"/>
        </p:nvGrpSpPr>
        <p:grpSpPr>
          <a:xfrm>
            <a:off x="12192002" y="3909447"/>
            <a:ext cx="2383726" cy="3891079"/>
            <a:chOff x="12291863" y="5052225"/>
            <a:chExt cx="2384968" cy="3891979"/>
          </a:xfrm>
        </p:grpSpPr>
        <p:sp>
          <p:nvSpPr>
            <p:cNvPr id="41" name="Rechteck 40"/>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42" name="Picture 2"/>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3" name="Gruppieren 42"/>
          <p:cNvGrpSpPr/>
          <p:nvPr userDrawn="1"/>
        </p:nvGrpSpPr>
        <p:grpSpPr>
          <a:xfrm>
            <a:off x="14575773" y="-67762"/>
            <a:ext cx="2184353" cy="5224601"/>
            <a:chOff x="14583318" y="4183"/>
            <a:chExt cx="2185491" cy="5225811"/>
          </a:xfrm>
        </p:grpSpPr>
        <p:sp>
          <p:nvSpPr>
            <p:cNvPr id="44" name="Rechteck 43"/>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5" name="Grafik 4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6" name="Grafik 4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7" name="Rechteck 46"/>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8" name="Grafik 47"/>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41335168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ext/ 3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719" y="285982"/>
            <a:ext cx="10931106" cy="683842"/>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8370" y="4966850"/>
            <a:ext cx="5107503" cy="1414434"/>
          </a:xfrm>
        </p:spPr>
        <p:txBody>
          <a:bodyPr/>
          <a:lstStyle>
            <a:lvl1pPr>
              <a:defRPr baseline="0"/>
            </a:lvl1pPr>
          </a:lstStyle>
          <a:p>
            <a:pPr lvl="0"/>
            <a:r>
              <a:rPr lang="en-GB" dirty="0" smtClean="0"/>
              <a:t>Insert text </a:t>
            </a:r>
            <a:r>
              <a:rPr lang="en-GB" noProof="0" dirty="0" smtClean="0"/>
              <a:t>(Mark-ups in Bold) </a:t>
            </a:r>
            <a:r>
              <a:rPr lang="en-GB" dirty="0" smtClean="0"/>
              <a:t>// conclusion etc.: Increase List Level</a:t>
            </a:r>
          </a:p>
          <a:p>
            <a:pPr lvl="1"/>
            <a:r>
              <a:rPr lang="en-GB" dirty="0" smtClean="0"/>
              <a:t>Second level (Conclusion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en-GB" dirty="0" smtClean="0"/>
              <a:t>Insert text </a:t>
            </a:r>
            <a:r>
              <a:rPr lang="en-GB" noProof="0" dirty="0" smtClean="0"/>
              <a:t>(Mark-ups in Bold) </a:t>
            </a:r>
            <a:r>
              <a:rPr lang="en-GB" dirty="0" smtClean="0"/>
              <a:t>// conclusion etc.: Increase List Level</a:t>
            </a:r>
          </a:p>
          <a:p>
            <a:pPr lvl="1"/>
            <a:r>
              <a:rPr lang="en-GB" dirty="0" smtClean="0"/>
              <a:t>Second level (Conclusion etc.)</a:t>
            </a:r>
          </a:p>
        </p:txBody>
      </p:sp>
      <p:sp>
        <p:nvSpPr>
          <p:cNvPr id="10" name="Picture Placeholder 3"/>
          <p:cNvSpPr>
            <a:spLocks noGrp="1"/>
          </p:cNvSpPr>
          <p:nvPr>
            <p:ph type="pic" sz="quarter" idx="14" hasCustomPrompt="1"/>
          </p:nvPr>
        </p:nvSpPr>
        <p:spPr bwMode="gray">
          <a:xfrm>
            <a:off x="629673" y="1233206"/>
            <a:ext cx="6837213" cy="3599628"/>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Picture Placeholder 3"/>
          <p:cNvSpPr>
            <a:spLocks noGrp="1"/>
          </p:cNvSpPr>
          <p:nvPr>
            <p:ph type="pic" sz="quarter" idx="15" hasCustomPrompt="1"/>
          </p:nvPr>
        </p:nvSpPr>
        <p:spPr bwMode="gray">
          <a:xfrm>
            <a:off x="7538289" y="1233204"/>
            <a:ext cx="4022489" cy="1979154"/>
          </a:xfrm>
          <a:prstGeom prst="rect">
            <a:avLst/>
          </a:prstGeom>
          <a:solidFill>
            <a:srgbClr val="CFCFCF"/>
          </a:solidFill>
        </p:spPr>
        <p:txBody>
          <a:bodyPr/>
          <a:lstStyle>
            <a:lvl1pPr marL="0" indent="0" algn="ctr">
              <a:lnSpc>
                <a:spcPct val="100000"/>
              </a:lnSpc>
              <a:buNone/>
              <a:defRPr sz="16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4" name="Picture Placeholder 3"/>
          <p:cNvSpPr>
            <a:spLocks noGrp="1"/>
          </p:cNvSpPr>
          <p:nvPr>
            <p:ph type="pic" sz="quarter" idx="16" hasCustomPrompt="1"/>
          </p:nvPr>
        </p:nvSpPr>
        <p:spPr bwMode="gray">
          <a:xfrm>
            <a:off x="7538076" y="3286088"/>
            <a:ext cx="4022429" cy="1546791"/>
          </a:xfrm>
          <a:prstGeom prst="rect">
            <a:avLst/>
          </a:prstGeom>
          <a:solidFill>
            <a:srgbClr val="CFCFCF"/>
          </a:solidFill>
        </p:spPr>
        <p:txBody>
          <a:bodyPr>
            <a:normAutofit/>
          </a:bodyPr>
          <a:lstStyle>
            <a:lvl1pPr marL="0" indent="0" algn="ctr">
              <a:lnSpc>
                <a:spcPct val="100000"/>
              </a:lnSpc>
              <a:buNone/>
              <a:defRPr sz="16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286257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ext/ 3 images/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719" y="285982"/>
            <a:ext cx="10931106" cy="683842"/>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3" y="1233249"/>
            <a:ext cx="5466328" cy="5148081"/>
          </a:xfrm>
        </p:spPr>
        <p:txBody>
          <a:bodyPr/>
          <a:lstStyle>
            <a:lvl1pPr>
              <a:defRPr baseline="0"/>
            </a:lvl1pPr>
          </a:lstStyle>
          <a:p>
            <a:pPr lvl="0"/>
            <a:r>
              <a:rPr lang="en-GB" dirty="0" smtClean="0"/>
              <a:t>Insert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p:txBody>
      </p:sp>
      <p:sp>
        <p:nvSpPr>
          <p:cNvPr id="10" name="Picture Placeholder 3"/>
          <p:cNvSpPr>
            <a:spLocks noGrp="1"/>
          </p:cNvSpPr>
          <p:nvPr>
            <p:ph type="pic" sz="quarter" idx="14" hasCustomPrompt="1"/>
          </p:nvPr>
        </p:nvSpPr>
        <p:spPr bwMode="gray">
          <a:xfrm>
            <a:off x="6816353" y="1233202"/>
            <a:ext cx="4744425" cy="2627392"/>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Picture Placeholder 3"/>
          <p:cNvSpPr>
            <a:spLocks noGrp="1"/>
          </p:cNvSpPr>
          <p:nvPr>
            <p:ph type="pic" sz="quarter" idx="15" hasCustomPrompt="1"/>
          </p:nvPr>
        </p:nvSpPr>
        <p:spPr bwMode="gray">
          <a:xfrm>
            <a:off x="9621392" y="3933937"/>
            <a:ext cx="1939115" cy="2446383"/>
          </a:xfrm>
          <a:prstGeom prst="rect">
            <a:avLst/>
          </a:prstGeom>
          <a:solidFill>
            <a:srgbClr val="CFCFCF"/>
          </a:solidFill>
        </p:spPr>
        <p:txBody>
          <a:bodyPr/>
          <a:lstStyle>
            <a:lvl1pPr marL="0" indent="0" algn="ctr">
              <a:lnSpc>
                <a:spcPct val="100000"/>
              </a:lnSpc>
              <a:buNone/>
              <a:defRPr sz="16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4" name="Picture Placeholder 3"/>
          <p:cNvSpPr>
            <a:spLocks noGrp="1"/>
          </p:cNvSpPr>
          <p:nvPr>
            <p:ph type="pic" sz="quarter" idx="16" hasCustomPrompt="1"/>
          </p:nvPr>
        </p:nvSpPr>
        <p:spPr bwMode="gray">
          <a:xfrm>
            <a:off x="6814851" y="3933937"/>
            <a:ext cx="2735735" cy="2446383"/>
          </a:xfrm>
          <a:prstGeom prst="rect">
            <a:avLst/>
          </a:prstGeom>
          <a:solidFill>
            <a:srgbClr val="CFCFCF"/>
          </a:solidFill>
        </p:spPr>
        <p:txBody>
          <a:bodyPr>
            <a:normAutofit/>
          </a:bodyPr>
          <a:lstStyle>
            <a:lvl1pPr marL="0" indent="0" algn="ctr">
              <a:lnSpc>
                <a:spcPct val="100000"/>
              </a:lnSpc>
              <a:buNone/>
              <a:defRPr sz="16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2452845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2/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4433"/>
            <a:ext cx="10932181" cy="648964"/>
          </a:xfrm>
        </p:spPr>
        <p:txBody>
          <a:bodyPr wrap="square" anchor="t" anchorCtr="0">
            <a:noAutofit/>
          </a:bodyPr>
          <a:lstStyle>
            <a:lvl1pPr>
              <a:defRPr>
                <a:solidFill>
                  <a:schemeClr val="bg1"/>
                </a:solidFill>
              </a:defRPr>
            </a:lvl1pPr>
          </a:lstStyle>
          <a:p>
            <a:r>
              <a:rPr lang="en-GB" dirty="0"/>
              <a:t>Headline for presentation</a:t>
            </a:r>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82755034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 Images-chart 2/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296862688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56" y="2493113"/>
            <a:ext cx="4965177" cy="3455460"/>
          </a:xfrm>
        </p:spPr>
        <p:txBody>
          <a:bodyPr/>
          <a:lstStyle>
            <a:lvl1pPr>
              <a:defRPr baseline="0"/>
            </a:lvl1pPr>
          </a:lstStyle>
          <a:p>
            <a:pPr lvl="0"/>
            <a:r>
              <a:rPr lang="en-GB" dirty="0" smtClean="0"/>
              <a:t>Insert content or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p:txBody>
      </p:sp>
      <p:sp>
        <p:nvSpPr>
          <p:cNvPr id="7" name="Text Placeholder 6"/>
          <p:cNvSpPr>
            <a:spLocks noGrp="1"/>
          </p:cNvSpPr>
          <p:nvPr>
            <p:ph type="body" sz="quarter" idx="13" hasCustomPrompt="1"/>
          </p:nvPr>
        </p:nvSpPr>
        <p:spPr>
          <a:xfrm>
            <a:off x="629915" y="1504605"/>
            <a:ext cx="4965173"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smtClean="0"/>
              <a:t>Insert headline</a:t>
            </a:r>
          </a:p>
        </p:txBody>
      </p:sp>
      <p:cxnSp>
        <p:nvCxnSpPr>
          <p:cNvPr id="8" name="Gerade Verbindung 42"/>
          <p:cNvCxnSpPr/>
          <p:nvPr userDrawn="1"/>
        </p:nvCxnSpPr>
        <p:spPr bwMode="auto">
          <a:xfrm>
            <a:off x="629675" y="2231482"/>
            <a:ext cx="4965413"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91" y="2231482"/>
            <a:ext cx="4965413"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73" y="1504605"/>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smtClean="0"/>
              <a:t>Insert headline</a:t>
            </a:r>
          </a:p>
        </p:txBody>
      </p:sp>
      <p:sp>
        <p:nvSpPr>
          <p:cNvPr id="11" name="Content Placeholder 5"/>
          <p:cNvSpPr>
            <a:spLocks noGrp="1"/>
          </p:cNvSpPr>
          <p:nvPr>
            <p:ph sz="quarter" idx="15" hasCustomPrompt="1"/>
          </p:nvPr>
        </p:nvSpPr>
        <p:spPr>
          <a:xfrm>
            <a:off x="6595373" y="2493114"/>
            <a:ext cx="4965177" cy="3455200"/>
          </a:xfrm>
        </p:spPr>
        <p:txBody>
          <a:bodyPr/>
          <a:lstStyle>
            <a:lvl1pPr>
              <a:defRPr baseline="0"/>
            </a:lvl1pPr>
          </a:lstStyle>
          <a:p>
            <a:pPr lvl="0"/>
            <a:r>
              <a:rPr lang="en-GB" dirty="0" smtClean="0"/>
              <a:t>Insert content or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p:txBody>
      </p:sp>
    </p:spTree>
    <p:extLst>
      <p:ext uri="{BB962C8B-B14F-4D97-AF65-F5344CB8AC3E}">
        <p14:creationId xmlns:p14="http://schemas.microsoft.com/office/powerpoint/2010/main" val="2673882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ablet/ 4 colum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cxnSp>
        <p:nvCxnSpPr>
          <p:cNvPr id="5" name="Gerade Verbindung 66"/>
          <p:cNvCxnSpPr/>
          <p:nvPr userDrawn="1"/>
        </p:nvCxnSpPr>
        <p:spPr>
          <a:xfrm>
            <a:off x="3362836" y="1233205"/>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1" y="1233203"/>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3"/>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3"/>
            <a:ext cx="2374763" cy="1187725"/>
          </a:xfrm>
          <a:prstGeom prst="rect">
            <a:avLst/>
          </a:prstGeom>
          <a:noFill/>
        </p:spPr>
        <p:txBody>
          <a:bodyPr/>
          <a:lstStyle>
            <a:lvl1pPr marL="0" indent="0" algn="ctr">
              <a:lnSpc>
                <a:spcPct val="100000"/>
              </a:lnSpc>
              <a:buNone/>
              <a:defRPr sz="16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0" name="Picture Placeholder 3"/>
          <p:cNvSpPr>
            <a:spLocks noGrp="1"/>
          </p:cNvSpPr>
          <p:nvPr>
            <p:ph type="pic" sz="quarter" idx="16" hasCustomPrompt="1"/>
          </p:nvPr>
        </p:nvSpPr>
        <p:spPr>
          <a:xfrm>
            <a:off x="3541755" y="1979543"/>
            <a:ext cx="2374763" cy="1187725"/>
          </a:xfrm>
          <a:prstGeom prst="rect">
            <a:avLst/>
          </a:prstGeom>
          <a:noFill/>
        </p:spPr>
        <p:txBody>
          <a:bodyPr/>
          <a:lstStyle>
            <a:lvl1pPr marL="0" indent="0" algn="ctr">
              <a:lnSpc>
                <a:spcPct val="100000"/>
              </a:lnSpc>
              <a:buNone/>
              <a:defRPr sz="16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Picture Placeholder 3"/>
          <p:cNvSpPr>
            <a:spLocks noGrp="1"/>
          </p:cNvSpPr>
          <p:nvPr>
            <p:ph type="pic" sz="quarter" idx="17" hasCustomPrompt="1"/>
          </p:nvPr>
        </p:nvSpPr>
        <p:spPr>
          <a:xfrm>
            <a:off x="6273931" y="1979543"/>
            <a:ext cx="2374763" cy="1187725"/>
          </a:xfrm>
          <a:prstGeom prst="rect">
            <a:avLst/>
          </a:prstGeom>
          <a:noFill/>
        </p:spPr>
        <p:txBody>
          <a:bodyPr/>
          <a:lstStyle>
            <a:lvl1pPr marL="0" indent="0" algn="ctr">
              <a:lnSpc>
                <a:spcPct val="100000"/>
              </a:lnSpc>
              <a:buNone/>
              <a:defRPr sz="16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2" name="Picture Placeholder 3"/>
          <p:cNvSpPr>
            <a:spLocks noGrp="1"/>
          </p:cNvSpPr>
          <p:nvPr>
            <p:ph type="pic" sz="quarter" idx="18" hasCustomPrompt="1"/>
          </p:nvPr>
        </p:nvSpPr>
        <p:spPr>
          <a:xfrm>
            <a:off x="9006110" y="1983951"/>
            <a:ext cx="2374763" cy="1187725"/>
          </a:xfrm>
          <a:prstGeom prst="rect">
            <a:avLst/>
          </a:prstGeom>
          <a:noFill/>
        </p:spPr>
        <p:txBody>
          <a:bodyPr/>
          <a:lstStyle>
            <a:lvl1pPr marL="0" indent="0" algn="ctr">
              <a:lnSpc>
                <a:spcPct val="100000"/>
              </a:lnSpc>
              <a:buNone/>
              <a:defRPr sz="16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4" name="Text Placeholder 13"/>
          <p:cNvSpPr>
            <a:spLocks noGrp="1"/>
          </p:cNvSpPr>
          <p:nvPr>
            <p:ph type="body" sz="quarter" idx="19" hasCustomPrompt="1"/>
          </p:nvPr>
        </p:nvSpPr>
        <p:spPr>
          <a:xfrm>
            <a:off x="809625" y="1504605"/>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15" name="Text Placeholder 13"/>
          <p:cNvSpPr>
            <a:spLocks noGrp="1"/>
          </p:cNvSpPr>
          <p:nvPr>
            <p:ph type="body" sz="quarter" idx="20" hasCustomPrompt="1"/>
          </p:nvPr>
        </p:nvSpPr>
        <p:spPr>
          <a:xfrm>
            <a:off x="3541801" y="1504605"/>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16" name="Text Placeholder 13"/>
          <p:cNvSpPr>
            <a:spLocks noGrp="1"/>
          </p:cNvSpPr>
          <p:nvPr>
            <p:ph type="body" sz="quarter" idx="21" hasCustomPrompt="1"/>
          </p:nvPr>
        </p:nvSpPr>
        <p:spPr>
          <a:xfrm>
            <a:off x="6273980" y="1504605"/>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17" name="Text Placeholder 13"/>
          <p:cNvSpPr>
            <a:spLocks noGrp="1"/>
          </p:cNvSpPr>
          <p:nvPr>
            <p:ph type="body" sz="quarter" idx="22" hasCustomPrompt="1"/>
          </p:nvPr>
        </p:nvSpPr>
        <p:spPr>
          <a:xfrm>
            <a:off x="9006156" y="1504605"/>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19" name="Text Placeholder 18"/>
          <p:cNvSpPr>
            <a:spLocks noGrp="1"/>
          </p:cNvSpPr>
          <p:nvPr>
            <p:ph type="body" sz="quarter" idx="23" hasCustomPrompt="1"/>
          </p:nvPr>
        </p:nvSpPr>
        <p:spPr>
          <a:xfrm>
            <a:off x="809579" y="3275242"/>
            <a:ext cx="2374763"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smtClean="0"/>
              <a:t>XXYYY</a:t>
            </a:r>
          </a:p>
        </p:txBody>
      </p:sp>
      <p:sp>
        <p:nvSpPr>
          <p:cNvPr id="24" name="Text Placeholder 18"/>
          <p:cNvSpPr>
            <a:spLocks noGrp="1"/>
          </p:cNvSpPr>
          <p:nvPr>
            <p:ph type="body" sz="quarter" idx="24" hasCustomPrompt="1"/>
          </p:nvPr>
        </p:nvSpPr>
        <p:spPr>
          <a:xfrm>
            <a:off x="809579" y="3887103"/>
            <a:ext cx="2374763"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25" name="Text Placeholder 18"/>
          <p:cNvSpPr>
            <a:spLocks noGrp="1"/>
          </p:cNvSpPr>
          <p:nvPr>
            <p:ph type="body" sz="quarter" idx="25" hasCustomPrompt="1"/>
          </p:nvPr>
        </p:nvSpPr>
        <p:spPr>
          <a:xfrm>
            <a:off x="809579" y="4426975"/>
            <a:ext cx="2374763"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smtClean="0"/>
              <a:t>XXg</a:t>
            </a:r>
            <a:endParaRPr lang="en-GB" dirty="0" smtClean="0"/>
          </a:p>
        </p:txBody>
      </p:sp>
      <p:sp>
        <p:nvSpPr>
          <p:cNvPr id="26" name="Text Placeholder 18"/>
          <p:cNvSpPr>
            <a:spLocks noGrp="1"/>
          </p:cNvSpPr>
          <p:nvPr>
            <p:ph type="body" sz="quarter" idx="26" hasCustomPrompt="1"/>
          </p:nvPr>
        </p:nvSpPr>
        <p:spPr>
          <a:xfrm>
            <a:off x="809579" y="5002842"/>
            <a:ext cx="2374763"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smtClean="0"/>
              <a:t>X,Xl</a:t>
            </a:r>
            <a:endParaRPr lang="en-GB" dirty="0" smtClean="0"/>
          </a:p>
        </p:txBody>
      </p:sp>
      <p:sp>
        <p:nvSpPr>
          <p:cNvPr id="27" name="Text Placeholder 18"/>
          <p:cNvSpPr>
            <a:spLocks noGrp="1"/>
          </p:cNvSpPr>
          <p:nvPr>
            <p:ph type="body" sz="quarter" idx="27" hasCustomPrompt="1"/>
          </p:nvPr>
        </p:nvSpPr>
        <p:spPr>
          <a:xfrm>
            <a:off x="809579" y="5830649"/>
            <a:ext cx="2374763"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smtClean="0"/>
              <a:t>Insert text</a:t>
            </a:r>
          </a:p>
        </p:txBody>
      </p:sp>
      <p:sp>
        <p:nvSpPr>
          <p:cNvPr id="32" name="Text Placeholder 18"/>
          <p:cNvSpPr>
            <a:spLocks noGrp="1"/>
          </p:cNvSpPr>
          <p:nvPr>
            <p:ph type="body" sz="quarter" idx="28" hasCustomPrompt="1"/>
          </p:nvPr>
        </p:nvSpPr>
        <p:spPr>
          <a:xfrm>
            <a:off x="3541754" y="3275242"/>
            <a:ext cx="2374763"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smtClean="0"/>
              <a:t>XXYYY</a:t>
            </a:r>
          </a:p>
        </p:txBody>
      </p:sp>
      <p:sp>
        <p:nvSpPr>
          <p:cNvPr id="33" name="Text Placeholder 18"/>
          <p:cNvSpPr>
            <a:spLocks noGrp="1"/>
          </p:cNvSpPr>
          <p:nvPr>
            <p:ph type="body" sz="quarter" idx="29" hasCustomPrompt="1"/>
          </p:nvPr>
        </p:nvSpPr>
        <p:spPr>
          <a:xfrm>
            <a:off x="3541754" y="3887103"/>
            <a:ext cx="2374763"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34" name="Text Placeholder 18"/>
          <p:cNvSpPr>
            <a:spLocks noGrp="1"/>
          </p:cNvSpPr>
          <p:nvPr>
            <p:ph type="body" sz="quarter" idx="30" hasCustomPrompt="1"/>
          </p:nvPr>
        </p:nvSpPr>
        <p:spPr>
          <a:xfrm>
            <a:off x="3541754" y="4426975"/>
            <a:ext cx="2374763"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smtClean="0"/>
              <a:t>XXg</a:t>
            </a:r>
            <a:endParaRPr lang="en-GB" dirty="0" smtClean="0"/>
          </a:p>
        </p:txBody>
      </p:sp>
      <p:sp>
        <p:nvSpPr>
          <p:cNvPr id="35" name="Text Placeholder 18"/>
          <p:cNvSpPr>
            <a:spLocks noGrp="1"/>
          </p:cNvSpPr>
          <p:nvPr>
            <p:ph type="body" sz="quarter" idx="31" hasCustomPrompt="1"/>
          </p:nvPr>
        </p:nvSpPr>
        <p:spPr>
          <a:xfrm>
            <a:off x="3541754" y="5002842"/>
            <a:ext cx="2374763"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smtClean="0"/>
              <a:t>X,Xl</a:t>
            </a:r>
            <a:endParaRPr lang="en-GB" dirty="0" smtClean="0"/>
          </a:p>
        </p:txBody>
      </p:sp>
      <p:sp>
        <p:nvSpPr>
          <p:cNvPr id="36" name="Text Placeholder 18"/>
          <p:cNvSpPr>
            <a:spLocks noGrp="1"/>
          </p:cNvSpPr>
          <p:nvPr>
            <p:ph type="body" sz="quarter" idx="32" hasCustomPrompt="1"/>
          </p:nvPr>
        </p:nvSpPr>
        <p:spPr>
          <a:xfrm>
            <a:off x="3541754" y="5830649"/>
            <a:ext cx="2374763"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smtClean="0"/>
              <a:t>Insert text</a:t>
            </a:r>
          </a:p>
        </p:txBody>
      </p:sp>
      <p:sp>
        <p:nvSpPr>
          <p:cNvPr id="37" name="Text Placeholder 18"/>
          <p:cNvSpPr>
            <a:spLocks noGrp="1"/>
          </p:cNvSpPr>
          <p:nvPr>
            <p:ph type="body" sz="quarter" idx="33" hasCustomPrompt="1"/>
          </p:nvPr>
        </p:nvSpPr>
        <p:spPr>
          <a:xfrm>
            <a:off x="6273934" y="3275242"/>
            <a:ext cx="2374763"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smtClean="0"/>
              <a:t>XXYYY</a:t>
            </a:r>
          </a:p>
        </p:txBody>
      </p:sp>
      <p:sp>
        <p:nvSpPr>
          <p:cNvPr id="38" name="Text Placeholder 18"/>
          <p:cNvSpPr>
            <a:spLocks noGrp="1"/>
          </p:cNvSpPr>
          <p:nvPr>
            <p:ph type="body" sz="quarter" idx="34" hasCustomPrompt="1"/>
          </p:nvPr>
        </p:nvSpPr>
        <p:spPr>
          <a:xfrm>
            <a:off x="6273934" y="3887103"/>
            <a:ext cx="2374763"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39" name="Text Placeholder 18"/>
          <p:cNvSpPr>
            <a:spLocks noGrp="1"/>
          </p:cNvSpPr>
          <p:nvPr>
            <p:ph type="body" sz="quarter" idx="35" hasCustomPrompt="1"/>
          </p:nvPr>
        </p:nvSpPr>
        <p:spPr>
          <a:xfrm>
            <a:off x="6273934" y="4426975"/>
            <a:ext cx="2374763"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smtClean="0"/>
              <a:t>XXg</a:t>
            </a:r>
            <a:endParaRPr lang="en-GB" dirty="0" smtClean="0"/>
          </a:p>
        </p:txBody>
      </p:sp>
      <p:sp>
        <p:nvSpPr>
          <p:cNvPr id="40" name="Text Placeholder 18"/>
          <p:cNvSpPr>
            <a:spLocks noGrp="1"/>
          </p:cNvSpPr>
          <p:nvPr>
            <p:ph type="body" sz="quarter" idx="36" hasCustomPrompt="1"/>
          </p:nvPr>
        </p:nvSpPr>
        <p:spPr>
          <a:xfrm>
            <a:off x="6273934" y="5002842"/>
            <a:ext cx="2374763"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smtClean="0"/>
              <a:t>X,Xl</a:t>
            </a:r>
            <a:endParaRPr lang="en-GB" dirty="0" smtClean="0"/>
          </a:p>
        </p:txBody>
      </p:sp>
      <p:sp>
        <p:nvSpPr>
          <p:cNvPr id="41" name="Text Placeholder 18"/>
          <p:cNvSpPr>
            <a:spLocks noGrp="1"/>
          </p:cNvSpPr>
          <p:nvPr>
            <p:ph type="body" sz="quarter" idx="37" hasCustomPrompt="1"/>
          </p:nvPr>
        </p:nvSpPr>
        <p:spPr>
          <a:xfrm>
            <a:off x="6273934" y="5830649"/>
            <a:ext cx="2374763"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smtClean="0"/>
              <a:t>Insert text</a:t>
            </a:r>
          </a:p>
        </p:txBody>
      </p:sp>
      <p:sp>
        <p:nvSpPr>
          <p:cNvPr id="42" name="Text Placeholder 18"/>
          <p:cNvSpPr>
            <a:spLocks noGrp="1"/>
          </p:cNvSpPr>
          <p:nvPr>
            <p:ph type="body" sz="quarter" idx="38" hasCustomPrompt="1"/>
          </p:nvPr>
        </p:nvSpPr>
        <p:spPr>
          <a:xfrm>
            <a:off x="9006109" y="3303537"/>
            <a:ext cx="2374763"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smtClean="0"/>
              <a:t>XXYYY</a:t>
            </a:r>
          </a:p>
        </p:txBody>
      </p:sp>
      <p:sp>
        <p:nvSpPr>
          <p:cNvPr id="43" name="Text Placeholder 18"/>
          <p:cNvSpPr>
            <a:spLocks noGrp="1"/>
          </p:cNvSpPr>
          <p:nvPr>
            <p:ph type="body" sz="quarter" idx="39" hasCustomPrompt="1"/>
          </p:nvPr>
        </p:nvSpPr>
        <p:spPr>
          <a:xfrm>
            <a:off x="9006109" y="3915397"/>
            <a:ext cx="2374763"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44" name="Text Placeholder 18"/>
          <p:cNvSpPr>
            <a:spLocks noGrp="1"/>
          </p:cNvSpPr>
          <p:nvPr>
            <p:ph type="body" sz="quarter" idx="40" hasCustomPrompt="1"/>
          </p:nvPr>
        </p:nvSpPr>
        <p:spPr>
          <a:xfrm>
            <a:off x="9006109" y="4455271"/>
            <a:ext cx="2374763"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smtClean="0"/>
              <a:t>XXg</a:t>
            </a:r>
            <a:endParaRPr lang="en-GB" dirty="0" smtClean="0"/>
          </a:p>
        </p:txBody>
      </p:sp>
      <p:sp>
        <p:nvSpPr>
          <p:cNvPr id="45" name="Text Placeholder 18"/>
          <p:cNvSpPr>
            <a:spLocks noGrp="1"/>
          </p:cNvSpPr>
          <p:nvPr>
            <p:ph type="body" sz="quarter" idx="41" hasCustomPrompt="1"/>
          </p:nvPr>
        </p:nvSpPr>
        <p:spPr>
          <a:xfrm>
            <a:off x="9006109" y="5031137"/>
            <a:ext cx="2374763"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smtClean="0"/>
              <a:t>X,Xl</a:t>
            </a:r>
            <a:endParaRPr lang="en-GB" dirty="0" smtClean="0"/>
          </a:p>
        </p:txBody>
      </p:sp>
      <p:sp>
        <p:nvSpPr>
          <p:cNvPr id="46" name="Text Placeholder 18"/>
          <p:cNvSpPr>
            <a:spLocks noGrp="1"/>
          </p:cNvSpPr>
          <p:nvPr>
            <p:ph type="body" sz="quarter" idx="42" hasCustomPrompt="1"/>
          </p:nvPr>
        </p:nvSpPr>
        <p:spPr>
          <a:xfrm>
            <a:off x="9006109" y="5858946"/>
            <a:ext cx="2374763"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smtClean="0"/>
              <a:t>Insert text</a:t>
            </a:r>
          </a:p>
        </p:txBody>
      </p:sp>
      <p:sp>
        <p:nvSpPr>
          <p:cNvPr id="47" name="Title 1"/>
          <p:cNvSpPr>
            <a:spLocks noGrp="1"/>
          </p:cNvSpPr>
          <p:nvPr>
            <p:ph type="title" hasCustomPrompt="1"/>
          </p:nvPr>
        </p:nvSpPr>
        <p:spPr>
          <a:xfrm>
            <a:off x="629719" y="285982"/>
            <a:ext cx="10931106" cy="683842"/>
          </a:xfrm>
        </p:spPr>
        <p:txBody>
          <a:bodyPr/>
          <a:lstStyle/>
          <a:p>
            <a:r>
              <a:rPr lang="en-GB" noProof="0" dirty="0" smtClean="0"/>
              <a:t>Headline in CorpoS (Body) 35 pt.</a:t>
            </a:r>
            <a:endParaRPr lang="en-GB" dirty="0"/>
          </a:p>
        </p:txBody>
      </p:sp>
    </p:spTree>
    <p:extLst>
      <p:ext uri="{BB962C8B-B14F-4D97-AF65-F5344CB8AC3E}">
        <p14:creationId xmlns:p14="http://schemas.microsoft.com/office/powerpoint/2010/main" val="2845688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215323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nk/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719" y="285982"/>
            <a:ext cx="10931106" cy="683842"/>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871571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4 products">
    <p:spTree>
      <p:nvGrpSpPr>
        <p:cNvPr id="1" name=""/>
        <p:cNvGrpSpPr/>
        <p:nvPr/>
      </p:nvGrpSpPr>
      <p:grpSpPr>
        <a:xfrm>
          <a:off x="0" y="0"/>
          <a:ext cx="0" cy="0"/>
          <a:chOff x="0" y="0"/>
          <a:chExt cx="0" cy="0"/>
        </a:xfrm>
      </p:grpSpPr>
      <p:cxnSp>
        <p:nvCxnSpPr>
          <p:cNvPr id="5" name="Gerade Verbindung 66"/>
          <p:cNvCxnSpPr/>
          <p:nvPr userDrawn="1"/>
        </p:nvCxnSpPr>
        <p:spPr>
          <a:xfrm>
            <a:off x="3362836" y="1233205"/>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1" y="1233203"/>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3"/>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3"/>
            <a:ext cx="2374763" cy="1187725"/>
          </a:xfrm>
          <a:prstGeom prst="rect">
            <a:avLst/>
          </a:prstGeom>
          <a:noFill/>
        </p:spPr>
        <p:txBody>
          <a:bodyPr/>
          <a:lstStyle>
            <a:lvl1pPr marL="0" indent="0" algn="ctr">
              <a:lnSpc>
                <a:spcPct val="100000"/>
              </a:lnSpc>
              <a:buNone/>
              <a:defRPr sz="1699"/>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 name="Picture Placeholder 3"/>
          <p:cNvSpPr>
            <a:spLocks noGrp="1"/>
          </p:cNvSpPr>
          <p:nvPr>
            <p:ph type="pic" sz="quarter" idx="16" hasCustomPrompt="1"/>
          </p:nvPr>
        </p:nvSpPr>
        <p:spPr>
          <a:xfrm>
            <a:off x="3541755" y="1979543"/>
            <a:ext cx="2374763" cy="1187725"/>
          </a:xfrm>
          <a:prstGeom prst="rect">
            <a:avLst/>
          </a:prstGeom>
          <a:noFill/>
        </p:spPr>
        <p:txBody>
          <a:bodyPr/>
          <a:lstStyle>
            <a:lvl1pPr marL="0" indent="0" algn="ctr">
              <a:lnSpc>
                <a:spcPct val="100000"/>
              </a:lnSpc>
              <a:buNone/>
              <a:defRPr sz="1699"/>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1" name="Picture Placeholder 3"/>
          <p:cNvSpPr>
            <a:spLocks noGrp="1"/>
          </p:cNvSpPr>
          <p:nvPr>
            <p:ph type="pic" sz="quarter" idx="17" hasCustomPrompt="1"/>
          </p:nvPr>
        </p:nvSpPr>
        <p:spPr>
          <a:xfrm>
            <a:off x="6273931" y="1979543"/>
            <a:ext cx="2374763" cy="1187725"/>
          </a:xfrm>
          <a:prstGeom prst="rect">
            <a:avLst/>
          </a:prstGeom>
          <a:noFill/>
        </p:spPr>
        <p:txBody>
          <a:bodyPr/>
          <a:lstStyle>
            <a:lvl1pPr marL="0" indent="0" algn="ctr">
              <a:lnSpc>
                <a:spcPct val="100000"/>
              </a:lnSpc>
              <a:buNone/>
              <a:defRPr sz="1699"/>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 name="Picture Placeholder 3"/>
          <p:cNvSpPr>
            <a:spLocks noGrp="1"/>
          </p:cNvSpPr>
          <p:nvPr>
            <p:ph type="pic" sz="quarter" idx="18" hasCustomPrompt="1"/>
          </p:nvPr>
        </p:nvSpPr>
        <p:spPr>
          <a:xfrm>
            <a:off x="9006110" y="1983951"/>
            <a:ext cx="2374763" cy="1187725"/>
          </a:xfrm>
          <a:prstGeom prst="rect">
            <a:avLst/>
          </a:prstGeom>
          <a:noFill/>
        </p:spPr>
        <p:txBody>
          <a:bodyPr/>
          <a:lstStyle>
            <a:lvl1pPr marL="0" indent="0" algn="ctr">
              <a:lnSpc>
                <a:spcPct val="100000"/>
              </a:lnSpc>
              <a:buNone/>
              <a:defRPr sz="1699"/>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4" name="Text Placeholder 13"/>
          <p:cNvSpPr>
            <a:spLocks noGrp="1"/>
          </p:cNvSpPr>
          <p:nvPr>
            <p:ph type="body" sz="quarter" idx="19" hasCustomPrompt="1"/>
          </p:nvPr>
        </p:nvSpPr>
        <p:spPr>
          <a:xfrm>
            <a:off x="809625" y="1504605"/>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15" name="Text Placeholder 13"/>
          <p:cNvSpPr>
            <a:spLocks noGrp="1"/>
          </p:cNvSpPr>
          <p:nvPr>
            <p:ph type="body" sz="quarter" idx="20" hasCustomPrompt="1"/>
          </p:nvPr>
        </p:nvSpPr>
        <p:spPr>
          <a:xfrm>
            <a:off x="3541801" y="1504605"/>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16" name="Text Placeholder 13"/>
          <p:cNvSpPr>
            <a:spLocks noGrp="1"/>
          </p:cNvSpPr>
          <p:nvPr>
            <p:ph type="body" sz="quarter" idx="21" hasCustomPrompt="1"/>
          </p:nvPr>
        </p:nvSpPr>
        <p:spPr>
          <a:xfrm>
            <a:off x="6273980" y="1504605"/>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17" name="Text Placeholder 13"/>
          <p:cNvSpPr>
            <a:spLocks noGrp="1"/>
          </p:cNvSpPr>
          <p:nvPr>
            <p:ph type="body" sz="quarter" idx="22" hasCustomPrompt="1"/>
          </p:nvPr>
        </p:nvSpPr>
        <p:spPr>
          <a:xfrm>
            <a:off x="9006156" y="1504605"/>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19" name="Text Placeholder 18"/>
          <p:cNvSpPr>
            <a:spLocks noGrp="1"/>
          </p:cNvSpPr>
          <p:nvPr>
            <p:ph type="body" sz="quarter" idx="23" hasCustomPrompt="1"/>
          </p:nvPr>
        </p:nvSpPr>
        <p:spPr>
          <a:xfrm>
            <a:off x="809579" y="3275242"/>
            <a:ext cx="2374763"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smtClean="0"/>
              <a:t>XXYYY</a:t>
            </a:r>
          </a:p>
        </p:txBody>
      </p:sp>
      <p:sp>
        <p:nvSpPr>
          <p:cNvPr id="24" name="Text Placeholder 18"/>
          <p:cNvSpPr>
            <a:spLocks noGrp="1"/>
          </p:cNvSpPr>
          <p:nvPr>
            <p:ph type="body" sz="quarter" idx="24" hasCustomPrompt="1"/>
          </p:nvPr>
        </p:nvSpPr>
        <p:spPr>
          <a:xfrm>
            <a:off x="809579" y="3887103"/>
            <a:ext cx="2374763"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25" name="Text Placeholder 18"/>
          <p:cNvSpPr>
            <a:spLocks noGrp="1"/>
          </p:cNvSpPr>
          <p:nvPr>
            <p:ph type="body" sz="quarter" idx="25" hasCustomPrompt="1"/>
          </p:nvPr>
        </p:nvSpPr>
        <p:spPr>
          <a:xfrm>
            <a:off x="809579" y="4426975"/>
            <a:ext cx="2374763"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smtClean="0"/>
              <a:t>XXg</a:t>
            </a:r>
            <a:endParaRPr lang="de-DE" dirty="0" smtClean="0"/>
          </a:p>
        </p:txBody>
      </p:sp>
      <p:sp>
        <p:nvSpPr>
          <p:cNvPr id="26" name="Text Placeholder 18"/>
          <p:cNvSpPr>
            <a:spLocks noGrp="1"/>
          </p:cNvSpPr>
          <p:nvPr>
            <p:ph type="body" sz="quarter" idx="26" hasCustomPrompt="1"/>
          </p:nvPr>
        </p:nvSpPr>
        <p:spPr>
          <a:xfrm>
            <a:off x="809579" y="5002842"/>
            <a:ext cx="2374763"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smtClean="0"/>
              <a:t>X,Xl</a:t>
            </a:r>
            <a:endParaRPr lang="de-DE" dirty="0" smtClean="0"/>
          </a:p>
        </p:txBody>
      </p:sp>
      <p:sp>
        <p:nvSpPr>
          <p:cNvPr id="27" name="Text Placeholder 18"/>
          <p:cNvSpPr>
            <a:spLocks noGrp="1"/>
          </p:cNvSpPr>
          <p:nvPr>
            <p:ph type="body" sz="quarter" idx="27" hasCustomPrompt="1"/>
          </p:nvPr>
        </p:nvSpPr>
        <p:spPr>
          <a:xfrm>
            <a:off x="809579" y="5830649"/>
            <a:ext cx="2374763"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smtClean="0"/>
              <a:t>Text einfügen</a:t>
            </a:r>
          </a:p>
        </p:txBody>
      </p:sp>
      <p:sp>
        <p:nvSpPr>
          <p:cNvPr id="32" name="Text Placeholder 18"/>
          <p:cNvSpPr>
            <a:spLocks noGrp="1"/>
          </p:cNvSpPr>
          <p:nvPr>
            <p:ph type="body" sz="quarter" idx="28" hasCustomPrompt="1"/>
          </p:nvPr>
        </p:nvSpPr>
        <p:spPr>
          <a:xfrm>
            <a:off x="3541754" y="3275242"/>
            <a:ext cx="2374763"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smtClean="0"/>
              <a:t>XXYYY</a:t>
            </a:r>
          </a:p>
        </p:txBody>
      </p:sp>
      <p:sp>
        <p:nvSpPr>
          <p:cNvPr id="33" name="Text Placeholder 18"/>
          <p:cNvSpPr>
            <a:spLocks noGrp="1"/>
          </p:cNvSpPr>
          <p:nvPr>
            <p:ph type="body" sz="quarter" idx="29" hasCustomPrompt="1"/>
          </p:nvPr>
        </p:nvSpPr>
        <p:spPr>
          <a:xfrm>
            <a:off x="3541754" y="3887103"/>
            <a:ext cx="2374763"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34" name="Text Placeholder 18"/>
          <p:cNvSpPr>
            <a:spLocks noGrp="1"/>
          </p:cNvSpPr>
          <p:nvPr>
            <p:ph type="body" sz="quarter" idx="30" hasCustomPrompt="1"/>
          </p:nvPr>
        </p:nvSpPr>
        <p:spPr>
          <a:xfrm>
            <a:off x="3541754" y="4426975"/>
            <a:ext cx="2374763"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smtClean="0"/>
              <a:t>XXg</a:t>
            </a:r>
            <a:endParaRPr lang="de-DE" dirty="0" smtClean="0"/>
          </a:p>
        </p:txBody>
      </p:sp>
      <p:sp>
        <p:nvSpPr>
          <p:cNvPr id="35" name="Text Placeholder 18"/>
          <p:cNvSpPr>
            <a:spLocks noGrp="1"/>
          </p:cNvSpPr>
          <p:nvPr>
            <p:ph type="body" sz="quarter" idx="31" hasCustomPrompt="1"/>
          </p:nvPr>
        </p:nvSpPr>
        <p:spPr>
          <a:xfrm>
            <a:off x="3541754" y="5002842"/>
            <a:ext cx="2374763"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smtClean="0"/>
              <a:t>X,Xl</a:t>
            </a:r>
            <a:endParaRPr lang="de-DE" dirty="0" smtClean="0"/>
          </a:p>
        </p:txBody>
      </p:sp>
      <p:sp>
        <p:nvSpPr>
          <p:cNvPr id="36" name="Text Placeholder 18"/>
          <p:cNvSpPr>
            <a:spLocks noGrp="1"/>
          </p:cNvSpPr>
          <p:nvPr>
            <p:ph type="body" sz="quarter" idx="32" hasCustomPrompt="1"/>
          </p:nvPr>
        </p:nvSpPr>
        <p:spPr>
          <a:xfrm>
            <a:off x="3541754" y="5830649"/>
            <a:ext cx="2374763"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smtClean="0"/>
              <a:t>Text einfügen</a:t>
            </a:r>
          </a:p>
        </p:txBody>
      </p:sp>
      <p:sp>
        <p:nvSpPr>
          <p:cNvPr id="37" name="Text Placeholder 18"/>
          <p:cNvSpPr>
            <a:spLocks noGrp="1"/>
          </p:cNvSpPr>
          <p:nvPr>
            <p:ph type="body" sz="quarter" idx="33" hasCustomPrompt="1"/>
          </p:nvPr>
        </p:nvSpPr>
        <p:spPr>
          <a:xfrm>
            <a:off x="6273934" y="3275242"/>
            <a:ext cx="2374763"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smtClean="0"/>
              <a:t>XXYYY</a:t>
            </a:r>
          </a:p>
        </p:txBody>
      </p:sp>
      <p:sp>
        <p:nvSpPr>
          <p:cNvPr id="38" name="Text Placeholder 18"/>
          <p:cNvSpPr>
            <a:spLocks noGrp="1"/>
          </p:cNvSpPr>
          <p:nvPr>
            <p:ph type="body" sz="quarter" idx="34" hasCustomPrompt="1"/>
          </p:nvPr>
        </p:nvSpPr>
        <p:spPr>
          <a:xfrm>
            <a:off x="6273934" y="3887103"/>
            <a:ext cx="2374763"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39" name="Text Placeholder 18"/>
          <p:cNvSpPr>
            <a:spLocks noGrp="1"/>
          </p:cNvSpPr>
          <p:nvPr>
            <p:ph type="body" sz="quarter" idx="35" hasCustomPrompt="1"/>
          </p:nvPr>
        </p:nvSpPr>
        <p:spPr>
          <a:xfrm>
            <a:off x="6273934" y="4426975"/>
            <a:ext cx="2374763"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smtClean="0"/>
              <a:t>XXg</a:t>
            </a:r>
            <a:endParaRPr lang="de-DE" dirty="0" smtClean="0"/>
          </a:p>
        </p:txBody>
      </p:sp>
      <p:sp>
        <p:nvSpPr>
          <p:cNvPr id="40" name="Text Placeholder 18"/>
          <p:cNvSpPr>
            <a:spLocks noGrp="1"/>
          </p:cNvSpPr>
          <p:nvPr>
            <p:ph type="body" sz="quarter" idx="36" hasCustomPrompt="1"/>
          </p:nvPr>
        </p:nvSpPr>
        <p:spPr>
          <a:xfrm>
            <a:off x="6273934" y="5002842"/>
            <a:ext cx="2374763"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smtClean="0"/>
              <a:t>X,Xl</a:t>
            </a:r>
            <a:endParaRPr lang="de-DE" dirty="0" smtClean="0"/>
          </a:p>
        </p:txBody>
      </p:sp>
      <p:sp>
        <p:nvSpPr>
          <p:cNvPr id="41" name="Text Placeholder 18"/>
          <p:cNvSpPr>
            <a:spLocks noGrp="1"/>
          </p:cNvSpPr>
          <p:nvPr>
            <p:ph type="body" sz="quarter" idx="37" hasCustomPrompt="1"/>
          </p:nvPr>
        </p:nvSpPr>
        <p:spPr>
          <a:xfrm>
            <a:off x="6273934" y="5830649"/>
            <a:ext cx="2374763"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smtClean="0"/>
              <a:t>Text einfügen</a:t>
            </a:r>
          </a:p>
        </p:txBody>
      </p:sp>
      <p:sp>
        <p:nvSpPr>
          <p:cNvPr id="42" name="Text Placeholder 18"/>
          <p:cNvSpPr>
            <a:spLocks noGrp="1"/>
          </p:cNvSpPr>
          <p:nvPr>
            <p:ph type="body" sz="quarter" idx="38" hasCustomPrompt="1"/>
          </p:nvPr>
        </p:nvSpPr>
        <p:spPr>
          <a:xfrm>
            <a:off x="9006109" y="3303537"/>
            <a:ext cx="2374763"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smtClean="0"/>
              <a:t>XXYYY</a:t>
            </a:r>
          </a:p>
        </p:txBody>
      </p:sp>
      <p:sp>
        <p:nvSpPr>
          <p:cNvPr id="43" name="Text Placeholder 18"/>
          <p:cNvSpPr>
            <a:spLocks noGrp="1"/>
          </p:cNvSpPr>
          <p:nvPr>
            <p:ph type="body" sz="quarter" idx="39" hasCustomPrompt="1"/>
          </p:nvPr>
        </p:nvSpPr>
        <p:spPr>
          <a:xfrm>
            <a:off x="9006109" y="3915397"/>
            <a:ext cx="2374763"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44" name="Text Placeholder 18"/>
          <p:cNvSpPr>
            <a:spLocks noGrp="1"/>
          </p:cNvSpPr>
          <p:nvPr>
            <p:ph type="body" sz="quarter" idx="40" hasCustomPrompt="1"/>
          </p:nvPr>
        </p:nvSpPr>
        <p:spPr>
          <a:xfrm>
            <a:off x="9006109" y="4455271"/>
            <a:ext cx="2374763"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smtClean="0"/>
              <a:t>XXg</a:t>
            </a:r>
            <a:endParaRPr lang="de-DE" dirty="0" smtClean="0"/>
          </a:p>
        </p:txBody>
      </p:sp>
      <p:sp>
        <p:nvSpPr>
          <p:cNvPr id="45" name="Text Placeholder 18"/>
          <p:cNvSpPr>
            <a:spLocks noGrp="1"/>
          </p:cNvSpPr>
          <p:nvPr>
            <p:ph type="body" sz="quarter" idx="41" hasCustomPrompt="1"/>
          </p:nvPr>
        </p:nvSpPr>
        <p:spPr>
          <a:xfrm>
            <a:off x="9006109" y="5031137"/>
            <a:ext cx="2374763"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smtClean="0"/>
              <a:t>X,Xl</a:t>
            </a:r>
            <a:endParaRPr lang="de-DE" dirty="0" smtClean="0"/>
          </a:p>
        </p:txBody>
      </p:sp>
      <p:sp>
        <p:nvSpPr>
          <p:cNvPr id="46" name="Text Placeholder 18"/>
          <p:cNvSpPr>
            <a:spLocks noGrp="1"/>
          </p:cNvSpPr>
          <p:nvPr>
            <p:ph type="body" sz="quarter" idx="42" hasCustomPrompt="1"/>
          </p:nvPr>
        </p:nvSpPr>
        <p:spPr>
          <a:xfrm>
            <a:off x="9006109" y="5858946"/>
            <a:ext cx="2374763"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smtClean="0"/>
              <a:t>Text einfügen</a:t>
            </a:r>
          </a:p>
        </p:txBody>
      </p:sp>
      <p:sp>
        <p:nvSpPr>
          <p:cNvPr id="47" name="Title 1"/>
          <p:cNvSpPr>
            <a:spLocks noGrp="1"/>
          </p:cNvSpPr>
          <p:nvPr>
            <p:ph type="title" hasCustomPrompt="1"/>
          </p:nvPr>
        </p:nvSpPr>
        <p:spPr>
          <a:xfrm>
            <a:off x="629719" y="285982"/>
            <a:ext cx="10931106" cy="683842"/>
          </a:xfrm>
        </p:spPr>
        <p:txBody>
          <a:bodyPr/>
          <a:lstStyle/>
          <a:p>
            <a:r>
              <a:rPr lang="de-DE" noProof="0" dirty="0" smtClean="0"/>
              <a:t>Headline in </a:t>
            </a:r>
            <a:r>
              <a:rPr lang="de-DE" noProof="0" dirty="0" err="1" smtClean="0"/>
              <a:t>CorpoS</a:t>
            </a:r>
            <a:r>
              <a:rPr lang="de-DE" noProof="0" dirty="0" smtClean="0"/>
              <a:t> (Textkörper) 35 pt.</a:t>
            </a:r>
            <a:endParaRPr lang="de-DE" dirty="0"/>
          </a:p>
        </p:txBody>
      </p:sp>
      <p:sp>
        <p:nvSpPr>
          <p:cNvPr id="48" name="Footer Placeholder 10"/>
          <p:cNvSpPr>
            <a:spLocks noGrp="1"/>
          </p:cNvSpPr>
          <p:nvPr>
            <p:ph type="ftr" sz="quarter" idx="11"/>
          </p:nvPr>
        </p:nvSpPr>
        <p:spPr>
          <a:xfrm>
            <a:off x="2878500" y="6564880"/>
            <a:ext cx="8120970" cy="215949"/>
          </a:xfrm>
        </p:spPr>
        <p:txBody>
          <a:bodyPr/>
          <a:lstStyle/>
          <a:p>
            <a:r>
              <a:rPr lang="en-US" smtClean="0">
                <a:solidFill>
                  <a:prstClr val="black"/>
                </a:solidFill>
              </a:rPr>
              <a:t>Global Leadership Meeting – June 2015</a:t>
            </a:r>
            <a:endParaRPr lang="en-GB" dirty="0" smtClean="0">
              <a:solidFill>
                <a:prstClr val="black"/>
              </a:solidFill>
            </a:endParaRPr>
          </a:p>
        </p:txBody>
      </p:sp>
      <p:sp>
        <p:nvSpPr>
          <p:cNvPr id="49" name="Slide Number Placeholder 11"/>
          <p:cNvSpPr>
            <a:spLocks noGrp="1"/>
          </p:cNvSpPr>
          <p:nvPr>
            <p:ph type="sldNum" sz="quarter" idx="12"/>
          </p:nvPr>
        </p:nvSpPr>
        <p:spPr>
          <a:xfrm>
            <a:off x="11036806" y="6564880"/>
            <a:ext cx="1155196" cy="215949"/>
          </a:xfrm>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3781348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Two contents with head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smtClean="0"/>
              <a:t>Headline in </a:t>
            </a:r>
            <a:r>
              <a:rPr lang="de-DE" noProof="0" dirty="0" err="1" smtClean="0"/>
              <a:t>CorpoS</a:t>
            </a:r>
            <a:r>
              <a:rPr lang="de-DE" noProof="0" dirty="0" smtClean="0"/>
              <a:t> (Textkörper) 35 pt.</a:t>
            </a:r>
            <a:br>
              <a:rPr lang="de-DE" noProof="0" dirty="0" smtClean="0"/>
            </a:br>
            <a:r>
              <a:rPr lang="de-DE" noProof="0" dirty="0" smtClean="0"/>
              <a:t>über zwei Zeilen</a:t>
            </a:r>
            <a:endParaRPr lang="de-DE" dirty="0"/>
          </a:p>
        </p:txBody>
      </p:sp>
      <p:sp>
        <p:nvSpPr>
          <p:cNvPr id="6" name="Content Placeholder 5"/>
          <p:cNvSpPr>
            <a:spLocks noGrp="1"/>
          </p:cNvSpPr>
          <p:nvPr>
            <p:ph sz="quarter" idx="12" hasCustomPrompt="1"/>
          </p:nvPr>
        </p:nvSpPr>
        <p:spPr>
          <a:xfrm>
            <a:off x="629956" y="2493113"/>
            <a:ext cx="4965177" cy="3455460"/>
          </a:xfrm>
        </p:spPr>
        <p:txBody>
          <a:bodyPr/>
          <a:lstStyle>
            <a:lvl1pPr>
              <a:defRPr baseline="0"/>
            </a:lvl1pPr>
          </a:lstStyle>
          <a:p>
            <a:pPr lvl="0"/>
            <a:r>
              <a:rPr lang="de-DE" dirty="0" smtClean="0"/>
              <a:t>Text oder Inhalt einfügen in </a:t>
            </a:r>
            <a:r>
              <a:rPr lang="de-DE" noProof="0" dirty="0" smtClean="0"/>
              <a:t>CorpoS (Body) 24 pt. (mark-</a:t>
            </a:r>
            <a:r>
              <a:rPr lang="de-DE" noProof="0" dirty="0" err="1" smtClean="0"/>
              <a:t>ups</a:t>
            </a:r>
            <a:r>
              <a:rPr lang="de-DE" noProof="0" dirty="0" smtClean="0"/>
              <a:t> in Fett) </a:t>
            </a:r>
            <a:r>
              <a:rPr lang="de-DE" dirty="0" smtClean="0"/>
              <a:t>// für Zusammenfassung oder kurzes Highlight: Start // Absatz // Listenebene erhöhen</a:t>
            </a:r>
          </a:p>
          <a:p>
            <a:pPr lvl="1"/>
            <a:r>
              <a:rPr lang="de-DE" dirty="0" smtClean="0"/>
              <a:t>Zweite Ebene (Zusammenfassung oder kurzes Highlight)</a:t>
            </a:r>
          </a:p>
          <a:p>
            <a:pPr lvl="2"/>
            <a:r>
              <a:rPr lang="de-DE" dirty="0" smtClean="0"/>
              <a:t>Dritte Ebene</a:t>
            </a:r>
          </a:p>
        </p:txBody>
      </p:sp>
      <p:sp>
        <p:nvSpPr>
          <p:cNvPr id="7" name="Text Placeholder 6"/>
          <p:cNvSpPr>
            <a:spLocks noGrp="1"/>
          </p:cNvSpPr>
          <p:nvPr>
            <p:ph type="body" sz="quarter" idx="13" hasCustomPrompt="1"/>
          </p:nvPr>
        </p:nvSpPr>
        <p:spPr>
          <a:xfrm>
            <a:off x="629915" y="1504605"/>
            <a:ext cx="4965173"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smtClean="0"/>
              <a:t>Headline einfügen</a:t>
            </a:r>
          </a:p>
        </p:txBody>
      </p:sp>
      <p:cxnSp>
        <p:nvCxnSpPr>
          <p:cNvPr id="8" name="Gerade Verbindung 42"/>
          <p:cNvCxnSpPr/>
          <p:nvPr userDrawn="1"/>
        </p:nvCxnSpPr>
        <p:spPr bwMode="auto">
          <a:xfrm>
            <a:off x="629675" y="2231482"/>
            <a:ext cx="4965413"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91" y="2231482"/>
            <a:ext cx="4965413"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73" y="1504605"/>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smtClean="0"/>
              <a:t>Headline einfügen</a:t>
            </a:r>
          </a:p>
        </p:txBody>
      </p:sp>
      <p:sp>
        <p:nvSpPr>
          <p:cNvPr id="11" name="Content Placeholder 5"/>
          <p:cNvSpPr>
            <a:spLocks noGrp="1"/>
          </p:cNvSpPr>
          <p:nvPr>
            <p:ph sz="quarter" idx="15" hasCustomPrompt="1"/>
          </p:nvPr>
        </p:nvSpPr>
        <p:spPr>
          <a:xfrm>
            <a:off x="6595373" y="2493114"/>
            <a:ext cx="4965177" cy="3455200"/>
          </a:xfrm>
        </p:spPr>
        <p:txBody>
          <a:bodyPr/>
          <a:lstStyle>
            <a:lvl1pPr>
              <a:defRPr baseline="0"/>
            </a:lvl1pPr>
          </a:lstStyle>
          <a:p>
            <a:pPr lvl="0"/>
            <a:r>
              <a:rPr lang="de-DE" dirty="0" smtClean="0"/>
              <a:t>Text oder Inhalt einfügen in </a:t>
            </a:r>
            <a:r>
              <a:rPr lang="de-DE" noProof="0" dirty="0" smtClean="0"/>
              <a:t>CorpoS (Body) 24 pt. (mark-</a:t>
            </a:r>
            <a:r>
              <a:rPr lang="de-DE" noProof="0" dirty="0" err="1" smtClean="0"/>
              <a:t>ups</a:t>
            </a:r>
            <a:r>
              <a:rPr lang="de-DE" noProof="0" dirty="0" smtClean="0"/>
              <a:t> in Fett) </a:t>
            </a:r>
            <a:r>
              <a:rPr lang="de-DE" dirty="0" smtClean="0"/>
              <a:t>// für Zusammenfassung oder kurzes Highlight: Start // Absatz // Listenebene erhöhen</a:t>
            </a:r>
          </a:p>
          <a:p>
            <a:pPr lvl="1"/>
            <a:r>
              <a:rPr lang="de-DE" dirty="0" smtClean="0"/>
              <a:t>Zweite Ebene (Zusammenfassung oder kurzes Highlight)</a:t>
            </a:r>
          </a:p>
          <a:p>
            <a:pPr lvl="2"/>
            <a:r>
              <a:rPr lang="de-DE" dirty="0" smtClean="0"/>
              <a:t>Dritte Ebene</a:t>
            </a:r>
          </a:p>
        </p:txBody>
      </p:sp>
      <p:sp>
        <p:nvSpPr>
          <p:cNvPr id="13" name="Footer Placeholder 10"/>
          <p:cNvSpPr>
            <a:spLocks noGrp="1"/>
          </p:cNvSpPr>
          <p:nvPr>
            <p:ph type="ftr" sz="quarter" idx="11"/>
          </p:nvPr>
        </p:nvSpPr>
        <p:spPr>
          <a:xfrm>
            <a:off x="2878500" y="6564880"/>
            <a:ext cx="8120970" cy="215949"/>
          </a:xfrm>
        </p:spPr>
        <p:txBody>
          <a:bodyPr/>
          <a:lstStyle/>
          <a:p>
            <a:r>
              <a:rPr lang="en-US" smtClean="0">
                <a:solidFill>
                  <a:prstClr val="black"/>
                </a:solidFill>
              </a:rPr>
              <a:t>Global Leadership Meeting – June 2015</a:t>
            </a:r>
            <a:endParaRPr lang="en-GB" dirty="0" smtClean="0">
              <a:solidFill>
                <a:prstClr val="black"/>
              </a:solidFill>
            </a:endParaRPr>
          </a:p>
        </p:txBody>
      </p:sp>
      <p:sp>
        <p:nvSpPr>
          <p:cNvPr id="14" name="Slide Number Placeholder 11"/>
          <p:cNvSpPr>
            <a:spLocks noGrp="1"/>
          </p:cNvSpPr>
          <p:nvPr>
            <p:ph type="sldNum" sz="quarter" idx="16"/>
          </p:nvPr>
        </p:nvSpPr>
        <p:spPr>
          <a:xfrm>
            <a:off x="11036806" y="6564880"/>
            <a:ext cx="1155196" cy="215949"/>
          </a:xfrm>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905677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Agendafolie ohne Bürstu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de-DE" noProof="0" dirty="0" smtClean="0"/>
              <a:t>Headline für Agenda in CorpoS (Textkörper) 35 pt. </a:t>
            </a:r>
            <a:br>
              <a:rPr lang="de-DE" noProof="0" dirty="0" smtClean="0"/>
            </a:br>
            <a:r>
              <a:rPr lang="de-DE" noProof="0" dirty="0" smtClean="0"/>
              <a:t>in ein oder zwei Zeilen</a:t>
            </a:r>
            <a:endParaRPr lang="de-DE" dirty="0"/>
          </a:p>
        </p:txBody>
      </p:sp>
      <p:sp>
        <p:nvSpPr>
          <p:cNvPr id="6" name="Text Placeholder 5"/>
          <p:cNvSpPr>
            <a:spLocks noGrp="1"/>
          </p:cNvSpPr>
          <p:nvPr>
            <p:ph type="body" sz="quarter" idx="12" hasCustomPrompt="1"/>
          </p:nvPr>
        </p:nvSpPr>
        <p:spPr>
          <a:xfrm>
            <a:off x="628326" y="1504602"/>
            <a:ext cx="10932180" cy="4875671"/>
          </a:xfrm>
        </p:spPr>
        <p:txBody>
          <a:bodyPr/>
          <a:lstStyle>
            <a:lvl1pPr marL="357383" indent="-357383">
              <a:buSzPct val="100000"/>
              <a:buFont typeface="+mj-lt"/>
              <a:buAutoNum type="arabicPeriod"/>
              <a:defRPr baseline="0">
                <a:solidFill>
                  <a:schemeClr val="tx1"/>
                </a:solidFill>
              </a:defRPr>
            </a:lvl1pPr>
            <a:lvl2pPr marL="357383" indent="-357383">
              <a:buFont typeface="+mj-lt"/>
              <a:buAutoNum type="arabicPeriod"/>
              <a:defRPr>
                <a:solidFill>
                  <a:schemeClr val="tx1"/>
                </a:solidFill>
              </a:defRPr>
            </a:lvl2pPr>
            <a:lvl3pPr marL="357383" indent="-357383">
              <a:buFont typeface="+mj-lt"/>
              <a:buAutoNum type="arabicPeriod"/>
              <a:defRPr>
                <a:solidFill>
                  <a:schemeClr val="tx1"/>
                </a:solidFill>
              </a:defRPr>
            </a:lvl3pPr>
            <a:lvl4pPr marL="357383" indent="-357383">
              <a:buFont typeface="+mj-lt"/>
              <a:buAutoNum type="arabicPeriod"/>
              <a:defRPr>
                <a:solidFill>
                  <a:schemeClr val="tx1"/>
                </a:solidFill>
              </a:defRPr>
            </a:lvl4pPr>
            <a:lvl5pPr marL="357383" indent="-357383">
              <a:buFont typeface="+mj-lt"/>
              <a:buAutoNum type="arabicPeriod"/>
              <a:defRPr>
                <a:solidFill>
                  <a:schemeClr val="tx1"/>
                </a:solidFill>
              </a:defRPr>
            </a:lvl5pPr>
            <a:lvl6pPr marL="357383" indent="-357383">
              <a:buFont typeface="+mj-lt"/>
              <a:buAutoNum type="arabicPeriod"/>
              <a:defRPr>
                <a:solidFill>
                  <a:schemeClr val="tx1"/>
                </a:solidFill>
              </a:defRPr>
            </a:lvl6pPr>
            <a:lvl7pPr marL="357383" indent="-357383">
              <a:buFont typeface="+mj-lt"/>
              <a:buAutoNum type="arabicPeriod"/>
              <a:defRPr>
                <a:solidFill>
                  <a:schemeClr val="tx1"/>
                </a:solidFill>
              </a:defRPr>
            </a:lvl7pPr>
            <a:lvl8pPr marL="357383" indent="-357383">
              <a:buFont typeface="+mj-lt"/>
              <a:buAutoNum type="arabicPeriod"/>
              <a:defRPr>
                <a:solidFill>
                  <a:schemeClr val="tx1"/>
                </a:solidFill>
              </a:defRPr>
            </a:lvl8pPr>
            <a:lvl9pPr marL="357383" indent="-357383">
              <a:buFont typeface="+mj-lt"/>
              <a:buAutoNum type="arabicPeriod"/>
              <a:defRPr>
                <a:solidFill>
                  <a:schemeClr val="tx1"/>
                </a:solidFill>
              </a:defRPr>
            </a:lvl9pPr>
          </a:lstStyle>
          <a:p>
            <a:pPr lvl="0"/>
            <a:r>
              <a:rPr lang="de-DE" dirty="0" smtClean="0"/>
              <a:t>Agenda Punkt einfügen</a:t>
            </a:r>
          </a:p>
          <a:p>
            <a:pPr lvl="1"/>
            <a:r>
              <a:rPr lang="de-DE" dirty="0" smtClean="0"/>
              <a:t>Zweite Ebene</a:t>
            </a:r>
          </a:p>
          <a:p>
            <a:pPr lvl="2"/>
            <a:r>
              <a:rPr lang="de-DE" dirty="0" smtClean="0"/>
              <a:t>Dritte Ebene </a:t>
            </a:r>
          </a:p>
          <a:p>
            <a:pPr lvl="3"/>
            <a:r>
              <a:rPr lang="de-DE" dirty="0" smtClean="0"/>
              <a:t>Vierte Ebene </a:t>
            </a:r>
          </a:p>
          <a:p>
            <a:pPr lvl="4"/>
            <a:r>
              <a:rPr lang="de-DE" dirty="0" smtClean="0"/>
              <a:t>Fünfte Ebene </a:t>
            </a:r>
          </a:p>
          <a:p>
            <a:pPr lvl="5"/>
            <a:r>
              <a:rPr lang="de-DE" dirty="0" smtClean="0"/>
              <a:t>Sechste Ebene </a:t>
            </a:r>
          </a:p>
          <a:p>
            <a:pPr lvl="6"/>
            <a:r>
              <a:rPr lang="de-DE" dirty="0" smtClean="0"/>
              <a:t>Siebte Ebene </a:t>
            </a:r>
          </a:p>
          <a:p>
            <a:pPr lvl="7"/>
            <a:r>
              <a:rPr lang="de-DE" dirty="0" smtClean="0"/>
              <a:t>Achte Ebene </a:t>
            </a:r>
          </a:p>
          <a:p>
            <a:pPr lvl="8"/>
            <a:r>
              <a:rPr lang="de-DE" dirty="0" smtClean="0"/>
              <a:t>Neunte Ebene </a:t>
            </a:r>
          </a:p>
        </p:txBody>
      </p:sp>
      <p:sp>
        <p:nvSpPr>
          <p:cNvPr id="5" name="Fußzeilenplatzhalter 4"/>
          <p:cNvSpPr>
            <a:spLocks noGrp="1"/>
          </p:cNvSpPr>
          <p:nvPr>
            <p:ph type="ftr" sz="quarter" idx="13"/>
          </p:nvPr>
        </p:nvSpPr>
        <p:spPr/>
        <p:txBody>
          <a:bodyPr/>
          <a:lstStyle/>
          <a:p>
            <a:r>
              <a:rPr lang="de-DE" dirty="0" err="1" smtClean="0">
                <a:solidFill>
                  <a:prstClr val="black"/>
                </a:solidFill>
              </a:rPr>
              <a:t>BoM</a:t>
            </a:r>
            <a:r>
              <a:rPr lang="de-DE" dirty="0" smtClean="0">
                <a:solidFill>
                  <a:prstClr val="black"/>
                </a:solidFill>
              </a:rPr>
              <a:t> </a:t>
            </a:r>
            <a:r>
              <a:rPr lang="de-DE" dirty="0" err="1" smtClean="0">
                <a:solidFill>
                  <a:prstClr val="black"/>
                </a:solidFill>
              </a:rPr>
              <a:t>Offsite</a:t>
            </a:r>
            <a:r>
              <a:rPr lang="de-DE" dirty="0" smtClean="0">
                <a:solidFill>
                  <a:prstClr val="black"/>
                </a:solidFill>
              </a:rPr>
              <a:t> / Trend &amp; Strategy Update / 19.01.2016 /</a:t>
            </a:r>
          </a:p>
        </p:txBody>
      </p:sp>
      <p:sp>
        <p:nvSpPr>
          <p:cNvPr id="7" name="Foliennummernplatzhalter 6"/>
          <p:cNvSpPr>
            <a:spLocks noGrp="1"/>
          </p:cNvSpPr>
          <p:nvPr>
            <p:ph type="sldNum" sz="quarter" idx="14"/>
          </p:nvPr>
        </p:nvSpPr>
        <p:spPr/>
        <p:txBody>
          <a:bodyPr/>
          <a:lstStyle/>
          <a:p>
            <a:r>
              <a:rPr lang="de-DE" dirty="0" smtClean="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07607914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userDrawn="1">
  <p:cSld name="Image top + copy">
    <p:spTree>
      <p:nvGrpSpPr>
        <p:cNvPr id="1" name=""/>
        <p:cNvGrpSpPr/>
        <p:nvPr/>
      </p:nvGrpSpPr>
      <p:grpSpPr>
        <a:xfrm>
          <a:off x="0" y="0"/>
          <a:ext cx="0" cy="0"/>
          <a:chOff x="0" y="0"/>
          <a:chExt cx="0" cy="0"/>
        </a:xfrm>
      </p:grpSpPr>
      <p:sp>
        <p:nvSpPr>
          <p:cNvPr id="6" name="Bildplatzhalter 5"/>
          <p:cNvSpPr>
            <a:spLocks noGrp="1"/>
          </p:cNvSpPr>
          <p:nvPr>
            <p:ph type="pic" sz="quarter" idx="13" hasCustomPrompt="1"/>
          </p:nvPr>
        </p:nvSpPr>
        <p:spPr>
          <a:xfrm>
            <a:off x="0" y="2"/>
            <a:ext cx="12192000" cy="2784000"/>
          </a:xfrm>
          <a:prstGeom prst="rect">
            <a:avLst/>
          </a:prstGeom>
        </p:spPr>
        <p:txBody>
          <a:bodyPr anchor="ctr"/>
          <a:lstStyle>
            <a:lvl1pPr marL="0" indent="0">
              <a:buNone/>
              <a:defRPr sz="1599" baseline="0">
                <a:solidFill>
                  <a:srgbClr val="A5A6A5"/>
                </a:solidFill>
              </a:defRPr>
            </a:lvl1pPr>
          </a:lstStyle>
          <a:p>
            <a:r>
              <a:rPr lang="de-DE" dirty="0" smtClean="0"/>
              <a:t>Drag image and select cutout (using the image editing tools).  </a:t>
            </a:r>
            <a:r>
              <a:rPr lang="en-US"/>
              <a:t>Please use the example slide or copy the blue header from the example slide.</a:t>
            </a:r>
          </a:p>
          <a:p>
            <a:endParaRPr lang="en-US" dirty="0"/>
          </a:p>
        </p:txBody>
      </p:sp>
      <p:sp>
        <p:nvSpPr>
          <p:cNvPr id="3" name="Textplatzhalter 14"/>
          <p:cNvSpPr>
            <a:spLocks noGrp="1"/>
          </p:cNvSpPr>
          <p:nvPr>
            <p:ph type="body" sz="quarter" idx="22" hasCustomPrompt="1"/>
          </p:nvPr>
        </p:nvSpPr>
        <p:spPr>
          <a:xfrm>
            <a:off x="575735" y="3735596"/>
            <a:ext cx="11260665" cy="2815488"/>
          </a:xfrm>
          <a:prstGeom prst="rect">
            <a:avLst/>
          </a:prstGeom>
        </p:spPr>
        <p:txBody>
          <a:bodyPr vert="horz" lIns="0" tIns="0" rIns="0" bIns="0"/>
          <a:lstStyle>
            <a:lvl1pPr marL="0" indent="0">
              <a:lnSpc>
                <a:spcPct val="120000"/>
              </a:lnSpc>
              <a:spcBef>
                <a:spcPts val="0"/>
              </a:spcBef>
              <a:buNone/>
              <a:defRPr sz="1299">
                <a:solidFill>
                  <a:srgbClr val="A5A6A5"/>
                </a:solidFill>
              </a:defRPr>
            </a:lvl1pPr>
            <a:lvl2pPr marL="605929" indent="0">
              <a:lnSpc>
                <a:spcPct val="120000"/>
              </a:lnSpc>
              <a:spcBef>
                <a:spcPts val="0"/>
              </a:spcBef>
              <a:buNone/>
              <a:defRPr sz="1299">
                <a:solidFill>
                  <a:srgbClr val="A5A6A5"/>
                </a:solidFill>
              </a:defRPr>
            </a:lvl2pPr>
            <a:lvl3pPr marL="1211877" indent="0">
              <a:spcBef>
                <a:spcPts val="0"/>
              </a:spcBef>
              <a:buNone/>
              <a:defRPr sz="1299">
                <a:solidFill>
                  <a:srgbClr val="A5A6A5"/>
                </a:solidFill>
              </a:defRPr>
            </a:lvl3pPr>
            <a:lvl4pPr marL="1817813" indent="0">
              <a:spcBef>
                <a:spcPts val="0"/>
              </a:spcBef>
              <a:buNone/>
              <a:defRPr sz="1299">
                <a:solidFill>
                  <a:srgbClr val="A5A6A5"/>
                </a:solidFill>
              </a:defRPr>
            </a:lvl4pPr>
            <a:lvl5pPr marL="2423754" indent="0">
              <a:spcBef>
                <a:spcPts val="0"/>
              </a:spcBef>
              <a:buNone/>
              <a:defRPr sz="1299">
                <a:solidFill>
                  <a:srgbClr val="A5A6A5"/>
                </a:solidFill>
              </a:defRPr>
            </a:lvl5pPr>
          </a:lstStyle>
          <a:p>
            <a:pPr lvl="0"/>
            <a:r>
              <a:rPr lang="de-DE"/>
              <a:t>Edit copy</a:t>
            </a:r>
          </a:p>
          <a:p>
            <a:pPr lvl="1"/>
            <a:r>
              <a:rPr lang="de-DE"/>
              <a:t> </a:t>
            </a:r>
          </a:p>
        </p:txBody>
      </p:sp>
      <p:sp>
        <p:nvSpPr>
          <p:cNvPr id="4" name="Textplatzhalter 2"/>
          <p:cNvSpPr>
            <a:spLocks noGrp="1"/>
          </p:cNvSpPr>
          <p:nvPr>
            <p:ph type="body" sz="quarter" idx="25" hasCustomPrompt="1"/>
          </p:nvPr>
        </p:nvSpPr>
        <p:spPr>
          <a:xfrm>
            <a:off x="575735" y="2875972"/>
            <a:ext cx="11260665" cy="859623"/>
          </a:xfrm>
          <a:prstGeom prst="rect">
            <a:avLst/>
          </a:prstGeom>
        </p:spPr>
        <p:txBody>
          <a:bodyPr vert="horz" lIns="0" tIns="0" rIns="0" bIns="0"/>
          <a:lstStyle>
            <a:lvl1pPr marL="0" indent="0">
              <a:spcBef>
                <a:spcPts val="0"/>
              </a:spcBef>
              <a:buNone/>
              <a:defRPr sz="3198" b="1"/>
            </a:lvl1pPr>
            <a:lvl2pPr marL="605929" indent="0">
              <a:buNone/>
              <a:defRPr sz="3198" b="1"/>
            </a:lvl2pPr>
            <a:lvl3pPr marL="1211877" indent="0">
              <a:buNone/>
              <a:defRPr sz="3198" b="1"/>
            </a:lvl3pPr>
            <a:lvl4pPr marL="1817813" indent="0">
              <a:buNone/>
              <a:defRPr sz="3198" b="1"/>
            </a:lvl4pPr>
            <a:lvl5pPr marL="2423754" indent="0">
              <a:buNone/>
              <a:defRPr sz="3198" b="1"/>
            </a:lvl5pPr>
          </a:lstStyle>
          <a:p>
            <a:pPr lvl="0"/>
            <a:r>
              <a:rPr lang="de-DE"/>
              <a:t>Edit headline</a:t>
            </a:r>
          </a:p>
        </p:txBody>
      </p:sp>
      <p:sp>
        <p:nvSpPr>
          <p:cNvPr id="5" name="Footer Placeholder 2"/>
          <p:cNvSpPr>
            <a:spLocks noGrp="1"/>
          </p:cNvSpPr>
          <p:nvPr>
            <p:ph type="ftr" sz="quarter" idx="10"/>
          </p:nvPr>
        </p:nvSpPr>
        <p:spPr>
          <a:xfrm>
            <a:off x="2878500" y="6564880"/>
            <a:ext cx="8120970" cy="215949"/>
          </a:xfrm>
        </p:spPr>
        <p:txBody>
          <a:bodyPr/>
          <a:lstStyle/>
          <a:p>
            <a:endParaRPr lang="en-GB" dirty="0" smtClean="0">
              <a:solidFill>
                <a:prstClr val="black"/>
              </a:solidFill>
            </a:endParaRPr>
          </a:p>
        </p:txBody>
      </p:sp>
      <p:sp>
        <p:nvSpPr>
          <p:cNvPr id="7" name="Slide Number Placeholder 3"/>
          <p:cNvSpPr>
            <a:spLocks noGrp="1"/>
          </p:cNvSpPr>
          <p:nvPr>
            <p:ph type="sldNum" sz="quarter" idx="11"/>
          </p:nvPr>
        </p:nvSpPr>
        <p:spPr>
          <a:xfrm>
            <a:off x="11036806" y="6564880"/>
            <a:ext cx="1155196" cy="215949"/>
          </a:xfrm>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015121041"/>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Title +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5744" y="1030819"/>
            <a:ext cx="11267018" cy="736872"/>
          </a:xfrm>
          <a:prstGeom prst="rect">
            <a:avLst/>
          </a:prstGeom>
        </p:spPr>
        <p:txBody>
          <a:bodyPr vert="horz" lIns="0" tIns="0" rIns="0" bIns="0"/>
          <a:lstStyle>
            <a:lvl1pPr algn="l">
              <a:defRPr sz="3198" b="1">
                <a:solidFill>
                  <a:schemeClr val="tx1"/>
                </a:solidFill>
              </a:defRPr>
            </a:lvl1pPr>
          </a:lstStyle>
          <a:p>
            <a:r>
              <a:rPr lang="de-DE"/>
              <a:t>Edit headline</a:t>
            </a:r>
          </a:p>
        </p:txBody>
      </p:sp>
      <p:sp>
        <p:nvSpPr>
          <p:cNvPr id="5" name="Inhaltsplatzhalter 4"/>
          <p:cNvSpPr>
            <a:spLocks noGrp="1"/>
          </p:cNvSpPr>
          <p:nvPr>
            <p:ph sz="quarter" idx="14" hasCustomPrompt="1"/>
          </p:nvPr>
        </p:nvSpPr>
        <p:spPr>
          <a:xfrm>
            <a:off x="575747" y="1767734"/>
            <a:ext cx="11260665" cy="4781276"/>
          </a:xfrm>
          <a:prstGeom prst="rect">
            <a:avLst/>
          </a:prstGeom>
        </p:spPr>
        <p:txBody>
          <a:bodyPr vert="horz" lIns="0" tIns="0" rIns="0" bIns="0"/>
          <a:lstStyle>
            <a:lvl1pPr marL="0" indent="0">
              <a:lnSpc>
                <a:spcPct val="120000"/>
              </a:lnSpc>
              <a:buFontTx/>
              <a:buNone/>
              <a:defRPr sz="1599">
                <a:solidFill>
                  <a:schemeClr val="accent4"/>
                </a:solidFill>
              </a:defRPr>
            </a:lvl1pPr>
            <a:lvl2pPr marL="605929" indent="0">
              <a:buFontTx/>
              <a:buNone/>
              <a:defRPr sz="1599">
                <a:solidFill>
                  <a:schemeClr val="accent4"/>
                </a:solidFill>
              </a:defRPr>
            </a:lvl2pPr>
            <a:lvl3pPr marL="1211877" indent="0">
              <a:buFontTx/>
              <a:buNone/>
              <a:defRPr sz="1599">
                <a:solidFill>
                  <a:schemeClr val="accent4"/>
                </a:solidFill>
              </a:defRPr>
            </a:lvl3pPr>
            <a:lvl4pPr marL="1817813" indent="0">
              <a:buFontTx/>
              <a:buNone/>
              <a:defRPr sz="1599">
                <a:solidFill>
                  <a:schemeClr val="accent4"/>
                </a:solidFill>
              </a:defRPr>
            </a:lvl4pPr>
            <a:lvl5pPr marL="2423754" indent="0">
              <a:buFontTx/>
              <a:buNone/>
              <a:defRPr sz="1599">
                <a:solidFill>
                  <a:schemeClr val="accent4"/>
                </a:solidFill>
              </a:defRPr>
            </a:lvl5pPr>
          </a:lstStyle>
          <a:p>
            <a:pPr lvl="0"/>
            <a:r>
              <a:rPr lang="de-DE"/>
              <a:t>Edit Copy</a:t>
            </a:r>
          </a:p>
        </p:txBody>
      </p:sp>
      <p:sp>
        <p:nvSpPr>
          <p:cNvPr id="8" name="Textplatzhalter 2"/>
          <p:cNvSpPr>
            <a:spLocks noGrp="1"/>
          </p:cNvSpPr>
          <p:nvPr>
            <p:ph type="body" sz="quarter" idx="13" hasCustomPrompt="1"/>
          </p:nvPr>
        </p:nvSpPr>
        <p:spPr>
          <a:xfrm>
            <a:off x="580882" y="2"/>
            <a:ext cx="9830629" cy="762240"/>
          </a:xfrm>
          <a:prstGeom prst="rect">
            <a:avLst/>
          </a:prstGeom>
        </p:spPr>
        <p:txBody>
          <a:bodyPr vert="horz" lIns="0" tIns="0" rIns="0" bIns="0" anchor="ctr"/>
          <a:lstStyle>
            <a:lvl1pPr marL="0" indent="0">
              <a:lnSpc>
                <a:spcPct val="120000"/>
              </a:lnSpc>
              <a:spcBef>
                <a:spcPts val="0"/>
              </a:spcBef>
              <a:buFontTx/>
              <a:buNone/>
              <a:defRPr sz="1599" b="1" cap="all">
                <a:solidFill>
                  <a:srgbClr val="FFFFFF"/>
                </a:solidFill>
              </a:defRPr>
            </a:lvl1pPr>
            <a:lvl2pPr marL="605929" indent="0">
              <a:buFontTx/>
              <a:buNone/>
              <a:defRPr sz="1599" b="1">
                <a:solidFill>
                  <a:srgbClr val="FFFFFF"/>
                </a:solidFill>
              </a:defRPr>
            </a:lvl2pPr>
            <a:lvl3pPr marL="1211877" indent="0">
              <a:buFontTx/>
              <a:buNone/>
              <a:defRPr sz="1599" b="1">
                <a:solidFill>
                  <a:srgbClr val="FFFFFF"/>
                </a:solidFill>
              </a:defRPr>
            </a:lvl3pPr>
            <a:lvl4pPr marL="1817813" indent="0">
              <a:buFontTx/>
              <a:buNone/>
              <a:defRPr sz="1599" b="1">
                <a:solidFill>
                  <a:srgbClr val="FFFFFF"/>
                </a:solidFill>
              </a:defRPr>
            </a:lvl4pPr>
            <a:lvl5pPr marL="2423754" indent="0">
              <a:buFontTx/>
              <a:buNone/>
              <a:defRPr sz="1599" b="1">
                <a:solidFill>
                  <a:srgbClr val="FFFFFF"/>
                </a:solidFill>
              </a:defRPr>
            </a:lvl5pPr>
          </a:lstStyle>
          <a:p>
            <a:pPr lvl="0"/>
            <a:r>
              <a:rPr lang="de-DE" dirty="0" smtClean="0"/>
              <a:t>Edit </a:t>
            </a:r>
            <a:r>
              <a:rPr lang="de-DE" dirty="0" err="1" smtClean="0"/>
              <a:t>header</a:t>
            </a:r>
            <a:endParaRPr lang="de-DE" dirty="0"/>
          </a:p>
        </p:txBody>
      </p:sp>
      <p:sp>
        <p:nvSpPr>
          <p:cNvPr id="6" name="Footer Placeholder 2"/>
          <p:cNvSpPr>
            <a:spLocks noGrp="1"/>
          </p:cNvSpPr>
          <p:nvPr>
            <p:ph type="ftr" sz="quarter" idx="10"/>
          </p:nvPr>
        </p:nvSpPr>
        <p:spPr>
          <a:xfrm>
            <a:off x="2878500" y="6564880"/>
            <a:ext cx="8120970" cy="215949"/>
          </a:xfrm>
        </p:spPr>
        <p:txBody>
          <a:bodyPr/>
          <a:lstStyle/>
          <a:p>
            <a:endParaRPr lang="en-GB" dirty="0" smtClean="0">
              <a:solidFill>
                <a:prstClr val="black"/>
              </a:solidFill>
            </a:endParaRPr>
          </a:p>
        </p:txBody>
      </p:sp>
      <p:sp>
        <p:nvSpPr>
          <p:cNvPr id="7" name="Slide Number Placeholder 3"/>
          <p:cNvSpPr>
            <a:spLocks noGrp="1"/>
          </p:cNvSpPr>
          <p:nvPr>
            <p:ph type="sldNum" sz="quarter" idx="11"/>
          </p:nvPr>
        </p:nvSpPr>
        <p:spPr>
          <a:xfrm>
            <a:off x="11036806" y="6564880"/>
            <a:ext cx="1155196" cy="215949"/>
          </a:xfrm>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2940500142"/>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Text/ Inhalt/ Ü 1 Zeile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720" y="285982"/>
            <a:ext cx="10931106" cy="683842"/>
          </a:xfrm>
        </p:spPr>
        <p:txBody>
          <a:bodyPr/>
          <a:lstStyle/>
          <a:p>
            <a:r>
              <a:rPr lang="de-DE" noProof="0" dirty="0" smtClean="0"/>
              <a:t>Headline in CorpoS (Textkörper) 35 pt.</a:t>
            </a:r>
            <a:endParaRPr lang="de-DE" dirty="0"/>
          </a:p>
        </p:txBody>
      </p:sp>
      <p:sp>
        <p:nvSpPr>
          <p:cNvPr id="6" name="Content Placeholder 5"/>
          <p:cNvSpPr>
            <a:spLocks noGrp="1"/>
          </p:cNvSpPr>
          <p:nvPr>
            <p:ph sz="quarter" idx="12" hasCustomPrompt="1"/>
          </p:nvPr>
        </p:nvSpPr>
        <p:spPr>
          <a:xfrm>
            <a:off x="629672" y="1233203"/>
            <a:ext cx="10930832" cy="5254634"/>
          </a:xfrm>
        </p:spPr>
        <p:txBody>
          <a:bodyPr/>
          <a:lstStyle>
            <a:lvl1pPr>
              <a:defRPr baseline="0"/>
            </a:lvl1pPr>
          </a:lstStyle>
          <a:p>
            <a:pPr lvl="0"/>
            <a:r>
              <a:rPr lang="de-DE" dirty="0" smtClean="0"/>
              <a:t>Text oder Inhalt einfügen in </a:t>
            </a:r>
            <a:r>
              <a:rPr lang="de-DE" noProof="0" dirty="0" smtClean="0"/>
              <a:t>CorpoS (Body) 24 pt. (Hervorhebungen in fett) </a:t>
            </a:r>
            <a:r>
              <a:rPr lang="de-DE" dirty="0" smtClean="0"/>
              <a:t>// für Zusammenfassung oder kurzes Highlight: Start // Absatz // Listenebene erhöhen</a:t>
            </a:r>
          </a:p>
          <a:p>
            <a:pPr lvl="1"/>
            <a:r>
              <a:rPr lang="de-DE" dirty="0" smtClean="0"/>
              <a:t>Zweite Ebene (Zusammenfassung oder kurzes Highlight)</a:t>
            </a:r>
          </a:p>
          <a:p>
            <a:pPr lvl="2"/>
            <a:r>
              <a:rPr lang="de-DE" dirty="0" smtClean="0"/>
              <a:t>Dritte Ebene </a:t>
            </a:r>
          </a:p>
          <a:p>
            <a:pPr lvl="3"/>
            <a:r>
              <a:rPr lang="de-DE" dirty="0" smtClean="0"/>
              <a:t>Vierte Ebene </a:t>
            </a:r>
          </a:p>
          <a:p>
            <a:pPr lvl="4"/>
            <a:r>
              <a:rPr lang="de-DE" dirty="0" smtClean="0"/>
              <a:t>Fünfte Ebene </a:t>
            </a:r>
          </a:p>
          <a:p>
            <a:pPr lvl="5"/>
            <a:r>
              <a:rPr lang="de-DE" dirty="0" smtClean="0"/>
              <a:t>Sechste Ebene </a:t>
            </a:r>
          </a:p>
          <a:p>
            <a:pPr lvl="6"/>
            <a:r>
              <a:rPr lang="de-DE" dirty="0" smtClean="0"/>
              <a:t>Siebte Ebene </a:t>
            </a:r>
          </a:p>
          <a:p>
            <a:pPr lvl="7"/>
            <a:r>
              <a:rPr lang="de-DE" dirty="0" smtClean="0"/>
              <a:t>Achte Ebene </a:t>
            </a:r>
          </a:p>
          <a:p>
            <a:pPr lvl="8"/>
            <a:r>
              <a:rPr lang="de-DE" dirty="0" smtClean="0"/>
              <a:t>Neunte Ebene </a:t>
            </a:r>
          </a:p>
        </p:txBody>
      </p:sp>
      <p:sp>
        <p:nvSpPr>
          <p:cNvPr id="5" name="Fußzeilenplatzhalter 4"/>
          <p:cNvSpPr>
            <a:spLocks noGrp="1"/>
          </p:cNvSpPr>
          <p:nvPr>
            <p:ph type="ftr" sz="quarter" idx="13"/>
          </p:nvPr>
        </p:nvSpPr>
        <p:spPr/>
        <p:txBody>
          <a:bodyPr/>
          <a:lstStyle/>
          <a:p>
            <a:r>
              <a:rPr lang="de-DE" dirty="0" err="1" smtClean="0">
                <a:solidFill>
                  <a:prstClr val="black"/>
                </a:solidFill>
              </a:rPr>
              <a:t>BoM</a:t>
            </a:r>
            <a:r>
              <a:rPr lang="de-DE" dirty="0" smtClean="0">
                <a:solidFill>
                  <a:prstClr val="black"/>
                </a:solidFill>
              </a:rPr>
              <a:t> </a:t>
            </a:r>
            <a:r>
              <a:rPr lang="de-DE" dirty="0" err="1" smtClean="0">
                <a:solidFill>
                  <a:prstClr val="black"/>
                </a:solidFill>
              </a:rPr>
              <a:t>Offsite</a:t>
            </a:r>
            <a:r>
              <a:rPr lang="de-DE" dirty="0" smtClean="0">
                <a:solidFill>
                  <a:prstClr val="black"/>
                </a:solidFill>
              </a:rPr>
              <a:t> / Trend &amp; Strategy Update / 19.01.2016 /</a:t>
            </a:r>
          </a:p>
        </p:txBody>
      </p:sp>
      <p:sp>
        <p:nvSpPr>
          <p:cNvPr id="7" name="Foliennummernplatzhalter 6"/>
          <p:cNvSpPr>
            <a:spLocks noGrp="1"/>
          </p:cNvSpPr>
          <p:nvPr>
            <p:ph type="sldNum" sz="quarter" idx="14"/>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83123025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 Images-chart 1/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6" y="288859"/>
            <a:ext cx="10930662" cy="1148857"/>
          </a:xfrm>
        </p:spPr>
        <p:txBody>
          <a:bodyPr/>
          <a:lstStyle>
            <a:lvl1pPr>
              <a:defRPr>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411514605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1.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2"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3" y="5121280"/>
            <a:ext cx="10930832" cy="1025684"/>
          </a:xfrm>
        </p:spPr>
        <p:txBody>
          <a:bodyPr wrap="square" anchor="b" anchorCtr="0">
            <a:spAutoFit/>
          </a:bodyPr>
          <a:lstStyle>
            <a:lvl1pPr>
              <a:defRPr baseline="0"/>
            </a:lvl1pPr>
          </a:lstStyle>
          <a:p>
            <a:r>
              <a:rPr lang="en-GB" dirty="0" smtClean="0"/>
              <a:t>Referent’s name: </a:t>
            </a:r>
            <a:r>
              <a:rPr lang="en-GB" noProof="0" dirty="0" smtClean="0"/>
              <a:t>CorpoS </a:t>
            </a:r>
            <a:r>
              <a:rPr lang="en-GB" dirty="0" smtClean="0"/>
              <a:t>(Body) 35 pt. Presentation title</a:t>
            </a:r>
            <a:br>
              <a:rPr lang="en-GB" dirty="0" smtClean="0"/>
            </a:br>
            <a:r>
              <a:rPr lang="en-GB" dirty="0" smtClean="0"/>
              <a:t>in two lines of text, dd. </a:t>
            </a:r>
            <a:r>
              <a:rPr lang="en-GB" dirty="0" err="1" smtClean="0"/>
              <a:t>mmmm</a:t>
            </a:r>
            <a:r>
              <a:rPr lang="en-GB" dirty="0" smtClean="0"/>
              <a:t> </a:t>
            </a:r>
            <a:r>
              <a:rPr lang="en-GB" dirty="0" err="1" smtClean="0"/>
              <a:t>yyyy</a:t>
            </a:r>
            <a:endParaRPr lang="en-GB"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4" y="790855"/>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5" y="998977"/>
            <a:ext cx="3742051" cy="236996"/>
          </a:xfrm>
          <a:prstGeom prst="rect">
            <a:avLst/>
          </a:prstGeom>
        </p:spPr>
      </p:pic>
      <p:grpSp>
        <p:nvGrpSpPr>
          <p:cNvPr id="18" name="Gruppieren 17"/>
          <p:cNvGrpSpPr/>
          <p:nvPr userDrawn="1"/>
        </p:nvGrpSpPr>
        <p:grpSpPr>
          <a:xfrm>
            <a:off x="-2250853" y="3527182"/>
            <a:ext cx="2229361" cy="4638856"/>
            <a:chOff x="12221581" y="-62687"/>
            <a:chExt cx="2230522" cy="4639930"/>
          </a:xfrm>
        </p:grpSpPr>
        <p:sp>
          <p:nvSpPr>
            <p:cNvPr id="19" name="Rechteck 18"/>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0" name="Grafik 1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1" name="Grafik 2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2" name="Rechteck 21"/>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3" name="Gruppieren 22"/>
          <p:cNvGrpSpPr/>
          <p:nvPr userDrawn="1"/>
        </p:nvGrpSpPr>
        <p:grpSpPr>
          <a:xfrm>
            <a:off x="12192048" y="-82363"/>
            <a:ext cx="2184353" cy="3786237"/>
            <a:chOff x="12266612" y="-62687"/>
            <a:chExt cx="2185491" cy="3787114"/>
          </a:xfrm>
        </p:grpSpPr>
        <p:sp>
          <p:nvSpPr>
            <p:cNvPr id="24" name="Rechteck 23"/>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25" name="Grafik 2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26" name="Gruppieren 25"/>
          <p:cNvGrpSpPr/>
          <p:nvPr userDrawn="1"/>
        </p:nvGrpSpPr>
        <p:grpSpPr>
          <a:xfrm>
            <a:off x="12192002" y="3909447"/>
            <a:ext cx="2383726" cy="3891079"/>
            <a:chOff x="12291863" y="5052225"/>
            <a:chExt cx="2384968" cy="3891979"/>
          </a:xfrm>
        </p:grpSpPr>
        <p:sp>
          <p:nvSpPr>
            <p:cNvPr id="35" name="Rechteck 34"/>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36" name="Picture 2"/>
            <p:cNvPicPr>
              <a:picLocks noChangeAspect="1" noChangeArrowheads="1"/>
            </p:cNvPicPr>
            <p:nvPr userDrawn="1"/>
          </p:nvPicPr>
          <p:blipFill>
            <a:blip r:embed="rId10">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uppieren 36"/>
          <p:cNvGrpSpPr/>
          <p:nvPr userDrawn="1"/>
        </p:nvGrpSpPr>
        <p:grpSpPr>
          <a:xfrm>
            <a:off x="14575773" y="-67762"/>
            <a:ext cx="2184353" cy="5224601"/>
            <a:chOff x="14583318" y="4183"/>
            <a:chExt cx="2185491" cy="5225811"/>
          </a:xfrm>
        </p:grpSpPr>
        <p:sp>
          <p:nvSpPr>
            <p:cNvPr id="38" name="Rechteck 37"/>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39" name="Grafik 38"/>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0" name="Grafik 39"/>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1" name="Rechteck 40"/>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2" name="Grafik 4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1362085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873">
          <p15:clr>
            <a:srgbClr val="FBAE4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userDrawn="1">
  <p:cSld name="2.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2"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4" y="5121280"/>
            <a:ext cx="10932181" cy="1025684"/>
          </a:xfrm>
        </p:spPr>
        <p:txBody>
          <a:bodyPr wrap="square" anchor="b" anchorCtr="0">
            <a:spAutoFit/>
          </a:bodyPr>
          <a:lstStyle>
            <a:lvl1pPr>
              <a:defRPr/>
            </a:lvl1pPr>
          </a:lstStyle>
          <a:p>
            <a:r>
              <a:rPr lang="en-GB" dirty="0" smtClean="0"/>
              <a:t>Referent’s name: </a:t>
            </a:r>
            <a:r>
              <a:rPr lang="en-GB" noProof="0" dirty="0" smtClean="0"/>
              <a:t>CorpoS </a:t>
            </a:r>
            <a:r>
              <a:rPr lang="en-GB" dirty="0" smtClean="0"/>
              <a:t>(Body) 35 pt. Presentation title</a:t>
            </a:r>
            <a:br>
              <a:rPr lang="en-GB" dirty="0" smtClean="0"/>
            </a:br>
            <a:r>
              <a:rPr lang="en-GB" dirty="0" smtClean="0"/>
              <a:t>in two or more lines of text, dd. </a:t>
            </a:r>
            <a:r>
              <a:rPr lang="en-GB" dirty="0" err="1" smtClean="0"/>
              <a:t>mmmm</a:t>
            </a:r>
            <a:r>
              <a:rPr lang="en-GB" dirty="0" smtClean="0"/>
              <a:t> </a:t>
            </a:r>
            <a:r>
              <a:rPr lang="en-GB" dirty="0" err="1" smtClean="0"/>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4" y="790855"/>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5" y="998977"/>
            <a:ext cx="3742051" cy="236996"/>
          </a:xfrm>
          <a:prstGeom prst="rect">
            <a:avLst/>
          </a:prstGeom>
        </p:spPr>
      </p:pic>
      <p:grpSp>
        <p:nvGrpSpPr>
          <p:cNvPr id="18" name="Gruppieren 17"/>
          <p:cNvGrpSpPr/>
          <p:nvPr userDrawn="1"/>
        </p:nvGrpSpPr>
        <p:grpSpPr>
          <a:xfrm>
            <a:off x="-2250853" y="3527182"/>
            <a:ext cx="2229361" cy="4638856"/>
            <a:chOff x="12221581" y="-62687"/>
            <a:chExt cx="2230522" cy="4639930"/>
          </a:xfrm>
        </p:grpSpPr>
        <p:sp>
          <p:nvSpPr>
            <p:cNvPr id="19" name="Rechteck 18"/>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0" name="Grafik 1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1" name="Grafik 2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2" name="Rechteck 21"/>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3" name="Gruppieren 22"/>
          <p:cNvGrpSpPr/>
          <p:nvPr userDrawn="1"/>
        </p:nvGrpSpPr>
        <p:grpSpPr>
          <a:xfrm>
            <a:off x="12192048" y="-82363"/>
            <a:ext cx="2184353" cy="3786237"/>
            <a:chOff x="12266612" y="-62687"/>
            <a:chExt cx="2185491" cy="3787114"/>
          </a:xfrm>
        </p:grpSpPr>
        <p:sp>
          <p:nvSpPr>
            <p:cNvPr id="24" name="Rechteck 23"/>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25" name="Grafik 2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26" name="Gruppieren 25"/>
          <p:cNvGrpSpPr/>
          <p:nvPr userDrawn="1"/>
        </p:nvGrpSpPr>
        <p:grpSpPr>
          <a:xfrm>
            <a:off x="12192002" y="3909447"/>
            <a:ext cx="2383726" cy="3891079"/>
            <a:chOff x="12291863" y="5052225"/>
            <a:chExt cx="2384968" cy="3891979"/>
          </a:xfrm>
        </p:grpSpPr>
        <p:sp>
          <p:nvSpPr>
            <p:cNvPr id="35" name="Rechteck 34"/>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36" name="Picture 2"/>
            <p:cNvPicPr>
              <a:picLocks noChangeAspect="1" noChangeArrowheads="1"/>
            </p:cNvPicPr>
            <p:nvPr userDrawn="1"/>
          </p:nvPicPr>
          <p:blipFill>
            <a:blip r:embed="rId10">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uppieren 36"/>
          <p:cNvGrpSpPr/>
          <p:nvPr userDrawn="1"/>
        </p:nvGrpSpPr>
        <p:grpSpPr>
          <a:xfrm>
            <a:off x="14575773" y="-67762"/>
            <a:ext cx="2184353" cy="5224601"/>
            <a:chOff x="14583318" y="4183"/>
            <a:chExt cx="2185491" cy="5225811"/>
          </a:xfrm>
        </p:grpSpPr>
        <p:sp>
          <p:nvSpPr>
            <p:cNvPr id="38" name="Rechteck 37"/>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39" name="Grafik 38"/>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0" name="Grafik 39"/>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1" name="Rechteck 40"/>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2" name="Grafik 4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9420991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873">
          <p15:clr>
            <a:srgbClr val="FBAE4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userDrawn="1">
  <p:cSld name="1_2.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2"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4" y="5121280"/>
            <a:ext cx="10932181" cy="1025684"/>
          </a:xfrm>
        </p:spPr>
        <p:txBody>
          <a:bodyPr wrap="square" anchor="b" anchorCtr="0">
            <a:spAutoFit/>
          </a:bodyPr>
          <a:lstStyle>
            <a:lvl1pPr>
              <a:defRPr/>
            </a:lvl1pPr>
          </a:lstStyle>
          <a:p>
            <a:r>
              <a:rPr lang="en-GB" dirty="0" smtClean="0"/>
              <a:t>Referent’s name: </a:t>
            </a:r>
            <a:r>
              <a:rPr lang="en-GB" noProof="0" dirty="0" smtClean="0"/>
              <a:t>CorpoS </a:t>
            </a:r>
            <a:r>
              <a:rPr lang="en-GB" dirty="0" smtClean="0"/>
              <a:t>(Body) 35 pt. Presentation title</a:t>
            </a:r>
            <a:br>
              <a:rPr lang="en-GB" dirty="0" smtClean="0"/>
            </a:br>
            <a:r>
              <a:rPr lang="en-GB" dirty="0" smtClean="0"/>
              <a:t>in two or more lines of text, dd. </a:t>
            </a:r>
            <a:r>
              <a:rPr lang="en-GB" dirty="0" err="1" smtClean="0"/>
              <a:t>mmmm</a:t>
            </a:r>
            <a:r>
              <a:rPr lang="en-GB" dirty="0" smtClean="0"/>
              <a:t> </a:t>
            </a:r>
            <a:r>
              <a:rPr lang="en-GB" dirty="0" err="1" smtClean="0"/>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4" y="790855"/>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5" y="998977"/>
            <a:ext cx="3742051" cy="236996"/>
          </a:xfrm>
          <a:prstGeom prst="rect">
            <a:avLst/>
          </a:prstGeom>
        </p:spPr>
      </p:pic>
      <p:grpSp>
        <p:nvGrpSpPr>
          <p:cNvPr id="18" name="Gruppieren 17"/>
          <p:cNvGrpSpPr/>
          <p:nvPr userDrawn="1"/>
        </p:nvGrpSpPr>
        <p:grpSpPr>
          <a:xfrm>
            <a:off x="-2250853" y="3527182"/>
            <a:ext cx="2229361" cy="4638856"/>
            <a:chOff x="12221581" y="-62687"/>
            <a:chExt cx="2230522" cy="4639930"/>
          </a:xfrm>
        </p:grpSpPr>
        <p:sp>
          <p:nvSpPr>
            <p:cNvPr id="19" name="Rechteck 18"/>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0" name="Grafik 1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1" name="Grafik 2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2" name="Rechteck 21"/>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3" name="Gruppieren 22"/>
          <p:cNvGrpSpPr/>
          <p:nvPr userDrawn="1"/>
        </p:nvGrpSpPr>
        <p:grpSpPr>
          <a:xfrm>
            <a:off x="12192048" y="-82363"/>
            <a:ext cx="2184353" cy="3786237"/>
            <a:chOff x="12266612" y="-62687"/>
            <a:chExt cx="2185491" cy="3787114"/>
          </a:xfrm>
        </p:grpSpPr>
        <p:sp>
          <p:nvSpPr>
            <p:cNvPr id="24" name="Rechteck 23"/>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25" name="Grafik 2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26" name="Gruppieren 25"/>
          <p:cNvGrpSpPr/>
          <p:nvPr userDrawn="1"/>
        </p:nvGrpSpPr>
        <p:grpSpPr>
          <a:xfrm>
            <a:off x="12192002" y="3909447"/>
            <a:ext cx="2383726" cy="3891079"/>
            <a:chOff x="12291863" y="5052225"/>
            <a:chExt cx="2384968" cy="3891979"/>
          </a:xfrm>
        </p:grpSpPr>
        <p:sp>
          <p:nvSpPr>
            <p:cNvPr id="35" name="Rechteck 34"/>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36" name="Picture 2"/>
            <p:cNvPicPr>
              <a:picLocks noChangeAspect="1" noChangeArrowheads="1"/>
            </p:cNvPicPr>
            <p:nvPr userDrawn="1"/>
          </p:nvPicPr>
          <p:blipFill>
            <a:blip r:embed="rId10">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uppieren 36"/>
          <p:cNvGrpSpPr/>
          <p:nvPr userDrawn="1"/>
        </p:nvGrpSpPr>
        <p:grpSpPr>
          <a:xfrm>
            <a:off x="14575773" y="-67762"/>
            <a:ext cx="2184353" cy="5224601"/>
            <a:chOff x="14583318" y="4183"/>
            <a:chExt cx="2185491" cy="5225811"/>
          </a:xfrm>
        </p:grpSpPr>
        <p:sp>
          <p:nvSpPr>
            <p:cNvPr id="38" name="Rechteck 37"/>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39" name="Grafik 38"/>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0" name="Grafik 39"/>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1" name="Rechteck 40"/>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2" name="Grafik 4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57424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873">
          <p15:clr>
            <a:srgbClr val="FBAE4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2"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 name="Titel 1"/>
          <p:cNvSpPr>
            <a:spLocks noGrp="1"/>
          </p:cNvSpPr>
          <p:nvPr>
            <p:ph type="ctrTitle" hasCustomPrompt="1"/>
          </p:nvPr>
        </p:nvSpPr>
        <p:spPr>
          <a:xfrm>
            <a:off x="628324" y="2045815"/>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smtClean="0"/>
              <a:t>Referent’s name: </a:t>
            </a:r>
            <a:r>
              <a:rPr lang="en-GB" noProof="0" dirty="0" smtClean="0"/>
              <a:t>CorpoS </a:t>
            </a:r>
            <a:r>
              <a:rPr lang="en-GB" dirty="0" smtClean="0"/>
              <a:t>(Body) 35 pt.</a:t>
            </a:r>
            <a:br>
              <a:rPr lang="en-GB" dirty="0" smtClean="0"/>
            </a:br>
            <a:r>
              <a:rPr lang="en-GB" dirty="0" smtClean="0"/>
              <a:t>Presentation title in two or three </a:t>
            </a:r>
            <a:br>
              <a:rPr lang="en-GB" dirty="0" smtClean="0"/>
            </a:br>
            <a:r>
              <a:rPr lang="en-GB" dirty="0" smtClean="0"/>
              <a:t>lines of text, dd. </a:t>
            </a:r>
            <a:r>
              <a:rPr lang="en-GB" dirty="0" err="1" smtClean="0"/>
              <a:t>mmmm</a:t>
            </a:r>
            <a:r>
              <a:rPr lang="en-GB" dirty="0" smtClean="0"/>
              <a:t> </a:t>
            </a:r>
            <a:r>
              <a:rPr lang="en-GB" dirty="0" err="1" smtClean="0"/>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4" y="790855"/>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5" y="998977"/>
            <a:ext cx="3742051" cy="236996"/>
          </a:xfrm>
          <a:prstGeom prst="rect">
            <a:avLst/>
          </a:prstGeom>
        </p:spPr>
      </p:pic>
      <p:grpSp>
        <p:nvGrpSpPr>
          <p:cNvPr id="19" name="Gruppieren 18"/>
          <p:cNvGrpSpPr/>
          <p:nvPr userDrawn="1"/>
        </p:nvGrpSpPr>
        <p:grpSpPr>
          <a:xfrm>
            <a:off x="-2250853" y="3527182"/>
            <a:ext cx="2229361" cy="4638856"/>
            <a:chOff x="12221581" y="-62687"/>
            <a:chExt cx="2230522" cy="4639930"/>
          </a:xfrm>
        </p:grpSpPr>
        <p:sp>
          <p:nvSpPr>
            <p:cNvPr id="20" name="Rechteck 19"/>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1" name="Grafik 2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2" name="Grafik 2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3" name="Rechteck 22"/>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4" name="Gruppieren 23"/>
          <p:cNvGrpSpPr/>
          <p:nvPr userDrawn="1"/>
        </p:nvGrpSpPr>
        <p:grpSpPr>
          <a:xfrm>
            <a:off x="12192048" y="-82363"/>
            <a:ext cx="2184353" cy="3786237"/>
            <a:chOff x="12266612" y="-62687"/>
            <a:chExt cx="2185491" cy="3787114"/>
          </a:xfrm>
        </p:grpSpPr>
        <p:sp>
          <p:nvSpPr>
            <p:cNvPr id="25" name="Rechteck 24"/>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26" name="Grafik 2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27" name="Gruppieren 26"/>
          <p:cNvGrpSpPr/>
          <p:nvPr userDrawn="1"/>
        </p:nvGrpSpPr>
        <p:grpSpPr>
          <a:xfrm>
            <a:off x="12192002" y="3909447"/>
            <a:ext cx="2383726" cy="3891079"/>
            <a:chOff x="12291863" y="5052225"/>
            <a:chExt cx="2384968" cy="3891979"/>
          </a:xfrm>
        </p:grpSpPr>
        <p:sp>
          <p:nvSpPr>
            <p:cNvPr id="36" name="Rechteck 35"/>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37" name="Picture 2"/>
            <p:cNvPicPr>
              <a:picLocks noChangeAspect="1" noChangeArrowheads="1"/>
            </p:cNvPicPr>
            <p:nvPr userDrawn="1"/>
          </p:nvPicPr>
          <p:blipFill>
            <a:blip r:embed="rId10">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uppieren 37"/>
          <p:cNvGrpSpPr/>
          <p:nvPr userDrawn="1"/>
        </p:nvGrpSpPr>
        <p:grpSpPr>
          <a:xfrm>
            <a:off x="14575773" y="-67762"/>
            <a:ext cx="2184353" cy="5224601"/>
            <a:chOff x="14583318" y="4183"/>
            <a:chExt cx="2185491" cy="5225811"/>
          </a:xfrm>
        </p:grpSpPr>
        <p:sp>
          <p:nvSpPr>
            <p:cNvPr id="39" name="Rechteck 38"/>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0" name="Grafik 39"/>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1" name="Grafik 40"/>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2" name="Rechteck 41"/>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3" name="Grafik 4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728891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289">
          <p15:clr>
            <a:srgbClr val="FBAE4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2"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36" y="2281902"/>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 name="Titel 1"/>
          <p:cNvSpPr>
            <a:spLocks noGrp="1"/>
          </p:cNvSpPr>
          <p:nvPr>
            <p:ph type="ctrTitle" hasCustomPrompt="1"/>
          </p:nvPr>
        </p:nvSpPr>
        <p:spPr>
          <a:xfrm>
            <a:off x="628326" y="2044436"/>
            <a:ext cx="7232233" cy="648964"/>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en-GB" dirty="0" smtClean="0"/>
              <a:t>Headline for presentation</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4" y="790855"/>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5" y="998977"/>
            <a:ext cx="3742051" cy="236996"/>
          </a:xfrm>
          <a:prstGeom prst="rect">
            <a:avLst/>
          </a:prstGeom>
        </p:spPr>
      </p:pic>
      <p:grpSp>
        <p:nvGrpSpPr>
          <p:cNvPr id="19" name="Gruppieren 18"/>
          <p:cNvGrpSpPr/>
          <p:nvPr userDrawn="1"/>
        </p:nvGrpSpPr>
        <p:grpSpPr>
          <a:xfrm>
            <a:off x="-2250853" y="3527182"/>
            <a:ext cx="2229361" cy="4638856"/>
            <a:chOff x="12221581" y="-62687"/>
            <a:chExt cx="2230522" cy="4639930"/>
          </a:xfrm>
        </p:grpSpPr>
        <p:sp>
          <p:nvSpPr>
            <p:cNvPr id="20" name="Rechteck 19"/>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1" name="Grafik 2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2" name="Grafik 2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3" name="Rechteck 22"/>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4" name="Gruppieren 23"/>
          <p:cNvGrpSpPr/>
          <p:nvPr userDrawn="1"/>
        </p:nvGrpSpPr>
        <p:grpSpPr>
          <a:xfrm>
            <a:off x="12192048" y="-82363"/>
            <a:ext cx="2184353" cy="3786237"/>
            <a:chOff x="12266612" y="-62687"/>
            <a:chExt cx="2185491" cy="3787114"/>
          </a:xfrm>
        </p:grpSpPr>
        <p:sp>
          <p:nvSpPr>
            <p:cNvPr id="25" name="Rechteck 24"/>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26" name="Grafik 2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27" name="Gruppieren 26"/>
          <p:cNvGrpSpPr/>
          <p:nvPr userDrawn="1"/>
        </p:nvGrpSpPr>
        <p:grpSpPr>
          <a:xfrm>
            <a:off x="12192002" y="3909447"/>
            <a:ext cx="2383726" cy="3891079"/>
            <a:chOff x="12291863" y="5052225"/>
            <a:chExt cx="2384968" cy="3891979"/>
          </a:xfrm>
        </p:grpSpPr>
        <p:sp>
          <p:nvSpPr>
            <p:cNvPr id="36" name="Rechteck 35"/>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37" name="Picture 2"/>
            <p:cNvPicPr>
              <a:picLocks noChangeAspect="1" noChangeArrowheads="1"/>
            </p:cNvPicPr>
            <p:nvPr userDrawn="1"/>
          </p:nvPicPr>
          <p:blipFill>
            <a:blip r:embed="rId10">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uppieren 37"/>
          <p:cNvGrpSpPr/>
          <p:nvPr userDrawn="1"/>
        </p:nvGrpSpPr>
        <p:grpSpPr>
          <a:xfrm>
            <a:off x="14575773" y="-67762"/>
            <a:ext cx="2184353" cy="5224601"/>
            <a:chOff x="14583318" y="4183"/>
            <a:chExt cx="2185491" cy="5225811"/>
          </a:xfrm>
        </p:grpSpPr>
        <p:sp>
          <p:nvSpPr>
            <p:cNvPr id="39" name="Rechteck 38"/>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0" name="Grafik 39"/>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1" name="Grafik 40"/>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2" name="Rechteck 41"/>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3" name="Grafik 4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22822625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288">
          <p15:clr>
            <a:srgbClr val="FBAE4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userDrawn="1">
  <p:cSld name="Section chart">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2"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1" y="0"/>
            <a:ext cx="12190451" cy="6487838"/>
          </a:xfrm>
          <a:prstGeom prst="rect">
            <a:avLst/>
          </a:prstGeom>
        </p:spPr>
      </p:pic>
      <p:sp>
        <p:nvSpPr>
          <p:cNvPr id="3" name="Title 2"/>
          <p:cNvSpPr>
            <a:spLocks noGrp="1"/>
          </p:cNvSpPr>
          <p:nvPr>
            <p:ph type="title" hasCustomPrompt="1"/>
          </p:nvPr>
        </p:nvSpPr>
        <p:spPr>
          <a:xfrm>
            <a:off x="628370" y="288860"/>
            <a:ext cx="10932455" cy="1025684"/>
          </a:xfrm>
        </p:spPr>
        <p:txBody>
          <a:bodyPr wrap="square">
            <a:spAutoFit/>
          </a:bodyPr>
          <a:lstStyle>
            <a:lvl1pPr>
              <a:defRPr>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or more lines of text</a:t>
            </a:r>
            <a:endParaRPr lang="en-GB" dirty="0"/>
          </a:p>
        </p:txBody>
      </p:sp>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3427199"/>
            <a:ext cx="12190451" cy="3059412"/>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6"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5" name="Gruppieren 24"/>
          <p:cNvGrpSpPr/>
          <p:nvPr userDrawn="1"/>
        </p:nvGrpSpPr>
        <p:grpSpPr>
          <a:xfrm>
            <a:off x="-2250853" y="3527182"/>
            <a:ext cx="2229361" cy="4638856"/>
            <a:chOff x="12221581" y="-62687"/>
            <a:chExt cx="2230522" cy="4639930"/>
          </a:xfrm>
        </p:grpSpPr>
        <p:sp>
          <p:nvSpPr>
            <p:cNvPr id="27" name="Rechteck 26"/>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8" name="Grafik 2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9" name="Grafik 2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30" name="Rechteck 29"/>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31" name="Gruppieren 30"/>
          <p:cNvGrpSpPr/>
          <p:nvPr userDrawn="1"/>
        </p:nvGrpSpPr>
        <p:grpSpPr>
          <a:xfrm>
            <a:off x="12192048" y="-82363"/>
            <a:ext cx="2184353" cy="3786237"/>
            <a:chOff x="12266612" y="-62687"/>
            <a:chExt cx="2185491" cy="3787114"/>
          </a:xfrm>
        </p:grpSpPr>
        <p:sp>
          <p:nvSpPr>
            <p:cNvPr id="32" name="Rechteck 31"/>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3" name="Grafik 3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4" name="Gruppieren 33"/>
          <p:cNvGrpSpPr/>
          <p:nvPr userDrawn="1"/>
        </p:nvGrpSpPr>
        <p:grpSpPr>
          <a:xfrm>
            <a:off x="12192002" y="3909447"/>
            <a:ext cx="2383726" cy="3891079"/>
            <a:chOff x="12291863" y="5052225"/>
            <a:chExt cx="2384968" cy="3891979"/>
          </a:xfrm>
        </p:grpSpPr>
        <p:sp>
          <p:nvSpPr>
            <p:cNvPr id="35" name="Rechteck 34"/>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40" name="Picture 2"/>
            <p:cNvPicPr>
              <a:picLocks noChangeAspect="1" noChangeArrowheads="1"/>
            </p:cNvPicPr>
            <p:nvPr userDrawn="1"/>
          </p:nvPicPr>
          <p:blipFill>
            <a:blip r:embed="rId8">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uppieren 40"/>
          <p:cNvGrpSpPr/>
          <p:nvPr userDrawn="1"/>
        </p:nvGrpSpPr>
        <p:grpSpPr>
          <a:xfrm>
            <a:off x="14575773" y="-67762"/>
            <a:ext cx="2184353" cy="5224601"/>
            <a:chOff x="14583318" y="4183"/>
            <a:chExt cx="2185491" cy="5225811"/>
          </a:xfrm>
        </p:grpSpPr>
        <p:sp>
          <p:nvSpPr>
            <p:cNvPr id="42" name="Rechteck 41"/>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3" name="Grafik 4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4" name="Grafik 4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5" name="Rechteck 44"/>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6" name="Grafik 4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25982291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Text/ image brushing">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2"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a:extLst>
              <a:ext uri="{28A0092B-C50C-407E-A947-70E740481C1C}">
                <a14:useLocalDpi xmlns:a14="http://schemas.microsoft.com/office/drawing/2010/main" val="0"/>
              </a:ext>
            </a:extLst>
          </a:blip>
          <a:srcRect b="5375"/>
          <a:stretch/>
        </p:blipFill>
        <p:spPr bwMode="white">
          <a:xfrm>
            <a:off x="0" y="46"/>
            <a:ext cx="12190451" cy="6487839"/>
          </a:xfrm>
          <a:prstGeom prst="rect">
            <a:avLst/>
          </a:prstGeom>
        </p:spPr>
      </p:pic>
      <p:sp>
        <p:nvSpPr>
          <p:cNvPr id="3" name="Title 2"/>
          <p:cNvSpPr>
            <a:spLocks noGrp="1"/>
          </p:cNvSpPr>
          <p:nvPr>
            <p:ph type="title" hasCustomPrompt="1"/>
          </p:nvPr>
        </p:nvSpPr>
        <p:spPr>
          <a:xfrm>
            <a:off x="630118" y="288857"/>
            <a:ext cx="10930661" cy="1151733"/>
          </a:xfrm>
          <a:custGeom>
            <a:avLst/>
            <a:gdLst>
              <a:gd name="connsiteX0" fmla="*/ 0 w 10936355"/>
              <a:gd name="connsiteY0" fmla="*/ 0 h 1152000"/>
              <a:gd name="connsiteX1" fmla="*/ 10936355 w 10936355"/>
              <a:gd name="connsiteY1" fmla="*/ 0 h 1152000"/>
              <a:gd name="connsiteX2" fmla="*/ 10936355 w 10936355"/>
              <a:gd name="connsiteY2" fmla="*/ 1152000 h 1152000"/>
              <a:gd name="connsiteX3" fmla="*/ 0 w 10936355"/>
              <a:gd name="connsiteY3" fmla="*/ 1152000 h 1152000"/>
              <a:gd name="connsiteX4" fmla="*/ 0 w 10936355"/>
              <a:gd name="connsiteY4"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4948164 w 10936355"/>
              <a:gd name="connsiteY4" fmla="*/ 1147990 h 1152000"/>
              <a:gd name="connsiteX5" fmla="*/ 0 w 10936355"/>
              <a:gd name="connsiteY5" fmla="*/ 1152000 h 1152000"/>
              <a:gd name="connsiteX6" fmla="*/ 0 w 10936355"/>
              <a:gd name="connsiteY6"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355" h="1152000">
                <a:moveTo>
                  <a:pt x="0" y="0"/>
                </a:moveTo>
                <a:lnTo>
                  <a:pt x="10936355" y="0"/>
                </a:lnTo>
                <a:cubicBezTo>
                  <a:pt x="10935205" y="231775"/>
                  <a:pt x="10934056" y="463551"/>
                  <a:pt x="10932906" y="695326"/>
                </a:cubicBezTo>
                <a:lnTo>
                  <a:pt x="4948164" y="1147990"/>
                </a:lnTo>
                <a:lnTo>
                  <a:pt x="0" y="1152000"/>
                </a:lnTo>
                <a:lnTo>
                  <a:pt x="0" y="0"/>
                </a:lnTo>
                <a:close/>
              </a:path>
            </a:pathLst>
          </a:custGeom>
        </p:spPr>
        <p:txBody>
          <a:bodyPr/>
          <a:lstStyle>
            <a:lvl1pPr>
              <a:defRPr baseline="0">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lines of text</a:t>
            </a:r>
            <a:endParaRPr lang="en-GB" dirty="0"/>
          </a:p>
        </p:txBody>
      </p:sp>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6"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5" name="Gruppieren 24"/>
          <p:cNvGrpSpPr/>
          <p:nvPr userDrawn="1"/>
        </p:nvGrpSpPr>
        <p:grpSpPr>
          <a:xfrm>
            <a:off x="-2250853" y="3527182"/>
            <a:ext cx="2229361" cy="4638856"/>
            <a:chOff x="12221581" y="-62687"/>
            <a:chExt cx="2230522" cy="4639930"/>
          </a:xfrm>
        </p:grpSpPr>
        <p:sp>
          <p:nvSpPr>
            <p:cNvPr id="27" name="Rechteck 26"/>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8" name="Grafik 2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9" name="Grafik 2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30" name="Rechteck 29"/>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31" name="Gruppieren 30"/>
          <p:cNvGrpSpPr/>
          <p:nvPr userDrawn="1"/>
        </p:nvGrpSpPr>
        <p:grpSpPr>
          <a:xfrm>
            <a:off x="12192048" y="-82363"/>
            <a:ext cx="2184353" cy="3786237"/>
            <a:chOff x="12266612" y="-62687"/>
            <a:chExt cx="2185491" cy="3787114"/>
          </a:xfrm>
        </p:grpSpPr>
        <p:sp>
          <p:nvSpPr>
            <p:cNvPr id="32" name="Rechteck 31"/>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3" name="Grafik 3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4" name="Gruppieren 33"/>
          <p:cNvGrpSpPr/>
          <p:nvPr userDrawn="1"/>
        </p:nvGrpSpPr>
        <p:grpSpPr>
          <a:xfrm>
            <a:off x="12192002" y="3909447"/>
            <a:ext cx="2383726" cy="3891079"/>
            <a:chOff x="12291863" y="5052225"/>
            <a:chExt cx="2384968" cy="3891979"/>
          </a:xfrm>
        </p:grpSpPr>
        <p:sp>
          <p:nvSpPr>
            <p:cNvPr id="35" name="Rechteck 34"/>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40" name="Picture 2"/>
            <p:cNvPicPr>
              <a:picLocks noChangeAspect="1" noChangeArrowheads="1"/>
            </p:cNvPicPr>
            <p:nvPr userDrawn="1"/>
          </p:nvPicPr>
          <p:blipFill>
            <a:blip r:embed="rId8">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uppieren 40"/>
          <p:cNvGrpSpPr/>
          <p:nvPr userDrawn="1"/>
        </p:nvGrpSpPr>
        <p:grpSpPr>
          <a:xfrm>
            <a:off x="14575773" y="-67762"/>
            <a:ext cx="2184353" cy="5224601"/>
            <a:chOff x="14583318" y="4183"/>
            <a:chExt cx="2185491" cy="5225811"/>
          </a:xfrm>
        </p:grpSpPr>
        <p:sp>
          <p:nvSpPr>
            <p:cNvPr id="42" name="Rechteck 41"/>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3" name="Grafik 4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4" name="Grafik 4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5" name="Rechteck 44"/>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6" name="Grafik 4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1149711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Agenda with brushing">
    <p:spTree>
      <p:nvGrpSpPr>
        <p:cNvPr id="1" name=""/>
        <p:cNvGrpSpPr/>
        <p:nvPr/>
      </p:nvGrpSpPr>
      <p:grpSpPr>
        <a:xfrm>
          <a:off x="0" y="0"/>
          <a:ext cx="0" cy="0"/>
          <a:chOff x="0" y="0"/>
          <a:chExt cx="0" cy="0"/>
        </a:xfrm>
      </p:grpSpPr>
      <p:grpSp>
        <p:nvGrpSpPr>
          <p:cNvPr id="18" name="Regieanweisungen"/>
          <p:cNvGrpSpPr/>
          <p:nvPr userDrawn="1"/>
        </p:nvGrpSpPr>
        <p:grpSpPr>
          <a:xfrm>
            <a:off x="-2086912"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47" y="3"/>
            <a:ext cx="12190450" cy="6490343"/>
          </a:xfrm>
          <a:prstGeom prst="rect">
            <a:avLst/>
          </a:prstGeom>
        </p:spPr>
      </p:pic>
      <p:sp>
        <p:nvSpPr>
          <p:cNvPr id="2" name="Title 1"/>
          <p:cNvSpPr>
            <a:spLocks noGrp="1"/>
          </p:cNvSpPr>
          <p:nvPr>
            <p:ph type="title" hasCustomPrompt="1"/>
          </p:nvPr>
        </p:nvSpPr>
        <p:spPr>
          <a:xfrm>
            <a:off x="628370" y="288907"/>
            <a:ext cx="10932455" cy="1148857"/>
          </a:xfrm>
        </p:spPr>
        <p:txBody>
          <a:bodyPr/>
          <a:lstStyle>
            <a:lvl1pPr>
              <a:defRPr/>
            </a:lvl1pPr>
          </a:lstStyle>
          <a:p>
            <a:r>
              <a:rPr lang="en-GB" noProof="0" dirty="0" smtClean="0"/>
              <a:t>Headline for Agenda in CorpoS (Body) 35 pt. </a:t>
            </a:r>
            <a:br>
              <a:rPr lang="en-GB" noProof="0" dirty="0" smtClean="0"/>
            </a:br>
            <a:r>
              <a:rPr lang="en-GB" noProof="0" dirty="0" smtClean="0"/>
              <a:t>one or two lines</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8" y="1504651"/>
            <a:ext cx="10931023" cy="3386305"/>
          </a:xfrm>
          <a:custGeom>
            <a:avLst/>
            <a:gdLst>
              <a:gd name="connsiteX0" fmla="*/ 0 w 10936081"/>
              <a:gd name="connsiteY0" fmla="*/ 0 h 3384000"/>
              <a:gd name="connsiteX1" fmla="*/ 10936081 w 10936081"/>
              <a:gd name="connsiteY1" fmla="*/ 0 h 3384000"/>
              <a:gd name="connsiteX2" fmla="*/ 10936081 w 10936081"/>
              <a:gd name="connsiteY2" fmla="*/ 3384000 h 3384000"/>
              <a:gd name="connsiteX3" fmla="*/ 0 w 10936081"/>
              <a:gd name="connsiteY3" fmla="*/ 3384000 h 3384000"/>
              <a:gd name="connsiteX4" fmla="*/ 0 w 10936081"/>
              <a:gd name="connsiteY4" fmla="*/ 0 h 3384000"/>
              <a:gd name="connsiteX0" fmla="*/ 0 w 10936081"/>
              <a:gd name="connsiteY0" fmla="*/ 0 h 3387089"/>
              <a:gd name="connsiteX1" fmla="*/ 10936081 w 10936081"/>
              <a:gd name="connsiteY1" fmla="*/ 0 h 3387089"/>
              <a:gd name="connsiteX2" fmla="*/ 10936081 w 10936081"/>
              <a:gd name="connsiteY2" fmla="*/ 3384000 h 3387089"/>
              <a:gd name="connsiteX3" fmla="*/ 2006076 w 10936081"/>
              <a:gd name="connsiteY3" fmla="*/ 3387089 h 3387089"/>
              <a:gd name="connsiteX4" fmla="*/ 0 w 10936081"/>
              <a:gd name="connsiteY4" fmla="*/ 3384000 h 3387089"/>
              <a:gd name="connsiteX5" fmla="*/ 0 w 10936081"/>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10936081 w 10936716"/>
              <a:gd name="connsiteY3" fmla="*/ 3384000 h 3387089"/>
              <a:gd name="connsiteX4" fmla="*/ 2006076 w 10936716"/>
              <a:gd name="connsiteY4" fmla="*/ 3387089 h 3387089"/>
              <a:gd name="connsiteX5" fmla="*/ 0 w 10936716"/>
              <a:gd name="connsiteY5" fmla="*/ 3384000 h 3387089"/>
              <a:gd name="connsiteX6" fmla="*/ 0 w 10936716"/>
              <a:gd name="connsiteY6"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3387089">
                <a:moveTo>
                  <a:pt x="0" y="0"/>
                </a:moveTo>
                <a:lnTo>
                  <a:pt x="10936081" y="0"/>
                </a:lnTo>
                <a:cubicBezTo>
                  <a:pt x="10936293" y="852170"/>
                  <a:pt x="10936504" y="1704339"/>
                  <a:pt x="10936716" y="2556509"/>
                </a:cubicBezTo>
                <a:lnTo>
                  <a:pt x="2006076" y="3387089"/>
                </a:lnTo>
                <a:lnTo>
                  <a:pt x="0" y="3384000"/>
                </a:lnTo>
                <a:lnTo>
                  <a:pt x="0" y="0"/>
                </a:lnTo>
                <a:close/>
              </a:path>
            </a:pathLst>
          </a:custGeom>
        </p:spPr>
        <p:txBody>
          <a:bodyPr/>
          <a:lstStyle>
            <a:lvl1pPr marL="357481" indent="-357481">
              <a:buSzPct val="100000"/>
              <a:buFont typeface="+mj-lt"/>
              <a:buAutoNum type="arabicPeriod"/>
              <a:defRPr>
                <a:solidFill>
                  <a:schemeClr val="tx1"/>
                </a:solidFill>
              </a:defRPr>
            </a:lvl1pPr>
            <a:lvl2pPr marL="357481" indent="-357481">
              <a:buFont typeface="+mj-lt"/>
              <a:buAutoNum type="arabicPeriod"/>
              <a:defRPr>
                <a:solidFill>
                  <a:schemeClr val="tx1"/>
                </a:solidFill>
              </a:defRPr>
            </a:lvl2pPr>
            <a:lvl3pPr marL="357481" indent="-357481">
              <a:buFont typeface="+mj-lt"/>
              <a:buAutoNum type="arabicPeriod"/>
              <a:defRPr>
                <a:solidFill>
                  <a:schemeClr val="tx1"/>
                </a:solidFill>
              </a:defRPr>
            </a:lvl3pPr>
            <a:lvl4pPr marL="357481" indent="-357481">
              <a:buFont typeface="+mj-lt"/>
              <a:buAutoNum type="arabicPeriod"/>
              <a:defRPr>
                <a:solidFill>
                  <a:schemeClr val="tx1"/>
                </a:solidFill>
              </a:defRPr>
            </a:lvl4pPr>
            <a:lvl5pPr marL="357481" indent="-357481">
              <a:buFont typeface="+mj-lt"/>
              <a:buAutoNum type="arabicPeriod"/>
              <a:defRPr>
                <a:solidFill>
                  <a:schemeClr val="tx1"/>
                </a:solidFill>
              </a:defRPr>
            </a:lvl5pPr>
            <a:lvl6pPr marL="357481" indent="-357481">
              <a:buFont typeface="+mj-lt"/>
              <a:buAutoNum type="arabicPeriod"/>
              <a:defRPr>
                <a:solidFill>
                  <a:schemeClr val="tx1"/>
                </a:solidFill>
              </a:defRPr>
            </a:lvl6pPr>
            <a:lvl7pPr marL="357481" indent="-357481">
              <a:buFont typeface="+mj-lt"/>
              <a:buAutoNum type="arabicPeriod"/>
              <a:defRPr>
                <a:solidFill>
                  <a:schemeClr val="tx1"/>
                </a:solidFill>
              </a:defRPr>
            </a:lvl7pPr>
            <a:lvl8pPr marL="357481" indent="-357481">
              <a:buFont typeface="+mj-lt"/>
              <a:buAutoNum type="arabicPeriod"/>
              <a:defRPr>
                <a:solidFill>
                  <a:schemeClr val="tx1"/>
                </a:solidFill>
              </a:defRPr>
            </a:lvl8pPr>
            <a:lvl9pPr marL="357481" indent="-357481">
              <a:buFont typeface="+mj-lt"/>
              <a:buAutoNum type="arabicPeriod"/>
              <a:defRPr>
                <a:solidFill>
                  <a:schemeClr val="tx1"/>
                </a:solidFill>
              </a:defRPr>
            </a:lvl9pPr>
          </a:lstStyle>
          <a:p>
            <a:pPr lvl="0"/>
            <a:r>
              <a:rPr lang="en-GB" dirty="0" smtClean="0"/>
              <a:t>Insert Agenda point</a:t>
            </a:r>
          </a:p>
          <a:p>
            <a:pPr lvl="1"/>
            <a:r>
              <a:rPr lang="en-GB" dirty="0" smtClean="0"/>
              <a:t>Second level </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p:txBody>
      </p:sp>
      <p:sp>
        <p:nvSpPr>
          <p:cNvPr id="21"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0" name="Gruppieren 19"/>
          <p:cNvGrpSpPr/>
          <p:nvPr userDrawn="1"/>
        </p:nvGrpSpPr>
        <p:grpSpPr>
          <a:xfrm>
            <a:off x="-2250853" y="3527182"/>
            <a:ext cx="2229361" cy="4638856"/>
            <a:chOff x="12221581" y="-62687"/>
            <a:chExt cx="2230522" cy="4639930"/>
          </a:xfrm>
        </p:grpSpPr>
        <p:sp>
          <p:nvSpPr>
            <p:cNvPr id="22" name="Rechteck 21"/>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3" name="Grafik 2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4" name="Grafik 2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5" name="Rechteck 24"/>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6" name="Gruppieren 25"/>
          <p:cNvGrpSpPr/>
          <p:nvPr userDrawn="1"/>
        </p:nvGrpSpPr>
        <p:grpSpPr>
          <a:xfrm>
            <a:off x="12192048" y="-82363"/>
            <a:ext cx="2184353" cy="3786237"/>
            <a:chOff x="12266612" y="-62687"/>
            <a:chExt cx="2185491" cy="3787114"/>
          </a:xfrm>
        </p:grpSpPr>
        <p:sp>
          <p:nvSpPr>
            <p:cNvPr id="27" name="Rechteck 26"/>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28" name="Grafik 2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29" name="Gruppieren 28"/>
          <p:cNvGrpSpPr/>
          <p:nvPr userDrawn="1"/>
        </p:nvGrpSpPr>
        <p:grpSpPr>
          <a:xfrm>
            <a:off x="12192002" y="3909447"/>
            <a:ext cx="2383726" cy="3891079"/>
            <a:chOff x="12291863" y="5052225"/>
            <a:chExt cx="2384968" cy="3891979"/>
          </a:xfrm>
        </p:grpSpPr>
        <p:sp>
          <p:nvSpPr>
            <p:cNvPr id="30" name="Rechteck 29"/>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40" name="Picture 2"/>
            <p:cNvPicPr>
              <a:picLocks noChangeAspect="1" noChangeArrowheads="1"/>
            </p:cNvPicPr>
            <p:nvPr userDrawn="1"/>
          </p:nvPicPr>
          <p:blipFill>
            <a:blip r:embed="rId8">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uppieren 40"/>
          <p:cNvGrpSpPr/>
          <p:nvPr userDrawn="1"/>
        </p:nvGrpSpPr>
        <p:grpSpPr>
          <a:xfrm>
            <a:off x="14575773" y="-67762"/>
            <a:ext cx="2184353" cy="5224601"/>
            <a:chOff x="14583318" y="4183"/>
            <a:chExt cx="2185491" cy="5225811"/>
          </a:xfrm>
        </p:grpSpPr>
        <p:sp>
          <p:nvSpPr>
            <p:cNvPr id="42" name="Rechteck 41"/>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3" name="Grafik 4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4" name="Grafik 4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5" name="Rechteck 44"/>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6" name="Grafik 4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3717252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smtClean="0"/>
              <a:t>Headline for Agenda in CorpoS (Body) 35 pt. </a:t>
            </a:r>
            <a:br>
              <a:rPr lang="en-GB" noProof="0" dirty="0" smtClean="0"/>
            </a:br>
            <a:r>
              <a:rPr lang="en-GB" noProof="0" dirty="0" smtClean="0"/>
              <a:t>one or two lines</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6" y="1504602"/>
            <a:ext cx="10932180" cy="4875671"/>
          </a:xfrm>
        </p:spPr>
        <p:txBody>
          <a:bodyPr/>
          <a:lstStyle>
            <a:lvl1pPr marL="357481" indent="-357481">
              <a:buSzPct val="100000"/>
              <a:buFont typeface="+mj-lt"/>
              <a:buAutoNum type="arabicPeriod"/>
              <a:defRPr>
                <a:solidFill>
                  <a:schemeClr val="tx1"/>
                </a:solidFill>
              </a:defRPr>
            </a:lvl1pPr>
            <a:lvl2pPr marL="357481" indent="-357481">
              <a:buFont typeface="+mj-lt"/>
              <a:buAutoNum type="arabicPeriod"/>
              <a:defRPr>
                <a:solidFill>
                  <a:schemeClr val="tx1"/>
                </a:solidFill>
              </a:defRPr>
            </a:lvl2pPr>
            <a:lvl3pPr marL="357481" indent="-357481">
              <a:buFont typeface="+mj-lt"/>
              <a:buAutoNum type="arabicPeriod"/>
              <a:defRPr>
                <a:solidFill>
                  <a:schemeClr val="tx1"/>
                </a:solidFill>
              </a:defRPr>
            </a:lvl3pPr>
            <a:lvl4pPr marL="357481" indent="-357481">
              <a:buFont typeface="+mj-lt"/>
              <a:buAutoNum type="arabicPeriod"/>
              <a:defRPr>
                <a:solidFill>
                  <a:schemeClr val="tx1"/>
                </a:solidFill>
              </a:defRPr>
            </a:lvl4pPr>
            <a:lvl5pPr marL="357481" indent="-357481">
              <a:buFont typeface="+mj-lt"/>
              <a:buAutoNum type="arabicPeriod"/>
              <a:defRPr>
                <a:solidFill>
                  <a:schemeClr val="tx1"/>
                </a:solidFill>
              </a:defRPr>
            </a:lvl5pPr>
            <a:lvl6pPr marL="357481" indent="-357481">
              <a:buFont typeface="+mj-lt"/>
              <a:buAutoNum type="arabicPeriod"/>
              <a:defRPr>
                <a:solidFill>
                  <a:schemeClr val="tx1"/>
                </a:solidFill>
              </a:defRPr>
            </a:lvl6pPr>
            <a:lvl7pPr marL="357481" indent="-357481">
              <a:buFont typeface="+mj-lt"/>
              <a:buAutoNum type="arabicPeriod"/>
              <a:defRPr>
                <a:solidFill>
                  <a:schemeClr val="tx1"/>
                </a:solidFill>
              </a:defRPr>
            </a:lvl7pPr>
            <a:lvl8pPr marL="357481" indent="-357481">
              <a:buFont typeface="+mj-lt"/>
              <a:buAutoNum type="arabicPeriod"/>
              <a:defRPr>
                <a:solidFill>
                  <a:schemeClr val="tx1"/>
                </a:solidFill>
              </a:defRPr>
            </a:lvl8pPr>
            <a:lvl9pPr marL="357481" indent="-357481">
              <a:buFont typeface="+mj-lt"/>
              <a:buAutoNum type="arabicPeriod"/>
              <a:defRPr>
                <a:solidFill>
                  <a:schemeClr val="tx1"/>
                </a:solidFill>
              </a:defRPr>
            </a:lvl9pPr>
          </a:lstStyle>
          <a:p>
            <a:pPr lvl="0"/>
            <a:r>
              <a:rPr lang="en-GB" dirty="0" smtClean="0"/>
              <a:t>Insert Agenda point</a:t>
            </a:r>
          </a:p>
          <a:p>
            <a:pPr lvl="1"/>
            <a:r>
              <a:rPr lang="en-GB" dirty="0" smtClean="0"/>
              <a:t>Second level </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a:p>
            <a:pPr lvl="8"/>
            <a:r>
              <a:rPr lang="en-GB" dirty="0" smtClean="0"/>
              <a:t>Ninth level</a:t>
            </a:r>
          </a:p>
        </p:txBody>
      </p:sp>
    </p:spTree>
    <p:extLst>
      <p:ext uri="{BB962C8B-B14F-4D97-AF65-F5344CB8AC3E}">
        <p14:creationId xmlns:p14="http://schemas.microsoft.com/office/powerpoint/2010/main" val="3876045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14" y="1504602"/>
            <a:ext cx="10930593" cy="4983236"/>
          </a:xfrm>
        </p:spPr>
        <p:txBody>
          <a:bodyPr/>
          <a:lstStyle>
            <a:lvl1pPr>
              <a:defRPr baseline="0"/>
            </a:lvl1pPr>
          </a:lstStyle>
          <a:p>
            <a:pPr lvl="0"/>
            <a:r>
              <a:rPr lang="en-GB" noProof="0" dirty="0" smtClean="0"/>
              <a:t>Insert content or text in CorpoS (Body) 24 pt. (Mark-ups in Bold) // for conclusion, summary or short highlight: Home // Paragraph// Increase List Level</a:t>
            </a:r>
          </a:p>
          <a:p>
            <a:pPr lvl="1"/>
            <a:r>
              <a:rPr lang="en-GB" noProof="0" dirty="0" smtClean="0"/>
              <a:t>Second level (Conclusion, summary or short highlight)</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s level</a:t>
            </a:r>
          </a:p>
          <a:p>
            <a:pPr lvl="7"/>
            <a:r>
              <a:rPr lang="en-GB" noProof="0" dirty="0" smtClean="0"/>
              <a:t>Eight level</a:t>
            </a:r>
          </a:p>
          <a:p>
            <a:pPr lvl="8"/>
            <a:r>
              <a:rPr lang="en-GB" noProof="0" dirty="0" smtClean="0"/>
              <a:t>Ninth level</a:t>
            </a:r>
          </a:p>
        </p:txBody>
      </p:sp>
    </p:spTree>
    <p:extLst>
      <p:ext uri="{BB962C8B-B14F-4D97-AF65-F5344CB8AC3E}">
        <p14:creationId xmlns:p14="http://schemas.microsoft.com/office/powerpoint/2010/main" val="1043632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2 Images-chart 1/3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77154602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2 lines">
    <p:spTree>
      <p:nvGrpSpPr>
        <p:cNvPr id="1" name=""/>
        <p:cNvGrpSpPr/>
        <p:nvPr/>
      </p:nvGrpSpPr>
      <p:grpSpPr>
        <a:xfrm>
          <a:off x="0" y="0"/>
          <a:ext cx="0" cy="0"/>
          <a:chOff x="0" y="0"/>
          <a:chExt cx="0" cy="0"/>
        </a:xfrm>
      </p:grpSpPr>
      <p:grpSp>
        <p:nvGrpSpPr>
          <p:cNvPr id="21" name="Regieanweisungen"/>
          <p:cNvGrpSpPr/>
          <p:nvPr userDrawn="1"/>
        </p:nvGrpSpPr>
        <p:grpSpPr>
          <a:xfrm>
            <a:off x="-2086912"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p:txBody>
          <a:bodyPr/>
          <a:lstStyle>
            <a:lvl1pPr>
              <a:defRPr/>
            </a:lvl1p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14" y="1504602"/>
            <a:ext cx="10930593" cy="4983236"/>
          </a:xfrm>
        </p:spPr>
        <p:txBody>
          <a:bodyPr/>
          <a:lstStyle>
            <a:lvl1pPr>
              <a:defRPr baseline="0"/>
            </a:lvl1pPr>
          </a:lstStyle>
          <a:p>
            <a:pPr lvl="0"/>
            <a:r>
              <a:rPr lang="en-GB" noProof="0" dirty="0" smtClean="0"/>
              <a:t>Insert content or text in </a:t>
            </a:r>
            <a:r>
              <a:rPr lang="en-GB" noProof="0" dirty="0" err="1" smtClean="0"/>
              <a:t>Corpo</a:t>
            </a:r>
            <a:r>
              <a:rPr lang="en-GB" noProof="0" dirty="0" smtClean="0"/>
              <a:t> S (Body) 24 pt. (Mark-ups in Bold) // for conclusion, summary or short highlight: Home // Paragraph// Increase List Level</a:t>
            </a:r>
          </a:p>
          <a:p>
            <a:pPr lvl="1"/>
            <a:r>
              <a:rPr lang="en-GB" noProof="0" dirty="0" smtClean="0"/>
              <a:t>Second level (Conclusion, summary or short highlight)</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s level</a:t>
            </a:r>
          </a:p>
          <a:p>
            <a:pPr lvl="7"/>
            <a:r>
              <a:rPr lang="en-GB" noProof="0" dirty="0" smtClean="0"/>
              <a:t>Eight level</a:t>
            </a:r>
          </a:p>
          <a:p>
            <a:pPr lvl="8"/>
            <a:r>
              <a:rPr lang="en-GB" noProof="0" dirty="0" smtClean="0"/>
              <a:t>Ninth level</a:t>
            </a:r>
          </a:p>
        </p:txBody>
      </p:sp>
      <p:sp>
        <p:nvSpPr>
          <p:cNvPr id="7" name="Picture Placeholder 3"/>
          <p:cNvSpPr>
            <a:spLocks noGrp="1"/>
          </p:cNvSpPr>
          <p:nvPr>
            <p:ph type="pic" sz="quarter" idx="13" hasCustomPrompt="1"/>
          </p:nvPr>
        </p:nvSpPr>
        <p:spPr bwMode="gray">
          <a:xfrm>
            <a:off x="629910" y="1504602"/>
            <a:ext cx="10930593" cy="4983236"/>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8"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19" name="Gruppieren 18"/>
          <p:cNvGrpSpPr/>
          <p:nvPr userDrawn="1"/>
        </p:nvGrpSpPr>
        <p:grpSpPr>
          <a:xfrm>
            <a:off x="-2250853" y="3527182"/>
            <a:ext cx="2229361" cy="4638856"/>
            <a:chOff x="12221581" y="-62687"/>
            <a:chExt cx="2230522" cy="4639930"/>
          </a:xfrm>
        </p:grpSpPr>
        <p:sp>
          <p:nvSpPr>
            <p:cNvPr id="20" name="Rechteck 19"/>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31" name="Grafik 3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32" name="Grafik 3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33" name="Rechteck 32"/>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34" name="Gruppieren 33"/>
          <p:cNvGrpSpPr/>
          <p:nvPr userDrawn="1"/>
        </p:nvGrpSpPr>
        <p:grpSpPr>
          <a:xfrm>
            <a:off x="12192048" y="-82363"/>
            <a:ext cx="2184353" cy="3786237"/>
            <a:chOff x="12266612" y="-62687"/>
            <a:chExt cx="2185491" cy="3787114"/>
          </a:xfrm>
        </p:grpSpPr>
        <p:sp>
          <p:nvSpPr>
            <p:cNvPr id="35" name="Rechteck 34"/>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6" name="Grafik 3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7" name="Gruppieren 36"/>
          <p:cNvGrpSpPr/>
          <p:nvPr userDrawn="1"/>
        </p:nvGrpSpPr>
        <p:grpSpPr>
          <a:xfrm>
            <a:off x="12192002" y="3909447"/>
            <a:ext cx="2383726" cy="3891079"/>
            <a:chOff x="12291863" y="5052225"/>
            <a:chExt cx="2384968" cy="3891979"/>
          </a:xfrm>
        </p:grpSpPr>
        <p:sp>
          <p:nvSpPr>
            <p:cNvPr id="38" name="Rechteck 37"/>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39" name="Picture 2"/>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uppieren 39"/>
          <p:cNvGrpSpPr/>
          <p:nvPr userDrawn="1"/>
        </p:nvGrpSpPr>
        <p:grpSpPr>
          <a:xfrm>
            <a:off x="14575773" y="-67762"/>
            <a:ext cx="2184353" cy="5224601"/>
            <a:chOff x="14583318" y="4183"/>
            <a:chExt cx="2185491" cy="5225811"/>
          </a:xfrm>
        </p:grpSpPr>
        <p:sp>
          <p:nvSpPr>
            <p:cNvPr id="41" name="Rechteck 40"/>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2" name="Grafik 4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3" name="Grafik 4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4" name="Rechteck 43"/>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5" name="Grafik 44"/>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12784303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ext/ content/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719" y="285982"/>
            <a:ext cx="10931106" cy="683842"/>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672" y="1233206"/>
            <a:ext cx="10930832" cy="5254634"/>
          </a:xfrm>
        </p:spPr>
        <p:txBody>
          <a:bodyPr/>
          <a:lstStyle>
            <a:lvl1pPr>
              <a:defRPr baseline="0"/>
            </a:lvl1pPr>
          </a:lstStyle>
          <a:p>
            <a:pPr lvl="0"/>
            <a:r>
              <a:rPr lang="en-GB" noProof="0" dirty="0" smtClean="0"/>
              <a:t>Insert content or text in CorpoS (Body) 24 pt. (Mark-ups in Bold) // for conclusion, summary or short highlight: Home // Paragraph// Increase List Level</a:t>
            </a:r>
          </a:p>
          <a:p>
            <a:pPr lvl="1"/>
            <a:r>
              <a:rPr lang="en-GB" noProof="0" dirty="0" smtClean="0"/>
              <a:t>Second level (Conclusion, summary or short highlight)</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th level</a:t>
            </a:r>
          </a:p>
          <a:p>
            <a:pPr lvl="6"/>
            <a:r>
              <a:rPr lang="en-GB" noProof="0" dirty="0" smtClean="0"/>
              <a:t>Sevens level</a:t>
            </a:r>
          </a:p>
          <a:p>
            <a:pPr lvl="7"/>
            <a:r>
              <a:rPr lang="en-GB" noProof="0" dirty="0" smtClean="0"/>
              <a:t>Eight level</a:t>
            </a:r>
          </a:p>
          <a:p>
            <a:pPr lvl="8"/>
            <a:r>
              <a:rPr lang="en-GB" noProof="0" dirty="0" smtClean="0"/>
              <a:t>Ninth level</a:t>
            </a:r>
          </a:p>
        </p:txBody>
      </p:sp>
    </p:spTree>
    <p:extLst>
      <p:ext uri="{BB962C8B-B14F-4D97-AF65-F5344CB8AC3E}">
        <p14:creationId xmlns:p14="http://schemas.microsoft.com/office/powerpoint/2010/main" val="3216218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1 line">
    <p:spTree>
      <p:nvGrpSpPr>
        <p:cNvPr id="1" name=""/>
        <p:cNvGrpSpPr/>
        <p:nvPr/>
      </p:nvGrpSpPr>
      <p:grpSpPr>
        <a:xfrm>
          <a:off x="0" y="0"/>
          <a:ext cx="0" cy="0"/>
          <a:chOff x="0" y="0"/>
          <a:chExt cx="0" cy="0"/>
        </a:xfrm>
      </p:grpSpPr>
      <p:grpSp>
        <p:nvGrpSpPr>
          <p:cNvPr id="19" name="Regieanweisungen"/>
          <p:cNvGrpSpPr/>
          <p:nvPr userDrawn="1"/>
        </p:nvGrpSpPr>
        <p:grpSpPr>
          <a:xfrm>
            <a:off x="-2086912"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a:xfrm>
            <a:off x="629719" y="285982"/>
            <a:ext cx="10931106" cy="683842"/>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8" name="Picture Placeholder 3"/>
          <p:cNvSpPr>
            <a:spLocks noGrp="1"/>
          </p:cNvSpPr>
          <p:nvPr>
            <p:ph type="pic" sz="quarter" idx="13" hasCustomPrompt="1"/>
          </p:nvPr>
        </p:nvSpPr>
        <p:spPr bwMode="gray">
          <a:xfrm>
            <a:off x="629910" y="1233206"/>
            <a:ext cx="10930593" cy="525463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7"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9" name="Gruppieren 28"/>
          <p:cNvGrpSpPr/>
          <p:nvPr userDrawn="1"/>
        </p:nvGrpSpPr>
        <p:grpSpPr>
          <a:xfrm>
            <a:off x="-2250853" y="3527182"/>
            <a:ext cx="2229361" cy="4638856"/>
            <a:chOff x="12221581" y="-62687"/>
            <a:chExt cx="2230522" cy="4639930"/>
          </a:xfrm>
        </p:grpSpPr>
        <p:sp>
          <p:nvSpPr>
            <p:cNvPr id="30" name="Rechteck 29"/>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31" name="Grafik 3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32" name="Grafik 3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33" name="Rechteck 32"/>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34" name="Gruppieren 33"/>
          <p:cNvGrpSpPr/>
          <p:nvPr userDrawn="1"/>
        </p:nvGrpSpPr>
        <p:grpSpPr>
          <a:xfrm>
            <a:off x="12192048" y="-82363"/>
            <a:ext cx="2184353" cy="3786237"/>
            <a:chOff x="12266612" y="-62687"/>
            <a:chExt cx="2185491" cy="3787114"/>
          </a:xfrm>
        </p:grpSpPr>
        <p:sp>
          <p:nvSpPr>
            <p:cNvPr id="35" name="Rechteck 34"/>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6" name="Grafik 3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7" name="Gruppieren 36"/>
          <p:cNvGrpSpPr/>
          <p:nvPr userDrawn="1"/>
        </p:nvGrpSpPr>
        <p:grpSpPr>
          <a:xfrm>
            <a:off x="12192002" y="3909447"/>
            <a:ext cx="2383726" cy="3891079"/>
            <a:chOff x="12291863" y="5052225"/>
            <a:chExt cx="2384968" cy="3891979"/>
          </a:xfrm>
        </p:grpSpPr>
        <p:sp>
          <p:nvSpPr>
            <p:cNvPr id="38" name="Rechteck 37"/>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39" name="Picture 2"/>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uppieren 39"/>
          <p:cNvGrpSpPr/>
          <p:nvPr userDrawn="1"/>
        </p:nvGrpSpPr>
        <p:grpSpPr>
          <a:xfrm>
            <a:off x="14575773" y="-67762"/>
            <a:ext cx="2184353" cy="5224601"/>
            <a:chOff x="14583318" y="4183"/>
            <a:chExt cx="2185491" cy="5225811"/>
          </a:xfrm>
        </p:grpSpPr>
        <p:sp>
          <p:nvSpPr>
            <p:cNvPr id="41" name="Rechteck 40"/>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2" name="Grafik 4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3" name="Grafik 4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4" name="Rechteck 43"/>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5" name="Grafik 44"/>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1575214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userDrawn="1">
  <p:cSld name="1.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2"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47" y="3"/>
            <a:ext cx="12190450" cy="6490343"/>
          </a:xfrm>
          <a:prstGeom prst="rect">
            <a:avLst/>
          </a:prstGeom>
        </p:spPr>
      </p:pic>
      <p:sp>
        <p:nvSpPr>
          <p:cNvPr id="4" name="Picture Placeholder 3"/>
          <p:cNvSpPr>
            <a:spLocks noGrp="1"/>
          </p:cNvSpPr>
          <p:nvPr>
            <p:ph type="pic" sz="quarter" idx="10" hasCustomPrompt="1"/>
          </p:nvPr>
        </p:nvSpPr>
        <p:spPr bwMode="gray">
          <a:xfrm>
            <a:off x="48"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 name="Title 2"/>
          <p:cNvSpPr>
            <a:spLocks noGrp="1"/>
          </p:cNvSpPr>
          <p:nvPr>
            <p:ph type="title" hasCustomPrompt="1"/>
          </p:nvPr>
        </p:nvSpPr>
        <p:spPr>
          <a:xfrm>
            <a:off x="630116" y="288860"/>
            <a:ext cx="10930661" cy="1025684"/>
          </a:xfrm>
        </p:spPr>
        <p:txBody>
          <a:bodyPr wrap="square">
            <a:spAutoFit/>
          </a:bodyPr>
          <a:lstStyle>
            <a:lvl1pPr>
              <a:defRPr>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or more lines of text</a:t>
            </a:r>
            <a:endParaRPr lang="en-GB" dirty="0"/>
          </a:p>
        </p:txBody>
      </p:sp>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193185" y="2284569"/>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5"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4" name="Gruppieren 23"/>
          <p:cNvGrpSpPr/>
          <p:nvPr userDrawn="1"/>
        </p:nvGrpSpPr>
        <p:grpSpPr>
          <a:xfrm>
            <a:off x="-2250853" y="3527182"/>
            <a:ext cx="2229361" cy="4638856"/>
            <a:chOff x="12221581" y="-62687"/>
            <a:chExt cx="2230522" cy="4639930"/>
          </a:xfrm>
        </p:grpSpPr>
        <p:sp>
          <p:nvSpPr>
            <p:cNvPr id="26" name="Rechteck 25"/>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7" name="Grafik 2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8" name="Grafik 2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9" name="Rechteck 28"/>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30" name="Gruppieren 29"/>
          <p:cNvGrpSpPr/>
          <p:nvPr userDrawn="1"/>
        </p:nvGrpSpPr>
        <p:grpSpPr>
          <a:xfrm>
            <a:off x="12192048" y="-82363"/>
            <a:ext cx="2184353" cy="3786237"/>
            <a:chOff x="12266612" y="-62687"/>
            <a:chExt cx="2185491" cy="3787114"/>
          </a:xfrm>
        </p:grpSpPr>
        <p:sp>
          <p:nvSpPr>
            <p:cNvPr id="31" name="Rechteck 30"/>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2" name="Grafik 3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3" name="Gruppieren 32"/>
          <p:cNvGrpSpPr/>
          <p:nvPr userDrawn="1"/>
        </p:nvGrpSpPr>
        <p:grpSpPr>
          <a:xfrm>
            <a:off x="12192002" y="3909447"/>
            <a:ext cx="2383726" cy="3891079"/>
            <a:chOff x="12291863" y="5052225"/>
            <a:chExt cx="2384968" cy="3891979"/>
          </a:xfrm>
        </p:grpSpPr>
        <p:sp>
          <p:nvSpPr>
            <p:cNvPr id="34" name="Rechteck 33"/>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40" name="Picture 2"/>
            <p:cNvPicPr>
              <a:picLocks noChangeAspect="1" noChangeArrowheads="1"/>
            </p:cNvPicPr>
            <p:nvPr userDrawn="1"/>
          </p:nvPicPr>
          <p:blipFill>
            <a:blip r:embed="rId8">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uppieren 40"/>
          <p:cNvGrpSpPr/>
          <p:nvPr userDrawn="1"/>
        </p:nvGrpSpPr>
        <p:grpSpPr>
          <a:xfrm>
            <a:off x="14575773" y="-67762"/>
            <a:ext cx="2184353" cy="5224601"/>
            <a:chOff x="14583318" y="4183"/>
            <a:chExt cx="2185491" cy="5225811"/>
          </a:xfrm>
        </p:grpSpPr>
        <p:sp>
          <p:nvSpPr>
            <p:cNvPr id="42" name="Rechteck 41"/>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3" name="Grafik 4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4" name="Grafik 4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5" name="Rechteck 44"/>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6" name="Grafik 4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38031067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preserve="1" userDrawn="1">
  <p:cSld name="2.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2"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47" y="3"/>
            <a:ext cx="12190450" cy="6490343"/>
          </a:xfrm>
          <a:prstGeom prst="rect">
            <a:avLst/>
          </a:prstGeom>
        </p:spPr>
      </p:pic>
      <p:sp>
        <p:nvSpPr>
          <p:cNvPr id="4" name="Picture Placeholder 3"/>
          <p:cNvSpPr>
            <a:spLocks noGrp="1"/>
          </p:cNvSpPr>
          <p:nvPr>
            <p:ph type="pic" sz="quarter" idx="10" hasCustomPrompt="1"/>
          </p:nvPr>
        </p:nvSpPr>
        <p:spPr bwMode="gray">
          <a:xfrm>
            <a:off x="2" y="1688656"/>
            <a:ext cx="6059507" cy="4797955"/>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 name="Title 2"/>
          <p:cNvSpPr>
            <a:spLocks noGrp="1"/>
          </p:cNvSpPr>
          <p:nvPr>
            <p:ph type="title" hasCustomPrompt="1"/>
          </p:nvPr>
        </p:nvSpPr>
        <p:spPr>
          <a:xfrm>
            <a:off x="630118" y="288858"/>
            <a:ext cx="10931023" cy="1115742"/>
          </a:xfrm>
          <a:custGeom>
            <a:avLst/>
            <a:gdLst>
              <a:gd name="connsiteX0" fmla="*/ 0 w 10936355"/>
              <a:gd name="connsiteY0" fmla="*/ 0 h 1116000"/>
              <a:gd name="connsiteX1" fmla="*/ 10936355 w 10936355"/>
              <a:gd name="connsiteY1" fmla="*/ 0 h 1116000"/>
              <a:gd name="connsiteX2" fmla="*/ 10936355 w 10936355"/>
              <a:gd name="connsiteY2" fmla="*/ 1116000 h 1116000"/>
              <a:gd name="connsiteX3" fmla="*/ 0 w 10936355"/>
              <a:gd name="connsiteY3" fmla="*/ 1116000 h 1116000"/>
              <a:gd name="connsiteX4" fmla="*/ 0 w 10936355"/>
              <a:gd name="connsiteY4" fmla="*/ 0 h 1116000"/>
              <a:gd name="connsiteX0" fmla="*/ 0 w 10936355"/>
              <a:gd name="connsiteY0" fmla="*/ 0 h 1116000"/>
              <a:gd name="connsiteX1" fmla="*/ 10936355 w 10936355"/>
              <a:gd name="connsiteY1" fmla="*/ 0 h 1116000"/>
              <a:gd name="connsiteX2" fmla="*/ 10936355 w 10936355"/>
              <a:gd name="connsiteY2" fmla="*/ 1116000 h 1116000"/>
              <a:gd name="connsiteX3" fmla="*/ 5793216 w 10936355"/>
              <a:gd name="connsiteY3" fmla="*/ 1113155 h 1116000"/>
              <a:gd name="connsiteX4" fmla="*/ 0 w 10936355"/>
              <a:gd name="connsiteY4" fmla="*/ 1116000 h 1116000"/>
              <a:gd name="connsiteX5" fmla="*/ 0 w 10936355"/>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10936355 w 10936716"/>
              <a:gd name="connsiteY3" fmla="*/ 1116000 h 1116000"/>
              <a:gd name="connsiteX4" fmla="*/ 5793216 w 10936716"/>
              <a:gd name="connsiteY4" fmla="*/ 1113155 h 1116000"/>
              <a:gd name="connsiteX5" fmla="*/ 0 w 10936716"/>
              <a:gd name="connsiteY5" fmla="*/ 1116000 h 1116000"/>
              <a:gd name="connsiteX6" fmla="*/ 0 w 10936716"/>
              <a:gd name="connsiteY6"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1116000">
                <a:moveTo>
                  <a:pt x="0" y="0"/>
                </a:moveTo>
                <a:lnTo>
                  <a:pt x="10936355" y="0"/>
                </a:lnTo>
                <a:cubicBezTo>
                  <a:pt x="10936475" y="226272"/>
                  <a:pt x="10936596" y="452543"/>
                  <a:pt x="10936716" y="678815"/>
                </a:cubicBezTo>
                <a:lnTo>
                  <a:pt x="5793216" y="1113155"/>
                </a:lnTo>
                <a:lnTo>
                  <a:pt x="0" y="1116000"/>
                </a:lnTo>
                <a:lnTo>
                  <a:pt x="0" y="0"/>
                </a:lnTo>
                <a:close/>
              </a:path>
            </a:pathLst>
          </a:custGeom>
        </p:spPr>
        <p:txBody>
          <a:bodyPr/>
          <a:lstStyle>
            <a:lvl1pPr>
              <a:defRPr>
                <a:solidFill>
                  <a:schemeClr val="bg1"/>
                </a:solidFill>
              </a:defRPr>
            </a:lvl1pPr>
          </a:lstStyle>
          <a:p>
            <a:r>
              <a:rPr lang="en-GB" dirty="0" smtClean="0"/>
              <a:t>Image-chart, Headline </a:t>
            </a:r>
            <a:r>
              <a:rPr lang="en-GB" noProof="0" dirty="0" smtClean="0"/>
              <a:t>CorpoS </a:t>
            </a:r>
            <a:r>
              <a:rPr lang="en-GB" dirty="0" smtClean="0"/>
              <a:t>(Body) 35 pt. </a:t>
            </a:r>
            <a:br>
              <a:rPr lang="en-GB" dirty="0" smtClean="0"/>
            </a:br>
            <a:r>
              <a:rPr lang="en-GB" dirty="0" smtClean="0"/>
              <a:t>in two lines of text</a:t>
            </a:r>
            <a:endParaRPr lang="en-GB" dirty="0"/>
          </a:p>
        </p:txBody>
      </p:sp>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132496"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4"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3" name="Gruppieren 22"/>
          <p:cNvGrpSpPr/>
          <p:nvPr userDrawn="1"/>
        </p:nvGrpSpPr>
        <p:grpSpPr>
          <a:xfrm>
            <a:off x="-2250853" y="3527182"/>
            <a:ext cx="2229361" cy="4638856"/>
            <a:chOff x="12221581" y="-62687"/>
            <a:chExt cx="2230522" cy="4639930"/>
          </a:xfrm>
        </p:grpSpPr>
        <p:sp>
          <p:nvSpPr>
            <p:cNvPr id="25" name="Rechteck 24"/>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6" name="Grafik 2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7" name="Grafik 2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8" name="Rechteck 27"/>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9" name="Gruppieren 28"/>
          <p:cNvGrpSpPr/>
          <p:nvPr userDrawn="1"/>
        </p:nvGrpSpPr>
        <p:grpSpPr>
          <a:xfrm>
            <a:off x="12192048" y="-82363"/>
            <a:ext cx="2184353" cy="3786237"/>
            <a:chOff x="12266612" y="-62687"/>
            <a:chExt cx="2185491" cy="3787114"/>
          </a:xfrm>
        </p:grpSpPr>
        <p:sp>
          <p:nvSpPr>
            <p:cNvPr id="30" name="Rechteck 29"/>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1" name="Grafik 3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2" name="Gruppieren 31"/>
          <p:cNvGrpSpPr/>
          <p:nvPr userDrawn="1"/>
        </p:nvGrpSpPr>
        <p:grpSpPr>
          <a:xfrm>
            <a:off x="12192002" y="3909447"/>
            <a:ext cx="2383726" cy="3891079"/>
            <a:chOff x="12291863" y="5052225"/>
            <a:chExt cx="2384968" cy="3891979"/>
          </a:xfrm>
        </p:grpSpPr>
        <p:sp>
          <p:nvSpPr>
            <p:cNvPr id="33" name="Rechteck 32"/>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40" name="Picture 2"/>
            <p:cNvPicPr>
              <a:picLocks noChangeAspect="1" noChangeArrowheads="1"/>
            </p:cNvPicPr>
            <p:nvPr userDrawn="1"/>
          </p:nvPicPr>
          <p:blipFill>
            <a:blip r:embed="rId8">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uppieren 40"/>
          <p:cNvGrpSpPr/>
          <p:nvPr userDrawn="1"/>
        </p:nvGrpSpPr>
        <p:grpSpPr>
          <a:xfrm>
            <a:off x="14575773" y="-67762"/>
            <a:ext cx="2184353" cy="5224601"/>
            <a:chOff x="14583318" y="4183"/>
            <a:chExt cx="2185491" cy="5225811"/>
          </a:xfrm>
        </p:grpSpPr>
        <p:sp>
          <p:nvSpPr>
            <p:cNvPr id="42" name="Rechteck 41"/>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3" name="Grafik 4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4" name="Grafik 4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5" name="Rechteck 44"/>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6" name="Grafik 4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14482659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3. Brushing/ image 2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2"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614090" y="2"/>
            <a:ext cx="5576364" cy="5066125"/>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4" name="Picture Placeholder 3"/>
          <p:cNvSpPr>
            <a:spLocks noGrp="1"/>
          </p:cNvSpPr>
          <p:nvPr>
            <p:ph type="pic" sz="quarter" idx="14" hasCustomPrompt="1"/>
          </p:nvPr>
        </p:nvSpPr>
        <p:spPr bwMode="gray">
          <a:xfrm>
            <a:off x="2" y="3"/>
            <a:ext cx="6546630"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4"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3" name="Gruppieren 22"/>
          <p:cNvGrpSpPr/>
          <p:nvPr userDrawn="1"/>
        </p:nvGrpSpPr>
        <p:grpSpPr>
          <a:xfrm>
            <a:off x="-2250853" y="3527182"/>
            <a:ext cx="2229361" cy="4638856"/>
            <a:chOff x="12221581" y="-62687"/>
            <a:chExt cx="2230522" cy="4639930"/>
          </a:xfrm>
        </p:grpSpPr>
        <p:sp>
          <p:nvSpPr>
            <p:cNvPr id="25" name="Rechteck 24"/>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6" name="Grafik 2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7" name="Grafik 2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8" name="Rechteck 27"/>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9" name="Gruppieren 28"/>
          <p:cNvGrpSpPr/>
          <p:nvPr userDrawn="1"/>
        </p:nvGrpSpPr>
        <p:grpSpPr>
          <a:xfrm>
            <a:off x="12192048" y="-82363"/>
            <a:ext cx="2184353" cy="3786237"/>
            <a:chOff x="12266612" y="-62687"/>
            <a:chExt cx="2185491" cy="3787114"/>
          </a:xfrm>
        </p:grpSpPr>
        <p:sp>
          <p:nvSpPr>
            <p:cNvPr id="30" name="Rechteck 29"/>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1" name="Grafik 3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2" name="Gruppieren 31"/>
          <p:cNvGrpSpPr/>
          <p:nvPr userDrawn="1"/>
        </p:nvGrpSpPr>
        <p:grpSpPr>
          <a:xfrm>
            <a:off x="12192002" y="3909447"/>
            <a:ext cx="2383726" cy="3891079"/>
            <a:chOff x="12291863" y="5052225"/>
            <a:chExt cx="2384968" cy="3891979"/>
          </a:xfrm>
        </p:grpSpPr>
        <p:sp>
          <p:nvSpPr>
            <p:cNvPr id="33" name="Rechteck 32"/>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40" name="Picture 2"/>
            <p:cNvPicPr>
              <a:picLocks noChangeAspect="1" noChangeArrowheads="1"/>
            </p:cNvPicPr>
            <p:nvPr userDrawn="1"/>
          </p:nvPicPr>
          <p:blipFill>
            <a:blip r:embed="rId8">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uppieren 40"/>
          <p:cNvGrpSpPr/>
          <p:nvPr userDrawn="1"/>
        </p:nvGrpSpPr>
        <p:grpSpPr>
          <a:xfrm>
            <a:off x="14575773" y="-67762"/>
            <a:ext cx="2184353" cy="5224601"/>
            <a:chOff x="14583318" y="4183"/>
            <a:chExt cx="2185491" cy="5225811"/>
          </a:xfrm>
        </p:grpSpPr>
        <p:sp>
          <p:nvSpPr>
            <p:cNvPr id="42" name="Rechteck 41"/>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3" name="Grafik 4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4" name="Grafik 4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5" name="Rechteck 44"/>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6" name="Grafik 4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3496912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4.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2"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0" y="2"/>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017063" y="47"/>
            <a:ext cx="7175731" cy="4085055"/>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6" name="Text Placeholder 4"/>
          <p:cNvSpPr>
            <a:spLocks noGrp="1"/>
          </p:cNvSpPr>
          <p:nvPr>
            <p:ph type="body" sz="quarter" idx="15" hasCustomPrompt="1"/>
          </p:nvPr>
        </p:nvSpPr>
        <p:spPr>
          <a:xfrm>
            <a:off x="630162" y="4745529"/>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smtClean="0"/>
              <a:t>Insert text in </a:t>
            </a:r>
            <a:r>
              <a:rPr lang="en-GB" noProof="0" dirty="0" smtClean="0"/>
              <a:t>CorpoS (Body) 24 pt. (Mark-ups in Bold) </a:t>
            </a:r>
            <a:r>
              <a:rPr lang="en-GB" dirty="0" smtClean="0"/>
              <a:t>// for Body text: Home // Paragraph// Increase List Level</a:t>
            </a:r>
          </a:p>
          <a:p>
            <a:pPr lvl="1"/>
            <a:r>
              <a:rPr lang="en-GB" dirty="0" smtClean="0"/>
              <a:t>Second level (Body text)</a:t>
            </a:r>
          </a:p>
        </p:txBody>
      </p:sp>
      <p:sp>
        <p:nvSpPr>
          <p:cNvPr id="27"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6" name="Gruppieren 25"/>
          <p:cNvGrpSpPr/>
          <p:nvPr userDrawn="1"/>
        </p:nvGrpSpPr>
        <p:grpSpPr>
          <a:xfrm>
            <a:off x="-2250853" y="3527182"/>
            <a:ext cx="2229361" cy="4638856"/>
            <a:chOff x="12221581" y="-62687"/>
            <a:chExt cx="2230522" cy="4639930"/>
          </a:xfrm>
        </p:grpSpPr>
        <p:sp>
          <p:nvSpPr>
            <p:cNvPr id="28" name="Rechteck 27"/>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9" name="Grafik 2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30" name="Grafik 2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31" name="Rechteck 30"/>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32" name="Gruppieren 31"/>
          <p:cNvGrpSpPr/>
          <p:nvPr userDrawn="1"/>
        </p:nvGrpSpPr>
        <p:grpSpPr>
          <a:xfrm>
            <a:off x="12192048" y="-82363"/>
            <a:ext cx="2184353" cy="3786237"/>
            <a:chOff x="12266612" y="-62687"/>
            <a:chExt cx="2185491" cy="3787114"/>
          </a:xfrm>
        </p:grpSpPr>
        <p:sp>
          <p:nvSpPr>
            <p:cNvPr id="33" name="Rechteck 32"/>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4" name="Grafik 3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5" name="Gruppieren 34"/>
          <p:cNvGrpSpPr/>
          <p:nvPr userDrawn="1"/>
        </p:nvGrpSpPr>
        <p:grpSpPr>
          <a:xfrm>
            <a:off x="12192002" y="3909447"/>
            <a:ext cx="2383726" cy="3891079"/>
            <a:chOff x="12291863" y="5052225"/>
            <a:chExt cx="2384968" cy="3891979"/>
          </a:xfrm>
        </p:grpSpPr>
        <p:sp>
          <p:nvSpPr>
            <p:cNvPr id="36" name="Rechteck 35"/>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40" name="Picture 2"/>
            <p:cNvPicPr>
              <a:picLocks noChangeAspect="1" noChangeArrowheads="1"/>
            </p:cNvPicPr>
            <p:nvPr userDrawn="1"/>
          </p:nvPicPr>
          <p:blipFill>
            <a:blip r:embed="rId8">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uppieren 40"/>
          <p:cNvGrpSpPr/>
          <p:nvPr userDrawn="1"/>
        </p:nvGrpSpPr>
        <p:grpSpPr>
          <a:xfrm>
            <a:off x="14575773" y="-67762"/>
            <a:ext cx="2184353" cy="5224601"/>
            <a:chOff x="14583318" y="4183"/>
            <a:chExt cx="2185491" cy="5225811"/>
          </a:xfrm>
        </p:grpSpPr>
        <p:sp>
          <p:nvSpPr>
            <p:cNvPr id="42" name="Rechteck 41"/>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3" name="Grafik 4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4" name="Grafik 4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5" name="Rechteck 44"/>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6" name="Grafik 4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37811358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5. Brushing/ image 3 columns">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2"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48" y="2"/>
            <a:ext cx="4598180" cy="3373449"/>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4669582" y="1"/>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5" name="Picture Placeholder 3"/>
          <p:cNvSpPr>
            <a:spLocks noGrp="1"/>
          </p:cNvSpPr>
          <p:nvPr>
            <p:ph type="pic" sz="quarter" idx="14" hasCustomPrompt="1"/>
          </p:nvPr>
        </p:nvSpPr>
        <p:spPr bwMode="gray">
          <a:xfrm>
            <a:off x="8053955" y="0"/>
            <a:ext cx="4136496" cy="2664003"/>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5" name="Text Placeholder 4"/>
          <p:cNvSpPr>
            <a:spLocks noGrp="1"/>
          </p:cNvSpPr>
          <p:nvPr>
            <p:ph type="body" sz="quarter" idx="15" hasCustomPrompt="1"/>
          </p:nvPr>
        </p:nvSpPr>
        <p:spPr>
          <a:xfrm>
            <a:off x="628324" y="3526611"/>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smtClean="0"/>
              <a:t>Insert text in </a:t>
            </a:r>
            <a:r>
              <a:rPr lang="en-GB" noProof="0" dirty="0" smtClean="0"/>
              <a:t>CorpoS (Body) 24 pt. (Mark-ups in Bold) </a:t>
            </a:r>
            <a:r>
              <a:rPr lang="en-GB" dirty="0" smtClean="0"/>
              <a:t>// for Body text: Home // Paragraph// Increase List Level</a:t>
            </a:r>
          </a:p>
          <a:p>
            <a:pPr lvl="1"/>
            <a:r>
              <a:rPr lang="en-GB" dirty="0" smtClean="0"/>
              <a:t>Second level (Body text)</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p:txBody>
      </p:sp>
      <p:sp>
        <p:nvSpPr>
          <p:cNvPr id="26"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5" name="Gruppieren 24"/>
          <p:cNvGrpSpPr/>
          <p:nvPr userDrawn="1"/>
        </p:nvGrpSpPr>
        <p:grpSpPr>
          <a:xfrm>
            <a:off x="-2250853" y="3527182"/>
            <a:ext cx="2229361" cy="4638856"/>
            <a:chOff x="12221581" y="-62687"/>
            <a:chExt cx="2230522" cy="4639930"/>
          </a:xfrm>
        </p:grpSpPr>
        <p:sp>
          <p:nvSpPr>
            <p:cNvPr id="27" name="Rechteck 26"/>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8" name="Grafik 2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9" name="Grafik 2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30" name="Rechteck 29"/>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31" name="Gruppieren 30"/>
          <p:cNvGrpSpPr/>
          <p:nvPr userDrawn="1"/>
        </p:nvGrpSpPr>
        <p:grpSpPr>
          <a:xfrm>
            <a:off x="12192048" y="-82363"/>
            <a:ext cx="2184353" cy="3786237"/>
            <a:chOff x="12266612" y="-62687"/>
            <a:chExt cx="2185491" cy="3787114"/>
          </a:xfrm>
        </p:grpSpPr>
        <p:sp>
          <p:nvSpPr>
            <p:cNvPr id="32" name="Rechteck 31"/>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3" name="Grafik 3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4" name="Gruppieren 33"/>
          <p:cNvGrpSpPr/>
          <p:nvPr userDrawn="1"/>
        </p:nvGrpSpPr>
        <p:grpSpPr>
          <a:xfrm>
            <a:off x="12192002" y="3909447"/>
            <a:ext cx="2383726" cy="3891079"/>
            <a:chOff x="12291863" y="5052225"/>
            <a:chExt cx="2384968" cy="3891979"/>
          </a:xfrm>
        </p:grpSpPr>
        <p:sp>
          <p:nvSpPr>
            <p:cNvPr id="35" name="Rechteck 34"/>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41" name="Picture 2"/>
            <p:cNvPicPr>
              <a:picLocks noChangeAspect="1" noChangeArrowheads="1"/>
            </p:cNvPicPr>
            <p:nvPr userDrawn="1"/>
          </p:nvPicPr>
          <p:blipFill>
            <a:blip r:embed="rId8">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 name="Gruppieren 41"/>
          <p:cNvGrpSpPr/>
          <p:nvPr userDrawn="1"/>
        </p:nvGrpSpPr>
        <p:grpSpPr>
          <a:xfrm>
            <a:off x="14575773" y="-67762"/>
            <a:ext cx="2184353" cy="5224601"/>
            <a:chOff x="14583318" y="4183"/>
            <a:chExt cx="2185491" cy="5225811"/>
          </a:xfrm>
        </p:grpSpPr>
        <p:sp>
          <p:nvSpPr>
            <p:cNvPr id="43" name="Rechteck 42"/>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4" name="Grafik 4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5" name="Grafik 44"/>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6" name="Rechteck 45"/>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7" name="Grafik 46"/>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4585933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Full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2"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1"/>
            <a:ext cx="12190451" cy="6486611"/>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1"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0" name="Gruppieren 19"/>
          <p:cNvGrpSpPr/>
          <p:nvPr userDrawn="1"/>
        </p:nvGrpSpPr>
        <p:grpSpPr>
          <a:xfrm>
            <a:off x="-2250853" y="3527182"/>
            <a:ext cx="2229361" cy="4638856"/>
            <a:chOff x="12221581" y="-62687"/>
            <a:chExt cx="2230522" cy="4639930"/>
          </a:xfrm>
        </p:grpSpPr>
        <p:sp>
          <p:nvSpPr>
            <p:cNvPr id="22" name="Rechteck 21"/>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3" name="Grafik 2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4" name="Grafik 2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5" name="Rechteck 24"/>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6" name="Gruppieren 25"/>
          <p:cNvGrpSpPr/>
          <p:nvPr userDrawn="1"/>
        </p:nvGrpSpPr>
        <p:grpSpPr>
          <a:xfrm>
            <a:off x="12192048" y="-82363"/>
            <a:ext cx="2184353" cy="3786237"/>
            <a:chOff x="12266612" y="-62687"/>
            <a:chExt cx="2185491" cy="3787114"/>
          </a:xfrm>
        </p:grpSpPr>
        <p:sp>
          <p:nvSpPr>
            <p:cNvPr id="27" name="Rechteck 26"/>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28" name="Grafik 2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29" name="Gruppieren 28"/>
          <p:cNvGrpSpPr/>
          <p:nvPr userDrawn="1"/>
        </p:nvGrpSpPr>
        <p:grpSpPr>
          <a:xfrm>
            <a:off x="12192002" y="3909447"/>
            <a:ext cx="2383726" cy="3891079"/>
            <a:chOff x="12291863" y="5052225"/>
            <a:chExt cx="2384968" cy="3891979"/>
          </a:xfrm>
        </p:grpSpPr>
        <p:sp>
          <p:nvSpPr>
            <p:cNvPr id="30" name="Rechteck 29"/>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37" name="Picture 2"/>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uppieren 37"/>
          <p:cNvGrpSpPr/>
          <p:nvPr userDrawn="1"/>
        </p:nvGrpSpPr>
        <p:grpSpPr>
          <a:xfrm>
            <a:off x="14575773" y="-67762"/>
            <a:ext cx="2184353" cy="5224601"/>
            <a:chOff x="14583318" y="4183"/>
            <a:chExt cx="2185491" cy="5225811"/>
          </a:xfrm>
        </p:grpSpPr>
        <p:sp>
          <p:nvSpPr>
            <p:cNvPr id="39" name="Rechteck 38"/>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0" name="Grafik 3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1" name="Grafik 4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2" name="Rechteck 41"/>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3" name="Grafik 42"/>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1523852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Full image/ 2 columns">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2"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3" y="1"/>
            <a:ext cx="6059906" cy="6486611"/>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2" name="Picture Placeholder 3"/>
          <p:cNvSpPr>
            <a:spLocks noGrp="1"/>
          </p:cNvSpPr>
          <p:nvPr>
            <p:ph type="pic" sz="quarter" idx="14" hasCustomPrompt="1"/>
          </p:nvPr>
        </p:nvSpPr>
        <p:spPr bwMode="gray">
          <a:xfrm>
            <a:off x="6132096" y="1"/>
            <a:ext cx="6059906" cy="6486611"/>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1"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0" name="Gruppieren 19"/>
          <p:cNvGrpSpPr/>
          <p:nvPr userDrawn="1"/>
        </p:nvGrpSpPr>
        <p:grpSpPr>
          <a:xfrm>
            <a:off x="-2250853" y="3527182"/>
            <a:ext cx="2229361" cy="4638856"/>
            <a:chOff x="12221581" y="-62687"/>
            <a:chExt cx="2230522" cy="4639930"/>
          </a:xfrm>
        </p:grpSpPr>
        <p:sp>
          <p:nvSpPr>
            <p:cNvPr id="23" name="Rechteck 22"/>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4" name="Grafik 2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5" name="Grafik 2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6" name="Rechteck 25"/>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7" name="Gruppieren 26"/>
          <p:cNvGrpSpPr/>
          <p:nvPr userDrawn="1"/>
        </p:nvGrpSpPr>
        <p:grpSpPr>
          <a:xfrm>
            <a:off x="12192048" y="-82363"/>
            <a:ext cx="2184353" cy="3786237"/>
            <a:chOff x="12266612" y="-62687"/>
            <a:chExt cx="2185491" cy="3787114"/>
          </a:xfrm>
        </p:grpSpPr>
        <p:sp>
          <p:nvSpPr>
            <p:cNvPr id="28" name="Rechteck 27"/>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29" name="Grafik 2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0" name="Gruppieren 29"/>
          <p:cNvGrpSpPr/>
          <p:nvPr userDrawn="1"/>
        </p:nvGrpSpPr>
        <p:grpSpPr>
          <a:xfrm>
            <a:off x="12192002" y="3909447"/>
            <a:ext cx="2383726" cy="3891079"/>
            <a:chOff x="12291863" y="5052225"/>
            <a:chExt cx="2384968" cy="3891979"/>
          </a:xfrm>
        </p:grpSpPr>
        <p:sp>
          <p:nvSpPr>
            <p:cNvPr id="37" name="Rechteck 36"/>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38" name="Picture 2"/>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uppieren 38"/>
          <p:cNvGrpSpPr/>
          <p:nvPr userDrawn="1"/>
        </p:nvGrpSpPr>
        <p:grpSpPr>
          <a:xfrm>
            <a:off x="14575773" y="-67762"/>
            <a:ext cx="2184353" cy="5224601"/>
            <a:chOff x="14583318" y="4183"/>
            <a:chExt cx="2185491" cy="5225811"/>
          </a:xfrm>
        </p:grpSpPr>
        <p:sp>
          <p:nvSpPr>
            <p:cNvPr id="40" name="Rechteck 39"/>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1" name="Grafik 4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2" name="Grafik 4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3" name="Rechteck 42"/>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4" name="Grafik 4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5676273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2 Images-chart 2/3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err="1"/>
              <a:t>CorpoS</a:t>
            </a:r>
            <a:r>
              <a:rPr lang="en-GB" noProof="0" dirty="0"/>
              <a:t> (Body) 24 pt. (Mark-ups in Bold) </a:t>
            </a:r>
            <a:r>
              <a:rPr lang="en-GB" dirty="0"/>
              <a:t>// for Body text: Home // Paragraph// Increase List Level</a:t>
            </a:r>
          </a:p>
          <a:p>
            <a:pPr lvl="1"/>
            <a:r>
              <a:rPr lang="en-GB" dirty="0"/>
              <a:t>Second level (Body text)</a:t>
            </a:r>
          </a:p>
        </p:txBody>
      </p:sp>
    </p:spTree>
    <p:extLst>
      <p:ext uri="{BB962C8B-B14F-4D97-AF65-F5344CB8AC3E}">
        <p14:creationId xmlns:p14="http://schemas.microsoft.com/office/powerpoint/2010/main" val="366187164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Full image/ 4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2"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3" y="3279298"/>
            <a:ext cx="6059906"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2" name="Picture Placeholder 3"/>
          <p:cNvSpPr>
            <a:spLocks noGrp="1"/>
          </p:cNvSpPr>
          <p:nvPr>
            <p:ph type="pic" sz="quarter" idx="14" hasCustomPrompt="1"/>
          </p:nvPr>
        </p:nvSpPr>
        <p:spPr bwMode="gray">
          <a:xfrm>
            <a:off x="6132096" y="3279298"/>
            <a:ext cx="6059906"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1" name="Picture Placeholder 3"/>
          <p:cNvSpPr>
            <a:spLocks noGrp="1"/>
          </p:cNvSpPr>
          <p:nvPr>
            <p:ph type="pic" sz="quarter" idx="15" hasCustomPrompt="1"/>
          </p:nvPr>
        </p:nvSpPr>
        <p:spPr bwMode="gray">
          <a:xfrm>
            <a:off x="3" y="4"/>
            <a:ext cx="6059906"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3" name="Picture Placeholder 3"/>
          <p:cNvSpPr>
            <a:spLocks noGrp="1"/>
          </p:cNvSpPr>
          <p:nvPr>
            <p:ph type="pic" sz="quarter" idx="16" hasCustomPrompt="1"/>
          </p:nvPr>
        </p:nvSpPr>
        <p:spPr bwMode="gray">
          <a:xfrm>
            <a:off x="6132096" y="4"/>
            <a:ext cx="6059906"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4"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0" name="Gruppieren 19"/>
          <p:cNvGrpSpPr/>
          <p:nvPr userDrawn="1"/>
        </p:nvGrpSpPr>
        <p:grpSpPr>
          <a:xfrm>
            <a:off x="-2250853" y="3527182"/>
            <a:ext cx="2229361" cy="4638856"/>
            <a:chOff x="12221581" y="-62687"/>
            <a:chExt cx="2230522" cy="4639930"/>
          </a:xfrm>
        </p:grpSpPr>
        <p:sp>
          <p:nvSpPr>
            <p:cNvPr id="25" name="Rechteck 24"/>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6" name="Grafik 2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7" name="Grafik 2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8" name="Rechteck 27"/>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9" name="Gruppieren 28"/>
          <p:cNvGrpSpPr/>
          <p:nvPr userDrawn="1"/>
        </p:nvGrpSpPr>
        <p:grpSpPr>
          <a:xfrm>
            <a:off x="12192048" y="-82363"/>
            <a:ext cx="2184353" cy="3786237"/>
            <a:chOff x="12266612" y="-62687"/>
            <a:chExt cx="2185491" cy="3787114"/>
          </a:xfrm>
        </p:grpSpPr>
        <p:sp>
          <p:nvSpPr>
            <p:cNvPr id="30" name="Rechteck 29"/>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7" name="Grafik 3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8" name="Gruppieren 37"/>
          <p:cNvGrpSpPr/>
          <p:nvPr userDrawn="1"/>
        </p:nvGrpSpPr>
        <p:grpSpPr>
          <a:xfrm>
            <a:off x="12192002" y="3909447"/>
            <a:ext cx="2383726" cy="3891079"/>
            <a:chOff x="12291863" y="5052225"/>
            <a:chExt cx="2384968" cy="3891979"/>
          </a:xfrm>
        </p:grpSpPr>
        <p:sp>
          <p:nvSpPr>
            <p:cNvPr id="39" name="Rechteck 38"/>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40" name="Picture 2"/>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1" name="Gruppieren 40"/>
          <p:cNvGrpSpPr/>
          <p:nvPr userDrawn="1"/>
        </p:nvGrpSpPr>
        <p:grpSpPr>
          <a:xfrm>
            <a:off x="14575773" y="-67762"/>
            <a:ext cx="2184353" cy="5224601"/>
            <a:chOff x="14583318" y="4183"/>
            <a:chExt cx="2185491" cy="5225811"/>
          </a:xfrm>
        </p:grpSpPr>
        <p:sp>
          <p:nvSpPr>
            <p:cNvPr id="42" name="Rechteck 41"/>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3" name="Grafik 4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4" name="Grafik 4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5" name="Rechteck 44"/>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6" name="Grafik 4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10864410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reserve="1" userDrawn="1">
  <p:cSld name="Full image/ 3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2"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2" y="1"/>
            <a:ext cx="3841337" cy="6486611"/>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6" name="Picture Placeholder 3"/>
          <p:cNvSpPr>
            <a:spLocks noGrp="1"/>
          </p:cNvSpPr>
          <p:nvPr>
            <p:ph type="pic" sz="quarter" idx="14" hasCustomPrompt="1"/>
          </p:nvPr>
        </p:nvSpPr>
        <p:spPr bwMode="gray">
          <a:xfrm>
            <a:off x="3913579" y="1"/>
            <a:ext cx="4199924" cy="6486611"/>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7" name="Picture Placeholder 3"/>
          <p:cNvSpPr>
            <a:spLocks noGrp="1"/>
          </p:cNvSpPr>
          <p:nvPr>
            <p:ph type="pic" sz="quarter" idx="15" hasCustomPrompt="1"/>
          </p:nvPr>
        </p:nvSpPr>
        <p:spPr bwMode="gray">
          <a:xfrm>
            <a:off x="8185696" y="1"/>
            <a:ext cx="4006350" cy="6486611"/>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5"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4" name="Gruppieren 23"/>
          <p:cNvGrpSpPr/>
          <p:nvPr userDrawn="1"/>
        </p:nvGrpSpPr>
        <p:grpSpPr>
          <a:xfrm>
            <a:off x="-2250853" y="3527182"/>
            <a:ext cx="2229361" cy="4638856"/>
            <a:chOff x="12221581" y="-62687"/>
            <a:chExt cx="2230522" cy="4639930"/>
          </a:xfrm>
        </p:grpSpPr>
        <p:sp>
          <p:nvSpPr>
            <p:cNvPr id="26" name="Rechteck 25"/>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7" name="Grafik 2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8" name="Grafik 2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9" name="Rechteck 28"/>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30" name="Gruppieren 29"/>
          <p:cNvGrpSpPr/>
          <p:nvPr userDrawn="1"/>
        </p:nvGrpSpPr>
        <p:grpSpPr>
          <a:xfrm>
            <a:off x="12192048" y="-82363"/>
            <a:ext cx="2184353" cy="3786237"/>
            <a:chOff x="12266612" y="-62687"/>
            <a:chExt cx="2185491" cy="3787114"/>
          </a:xfrm>
        </p:grpSpPr>
        <p:sp>
          <p:nvSpPr>
            <p:cNvPr id="31" name="Rechteck 30"/>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2" name="Grafik 3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3" name="Gruppieren 32"/>
          <p:cNvGrpSpPr/>
          <p:nvPr userDrawn="1"/>
        </p:nvGrpSpPr>
        <p:grpSpPr>
          <a:xfrm>
            <a:off x="12192002" y="3909447"/>
            <a:ext cx="2383726" cy="3891079"/>
            <a:chOff x="12291863" y="5052225"/>
            <a:chExt cx="2384968" cy="3891979"/>
          </a:xfrm>
        </p:grpSpPr>
        <p:sp>
          <p:nvSpPr>
            <p:cNvPr id="34" name="Rechteck 33"/>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39" name="Picture 2"/>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uppieren 39"/>
          <p:cNvGrpSpPr/>
          <p:nvPr userDrawn="1"/>
        </p:nvGrpSpPr>
        <p:grpSpPr>
          <a:xfrm>
            <a:off x="14575773" y="-67762"/>
            <a:ext cx="2184353" cy="5224601"/>
            <a:chOff x="14583318" y="4183"/>
            <a:chExt cx="2185491" cy="5225811"/>
          </a:xfrm>
        </p:grpSpPr>
        <p:sp>
          <p:nvSpPr>
            <p:cNvPr id="41" name="Rechteck 40"/>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2" name="Grafik 4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3" name="Grafik 4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4" name="Rechteck 43"/>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5" name="Grafik 44"/>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2758875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showMasterSp="0" preserve="1" userDrawn="1">
  <p:cSld name="Full image/ 6 image">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2"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12" name="Slide Number Placeholder 11"/>
          <p:cNvSpPr>
            <a:spLocks noGrp="1"/>
          </p:cNvSpPr>
          <p:nvPr>
            <p:ph type="sldNum" sz="quarter" idx="12"/>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2" y="3279298"/>
            <a:ext cx="3841337"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6" name="Picture Placeholder 3"/>
          <p:cNvSpPr>
            <a:spLocks noGrp="1"/>
          </p:cNvSpPr>
          <p:nvPr>
            <p:ph type="pic" sz="quarter" idx="14" hasCustomPrompt="1"/>
          </p:nvPr>
        </p:nvSpPr>
        <p:spPr bwMode="gray">
          <a:xfrm>
            <a:off x="3913579" y="3279298"/>
            <a:ext cx="4199924"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7" name="Picture Placeholder 3"/>
          <p:cNvSpPr>
            <a:spLocks noGrp="1"/>
          </p:cNvSpPr>
          <p:nvPr>
            <p:ph type="pic" sz="quarter" idx="15" hasCustomPrompt="1"/>
          </p:nvPr>
        </p:nvSpPr>
        <p:spPr bwMode="gray">
          <a:xfrm>
            <a:off x="8185696" y="3279298"/>
            <a:ext cx="4006350"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5" name="Picture Placeholder 3"/>
          <p:cNvSpPr>
            <a:spLocks noGrp="1"/>
          </p:cNvSpPr>
          <p:nvPr>
            <p:ph type="pic" sz="quarter" idx="16" hasCustomPrompt="1"/>
          </p:nvPr>
        </p:nvSpPr>
        <p:spPr bwMode="gray">
          <a:xfrm>
            <a:off x="2" y="4"/>
            <a:ext cx="3841337"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9" name="Picture Placeholder 3"/>
          <p:cNvSpPr>
            <a:spLocks noGrp="1"/>
          </p:cNvSpPr>
          <p:nvPr>
            <p:ph type="pic" sz="quarter" idx="17" hasCustomPrompt="1"/>
          </p:nvPr>
        </p:nvSpPr>
        <p:spPr bwMode="gray">
          <a:xfrm>
            <a:off x="8185697" y="4"/>
            <a:ext cx="4006350"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30" name="Picture Placeholder 3"/>
          <p:cNvSpPr>
            <a:spLocks noGrp="1"/>
          </p:cNvSpPr>
          <p:nvPr>
            <p:ph type="pic" sz="quarter" idx="18" hasCustomPrompt="1"/>
          </p:nvPr>
        </p:nvSpPr>
        <p:spPr bwMode="gray">
          <a:xfrm>
            <a:off x="3913579" y="4"/>
            <a:ext cx="4199924" cy="3207314"/>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26"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24" name="Gruppieren 23"/>
          <p:cNvGrpSpPr/>
          <p:nvPr userDrawn="1"/>
        </p:nvGrpSpPr>
        <p:grpSpPr>
          <a:xfrm>
            <a:off x="-2250853" y="3527182"/>
            <a:ext cx="2229361" cy="4638856"/>
            <a:chOff x="12221581" y="-62687"/>
            <a:chExt cx="2230522" cy="4639930"/>
          </a:xfrm>
        </p:grpSpPr>
        <p:sp>
          <p:nvSpPr>
            <p:cNvPr id="27" name="Rechteck 26"/>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8" name="Grafik 2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31" name="Grafik 3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32" name="Rechteck 31"/>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33" name="Gruppieren 32"/>
          <p:cNvGrpSpPr/>
          <p:nvPr userDrawn="1"/>
        </p:nvGrpSpPr>
        <p:grpSpPr>
          <a:xfrm>
            <a:off x="12192048" y="-82363"/>
            <a:ext cx="2184353" cy="3786237"/>
            <a:chOff x="12266612" y="-62687"/>
            <a:chExt cx="2185491" cy="3787114"/>
          </a:xfrm>
        </p:grpSpPr>
        <p:sp>
          <p:nvSpPr>
            <p:cNvPr id="34" name="Rechteck 33"/>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39" name="Grafik 3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40" name="Gruppieren 39"/>
          <p:cNvGrpSpPr/>
          <p:nvPr userDrawn="1"/>
        </p:nvGrpSpPr>
        <p:grpSpPr>
          <a:xfrm>
            <a:off x="12192002" y="3909447"/>
            <a:ext cx="2383726" cy="3891079"/>
            <a:chOff x="12291863" y="5052225"/>
            <a:chExt cx="2384968" cy="3891979"/>
          </a:xfrm>
        </p:grpSpPr>
        <p:sp>
          <p:nvSpPr>
            <p:cNvPr id="41" name="Rechteck 40"/>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42" name="Picture 2"/>
            <p:cNvPicPr>
              <a:picLocks noChangeAspect="1" noChangeArrowheads="1"/>
            </p:cNvPicPr>
            <p:nvPr userDrawn="1"/>
          </p:nvPicPr>
          <p:blipFill>
            <a:blip r:embed="rId7">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3" name="Gruppieren 42"/>
          <p:cNvGrpSpPr/>
          <p:nvPr userDrawn="1"/>
        </p:nvGrpSpPr>
        <p:grpSpPr>
          <a:xfrm>
            <a:off x="14575773" y="-67762"/>
            <a:ext cx="2184353" cy="5224601"/>
            <a:chOff x="14583318" y="4183"/>
            <a:chExt cx="2185491" cy="5225811"/>
          </a:xfrm>
        </p:grpSpPr>
        <p:sp>
          <p:nvSpPr>
            <p:cNvPr id="44" name="Rechteck 43"/>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5" name="Grafik 4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6" name="Grafik 4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7" name="Rechteck 46"/>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8" name="Grafik 47"/>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37599471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ext/ 3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719" y="285982"/>
            <a:ext cx="10931106" cy="683842"/>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8370" y="4966850"/>
            <a:ext cx="5107503" cy="1414434"/>
          </a:xfrm>
        </p:spPr>
        <p:txBody>
          <a:bodyPr/>
          <a:lstStyle>
            <a:lvl1pPr>
              <a:defRPr baseline="0"/>
            </a:lvl1pPr>
          </a:lstStyle>
          <a:p>
            <a:pPr lvl="0"/>
            <a:r>
              <a:rPr lang="en-GB" dirty="0" smtClean="0"/>
              <a:t>Insert text </a:t>
            </a:r>
            <a:r>
              <a:rPr lang="en-GB" noProof="0" dirty="0" smtClean="0"/>
              <a:t>(Mark-ups in Bold) </a:t>
            </a:r>
            <a:r>
              <a:rPr lang="en-GB" dirty="0" smtClean="0"/>
              <a:t>// conclusion etc.: Increase List Level</a:t>
            </a:r>
          </a:p>
          <a:p>
            <a:pPr lvl="1"/>
            <a:r>
              <a:rPr lang="en-GB" dirty="0" smtClean="0"/>
              <a:t>Second level (Conclusion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en-GB" dirty="0" smtClean="0"/>
              <a:t>Insert text </a:t>
            </a:r>
            <a:r>
              <a:rPr lang="en-GB" noProof="0" dirty="0" smtClean="0"/>
              <a:t>(Mark-ups in Bold) </a:t>
            </a:r>
            <a:r>
              <a:rPr lang="en-GB" dirty="0" smtClean="0"/>
              <a:t>// conclusion etc.: Increase List Level</a:t>
            </a:r>
          </a:p>
          <a:p>
            <a:pPr lvl="1"/>
            <a:r>
              <a:rPr lang="en-GB" dirty="0" smtClean="0"/>
              <a:t>Second level (Conclusion etc.)</a:t>
            </a:r>
          </a:p>
        </p:txBody>
      </p:sp>
      <p:sp>
        <p:nvSpPr>
          <p:cNvPr id="10" name="Picture Placeholder 3"/>
          <p:cNvSpPr>
            <a:spLocks noGrp="1"/>
          </p:cNvSpPr>
          <p:nvPr>
            <p:ph type="pic" sz="quarter" idx="14" hasCustomPrompt="1"/>
          </p:nvPr>
        </p:nvSpPr>
        <p:spPr bwMode="gray">
          <a:xfrm>
            <a:off x="629673" y="1233206"/>
            <a:ext cx="6837213" cy="3599628"/>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Picture Placeholder 3"/>
          <p:cNvSpPr>
            <a:spLocks noGrp="1"/>
          </p:cNvSpPr>
          <p:nvPr>
            <p:ph type="pic" sz="quarter" idx="15" hasCustomPrompt="1"/>
          </p:nvPr>
        </p:nvSpPr>
        <p:spPr bwMode="gray">
          <a:xfrm>
            <a:off x="7538289" y="1233204"/>
            <a:ext cx="4022489" cy="1979154"/>
          </a:xfrm>
          <a:prstGeom prst="rect">
            <a:avLst/>
          </a:prstGeom>
          <a:solidFill>
            <a:srgbClr val="CFCFCF"/>
          </a:solidFill>
        </p:spPr>
        <p:txBody>
          <a:bodyPr/>
          <a:lstStyle>
            <a:lvl1pPr marL="0" indent="0" algn="ctr">
              <a:lnSpc>
                <a:spcPct val="100000"/>
              </a:lnSpc>
              <a:buNone/>
              <a:defRPr sz="16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4" name="Picture Placeholder 3"/>
          <p:cNvSpPr>
            <a:spLocks noGrp="1"/>
          </p:cNvSpPr>
          <p:nvPr>
            <p:ph type="pic" sz="quarter" idx="16" hasCustomPrompt="1"/>
          </p:nvPr>
        </p:nvSpPr>
        <p:spPr bwMode="gray">
          <a:xfrm>
            <a:off x="7538076" y="3286088"/>
            <a:ext cx="4022429" cy="1546791"/>
          </a:xfrm>
          <a:prstGeom prst="rect">
            <a:avLst/>
          </a:prstGeom>
          <a:solidFill>
            <a:srgbClr val="CFCFCF"/>
          </a:solidFill>
        </p:spPr>
        <p:txBody>
          <a:bodyPr>
            <a:normAutofit/>
          </a:bodyPr>
          <a:lstStyle>
            <a:lvl1pPr marL="0" indent="0" algn="ctr">
              <a:lnSpc>
                <a:spcPct val="100000"/>
              </a:lnSpc>
              <a:buNone/>
              <a:defRPr sz="16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633584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ext/ 3 images/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719" y="285982"/>
            <a:ext cx="10931106" cy="683842"/>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3" y="1233249"/>
            <a:ext cx="5466328" cy="5148081"/>
          </a:xfrm>
        </p:spPr>
        <p:txBody>
          <a:bodyPr/>
          <a:lstStyle>
            <a:lvl1pPr>
              <a:defRPr baseline="0"/>
            </a:lvl1pPr>
          </a:lstStyle>
          <a:p>
            <a:pPr lvl="0"/>
            <a:r>
              <a:rPr lang="en-GB" dirty="0" smtClean="0"/>
              <a:t>Insert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p:txBody>
      </p:sp>
      <p:sp>
        <p:nvSpPr>
          <p:cNvPr id="10" name="Picture Placeholder 3"/>
          <p:cNvSpPr>
            <a:spLocks noGrp="1"/>
          </p:cNvSpPr>
          <p:nvPr>
            <p:ph type="pic" sz="quarter" idx="14" hasCustomPrompt="1"/>
          </p:nvPr>
        </p:nvSpPr>
        <p:spPr bwMode="gray">
          <a:xfrm>
            <a:off x="6816353" y="1233202"/>
            <a:ext cx="4744425" cy="2627392"/>
          </a:xfrm>
          <a:prstGeom prst="rect">
            <a:avLst/>
          </a:prstGeom>
          <a:solidFill>
            <a:srgbClr val="CFCFCF"/>
          </a:solidFill>
        </p:spPr>
        <p:txBody>
          <a:bodyPr/>
          <a:lstStyle>
            <a:lvl1pPr marL="0" indent="0" algn="ctr">
              <a:lnSpc>
                <a:spcPct val="100000"/>
              </a:lnSpc>
              <a:buNone/>
              <a:defRPr/>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Picture Placeholder 3"/>
          <p:cNvSpPr>
            <a:spLocks noGrp="1"/>
          </p:cNvSpPr>
          <p:nvPr>
            <p:ph type="pic" sz="quarter" idx="15" hasCustomPrompt="1"/>
          </p:nvPr>
        </p:nvSpPr>
        <p:spPr bwMode="gray">
          <a:xfrm>
            <a:off x="9621392" y="3933937"/>
            <a:ext cx="1939115" cy="2446383"/>
          </a:xfrm>
          <a:prstGeom prst="rect">
            <a:avLst/>
          </a:prstGeom>
          <a:solidFill>
            <a:srgbClr val="CFCFCF"/>
          </a:solidFill>
        </p:spPr>
        <p:txBody>
          <a:bodyPr/>
          <a:lstStyle>
            <a:lvl1pPr marL="0" indent="0" algn="ctr">
              <a:lnSpc>
                <a:spcPct val="100000"/>
              </a:lnSpc>
              <a:buNone/>
              <a:defRPr sz="16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4" name="Picture Placeholder 3"/>
          <p:cNvSpPr>
            <a:spLocks noGrp="1"/>
          </p:cNvSpPr>
          <p:nvPr>
            <p:ph type="pic" sz="quarter" idx="16" hasCustomPrompt="1"/>
          </p:nvPr>
        </p:nvSpPr>
        <p:spPr bwMode="gray">
          <a:xfrm>
            <a:off x="6814851" y="3933937"/>
            <a:ext cx="2735735" cy="2446383"/>
          </a:xfrm>
          <a:prstGeom prst="rect">
            <a:avLst/>
          </a:prstGeom>
          <a:solidFill>
            <a:srgbClr val="CFCFCF"/>
          </a:solidFill>
        </p:spPr>
        <p:txBody>
          <a:bodyPr>
            <a:normAutofit/>
          </a:bodyPr>
          <a:lstStyle>
            <a:lvl1pPr marL="0" indent="0" algn="ctr">
              <a:lnSpc>
                <a:spcPct val="100000"/>
              </a:lnSpc>
              <a:buNone/>
              <a:defRPr sz="16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Tree>
    <p:extLst>
      <p:ext uri="{BB962C8B-B14F-4D97-AF65-F5344CB8AC3E}">
        <p14:creationId xmlns:p14="http://schemas.microsoft.com/office/powerpoint/2010/main" val="490980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56" y="2493113"/>
            <a:ext cx="4965177" cy="3455460"/>
          </a:xfrm>
        </p:spPr>
        <p:txBody>
          <a:bodyPr/>
          <a:lstStyle>
            <a:lvl1pPr>
              <a:defRPr baseline="0"/>
            </a:lvl1pPr>
          </a:lstStyle>
          <a:p>
            <a:pPr lvl="0"/>
            <a:r>
              <a:rPr lang="en-GB" dirty="0" smtClean="0"/>
              <a:t>Insert content or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p:txBody>
      </p:sp>
      <p:sp>
        <p:nvSpPr>
          <p:cNvPr id="7" name="Text Placeholder 6"/>
          <p:cNvSpPr>
            <a:spLocks noGrp="1"/>
          </p:cNvSpPr>
          <p:nvPr>
            <p:ph type="body" sz="quarter" idx="13" hasCustomPrompt="1"/>
          </p:nvPr>
        </p:nvSpPr>
        <p:spPr>
          <a:xfrm>
            <a:off x="629915" y="1504605"/>
            <a:ext cx="4965173"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smtClean="0"/>
              <a:t>Insert headline</a:t>
            </a:r>
          </a:p>
        </p:txBody>
      </p:sp>
      <p:cxnSp>
        <p:nvCxnSpPr>
          <p:cNvPr id="8" name="Gerade Verbindung 42"/>
          <p:cNvCxnSpPr/>
          <p:nvPr userDrawn="1"/>
        </p:nvCxnSpPr>
        <p:spPr bwMode="auto">
          <a:xfrm>
            <a:off x="629675" y="2231482"/>
            <a:ext cx="4965413"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91" y="2231482"/>
            <a:ext cx="4965413"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73" y="1504605"/>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smtClean="0"/>
              <a:t>Insert headline</a:t>
            </a:r>
          </a:p>
        </p:txBody>
      </p:sp>
      <p:sp>
        <p:nvSpPr>
          <p:cNvPr id="11" name="Content Placeholder 5"/>
          <p:cNvSpPr>
            <a:spLocks noGrp="1"/>
          </p:cNvSpPr>
          <p:nvPr>
            <p:ph sz="quarter" idx="15" hasCustomPrompt="1"/>
          </p:nvPr>
        </p:nvSpPr>
        <p:spPr>
          <a:xfrm>
            <a:off x="6595373" y="2493114"/>
            <a:ext cx="4965177" cy="3455200"/>
          </a:xfrm>
        </p:spPr>
        <p:txBody>
          <a:bodyPr/>
          <a:lstStyle>
            <a:lvl1pPr>
              <a:defRPr baseline="0"/>
            </a:lvl1pPr>
          </a:lstStyle>
          <a:p>
            <a:pPr lvl="0"/>
            <a:r>
              <a:rPr lang="en-GB" dirty="0" smtClean="0"/>
              <a:t>Insert content or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p:txBody>
      </p:sp>
    </p:spTree>
    <p:extLst>
      <p:ext uri="{BB962C8B-B14F-4D97-AF65-F5344CB8AC3E}">
        <p14:creationId xmlns:p14="http://schemas.microsoft.com/office/powerpoint/2010/main" val="1259358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ablet/ 4 colum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cxnSp>
        <p:nvCxnSpPr>
          <p:cNvPr id="5" name="Gerade Verbindung 66"/>
          <p:cNvCxnSpPr/>
          <p:nvPr userDrawn="1"/>
        </p:nvCxnSpPr>
        <p:spPr>
          <a:xfrm>
            <a:off x="3362836" y="1233205"/>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1" y="1233203"/>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3"/>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3"/>
            <a:ext cx="2374763" cy="1187725"/>
          </a:xfrm>
          <a:prstGeom prst="rect">
            <a:avLst/>
          </a:prstGeom>
          <a:noFill/>
        </p:spPr>
        <p:txBody>
          <a:bodyPr/>
          <a:lstStyle>
            <a:lvl1pPr marL="0" indent="0" algn="ctr">
              <a:lnSpc>
                <a:spcPct val="100000"/>
              </a:lnSpc>
              <a:buNone/>
              <a:defRPr sz="16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0" name="Picture Placeholder 3"/>
          <p:cNvSpPr>
            <a:spLocks noGrp="1"/>
          </p:cNvSpPr>
          <p:nvPr>
            <p:ph type="pic" sz="quarter" idx="16" hasCustomPrompt="1"/>
          </p:nvPr>
        </p:nvSpPr>
        <p:spPr>
          <a:xfrm>
            <a:off x="3541755" y="1979543"/>
            <a:ext cx="2374763" cy="1187725"/>
          </a:xfrm>
          <a:prstGeom prst="rect">
            <a:avLst/>
          </a:prstGeom>
          <a:noFill/>
        </p:spPr>
        <p:txBody>
          <a:bodyPr/>
          <a:lstStyle>
            <a:lvl1pPr marL="0" indent="0" algn="ctr">
              <a:lnSpc>
                <a:spcPct val="100000"/>
              </a:lnSpc>
              <a:buNone/>
              <a:defRPr sz="16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1" name="Picture Placeholder 3"/>
          <p:cNvSpPr>
            <a:spLocks noGrp="1"/>
          </p:cNvSpPr>
          <p:nvPr>
            <p:ph type="pic" sz="quarter" idx="17" hasCustomPrompt="1"/>
          </p:nvPr>
        </p:nvSpPr>
        <p:spPr>
          <a:xfrm>
            <a:off x="6273931" y="1979543"/>
            <a:ext cx="2374763" cy="1187725"/>
          </a:xfrm>
          <a:prstGeom prst="rect">
            <a:avLst/>
          </a:prstGeom>
          <a:noFill/>
        </p:spPr>
        <p:txBody>
          <a:bodyPr/>
          <a:lstStyle>
            <a:lvl1pPr marL="0" indent="0" algn="ctr">
              <a:lnSpc>
                <a:spcPct val="100000"/>
              </a:lnSpc>
              <a:buNone/>
              <a:defRPr sz="16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2" name="Picture Placeholder 3"/>
          <p:cNvSpPr>
            <a:spLocks noGrp="1"/>
          </p:cNvSpPr>
          <p:nvPr>
            <p:ph type="pic" sz="quarter" idx="18" hasCustomPrompt="1"/>
          </p:nvPr>
        </p:nvSpPr>
        <p:spPr>
          <a:xfrm>
            <a:off x="9006110" y="1983951"/>
            <a:ext cx="2374763" cy="1187725"/>
          </a:xfrm>
          <a:prstGeom prst="rect">
            <a:avLst/>
          </a:prstGeom>
          <a:noFill/>
        </p:spPr>
        <p:txBody>
          <a:bodyPr/>
          <a:lstStyle>
            <a:lvl1pPr marL="0" indent="0" algn="ctr">
              <a:lnSpc>
                <a:spcPct val="100000"/>
              </a:lnSpc>
              <a:buNone/>
              <a:defRPr sz="1699"/>
            </a:lvl1pPr>
          </a:lstStyle>
          <a:p>
            <a:r>
              <a:rPr lang="en-GB" noProof="0" dirty="0" smtClean="0"/>
              <a:t/>
            </a:r>
            <a:br>
              <a:rPr lang="en-GB" noProof="0" dirty="0" smtClean="0"/>
            </a:br>
            <a:r>
              <a:rPr lang="en-GB" noProof="0" dirty="0" smtClean="0"/>
              <a:t/>
            </a:r>
            <a:br>
              <a:rPr lang="en-GB" noProof="0" dirty="0" smtClean="0"/>
            </a:br>
            <a:r>
              <a:rPr lang="en-GB" noProof="0" dirty="0" smtClean="0"/>
              <a:t/>
            </a:r>
            <a:br>
              <a:rPr lang="en-GB" noProof="0" dirty="0" smtClean="0"/>
            </a:br>
            <a:r>
              <a:rPr lang="en-GB" noProof="0" dirty="0" smtClean="0"/>
              <a:t>Insert picture</a:t>
            </a:r>
            <a:endParaRPr lang="en-GB" noProof="0" dirty="0"/>
          </a:p>
        </p:txBody>
      </p:sp>
      <p:sp>
        <p:nvSpPr>
          <p:cNvPr id="14" name="Text Placeholder 13"/>
          <p:cNvSpPr>
            <a:spLocks noGrp="1"/>
          </p:cNvSpPr>
          <p:nvPr>
            <p:ph type="body" sz="quarter" idx="19" hasCustomPrompt="1"/>
          </p:nvPr>
        </p:nvSpPr>
        <p:spPr>
          <a:xfrm>
            <a:off x="809625" y="1504605"/>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15" name="Text Placeholder 13"/>
          <p:cNvSpPr>
            <a:spLocks noGrp="1"/>
          </p:cNvSpPr>
          <p:nvPr>
            <p:ph type="body" sz="quarter" idx="20" hasCustomPrompt="1"/>
          </p:nvPr>
        </p:nvSpPr>
        <p:spPr>
          <a:xfrm>
            <a:off x="3541801" y="1504605"/>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16" name="Text Placeholder 13"/>
          <p:cNvSpPr>
            <a:spLocks noGrp="1"/>
          </p:cNvSpPr>
          <p:nvPr>
            <p:ph type="body" sz="quarter" idx="21" hasCustomPrompt="1"/>
          </p:nvPr>
        </p:nvSpPr>
        <p:spPr>
          <a:xfrm>
            <a:off x="6273980" y="1504605"/>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17" name="Text Placeholder 13"/>
          <p:cNvSpPr>
            <a:spLocks noGrp="1"/>
          </p:cNvSpPr>
          <p:nvPr>
            <p:ph type="body" sz="quarter" idx="22" hasCustomPrompt="1"/>
          </p:nvPr>
        </p:nvSpPr>
        <p:spPr>
          <a:xfrm>
            <a:off x="9006156" y="1504605"/>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19" name="Text Placeholder 18"/>
          <p:cNvSpPr>
            <a:spLocks noGrp="1"/>
          </p:cNvSpPr>
          <p:nvPr>
            <p:ph type="body" sz="quarter" idx="23" hasCustomPrompt="1"/>
          </p:nvPr>
        </p:nvSpPr>
        <p:spPr>
          <a:xfrm>
            <a:off x="809579" y="3275242"/>
            <a:ext cx="2374763"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smtClean="0"/>
              <a:t>XXYYY</a:t>
            </a:r>
          </a:p>
        </p:txBody>
      </p:sp>
      <p:sp>
        <p:nvSpPr>
          <p:cNvPr id="24" name="Text Placeholder 18"/>
          <p:cNvSpPr>
            <a:spLocks noGrp="1"/>
          </p:cNvSpPr>
          <p:nvPr>
            <p:ph type="body" sz="quarter" idx="24" hasCustomPrompt="1"/>
          </p:nvPr>
        </p:nvSpPr>
        <p:spPr>
          <a:xfrm>
            <a:off x="809579" y="3887103"/>
            <a:ext cx="2374763"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25" name="Text Placeholder 18"/>
          <p:cNvSpPr>
            <a:spLocks noGrp="1"/>
          </p:cNvSpPr>
          <p:nvPr>
            <p:ph type="body" sz="quarter" idx="25" hasCustomPrompt="1"/>
          </p:nvPr>
        </p:nvSpPr>
        <p:spPr>
          <a:xfrm>
            <a:off x="809579" y="4426975"/>
            <a:ext cx="2374763"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smtClean="0"/>
              <a:t>XXg</a:t>
            </a:r>
            <a:endParaRPr lang="en-GB" dirty="0" smtClean="0"/>
          </a:p>
        </p:txBody>
      </p:sp>
      <p:sp>
        <p:nvSpPr>
          <p:cNvPr id="26" name="Text Placeholder 18"/>
          <p:cNvSpPr>
            <a:spLocks noGrp="1"/>
          </p:cNvSpPr>
          <p:nvPr>
            <p:ph type="body" sz="quarter" idx="26" hasCustomPrompt="1"/>
          </p:nvPr>
        </p:nvSpPr>
        <p:spPr>
          <a:xfrm>
            <a:off x="809579" y="5002842"/>
            <a:ext cx="2374763"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smtClean="0"/>
              <a:t>X,Xl</a:t>
            </a:r>
            <a:endParaRPr lang="en-GB" dirty="0" smtClean="0"/>
          </a:p>
        </p:txBody>
      </p:sp>
      <p:sp>
        <p:nvSpPr>
          <p:cNvPr id="27" name="Text Placeholder 18"/>
          <p:cNvSpPr>
            <a:spLocks noGrp="1"/>
          </p:cNvSpPr>
          <p:nvPr>
            <p:ph type="body" sz="quarter" idx="27" hasCustomPrompt="1"/>
          </p:nvPr>
        </p:nvSpPr>
        <p:spPr>
          <a:xfrm>
            <a:off x="809579" y="5830649"/>
            <a:ext cx="2374763"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smtClean="0"/>
              <a:t>Insert text</a:t>
            </a:r>
          </a:p>
        </p:txBody>
      </p:sp>
      <p:sp>
        <p:nvSpPr>
          <p:cNvPr id="32" name="Text Placeholder 18"/>
          <p:cNvSpPr>
            <a:spLocks noGrp="1"/>
          </p:cNvSpPr>
          <p:nvPr>
            <p:ph type="body" sz="quarter" idx="28" hasCustomPrompt="1"/>
          </p:nvPr>
        </p:nvSpPr>
        <p:spPr>
          <a:xfrm>
            <a:off x="3541754" y="3275242"/>
            <a:ext cx="2374763"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smtClean="0"/>
              <a:t>XXYYY</a:t>
            </a:r>
          </a:p>
        </p:txBody>
      </p:sp>
      <p:sp>
        <p:nvSpPr>
          <p:cNvPr id="33" name="Text Placeholder 18"/>
          <p:cNvSpPr>
            <a:spLocks noGrp="1"/>
          </p:cNvSpPr>
          <p:nvPr>
            <p:ph type="body" sz="quarter" idx="29" hasCustomPrompt="1"/>
          </p:nvPr>
        </p:nvSpPr>
        <p:spPr>
          <a:xfrm>
            <a:off x="3541754" y="3887103"/>
            <a:ext cx="2374763"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34" name="Text Placeholder 18"/>
          <p:cNvSpPr>
            <a:spLocks noGrp="1"/>
          </p:cNvSpPr>
          <p:nvPr>
            <p:ph type="body" sz="quarter" idx="30" hasCustomPrompt="1"/>
          </p:nvPr>
        </p:nvSpPr>
        <p:spPr>
          <a:xfrm>
            <a:off x="3541754" y="4426975"/>
            <a:ext cx="2374763"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smtClean="0"/>
              <a:t>XXg</a:t>
            </a:r>
            <a:endParaRPr lang="en-GB" dirty="0" smtClean="0"/>
          </a:p>
        </p:txBody>
      </p:sp>
      <p:sp>
        <p:nvSpPr>
          <p:cNvPr id="35" name="Text Placeholder 18"/>
          <p:cNvSpPr>
            <a:spLocks noGrp="1"/>
          </p:cNvSpPr>
          <p:nvPr>
            <p:ph type="body" sz="quarter" idx="31" hasCustomPrompt="1"/>
          </p:nvPr>
        </p:nvSpPr>
        <p:spPr>
          <a:xfrm>
            <a:off x="3541754" y="5002842"/>
            <a:ext cx="2374763"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smtClean="0"/>
              <a:t>X,Xl</a:t>
            </a:r>
            <a:endParaRPr lang="en-GB" dirty="0" smtClean="0"/>
          </a:p>
        </p:txBody>
      </p:sp>
      <p:sp>
        <p:nvSpPr>
          <p:cNvPr id="36" name="Text Placeholder 18"/>
          <p:cNvSpPr>
            <a:spLocks noGrp="1"/>
          </p:cNvSpPr>
          <p:nvPr>
            <p:ph type="body" sz="quarter" idx="32" hasCustomPrompt="1"/>
          </p:nvPr>
        </p:nvSpPr>
        <p:spPr>
          <a:xfrm>
            <a:off x="3541754" y="5830649"/>
            <a:ext cx="2374763"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smtClean="0"/>
              <a:t>Insert text</a:t>
            </a:r>
          </a:p>
        </p:txBody>
      </p:sp>
      <p:sp>
        <p:nvSpPr>
          <p:cNvPr id="37" name="Text Placeholder 18"/>
          <p:cNvSpPr>
            <a:spLocks noGrp="1"/>
          </p:cNvSpPr>
          <p:nvPr>
            <p:ph type="body" sz="quarter" idx="33" hasCustomPrompt="1"/>
          </p:nvPr>
        </p:nvSpPr>
        <p:spPr>
          <a:xfrm>
            <a:off x="6273934" y="3275242"/>
            <a:ext cx="2374763"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smtClean="0"/>
              <a:t>XXYYY</a:t>
            </a:r>
          </a:p>
        </p:txBody>
      </p:sp>
      <p:sp>
        <p:nvSpPr>
          <p:cNvPr id="38" name="Text Placeholder 18"/>
          <p:cNvSpPr>
            <a:spLocks noGrp="1"/>
          </p:cNvSpPr>
          <p:nvPr>
            <p:ph type="body" sz="quarter" idx="34" hasCustomPrompt="1"/>
          </p:nvPr>
        </p:nvSpPr>
        <p:spPr>
          <a:xfrm>
            <a:off x="6273934" y="3887103"/>
            <a:ext cx="2374763"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39" name="Text Placeholder 18"/>
          <p:cNvSpPr>
            <a:spLocks noGrp="1"/>
          </p:cNvSpPr>
          <p:nvPr>
            <p:ph type="body" sz="quarter" idx="35" hasCustomPrompt="1"/>
          </p:nvPr>
        </p:nvSpPr>
        <p:spPr>
          <a:xfrm>
            <a:off x="6273934" y="4426975"/>
            <a:ext cx="2374763"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smtClean="0"/>
              <a:t>XXg</a:t>
            </a:r>
            <a:endParaRPr lang="en-GB" dirty="0" smtClean="0"/>
          </a:p>
        </p:txBody>
      </p:sp>
      <p:sp>
        <p:nvSpPr>
          <p:cNvPr id="40" name="Text Placeholder 18"/>
          <p:cNvSpPr>
            <a:spLocks noGrp="1"/>
          </p:cNvSpPr>
          <p:nvPr>
            <p:ph type="body" sz="quarter" idx="36" hasCustomPrompt="1"/>
          </p:nvPr>
        </p:nvSpPr>
        <p:spPr>
          <a:xfrm>
            <a:off x="6273934" y="5002842"/>
            <a:ext cx="2374763"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smtClean="0"/>
              <a:t>X,Xl</a:t>
            </a:r>
            <a:endParaRPr lang="en-GB" dirty="0" smtClean="0"/>
          </a:p>
        </p:txBody>
      </p:sp>
      <p:sp>
        <p:nvSpPr>
          <p:cNvPr id="41" name="Text Placeholder 18"/>
          <p:cNvSpPr>
            <a:spLocks noGrp="1"/>
          </p:cNvSpPr>
          <p:nvPr>
            <p:ph type="body" sz="quarter" idx="37" hasCustomPrompt="1"/>
          </p:nvPr>
        </p:nvSpPr>
        <p:spPr>
          <a:xfrm>
            <a:off x="6273934" y="5830649"/>
            <a:ext cx="2374763"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smtClean="0"/>
              <a:t>Insert text</a:t>
            </a:r>
          </a:p>
        </p:txBody>
      </p:sp>
      <p:sp>
        <p:nvSpPr>
          <p:cNvPr id="42" name="Text Placeholder 18"/>
          <p:cNvSpPr>
            <a:spLocks noGrp="1"/>
          </p:cNvSpPr>
          <p:nvPr>
            <p:ph type="body" sz="quarter" idx="38" hasCustomPrompt="1"/>
          </p:nvPr>
        </p:nvSpPr>
        <p:spPr>
          <a:xfrm>
            <a:off x="9006109" y="3303537"/>
            <a:ext cx="2374763"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smtClean="0"/>
              <a:t>XXYYY</a:t>
            </a:r>
          </a:p>
        </p:txBody>
      </p:sp>
      <p:sp>
        <p:nvSpPr>
          <p:cNvPr id="43" name="Text Placeholder 18"/>
          <p:cNvSpPr>
            <a:spLocks noGrp="1"/>
          </p:cNvSpPr>
          <p:nvPr>
            <p:ph type="body" sz="quarter" idx="39" hasCustomPrompt="1"/>
          </p:nvPr>
        </p:nvSpPr>
        <p:spPr>
          <a:xfrm>
            <a:off x="9006109" y="3915397"/>
            <a:ext cx="2374763"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smtClean="0"/>
              <a:t>Insert text</a:t>
            </a:r>
          </a:p>
        </p:txBody>
      </p:sp>
      <p:sp>
        <p:nvSpPr>
          <p:cNvPr id="44" name="Text Placeholder 18"/>
          <p:cNvSpPr>
            <a:spLocks noGrp="1"/>
          </p:cNvSpPr>
          <p:nvPr>
            <p:ph type="body" sz="quarter" idx="40" hasCustomPrompt="1"/>
          </p:nvPr>
        </p:nvSpPr>
        <p:spPr>
          <a:xfrm>
            <a:off x="9006109" y="4455271"/>
            <a:ext cx="2374763"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smtClean="0"/>
              <a:t>XXg</a:t>
            </a:r>
            <a:endParaRPr lang="en-GB" dirty="0" smtClean="0"/>
          </a:p>
        </p:txBody>
      </p:sp>
      <p:sp>
        <p:nvSpPr>
          <p:cNvPr id="45" name="Text Placeholder 18"/>
          <p:cNvSpPr>
            <a:spLocks noGrp="1"/>
          </p:cNvSpPr>
          <p:nvPr>
            <p:ph type="body" sz="quarter" idx="41" hasCustomPrompt="1"/>
          </p:nvPr>
        </p:nvSpPr>
        <p:spPr>
          <a:xfrm>
            <a:off x="9006109" y="5031137"/>
            <a:ext cx="2374763"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smtClean="0"/>
              <a:t>X,Xl</a:t>
            </a:r>
            <a:endParaRPr lang="en-GB" dirty="0" smtClean="0"/>
          </a:p>
        </p:txBody>
      </p:sp>
      <p:sp>
        <p:nvSpPr>
          <p:cNvPr id="46" name="Text Placeholder 18"/>
          <p:cNvSpPr>
            <a:spLocks noGrp="1"/>
          </p:cNvSpPr>
          <p:nvPr>
            <p:ph type="body" sz="quarter" idx="42" hasCustomPrompt="1"/>
          </p:nvPr>
        </p:nvSpPr>
        <p:spPr>
          <a:xfrm>
            <a:off x="9006109" y="5858946"/>
            <a:ext cx="2374763"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smtClean="0"/>
              <a:t>Insert text</a:t>
            </a:r>
          </a:p>
        </p:txBody>
      </p:sp>
      <p:sp>
        <p:nvSpPr>
          <p:cNvPr id="47" name="Title 1"/>
          <p:cNvSpPr>
            <a:spLocks noGrp="1"/>
          </p:cNvSpPr>
          <p:nvPr>
            <p:ph type="title" hasCustomPrompt="1"/>
          </p:nvPr>
        </p:nvSpPr>
        <p:spPr>
          <a:xfrm>
            <a:off x="629719" y="285982"/>
            <a:ext cx="10931106" cy="683842"/>
          </a:xfrm>
        </p:spPr>
        <p:txBody>
          <a:bodyPr/>
          <a:lstStyle/>
          <a:p>
            <a:r>
              <a:rPr lang="en-GB" noProof="0" dirty="0" smtClean="0"/>
              <a:t>Headline in CorpoS (Body) 35 pt.</a:t>
            </a:r>
            <a:endParaRPr lang="en-GB" dirty="0"/>
          </a:p>
        </p:txBody>
      </p:sp>
    </p:spTree>
    <p:extLst>
      <p:ext uri="{BB962C8B-B14F-4D97-AF65-F5344CB8AC3E}">
        <p14:creationId xmlns:p14="http://schemas.microsoft.com/office/powerpoint/2010/main" val="644786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smtClean="0"/>
              <a:t>Headline in CorpoS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2820286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Blank/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719" y="285982"/>
            <a:ext cx="10931106" cy="683842"/>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Global Leadership Meeting – June 2015</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2640185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4 products">
    <p:spTree>
      <p:nvGrpSpPr>
        <p:cNvPr id="1" name=""/>
        <p:cNvGrpSpPr/>
        <p:nvPr/>
      </p:nvGrpSpPr>
      <p:grpSpPr>
        <a:xfrm>
          <a:off x="0" y="0"/>
          <a:ext cx="0" cy="0"/>
          <a:chOff x="0" y="0"/>
          <a:chExt cx="0" cy="0"/>
        </a:xfrm>
      </p:grpSpPr>
      <p:cxnSp>
        <p:nvCxnSpPr>
          <p:cNvPr id="5" name="Gerade Verbindung 66"/>
          <p:cNvCxnSpPr/>
          <p:nvPr userDrawn="1"/>
        </p:nvCxnSpPr>
        <p:spPr>
          <a:xfrm>
            <a:off x="3362836" y="1233205"/>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1" y="1233203"/>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3"/>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3"/>
            <a:ext cx="2374763" cy="1187725"/>
          </a:xfrm>
          <a:prstGeom prst="rect">
            <a:avLst/>
          </a:prstGeom>
          <a:noFill/>
        </p:spPr>
        <p:txBody>
          <a:bodyPr/>
          <a:lstStyle>
            <a:lvl1pPr marL="0" indent="0" algn="ctr">
              <a:lnSpc>
                <a:spcPct val="100000"/>
              </a:lnSpc>
              <a:buNone/>
              <a:defRPr sz="1699"/>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0" name="Picture Placeholder 3"/>
          <p:cNvSpPr>
            <a:spLocks noGrp="1"/>
          </p:cNvSpPr>
          <p:nvPr>
            <p:ph type="pic" sz="quarter" idx="16" hasCustomPrompt="1"/>
          </p:nvPr>
        </p:nvSpPr>
        <p:spPr>
          <a:xfrm>
            <a:off x="3541755" y="1979543"/>
            <a:ext cx="2374763" cy="1187725"/>
          </a:xfrm>
          <a:prstGeom prst="rect">
            <a:avLst/>
          </a:prstGeom>
          <a:noFill/>
        </p:spPr>
        <p:txBody>
          <a:bodyPr/>
          <a:lstStyle>
            <a:lvl1pPr marL="0" indent="0" algn="ctr">
              <a:lnSpc>
                <a:spcPct val="100000"/>
              </a:lnSpc>
              <a:buNone/>
              <a:defRPr sz="1699"/>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1" name="Picture Placeholder 3"/>
          <p:cNvSpPr>
            <a:spLocks noGrp="1"/>
          </p:cNvSpPr>
          <p:nvPr>
            <p:ph type="pic" sz="quarter" idx="17" hasCustomPrompt="1"/>
          </p:nvPr>
        </p:nvSpPr>
        <p:spPr>
          <a:xfrm>
            <a:off x="6273931" y="1979543"/>
            <a:ext cx="2374763" cy="1187725"/>
          </a:xfrm>
          <a:prstGeom prst="rect">
            <a:avLst/>
          </a:prstGeom>
          <a:noFill/>
        </p:spPr>
        <p:txBody>
          <a:bodyPr/>
          <a:lstStyle>
            <a:lvl1pPr marL="0" indent="0" algn="ctr">
              <a:lnSpc>
                <a:spcPct val="100000"/>
              </a:lnSpc>
              <a:buNone/>
              <a:defRPr sz="1699"/>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2" name="Picture Placeholder 3"/>
          <p:cNvSpPr>
            <a:spLocks noGrp="1"/>
          </p:cNvSpPr>
          <p:nvPr>
            <p:ph type="pic" sz="quarter" idx="18" hasCustomPrompt="1"/>
          </p:nvPr>
        </p:nvSpPr>
        <p:spPr>
          <a:xfrm>
            <a:off x="9006110" y="1983951"/>
            <a:ext cx="2374763" cy="1187725"/>
          </a:xfrm>
          <a:prstGeom prst="rect">
            <a:avLst/>
          </a:prstGeom>
          <a:noFill/>
        </p:spPr>
        <p:txBody>
          <a:bodyPr/>
          <a:lstStyle>
            <a:lvl1pPr marL="0" indent="0" algn="ctr">
              <a:lnSpc>
                <a:spcPct val="100000"/>
              </a:lnSpc>
              <a:buNone/>
              <a:defRPr sz="1699"/>
            </a:lvl1pPr>
          </a:lstStyle>
          <a:p>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Bild einfügen</a:t>
            </a:r>
            <a:endParaRPr lang="de-DE" noProof="0" dirty="0"/>
          </a:p>
        </p:txBody>
      </p:sp>
      <p:sp>
        <p:nvSpPr>
          <p:cNvPr id="14" name="Text Placeholder 13"/>
          <p:cNvSpPr>
            <a:spLocks noGrp="1"/>
          </p:cNvSpPr>
          <p:nvPr>
            <p:ph type="body" sz="quarter" idx="19" hasCustomPrompt="1"/>
          </p:nvPr>
        </p:nvSpPr>
        <p:spPr>
          <a:xfrm>
            <a:off x="809625" y="1504605"/>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15" name="Text Placeholder 13"/>
          <p:cNvSpPr>
            <a:spLocks noGrp="1"/>
          </p:cNvSpPr>
          <p:nvPr>
            <p:ph type="body" sz="quarter" idx="20" hasCustomPrompt="1"/>
          </p:nvPr>
        </p:nvSpPr>
        <p:spPr>
          <a:xfrm>
            <a:off x="3541801" y="1504605"/>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16" name="Text Placeholder 13"/>
          <p:cNvSpPr>
            <a:spLocks noGrp="1"/>
          </p:cNvSpPr>
          <p:nvPr>
            <p:ph type="body" sz="quarter" idx="21" hasCustomPrompt="1"/>
          </p:nvPr>
        </p:nvSpPr>
        <p:spPr>
          <a:xfrm>
            <a:off x="6273980" y="1504605"/>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17" name="Text Placeholder 13"/>
          <p:cNvSpPr>
            <a:spLocks noGrp="1"/>
          </p:cNvSpPr>
          <p:nvPr>
            <p:ph type="body" sz="quarter" idx="22" hasCustomPrompt="1"/>
          </p:nvPr>
        </p:nvSpPr>
        <p:spPr>
          <a:xfrm>
            <a:off x="9006156" y="1504605"/>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19" name="Text Placeholder 18"/>
          <p:cNvSpPr>
            <a:spLocks noGrp="1"/>
          </p:cNvSpPr>
          <p:nvPr>
            <p:ph type="body" sz="quarter" idx="23" hasCustomPrompt="1"/>
          </p:nvPr>
        </p:nvSpPr>
        <p:spPr>
          <a:xfrm>
            <a:off x="809579" y="3275242"/>
            <a:ext cx="2374763"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smtClean="0"/>
              <a:t>XXYYY</a:t>
            </a:r>
          </a:p>
        </p:txBody>
      </p:sp>
      <p:sp>
        <p:nvSpPr>
          <p:cNvPr id="24" name="Text Placeholder 18"/>
          <p:cNvSpPr>
            <a:spLocks noGrp="1"/>
          </p:cNvSpPr>
          <p:nvPr>
            <p:ph type="body" sz="quarter" idx="24" hasCustomPrompt="1"/>
          </p:nvPr>
        </p:nvSpPr>
        <p:spPr>
          <a:xfrm>
            <a:off x="809579" y="3887103"/>
            <a:ext cx="2374763"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25" name="Text Placeholder 18"/>
          <p:cNvSpPr>
            <a:spLocks noGrp="1"/>
          </p:cNvSpPr>
          <p:nvPr>
            <p:ph type="body" sz="quarter" idx="25" hasCustomPrompt="1"/>
          </p:nvPr>
        </p:nvSpPr>
        <p:spPr>
          <a:xfrm>
            <a:off x="809579" y="4426975"/>
            <a:ext cx="2374763"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smtClean="0"/>
              <a:t>XXg</a:t>
            </a:r>
            <a:endParaRPr lang="de-DE" dirty="0" smtClean="0"/>
          </a:p>
        </p:txBody>
      </p:sp>
      <p:sp>
        <p:nvSpPr>
          <p:cNvPr id="26" name="Text Placeholder 18"/>
          <p:cNvSpPr>
            <a:spLocks noGrp="1"/>
          </p:cNvSpPr>
          <p:nvPr>
            <p:ph type="body" sz="quarter" idx="26" hasCustomPrompt="1"/>
          </p:nvPr>
        </p:nvSpPr>
        <p:spPr>
          <a:xfrm>
            <a:off x="809579" y="5002842"/>
            <a:ext cx="2374763"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smtClean="0"/>
              <a:t>X,Xl</a:t>
            </a:r>
            <a:endParaRPr lang="de-DE" dirty="0" smtClean="0"/>
          </a:p>
        </p:txBody>
      </p:sp>
      <p:sp>
        <p:nvSpPr>
          <p:cNvPr id="27" name="Text Placeholder 18"/>
          <p:cNvSpPr>
            <a:spLocks noGrp="1"/>
          </p:cNvSpPr>
          <p:nvPr>
            <p:ph type="body" sz="quarter" idx="27" hasCustomPrompt="1"/>
          </p:nvPr>
        </p:nvSpPr>
        <p:spPr>
          <a:xfrm>
            <a:off x="809579" y="5830649"/>
            <a:ext cx="2374763"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smtClean="0"/>
              <a:t>Text einfügen</a:t>
            </a:r>
          </a:p>
        </p:txBody>
      </p:sp>
      <p:sp>
        <p:nvSpPr>
          <p:cNvPr id="32" name="Text Placeholder 18"/>
          <p:cNvSpPr>
            <a:spLocks noGrp="1"/>
          </p:cNvSpPr>
          <p:nvPr>
            <p:ph type="body" sz="quarter" idx="28" hasCustomPrompt="1"/>
          </p:nvPr>
        </p:nvSpPr>
        <p:spPr>
          <a:xfrm>
            <a:off x="3541754" y="3275242"/>
            <a:ext cx="2374763"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smtClean="0"/>
              <a:t>XXYYY</a:t>
            </a:r>
          </a:p>
        </p:txBody>
      </p:sp>
      <p:sp>
        <p:nvSpPr>
          <p:cNvPr id="33" name="Text Placeholder 18"/>
          <p:cNvSpPr>
            <a:spLocks noGrp="1"/>
          </p:cNvSpPr>
          <p:nvPr>
            <p:ph type="body" sz="quarter" idx="29" hasCustomPrompt="1"/>
          </p:nvPr>
        </p:nvSpPr>
        <p:spPr>
          <a:xfrm>
            <a:off x="3541754" y="3887103"/>
            <a:ext cx="2374763"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34" name="Text Placeholder 18"/>
          <p:cNvSpPr>
            <a:spLocks noGrp="1"/>
          </p:cNvSpPr>
          <p:nvPr>
            <p:ph type="body" sz="quarter" idx="30" hasCustomPrompt="1"/>
          </p:nvPr>
        </p:nvSpPr>
        <p:spPr>
          <a:xfrm>
            <a:off x="3541754" y="4426975"/>
            <a:ext cx="2374763"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smtClean="0"/>
              <a:t>XXg</a:t>
            </a:r>
            <a:endParaRPr lang="de-DE" dirty="0" smtClean="0"/>
          </a:p>
        </p:txBody>
      </p:sp>
      <p:sp>
        <p:nvSpPr>
          <p:cNvPr id="35" name="Text Placeholder 18"/>
          <p:cNvSpPr>
            <a:spLocks noGrp="1"/>
          </p:cNvSpPr>
          <p:nvPr>
            <p:ph type="body" sz="quarter" idx="31" hasCustomPrompt="1"/>
          </p:nvPr>
        </p:nvSpPr>
        <p:spPr>
          <a:xfrm>
            <a:off x="3541754" y="5002842"/>
            <a:ext cx="2374763"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smtClean="0"/>
              <a:t>X,Xl</a:t>
            </a:r>
            <a:endParaRPr lang="de-DE" dirty="0" smtClean="0"/>
          </a:p>
        </p:txBody>
      </p:sp>
      <p:sp>
        <p:nvSpPr>
          <p:cNvPr id="36" name="Text Placeholder 18"/>
          <p:cNvSpPr>
            <a:spLocks noGrp="1"/>
          </p:cNvSpPr>
          <p:nvPr>
            <p:ph type="body" sz="quarter" idx="32" hasCustomPrompt="1"/>
          </p:nvPr>
        </p:nvSpPr>
        <p:spPr>
          <a:xfrm>
            <a:off x="3541754" y="5830649"/>
            <a:ext cx="2374763"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smtClean="0"/>
              <a:t>Text einfügen</a:t>
            </a:r>
          </a:p>
        </p:txBody>
      </p:sp>
      <p:sp>
        <p:nvSpPr>
          <p:cNvPr id="37" name="Text Placeholder 18"/>
          <p:cNvSpPr>
            <a:spLocks noGrp="1"/>
          </p:cNvSpPr>
          <p:nvPr>
            <p:ph type="body" sz="quarter" idx="33" hasCustomPrompt="1"/>
          </p:nvPr>
        </p:nvSpPr>
        <p:spPr>
          <a:xfrm>
            <a:off x="6273934" y="3275242"/>
            <a:ext cx="2374763"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smtClean="0"/>
              <a:t>XXYYY</a:t>
            </a:r>
          </a:p>
        </p:txBody>
      </p:sp>
      <p:sp>
        <p:nvSpPr>
          <p:cNvPr id="38" name="Text Placeholder 18"/>
          <p:cNvSpPr>
            <a:spLocks noGrp="1"/>
          </p:cNvSpPr>
          <p:nvPr>
            <p:ph type="body" sz="quarter" idx="34" hasCustomPrompt="1"/>
          </p:nvPr>
        </p:nvSpPr>
        <p:spPr>
          <a:xfrm>
            <a:off x="6273934" y="3887103"/>
            <a:ext cx="2374763"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39" name="Text Placeholder 18"/>
          <p:cNvSpPr>
            <a:spLocks noGrp="1"/>
          </p:cNvSpPr>
          <p:nvPr>
            <p:ph type="body" sz="quarter" idx="35" hasCustomPrompt="1"/>
          </p:nvPr>
        </p:nvSpPr>
        <p:spPr>
          <a:xfrm>
            <a:off x="6273934" y="4426975"/>
            <a:ext cx="2374763"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smtClean="0"/>
              <a:t>XXg</a:t>
            </a:r>
            <a:endParaRPr lang="de-DE" dirty="0" smtClean="0"/>
          </a:p>
        </p:txBody>
      </p:sp>
      <p:sp>
        <p:nvSpPr>
          <p:cNvPr id="40" name="Text Placeholder 18"/>
          <p:cNvSpPr>
            <a:spLocks noGrp="1"/>
          </p:cNvSpPr>
          <p:nvPr>
            <p:ph type="body" sz="quarter" idx="36" hasCustomPrompt="1"/>
          </p:nvPr>
        </p:nvSpPr>
        <p:spPr>
          <a:xfrm>
            <a:off x="6273934" y="5002842"/>
            <a:ext cx="2374763"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smtClean="0"/>
              <a:t>X,Xl</a:t>
            </a:r>
            <a:endParaRPr lang="de-DE" dirty="0" smtClean="0"/>
          </a:p>
        </p:txBody>
      </p:sp>
      <p:sp>
        <p:nvSpPr>
          <p:cNvPr id="41" name="Text Placeholder 18"/>
          <p:cNvSpPr>
            <a:spLocks noGrp="1"/>
          </p:cNvSpPr>
          <p:nvPr>
            <p:ph type="body" sz="quarter" idx="37" hasCustomPrompt="1"/>
          </p:nvPr>
        </p:nvSpPr>
        <p:spPr>
          <a:xfrm>
            <a:off x="6273934" y="5830649"/>
            <a:ext cx="2374763"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smtClean="0"/>
              <a:t>Text einfügen</a:t>
            </a:r>
          </a:p>
        </p:txBody>
      </p:sp>
      <p:sp>
        <p:nvSpPr>
          <p:cNvPr id="42" name="Text Placeholder 18"/>
          <p:cNvSpPr>
            <a:spLocks noGrp="1"/>
          </p:cNvSpPr>
          <p:nvPr>
            <p:ph type="body" sz="quarter" idx="38" hasCustomPrompt="1"/>
          </p:nvPr>
        </p:nvSpPr>
        <p:spPr>
          <a:xfrm>
            <a:off x="9006109" y="3303537"/>
            <a:ext cx="2374763"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smtClean="0"/>
              <a:t>XXYYY</a:t>
            </a:r>
          </a:p>
        </p:txBody>
      </p:sp>
      <p:sp>
        <p:nvSpPr>
          <p:cNvPr id="43" name="Text Placeholder 18"/>
          <p:cNvSpPr>
            <a:spLocks noGrp="1"/>
          </p:cNvSpPr>
          <p:nvPr>
            <p:ph type="body" sz="quarter" idx="39" hasCustomPrompt="1"/>
          </p:nvPr>
        </p:nvSpPr>
        <p:spPr>
          <a:xfrm>
            <a:off x="9006109" y="3915397"/>
            <a:ext cx="2374763"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smtClean="0"/>
              <a:t>Text einfügen</a:t>
            </a:r>
          </a:p>
        </p:txBody>
      </p:sp>
      <p:sp>
        <p:nvSpPr>
          <p:cNvPr id="44" name="Text Placeholder 18"/>
          <p:cNvSpPr>
            <a:spLocks noGrp="1"/>
          </p:cNvSpPr>
          <p:nvPr>
            <p:ph type="body" sz="quarter" idx="40" hasCustomPrompt="1"/>
          </p:nvPr>
        </p:nvSpPr>
        <p:spPr>
          <a:xfrm>
            <a:off x="9006109" y="4455271"/>
            <a:ext cx="2374763"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smtClean="0"/>
              <a:t>XXg</a:t>
            </a:r>
            <a:endParaRPr lang="de-DE" dirty="0" smtClean="0"/>
          </a:p>
        </p:txBody>
      </p:sp>
      <p:sp>
        <p:nvSpPr>
          <p:cNvPr id="45" name="Text Placeholder 18"/>
          <p:cNvSpPr>
            <a:spLocks noGrp="1"/>
          </p:cNvSpPr>
          <p:nvPr>
            <p:ph type="body" sz="quarter" idx="41" hasCustomPrompt="1"/>
          </p:nvPr>
        </p:nvSpPr>
        <p:spPr>
          <a:xfrm>
            <a:off x="9006109" y="5031137"/>
            <a:ext cx="2374763"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smtClean="0"/>
              <a:t>X,Xl</a:t>
            </a:r>
            <a:endParaRPr lang="de-DE" dirty="0" smtClean="0"/>
          </a:p>
        </p:txBody>
      </p:sp>
      <p:sp>
        <p:nvSpPr>
          <p:cNvPr id="46" name="Text Placeholder 18"/>
          <p:cNvSpPr>
            <a:spLocks noGrp="1"/>
          </p:cNvSpPr>
          <p:nvPr>
            <p:ph type="body" sz="quarter" idx="42" hasCustomPrompt="1"/>
          </p:nvPr>
        </p:nvSpPr>
        <p:spPr>
          <a:xfrm>
            <a:off x="9006109" y="5858946"/>
            <a:ext cx="2374763"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smtClean="0"/>
              <a:t>Text einfügen</a:t>
            </a:r>
          </a:p>
        </p:txBody>
      </p:sp>
      <p:sp>
        <p:nvSpPr>
          <p:cNvPr id="47" name="Title 1"/>
          <p:cNvSpPr>
            <a:spLocks noGrp="1"/>
          </p:cNvSpPr>
          <p:nvPr>
            <p:ph type="title" hasCustomPrompt="1"/>
          </p:nvPr>
        </p:nvSpPr>
        <p:spPr>
          <a:xfrm>
            <a:off x="629719" y="285982"/>
            <a:ext cx="10931106" cy="683842"/>
          </a:xfrm>
        </p:spPr>
        <p:txBody>
          <a:bodyPr/>
          <a:lstStyle/>
          <a:p>
            <a:r>
              <a:rPr lang="de-DE" noProof="0" dirty="0" smtClean="0"/>
              <a:t>Headline in </a:t>
            </a:r>
            <a:r>
              <a:rPr lang="de-DE" noProof="0" dirty="0" err="1" smtClean="0"/>
              <a:t>CorpoS</a:t>
            </a:r>
            <a:r>
              <a:rPr lang="de-DE" noProof="0" dirty="0" smtClean="0"/>
              <a:t> (Textkörper) 35 pt.</a:t>
            </a:r>
            <a:endParaRPr lang="de-DE" dirty="0"/>
          </a:p>
        </p:txBody>
      </p:sp>
      <p:sp>
        <p:nvSpPr>
          <p:cNvPr id="48" name="Footer Placeholder 10"/>
          <p:cNvSpPr>
            <a:spLocks noGrp="1"/>
          </p:cNvSpPr>
          <p:nvPr>
            <p:ph type="ftr" sz="quarter" idx="11"/>
          </p:nvPr>
        </p:nvSpPr>
        <p:spPr>
          <a:xfrm>
            <a:off x="2878500" y="6564880"/>
            <a:ext cx="8120970" cy="215949"/>
          </a:xfrm>
        </p:spPr>
        <p:txBody>
          <a:bodyPr/>
          <a:lstStyle/>
          <a:p>
            <a:r>
              <a:rPr lang="en-US" smtClean="0">
                <a:solidFill>
                  <a:prstClr val="black"/>
                </a:solidFill>
              </a:rPr>
              <a:t>Global Leadership Meeting – June 2015</a:t>
            </a:r>
            <a:endParaRPr lang="en-GB" dirty="0" smtClean="0">
              <a:solidFill>
                <a:prstClr val="black"/>
              </a:solidFill>
            </a:endParaRPr>
          </a:p>
        </p:txBody>
      </p:sp>
      <p:sp>
        <p:nvSpPr>
          <p:cNvPr id="49" name="Slide Number Placeholder 11"/>
          <p:cNvSpPr>
            <a:spLocks noGrp="1"/>
          </p:cNvSpPr>
          <p:nvPr>
            <p:ph type="sldNum" sz="quarter" idx="12"/>
          </p:nvPr>
        </p:nvSpPr>
        <p:spPr>
          <a:xfrm>
            <a:off x="11036806" y="6564880"/>
            <a:ext cx="1155196" cy="215949"/>
          </a:xfrm>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227046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2 Images-chart 3/3 brushed">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3"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err="1"/>
              <a:t>CorpoS</a:t>
            </a:r>
            <a:r>
              <a:rPr lang="en-GB" noProof="0" dirty="0"/>
              <a:t> (Body) 24 pt. (Mark-ups in Bold) </a:t>
            </a:r>
            <a:r>
              <a:rPr lang="en-GB" dirty="0"/>
              <a:t>// for Body text: Home // Paragraph// Increase List Level</a:t>
            </a:r>
          </a:p>
          <a:p>
            <a:pPr lvl="1"/>
            <a:r>
              <a:rPr lang="en-GB" dirty="0"/>
              <a:t>Second level (Body text)</a:t>
            </a:r>
          </a:p>
          <a:p>
            <a:pPr lvl="2"/>
            <a:r>
              <a:rPr lang="en-GB" dirty="0"/>
              <a:t>Third level</a:t>
            </a:r>
          </a:p>
          <a:p>
            <a:pPr lvl="3"/>
            <a:r>
              <a:rPr lang="en-GB" dirty="0"/>
              <a:t>Fourth level</a:t>
            </a:r>
          </a:p>
          <a:p>
            <a:pPr lvl="4"/>
            <a:r>
              <a:rPr lang="en-GB" dirty="0"/>
              <a:t>Fifth level</a:t>
            </a:r>
          </a:p>
          <a:p>
            <a:pPr lvl="5"/>
            <a:r>
              <a:rPr lang="en-GB" dirty="0"/>
              <a:t>Sixth level</a:t>
            </a:r>
          </a:p>
        </p:txBody>
      </p:sp>
    </p:spTree>
    <p:extLst>
      <p:ext uri="{BB962C8B-B14F-4D97-AF65-F5344CB8AC3E}">
        <p14:creationId xmlns:p14="http://schemas.microsoft.com/office/powerpoint/2010/main" val="404212527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userDrawn="1">
  <p:cSld name="Two contents with head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smtClean="0"/>
              <a:t>Headline in </a:t>
            </a:r>
            <a:r>
              <a:rPr lang="de-DE" noProof="0" dirty="0" err="1" smtClean="0"/>
              <a:t>CorpoS</a:t>
            </a:r>
            <a:r>
              <a:rPr lang="de-DE" noProof="0" dirty="0" smtClean="0"/>
              <a:t> (Textkörper) 35 pt.</a:t>
            </a:r>
            <a:br>
              <a:rPr lang="de-DE" noProof="0" dirty="0" smtClean="0"/>
            </a:br>
            <a:r>
              <a:rPr lang="de-DE" noProof="0" dirty="0" smtClean="0"/>
              <a:t>über zwei Zeilen</a:t>
            </a:r>
            <a:endParaRPr lang="de-DE" dirty="0"/>
          </a:p>
        </p:txBody>
      </p:sp>
      <p:sp>
        <p:nvSpPr>
          <p:cNvPr id="6" name="Content Placeholder 5"/>
          <p:cNvSpPr>
            <a:spLocks noGrp="1"/>
          </p:cNvSpPr>
          <p:nvPr>
            <p:ph sz="quarter" idx="12" hasCustomPrompt="1"/>
          </p:nvPr>
        </p:nvSpPr>
        <p:spPr>
          <a:xfrm>
            <a:off x="629956" y="2493113"/>
            <a:ext cx="4965177" cy="3455460"/>
          </a:xfrm>
        </p:spPr>
        <p:txBody>
          <a:bodyPr/>
          <a:lstStyle>
            <a:lvl1pPr>
              <a:defRPr baseline="0"/>
            </a:lvl1pPr>
          </a:lstStyle>
          <a:p>
            <a:pPr lvl="0"/>
            <a:r>
              <a:rPr lang="de-DE" dirty="0" smtClean="0"/>
              <a:t>Text oder Inhalt einfügen in </a:t>
            </a:r>
            <a:r>
              <a:rPr lang="de-DE" noProof="0" dirty="0" smtClean="0"/>
              <a:t>CorpoS (Body) 24 pt. (mark-</a:t>
            </a:r>
            <a:r>
              <a:rPr lang="de-DE" noProof="0" dirty="0" err="1" smtClean="0"/>
              <a:t>ups</a:t>
            </a:r>
            <a:r>
              <a:rPr lang="de-DE" noProof="0" dirty="0" smtClean="0"/>
              <a:t> in Fett) </a:t>
            </a:r>
            <a:r>
              <a:rPr lang="de-DE" dirty="0" smtClean="0"/>
              <a:t>// für Zusammenfassung oder kurzes Highlight: Start // Absatz // Listenebene erhöhen</a:t>
            </a:r>
          </a:p>
          <a:p>
            <a:pPr lvl="1"/>
            <a:r>
              <a:rPr lang="de-DE" dirty="0" smtClean="0"/>
              <a:t>Zweite Ebene (Zusammenfassung oder kurzes Highlight)</a:t>
            </a:r>
          </a:p>
          <a:p>
            <a:pPr lvl="2"/>
            <a:r>
              <a:rPr lang="de-DE" dirty="0" smtClean="0"/>
              <a:t>Dritte Ebene</a:t>
            </a:r>
          </a:p>
        </p:txBody>
      </p:sp>
      <p:sp>
        <p:nvSpPr>
          <p:cNvPr id="7" name="Text Placeholder 6"/>
          <p:cNvSpPr>
            <a:spLocks noGrp="1"/>
          </p:cNvSpPr>
          <p:nvPr>
            <p:ph type="body" sz="quarter" idx="13" hasCustomPrompt="1"/>
          </p:nvPr>
        </p:nvSpPr>
        <p:spPr>
          <a:xfrm>
            <a:off x="629915" y="1504605"/>
            <a:ext cx="4965173"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smtClean="0"/>
              <a:t>Headline einfügen</a:t>
            </a:r>
          </a:p>
        </p:txBody>
      </p:sp>
      <p:cxnSp>
        <p:nvCxnSpPr>
          <p:cNvPr id="8" name="Gerade Verbindung 42"/>
          <p:cNvCxnSpPr/>
          <p:nvPr userDrawn="1"/>
        </p:nvCxnSpPr>
        <p:spPr bwMode="auto">
          <a:xfrm>
            <a:off x="629675" y="2231482"/>
            <a:ext cx="4965413"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91" y="2231482"/>
            <a:ext cx="4965413"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73" y="1504605"/>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smtClean="0"/>
              <a:t>Headline einfügen</a:t>
            </a:r>
          </a:p>
        </p:txBody>
      </p:sp>
      <p:sp>
        <p:nvSpPr>
          <p:cNvPr id="11" name="Content Placeholder 5"/>
          <p:cNvSpPr>
            <a:spLocks noGrp="1"/>
          </p:cNvSpPr>
          <p:nvPr>
            <p:ph sz="quarter" idx="15" hasCustomPrompt="1"/>
          </p:nvPr>
        </p:nvSpPr>
        <p:spPr>
          <a:xfrm>
            <a:off x="6595373" y="2493114"/>
            <a:ext cx="4965177" cy="3455200"/>
          </a:xfrm>
        </p:spPr>
        <p:txBody>
          <a:bodyPr/>
          <a:lstStyle>
            <a:lvl1pPr>
              <a:defRPr baseline="0"/>
            </a:lvl1pPr>
          </a:lstStyle>
          <a:p>
            <a:pPr lvl="0"/>
            <a:r>
              <a:rPr lang="de-DE" dirty="0" smtClean="0"/>
              <a:t>Text oder Inhalt einfügen in </a:t>
            </a:r>
            <a:r>
              <a:rPr lang="de-DE" noProof="0" dirty="0" smtClean="0"/>
              <a:t>CorpoS (Body) 24 pt. (mark-</a:t>
            </a:r>
            <a:r>
              <a:rPr lang="de-DE" noProof="0" dirty="0" err="1" smtClean="0"/>
              <a:t>ups</a:t>
            </a:r>
            <a:r>
              <a:rPr lang="de-DE" noProof="0" dirty="0" smtClean="0"/>
              <a:t> in Fett) </a:t>
            </a:r>
            <a:r>
              <a:rPr lang="de-DE" dirty="0" smtClean="0"/>
              <a:t>// für Zusammenfassung oder kurzes Highlight: Start // Absatz // Listenebene erhöhen</a:t>
            </a:r>
          </a:p>
          <a:p>
            <a:pPr lvl="1"/>
            <a:r>
              <a:rPr lang="de-DE" dirty="0" smtClean="0"/>
              <a:t>Zweite Ebene (Zusammenfassung oder kurzes Highlight)</a:t>
            </a:r>
          </a:p>
          <a:p>
            <a:pPr lvl="2"/>
            <a:r>
              <a:rPr lang="de-DE" dirty="0" smtClean="0"/>
              <a:t>Dritte Ebene</a:t>
            </a:r>
          </a:p>
        </p:txBody>
      </p:sp>
      <p:sp>
        <p:nvSpPr>
          <p:cNvPr id="13" name="Footer Placeholder 10"/>
          <p:cNvSpPr>
            <a:spLocks noGrp="1"/>
          </p:cNvSpPr>
          <p:nvPr>
            <p:ph type="ftr" sz="quarter" idx="11"/>
          </p:nvPr>
        </p:nvSpPr>
        <p:spPr>
          <a:xfrm>
            <a:off x="2878500" y="6564880"/>
            <a:ext cx="8120970" cy="215949"/>
          </a:xfrm>
        </p:spPr>
        <p:txBody>
          <a:bodyPr/>
          <a:lstStyle/>
          <a:p>
            <a:r>
              <a:rPr lang="en-US" smtClean="0">
                <a:solidFill>
                  <a:prstClr val="black"/>
                </a:solidFill>
              </a:rPr>
              <a:t>Global Leadership Meeting – June 2015</a:t>
            </a:r>
            <a:endParaRPr lang="en-GB" dirty="0" smtClean="0">
              <a:solidFill>
                <a:prstClr val="black"/>
              </a:solidFill>
            </a:endParaRPr>
          </a:p>
        </p:txBody>
      </p:sp>
      <p:sp>
        <p:nvSpPr>
          <p:cNvPr id="14" name="Slide Number Placeholder 11"/>
          <p:cNvSpPr>
            <a:spLocks noGrp="1"/>
          </p:cNvSpPr>
          <p:nvPr>
            <p:ph type="sldNum" sz="quarter" idx="16"/>
          </p:nvPr>
        </p:nvSpPr>
        <p:spPr>
          <a:xfrm>
            <a:off x="11036806" y="6564880"/>
            <a:ext cx="1155196" cy="215949"/>
          </a:xfrm>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4287304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userDrawn="1">
  <p:cSld name="Agendafolie ohne Bürstu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de-DE" noProof="0" dirty="0" smtClean="0"/>
              <a:t>Headline für Agenda in CorpoS (Textkörper) 35 pt. </a:t>
            </a:r>
            <a:br>
              <a:rPr lang="de-DE" noProof="0" dirty="0" smtClean="0"/>
            </a:br>
            <a:r>
              <a:rPr lang="de-DE" noProof="0" dirty="0" smtClean="0"/>
              <a:t>in ein oder zwei Zeilen</a:t>
            </a:r>
            <a:endParaRPr lang="de-DE" dirty="0"/>
          </a:p>
        </p:txBody>
      </p:sp>
      <p:sp>
        <p:nvSpPr>
          <p:cNvPr id="6" name="Text Placeholder 5"/>
          <p:cNvSpPr>
            <a:spLocks noGrp="1"/>
          </p:cNvSpPr>
          <p:nvPr>
            <p:ph type="body" sz="quarter" idx="12" hasCustomPrompt="1"/>
          </p:nvPr>
        </p:nvSpPr>
        <p:spPr>
          <a:xfrm>
            <a:off x="628326" y="1504602"/>
            <a:ext cx="10932180" cy="4875671"/>
          </a:xfrm>
        </p:spPr>
        <p:txBody>
          <a:bodyPr/>
          <a:lstStyle>
            <a:lvl1pPr marL="357383" indent="-357383">
              <a:buSzPct val="100000"/>
              <a:buFont typeface="+mj-lt"/>
              <a:buAutoNum type="arabicPeriod"/>
              <a:defRPr baseline="0">
                <a:solidFill>
                  <a:schemeClr val="tx1"/>
                </a:solidFill>
              </a:defRPr>
            </a:lvl1pPr>
            <a:lvl2pPr marL="357383" indent="-357383">
              <a:buFont typeface="+mj-lt"/>
              <a:buAutoNum type="arabicPeriod"/>
              <a:defRPr>
                <a:solidFill>
                  <a:schemeClr val="tx1"/>
                </a:solidFill>
              </a:defRPr>
            </a:lvl2pPr>
            <a:lvl3pPr marL="357383" indent="-357383">
              <a:buFont typeface="+mj-lt"/>
              <a:buAutoNum type="arabicPeriod"/>
              <a:defRPr>
                <a:solidFill>
                  <a:schemeClr val="tx1"/>
                </a:solidFill>
              </a:defRPr>
            </a:lvl3pPr>
            <a:lvl4pPr marL="357383" indent="-357383">
              <a:buFont typeface="+mj-lt"/>
              <a:buAutoNum type="arabicPeriod"/>
              <a:defRPr>
                <a:solidFill>
                  <a:schemeClr val="tx1"/>
                </a:solidFill>
              </a:defRPr>
            </a:lvl4pPr>
            <a:lvl5pPr marL="357383" indent="-357383">
              <a:buFont typeface="+mj-lt"/>
              <a:buAutoNum type="arabicPeriod"/>
              <a:defRPr>
                <a:solidFill>
                  <a:schemeClr val="tx1"/>
                </a:solidFill>
              </a:defRPr>
            </a:lvl5pPr>
            <a:lvl6pPr marL="357383" indent="-357383">
              <a:buFont typeface="+mj-lt"/>
              <a:buAutoNum type="arabicPeriod"/>
              <a:defRPr>
                <a:solidFill>
                  <a:schemeClr val="tx1"/>
                </a:solidFill>
              </a:defRPr>
            </a:lvl6pPr>
            <a:lvl7pPr marL="357383" indent="-357383">
              <a:buFont typeface="+mj-lt"/>
              <a:buAutoNum type="arabicPeriod"/>
              <a:defRPr>
                <a:solidFill>
                  <a:schemeClr val="tx1"/>
                </a:solidFill>
              </a:defRPr>
            </a:lvl7pPr>
            <a:lvl8pPr marL="357383" indent="-357383">
              <a:buFont typeface="+mj-lt"/>
              <a:buAutoNum type="arabicPeriod"/>
              <a:defRPr>
                <a:solidFill>
                  <a:schemeClr val="tx1"/>
                </a:solidFill>
              </a:defRPr>
            </a:lvl8pPr>
            <a:lvl9pPr marL="357383" indent="-357383">
              <a:buFont typeface="+mj-lt"/>
              <a:buAutoNum type="arabicPeriod"/>
              <a:defRPr>
                <a:solidFill>
                  <a:schemeClr val="tx1"/>
                </a:solidFill>
              </a:defRPr>
            </a:lvl9pPr>
          </a:lstStyle>
          <a:p>
            <a:pPr lvl="0"/>
            <a:r>
              <a:rPr lang="de-DE" dirty="0" smtClean="0"/>
              <a:t>Agenda Punkt einfügen</a:t>
            </a:r>
          </a:p>
          <a:p>
            <a:pPr lvl="1"/>
            <a:r>
              <a:rPr lang="de-DE" dirty="0" smtClean="0"/>
              <a:t>Zweite Ebene</a:t>
            </a:r>
          </a:p>
          <a:p>
            <a:pPr lvl="2"/>
            <a:r>
              <a:rPr lang="de-DE" dirty="0" smtClean="0"/>
              <a:t>Dritte Ebene </a:t>
            </a:r>
          </a:p>
          <a:p>
            <a:pPr lvl="3"/>
            <a:r>
              <a:rPr lang="de-DE" dirty="0" smtClean="0"/>
              <a:t>Vierte Ebene </a:t>
            </a:r>
          </a:p>
          <a:p>
            <a:pPr lvl="4"/>
            <a:r>
              <a:rPr lang="de-DE" dirty="0" smtClean="0"/>
              <a:t>Fünfte Ebene </a:t>
            </a:r>
          </a:p>
          <a:p>
            <a:pPr lvl="5"/>
            <a:r>
              <a:rPr lang="de-DE" dirty="0" smtClean="0"/>
              <a:t>Sechste Ebene </a:t>
            </a:r>
          </a:p>
          <a:p>
            <a:pPr lvl="6"/>
            <a:r>
              <a:rPr lang="de-DE" dirty="0" smtClean="0"/>
              <a:t>Siebte Ebene </a:t>
            </a:r>
          </a:p>
          <a:p>
            <a:pPr lvl="7"/>
            <a:r>
              <a:rPr lang="de-DE" dirty="0" smtClean="0"/>
              <a:t>Achte Ebene </a:t>
            </a:r>
          </a:p>
          <a:p>
            <a:pPr lvl="8"/>
            <a:r>
              <a:rPr lang="de-DE" dirty="0" smtClean="0"/>
              <a:t>Neunte Ebene </a:t>
            </a:r>
          </a:p>
        </p:txBody>
      </p:sp>
      <p:sp>
        <p:nvSpPr>
          <p:cNvPr id="5" name="Fußzeilenplatzhalter 4"/>
          <p:cNvSpPr>
            <a:spLocks noGrp="1"/>
          </p:cNvSpPr>
          <p:nvPr>
            <p:ph type="ftr" sz="quarter" idx="13"/>
          </p:nvPr>
        </p:nvSpPr>
        <p:spPr/>
        <p:txBody>
          <a:bodyPr/>
          <a:lstStyle/>
          <a:p>
            <a:r>
              <a:rPr lang="de-DE" dirty="0" err="1" smtClean="0">
                <a:solidFill>
                  <a:prstClr val="black"/>
                </a:solidFill>
              </a:rPr>
              <a:t>BoM</a:t>
            </a:r>
            <a:r>
              <a:rPr lang="de-DE" dirty="0" smtClean="0">
                <a:solidFill>
                  <a:prstClr val="black"/>
                </a:solidFill>
              </a:rPr>
              <a:t> </a:t>
            </a:r>
            <a:r>
              <a:rPr lang="de-DE" dirty="0" err="1" smtClean="0">
                <a:solidFill>
                  <a:prstClr val="black"/>
                </a:solidFill>
              </a:rPr>
              <a:t>Offsite</a:t>
            </a:r>
            <a:r>
              <a:rPr lang="de-DE" dirty="0" smtClean="0">
                <a:solidFill>
                  <a:prstClr val="black"/>
                </a:solidFill>
              </a:rPr>
              <a:t> / Trend &amp; Strategy Update / 19.01.2016 /</a:t>
            </a:r>
          </a:p>
        </p:txBody>
      </p:sp>
      <p:sp>
        <p:nvSpPr>
          <p:cNvPr id="7" name="Foliennummernplatzhalter 6"/>
          <p:cNvSpPr>
            <a:spLocks noGrp="1"/>
          </p:cNvSpPr>
          <p:nvPr>
            <p:ph type="sldNum" sz="quarter" idx="14"/>
          </p:nvPr>
        </p:nvSpPr>
        <p:spPr/>
        <p:txBody>
          <a:bodyPr/>
          <a:lstStyle/>
          <a:p>
            <a:r>
              <a:rPr lang="de-DE" dirty="0" smtClean="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6632074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userDrawn="1">
  <p:cSld name="Title +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5744" y="1030819"/>
            <a:ext cx="11267018" cy="736872"/>
          </a:xfrm>
          <a:prstGeom prst="rect">
            <a:avLst/>
          </a:prstGeom>
        </p:spPr>
        <p:txBody>
          <a:bodyPr vert="horz" lIns="0" tIns="0" rIns="0" bIns="0"/>
          <a:lstStyle>
            <a:lvl1pPr algn="l">
              <a:defRPr sz="3198" b="1">
                <a:solidFill>
                  <a:schemeClr val="tx1"/>
                </a:solidFill>
              </a:defRPr>
            </a:lvl1pPr>
          </a:lstStyle>
          <a:p>
            <a:r>
              <a:rPr lang="de-DE"/>
              <a:t>Edit headline</a:t>
            </a:r>
          </a:p>
        </p:txBody>
      </p:sp>
      <p:sp>
        <p:nvSpPr>
          <p:cNvPr id="5" name="Inhaltsplatzhalter 4"/>
          <p:cNvSpPr>
            <a:spLocks noGrp="1"/>
          </p:cNvSpPr>
          <p:nvPr>
            <p:ph sz="quarter" idx="14" hasCustomPrompt="1"/>
          </p:nvPr>
        </p:nvSpPr>
        <p:spPr>
          <a:xfrm>
            <a:off x="575747" y="1767734"/>
            <a:ext cx="11260665" cy="4781276"/>
          </a:xfrm>
          <a:prstGeom prst="rect">
            <a:avLst/>
          </a:prstGeom>
        </p:spPr>
        <p:txBody>
          <a:bodyPr vert="horz" lIns="0" tIns="0" rIns="0" bIns="0"/>
          <a:lstStyle>
            <a:lvl1pPr marL="0" indent="0">
              <a:lnSpc>
                <a:spcPct val="120000"/>
              </a:lnSpc>
              <a:buFontTx/>
              <a:buNone/>
              <a:defRPr sz="1599">
                <a:solidFill>
                  <a:schemeClr val="accent4"/>
                </a:solidFill>
              </a:defRPr>
            </a:lvl1pPr>
            <a:lvl2pPr marL="605929" indent="0">
              <a:buFontTx/>
              <a:buNone/>
              <a:defRPr sz="1599">
                <a:solidFill>
                  <a:schemeClr val="accent4"/>
                </a:solidFill>
              </a:defRPr>
            </a:lvl2pPr>
            <a:lvl3pPr marL="1211877" indent="0">
              <a:buFontTx/>
              <a:buNone/>
              <a:defRPr sz="1599">
                <a:solidFill>
                  <a:schemeClr val="accent4"/>
                </a:solidFill>
              </a:defRPr>
            </a:lvl3pPr>
            <a:lvl4pPr marL="1817813" indent="0">
              <a:buFontTx/>
              <a:buNone/>
              <a:defRPr sz="1599">
                <a:solidFill>
                  <a:schemeClr val="accent4"/>
                </a:solidFill>
              </a:defRPr>
            </a:lvl4pPr>
            <a:lvl5pPr marL="2423754" indent="0">
              <a:buFontTx/>
              <a:buNone/>
              <a:defRPr sz="1599">
                <a:solidFill>
                  <a:schemeClr val="accent4"/>
                </a:solidFill>
              </a:defRPr>
            </a:lvl5pPr>
          </a:lstStyle>
          <a:p>
            <a:pPr lvl="0"/>
            <a:r>
              <a:rPr lang="de-DE"/>
              <a:t>Edit Copy</a:t>
            </a:r>
          </a:p>
        </p:txBody>
      </p:sp>
      <p:sp>
        <p:nvSpPr>
          <p:cNvPr id="8" name="Textplatzhalter 2"/>
          <p:cNvSpPr>
            <a:spLocks noGrp="1"/>
          </p:cNvSpPr>
          <p:nvPr>
            <p:ph type="body" sz="quarter" idx="13" hasCustomPrompt="1"/>
          </p:nvPr>
        </p:nvSpPr>
        <p:spPr>
          <a:xfrm>
            <a:off x="580882" y="2"/>
            <a:ext cx="9830629" cy="762240"/>
          </a:xfrm>
          <a:prstGeom prst="rect">
            <a:avLst/>
          </a:prstGeom>
        </p:spPr>
        <p:txBody>
          <a:bodyPr vert="horz" lIns="0" tIns="0" rIns="0" bIns="0" anchor="ctr"/>
          <a:lstStyle>
            <a:lvl1pPr marL="0" indent="0">
              <a:lnSpc>
                <a:spcPct val="120000"/>
              </a:lnSpc>
              <a:spcBef>
                <a:spcPts val="0"/>
              </a:spcBef>
              <a:buFontTx/>
              <a:buNone/>
              <a:defRPr sz="1599" b="1" cap="all">
                <a:solidFill>
                  <a:srgbClr val="FFFFFF"/>
                </a:solidFill>
              </a:defRPr>
            </a:lvl1pPr>
            <a:lvl2pPr marL="605929" indent="0">
              <a:buFontTx/>
              <a:buNone/>
              <a:defRPr sz="1599" b="1">
                <a:solidFill>
                  <a:srgbClr val="FFFFFF"/>
                </a:solidFill>
              </a:defRPr>
            </a:lvl2pPr>
            <a:lvl3pPr marL="1211877" indent="0">
              <a:buFontTx/>
              <a:buNone/>
              <a:defRPr sz="1599" b="1">
                <a:solidFill>
                  <a:srgbClr val="FFFFFF"/>
                </a:solidFill>
              </a:defRPr>
            </a:lvl3pPr>
            <a:lvl4pPr marL="1817813" indent="0">
              <a:buFontTx/>
              <a:buNone/>
              <a:defRPr sz="1599" b="1">
                <a:solidFill>
                  <a:srgbClr val="FFFFFF"/>
                </a:solidFill>
              </a:defRPr>
            </a:lvl4pPr>
            <a:lvl5pPr marL="2423754" indent="0">
              <a:buFontTx/>
              <a:buNone/>
              <a:defRPr sz="1599" b="1">
                <a:solidFill>
                  <a:srgbClr val="FFFFFF"/>
                </a:solidFill>
              </a:defRPr>
            </a:lvl5pPr>
          </a:lstStyle>
          <a:p>
            <a:pPr lvl="0"/>
            <a:r>
              <a:rPr lang="de-DE" dirty="0" smtClean="0"/>
              <a:t>Edit </a:t>
            </a:r>
            <a:r>
              <a:rPr lang="de-DE" dirty="0" err="1" smtClean="0"/>
              <a:t>header</a:t>
            </a:r>
            <a:endParaRPr lang="de-DE" dirty="0"/>
          </a:p>
        </p:txBody>
      </p:sp>
      <p:sp>
        <p:nvSpPr>
          <p:cNvPr id="6" name="Footer Placeholder 2"/>
          <p:cNvSpPr>
            <a:spLocks noGrp="1"/>
          </p:cNvSpPr>
          <p:nvPr>
            <p:ph type="ftr" sz="quarter" idx="10"/>
          </p:nvPr>
        </p:nvSpPr>
        <p:spPr>
          <a:xfrm>
            <a:off x="2878500" y="6564880"/>
            <a:ext cx="8120970" cy="215949"/>
          </a:xfrm>
        </p:spPr>
        <p:txBody>
          <a:bodyPr/>
          <a:lstStyle/>
          <a:p>
            <a:endParaRPr lang="en-GB" dirty="0" smtClean="0">
              <a:solidFill>
                <a:prstClr val="black"/>
              </a:solidFill>
            </a:endParaRPr>
          </a:p>
        </p:txBody>
      </p:sp>
      <p:sp>
        <p:nvSpPr>
          <p:cNvPr id="7" name="Slide Number Placeholder 3"/>
          <p:cNvSpPr>
            <a:spLocks noGrp="1"/>
          </p:cNvSpPr>
          <p:nvPr>
            <p:ph type="sldNum" sz="quarter" idx="11"/>
          </p:nvPr>
        </p:nvSpPr>
        <p:spPr>
          <a:xfrm>
            <a:off x="11036806" y="6564880"/>
            <a:ext cx="1155196" cy="215949"/>
          </a:xfrm>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549538894"/>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userDrawn="1">
  <p:cSld name="Text/ Inhalt/ Ü 1 Zeile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720" y="285982"/>
            <a:ext cx="10931106" cy="683842"/>
          </a:xfrm>
        </p:spPr>
        <p:txBody>
          <a:bodyPr/>
          <a:lstStyle/>
          <a:p>
            <a:r>
              <a:rPr lang="de-DE" noProof="0" dirty="0" smtClean="0"/>
              <a:t>Headline in CorpoS (Textkörper) 35 pt.</a:t>
            </a:r>
            <a:endParaRPr lang="de-DE" dirty="0"/>
          </a:p>
        </p:txBody>
      </p:sp>
      <p:sp>
        <p:nvSpPr>
          <p:cNvPr id="6" name="Content Placeholder 5"/>
          <p:cNvSpPr>
            <a:spLocks noGrp="1"/>
          </p:cNvSpPr>
          <p:nvPr>
            <p:ph sz="quarter" idx="12" hasCustomPrompt="1"/>
          </p:nvPr>
        </p:nvSpPr>
        <p:spPr>
          <a:xfrm>
            <a:off x="629672" y="1233203"/>
            <a:ext cx="10930832" cy="5254634"/>
          </a:xfrm>
        </p:spPr>
        <p:txBody>
          <a:bodyPr/>
          <a:lstStyle>
            <a:lvl1pPr>
              <a:defRPr baseline="0"/>
            </a:lvl1pPr>
          </a:lstStyle>
          <a:p>
            <a:pPr lvl="0"/>
            <a:r>
              <a:rPr lang="de-DE" dirty="0" smtClean="0"/>
              <a:t>Text oder Inhalt einfügen in </a:t>
            </a:r>
            <a:r>
              <a:rPr lang="de-DE" noProof="0" dirty="0" smtClean="0"/>
              <a:t>CorpoS (Body) 24 pt. (Hervorhebungen in fett) </a:t>
            </a:r>
            <a:r>
              <a:rPr lang="de-DE" dirty="0" smtClean="0"/>
              <a:t>// für Zusammenfassung oder kurzes Highlight: Start // Absatz // Listenebene erhöhen</a:t>
            </a:r>
          </a:p>
          <a:p>
            <a:pPr lvl="1"/>
            <a:r>
              <a:rPr lang="de-DE" dirty="0" smtClean="0"/>
              <a:t>Zweite Ebene (Zusammenfassung oder kurzes Highlight)</a:t>
            </a:r>
          </a:p>
          <a:p>
            <a:pPr lvl="2"/>
            <a:r>
              <a:rPr lang="de-DE" dirty="0" smtClean="0"/>
              <a:t>Dritte Ebene </a:t>
            </a:r>
          </a:p>
          <a:p>
            <a:pPr lvl="3"/>
            <a:r>
              <a:rPr lang="de-DE" dirty="0" smtClean="0"/>
              <a:t>Vierte Ebene </a:t>
            </a:r>
          </a:p>
          <a:p>
            <a:pPr lvl="4"/>
            <a:r>
              <a:rPr lang="de-DE" dirty="0" smtClean="0"/>
              <a:t>Fünfte Ebene </a:t>
            </a:r>
          </a:p>
          <a:p>
            <a:pPr lvl="5"/>
            <a:r>
              <a:rPr lang="de-DE" dirty="0" smtClean="0"/>
              <a:t>Sechste Ebene </a:t>
            </a:r>
          </a:p>
          <a:p>
            <a:pPr lvl="6"/>
            <a:r>
              <a:rPr lang="de-DE" dirty="0" smtClean="0"/>
              <a:t>Siebte Ebene </a:t>
            </a:r>
          </a:p>
          <a:p>
            <a:pPr lvl="7"/>
            <a:r>
              <a:rPr lang="de-DE" dirty="0" smtClean="0"/>
              <a:t>Achte Ebene </a:t>
            </a:r>
          </a:p>
          <a:p>
            <a:pPr lvl="8"/>
            <a:r>
              <a:rPr lang="de-DE" dirty="0" smtClean="0"/>
              <a:t>Neunte Ebene </a:t>
            </a:r>
          </a:p>
        </p:txBody>
      </p:sp>
      <p:sp>
        <p:nvSpPr>
          <p:cNvPr id="5" name="Fußzeilenplatzhalter 4"/>
          <p:cNvSpPr>
            <a:spLocks noGrp="1"/>
          </p:cNvSpPr>
          <p:nvPr>
            <p:ph type="ftr" sz="quarter" idx="13"/>
          </p:nvPr>
        </p:nvSpPr>
        <p:spPr/>
        <p:txBody>
          <a:bodyPr/>
          <a:lstStyle/>
          <a:p>
            <a:r>
              <a:rPr lang="de-DE" dirty="0" err="1" smtClean="0">
                <a:solidFill>
                  <a:prstClr val="black"/>
                </a:solidFill>
              </a:rPr>
              <a:t>BoM</a:t>
            </a:r>
            <a:r>
              <a:rPr lang="de-DE" dirty="0" smtClean="0">
                <a:solidFill>
                  <a:prstClr val="black"/>
                </a:solidFill>
              </a:rPr>
              <a:t> </a:t>
            </a:r>
            <a:r>
              <a:rPr lang="de-DE" dirty="0" err="1" smtClean="0">
                <a:solidFill>
                  <a:prstClr val="black"/>
                </a:solidFill>
              </a:rPr>
              <a:t>Offsite</a:t>
            </a:r>
            <a:r>
              <a:rPr lang="de-DE" dirty="0" smtClean="0">
                <a:solidFill>
                  <a:prstClr val="black"/>
                </a:solidFill>
              </a:rPr>
              <a:t> / Trend &amp; Strategy Update / 19.01.2016 /</a:t>
            </a:r>
          </a:p>
        </p:txBody>
      </p:sp>
      <p:sp>
        <p:nvSpPr>
          <p:cNvPr id="7" name="Foliennummernplatzhalter 6"/>
          <p:cNvSpPr>
            <a:spLocks noGrp="1"/>
          </p:cNvSpPr>
          <p:nvPr>
            <p:ph type="sldNum" sz="quarter" idx="14"/>
          </p:nvPr>
        </p:nvSpPr>
        <p:spPr/>
        <p:txBody>
          <a:bodyPr/>
          <a:lstStyle/>
          <a:p>
            <a:r>
              <a:rPr lang="de-DE" dirty="0" smtClean="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98957230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showMasterSp="0" preserve="1" userDrawn="1">
  <p:cSld name="1.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en-GB" dirty="0"/>
              <a:t>Referent’s name: </a:t>
            </a:r>
            <a:r>
              <a:rPr lang="en-GB" noProof="0" dirty="0"/>
              <a:t>CorpoS </a:t>
            </a:r>
            <a:r>
              <a:rPr lang="en-GB" dirty="0"/>
              <a:t>(Body) 35 pt. Presentation title</a:t>
            </a:r>
            <a:br>
              <a:rPr lang="en-GB" dirty="0"/>
            </a:br>
            <a:r>
              <a:rPr lang="en-GB" dirty="0"/>
              <a:t>in two lines of text, dd. </a:t>
            </a:r>
            <a:r>
              <a:rPr lang="en-GB" dirty="0" err="1"/>
              <a:t>mmmm</a:t>
            </a:r>
            <a:r>
              <a:rPr lang="en-GB" dirty="0"/>
              <a:t> </a:t>
            </a:r>
            <a:r>
              <a:rPr lang="en-GB" dirty="0" err="1"/>
              <a:t>yyyy</a:t>
            </a:r>
            <a:endParaRPr lang="en-GB"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2748373124"/>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preserve="1" userDrawn="1">
  <p:cSld name="2.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a:lvl1pPr>
          </a:lstStyle>
          <a:p>
            <a:r>
              <a:rPr lang="en-GB" dirty="0"/>
              <a:t>Referent’s name: </a:t>
            </a:r>
            <a:r>
              <a:rPr lang="en-GB" noProof="0" dirty="0"/>
              <a:t>CorpoS </a:t>
            </a:r>
            <a:r>
              <a:rPr lang="en-GB" dirty="0"/>
              <a:t>(Body) 35 pt. Presentation title</a:t>
            </a:r>
            <a:br>
              <a:rPr lang="en-GB" dirty="0"/>
            </a:br>
            <a:r>
              <a:rPr lang="en-GB" dirty="0"/>
              <a:t>in two or more lines of text, dd. </a:t>
            </a:r>
            <a:r>
              <a:rPr lang="en-GB" dirty="0" err="1"/>
              <a:t>mmmm</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326706213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showMasterSp="0" preserve="1"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48686942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4433"/>
            <a:ext cx="7232233" cy="648964"/>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en-GB" dirty="0"/>
              <a:t>Headline for presentation</a:t>
            </a:r>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238207624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preserve="1" userDrawn="1">
  <p:cSld name="Section chart">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1" y="0"/>
            <a:ext cx="12190451" cy="6487838"/>
          </a:xfrm>
          <a:prstGeom prst="rect">
            <a:avLst/>
          </a:prstGeom>
        </p:spPr>
      </p:pic>
      <p:sp>
        <p:nvSpPr>
          <p:cNvPr id="3" name="Title 2"/>
          <p:cNvSpPr>
            <a:spLocks noGrp="1"/>
          </p:cNvSpPr>
          <p:nvPr>
            <p:ph type="title" hasCustomPrompt="1"/>
          </p:nvPr>
        </p:nvSpPr>
        <p:spPr>
          <a:xfrm>
            <a:off x="628323" y="288859"/>
            <a:ext cx="10932455" cy="1025684"/>
          </a:xfrm>
        </p:spPr>
        <p:txBody>
          <a:bodyPr wrap="square">
            <a:spAutoFit/>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03721788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preserve="1" userDrawn="1">
  <p:cSld name="Text/ image brushing">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a:extLst>
              <a:ext uri="{28A0092B-C50C-407E-A947-70E740481C1C}">
                <a14:useLocalDpi xmlns:a14="http://schemas.microsoft.com/office/drawing/2010/main" val="0"/>
              </a:ext>
            </a:extLst>
          </a:blip>
          <a:srcRect b="5375"/>
          <a:stretch/>
        </p:blipFill>
        <p:spPr bwMode="white">
          <a:xfrm>
            <a:off x="0" y="-1"/>
            <a:ext cx="12190451" cy="6487839"/>
          </a:xfrm>
          <a:prstGeom prst="rect">
            <a:avLst/>
          </a:prstGeom>
        </p:spPr>
      </p:pic>
      <p:sp>
        <p:nvSpPr>
          <p:cNvPr id="3" name="Title 2"/>
          <p:cNvSpPr>
            <a:spLocks noGrp="1"/>
          </p:cNvSpPr>
          <p:nvPr>
            <p:ph type="title" hasCustomPrompt="1"/>
          </p:nvPr>
        </p:nvSpPr>
        <p:spPr>
          <a:xfrm>
            <a:off x="630116" y="288857"/>
            <a:ext cx="10930662" cy="1151733"/>
          </a:xfrm>
          <a:custGeom>
            <a:avLst/>
            <a:gdLst>
              <a:gd name="connsiteX0" fmla="*/ 0 w 10936355"/>
              <a:gd name="connsiteY0" fmla="*/ 0 h 1152000"/>
              <a:gd name="connsiteX1" fmla="*/ 10936355 w 10936355"/>
              <a:gd name="connsiteY1" fmla="*/ 0 h 1152000"/>
              <a:gd name="connsiteX2" fmla="*/ 10936355 w 10936355"/>
              <a:gd name="connsiteY2" fmla="*/ 1152000 h 1152000"/>
              <a:gd name="connsiteX3" fmla="*/ 0 w 10936355"/>
              <a:gd name="connsiteY3" fmla="*/ 1152000 h 1152000"/>
              <a:gd name="connsiteX4" fmla="*/ 0 w 10936355"/>
              <a:gd name="connsiteY4"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4948164 w 10936355"/>
              <a:gd name="connsiteY4" fmla="*/ 1147990 h 1152000"/>
              <a:gd name="connsiteX5" fmla="*/ 0 w 10936355"/>
              <a:gd name="connsiteY5" fmla="*/ 1152000 h 1152000"/>
              <a:gd name="connsiteX6" fmla="*/ 0 w 10936355"/>
              <a:gd name="connsiteY6"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355" h="1152000">
                <a:moveTo>
                  <a:pt x="0" y="0"/>
                </a:moveTo>
                <a:lnTo>
                  <a:pt x="10936355" y="0"/>
                </a:lnTo>
                <a:cubicBezTo>
                  <a:pt x="10935205" y="231775"/>
                  <a:pt x="10934056" y="463551"/>
                  <a:pt x="10932906" y="695326"/>
                </a:cubicBezTo>
                <a:lnTo>
                  <a:pt x="4948164" y="1147990"/>
                </a:lnTo>
                <a:lnTo>
                  <a:pt x="0" y="1152000"/>
                </a:lnTo>
                <a:lnTo>
                  <a:pt x="0" y="0"/>
                </a:lnTo>
                <a:close/>
              </a:path>
            </a:pathLst>
          </a:custGeom>
        </p:spPr>
        <p:txBody>
          <a:bodyPr/>
          <a:lstStyle>
            <a:lvl1pPr>
              <a:defRPr baseline="0">
                <a:solidFill>
                  <a:schemeClr val="bg1"/>
                </a:solidFill>
              </a:defRPr>
            </a:lvl1pPr>
          </a:lstStyle>
          <a:p>
            <a:r>
              <a:rPr lang="en-GB" dirty="0"/>
              <a:t>Image-chart, Headline </a:t>
            </a:r>
            <a:r>
              <a:rPr lang="en-GB" noProof="0" dirty="0"/>
              <a:t>CorpoS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423561132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Fullpage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63575608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preserve="1" userDrawn="1">
  <p:cSld name="Agenda with brushin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 name="Title 1"/>
          <p:cNvSpPr>
            <a:spLocks noGrp="1"/>
          </p:cNvSpPr>
          <p:nvPr>
            <p:ph type="title" hasCustomPrompt="1"/>
          </p:nvPr>
        </p:nvSpPr>
        <p:spPr>
          <a:xfrm>
            <a:off x="628323" y="288859"/>
            <a:ext cx="10932455" cy="1148857"/>
          </a:xfrm>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7" y="1504603"/>
            <a:ext cx="10931023" cy="3386305"/>
          </a:xfrm>
          <a:custGeom>
            <a:avLst/>
            <a:gdLst>
              <a:gd name="connsiteX0" fmla="*/ 0 w 10936081"/>
              <a:gd name="connsiteY0" fmla="*/ 0 h 3384000"/>
              <a:gd name="connsiteX1" fmla="*/ 10936081 w 10936081"/>
              <a:gd name="connsiteY1" fmla="*/ 0 h 3384000"/>
              <a:gd name="connsiteX2" fmla="*/ 10936081 w 10936081"/>
              <a:gd name="connsiteY2" fmla="*/ 3384000 h 3384000"/>
              <a:gd name="connsiteX3" fmla="*/ 0 w 10936081"/>
              <a:gd name="connsiteY3" fmla="*/ 3384000 h 3384000"/>
              <a:gd name="connsiteX4" fmla="*/ 0 w 10936081"/>
              <a:gd name="connsiteY4" fmla="*/ 0 h 3384000"/>
              <a:gd name="connsiteX0" fmla="*/ 0 w 10936081"/>
              <a:gd name="connsiteY0" fmla="*/ 0 h 3387089"/>
              <a:gd name="connsiteX1" fmla="*/ 10936081 w 10936081"/>
              <a:gd name="connsiteY1" fmla="*/ 0 h 3387089"/>
              <a:gd name="connsiteX2" fmla="*/ 10936081 w 10936081"/>
              <a:gd name="connsiteY2" fmla="*/ 3384000 h 3387089"/>
              <a:gd name="connsiteX3" fmla="*/ 2006076 w 10936081"/>
              <a:gd name="connsiteY3" fmla="*/ 3387089 h 3387089"/>
              <a:gd name="connsiteX4" fmla="*/ 0 w 10936081"/>
              <a:gd name="connsiteY4" fmla="*/ 3384000 h 3387089"/>
              <a:gd name="connsiteX5" fmla="*/ 0 w 10936081"/>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10936081 w 10936716"/>
              <a:gd name="connsiteY3" fmla="*/ 3384000 h 3387089"/>
              <a:gd name="connsiteX4" fmla="*/ 2006076 w 10936716"/>
              <a:gd name="connsiteY4" fmla="*/ 3387089 h 3387089"/>
              <a:gd name="connsiteX5" fmla="*/ 0 w 10936716"/>
              <a:gd name="connsiteY5" fmla="*/ 3384000 h 3387089"/>
              <a:gd name="connsiteX6" fmla="*/ 0 w 10936716"/>
              <a:gd name="connsiteY6"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3387089">
                <a:moveTo>
                  <a:pt x="0" y="0"/>
                </a:moveTo>
                <a:lnTo>
                  <a:pt x="10936081" y="0"/>
                </a:lnTo>
                <a:cubicBezTo>
                  <a:pt x="10936293" y="852170"/>
                  <a:pt x="10936504" y="1704339"/>
                  <a:pt x="10936716" y="2556509"/>
                </a:cubicBezTo>
                <a:lnTo>
                  <a:pt x="2006076" y="3387089"/>
                </a:lnTo>
                <a:lnTo>
                  <a:pt x="0" y="3384000"/>
                </a:lnTo>
                <a:lnTo>
                  <a:pt x="0" y="0"/>
                </a:lnTo>
                <a:close/>
              </a:path>
            </a:pathLst>
          </a:custGeo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7321247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263864305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354067150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2 lines">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a:t>
            </a:r>
            <a:r>
              <a:rPr lang="en-GB" noProof="0" dirty="0"/>
              <a:t> 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00718205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ext/ content/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274303572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1 line">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77408927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preserve="1" userDrawn="1">
  <p:cSld name="1.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81618365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preserve="1" userDrawn="1">
  <p:cSld name="2.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7" y="288858"/>
            <a:ext cx="10931023" cy="1115742"/>
          </a:xfrm>
          <a:custGeom>
            <a:avLst/>
            <a:gdLst>
              <a:gd name="connsiteX0" fmla="*/ 0 w 10936355"/>
              <a:gd name="connsiteY0" fmla="*/ 0 h 1116000"/>
              <a:gd name="connsiteX1" fmla="*/ 10936355 w 10936355"/>
              <a:gd name="connsiteY1" fmla="*/ 0 h 1116000"/>
              <a:gd name="connsiteX2" fmla="*/ 10936355 w 10936355"/>
              <a:gd name="connsiteY2" fmla="*/ 1116000 h 1116000"/>
              <a:gd name="connsiteX3" fmla="*/ 0 w 10936355"/>
              <a:gd name="connsiteY3" fmla="*/ 1116000 h 1116000"/>
              <a:gd name="connsiteX4" fmla="*/ 0 w 10936355"/>
              <a:gd name="connsiteY4" fmla="*/ 0 h 1116000"/>
              <a:gd name="connsiteX0" fmla="*/ 0 w 10936355"/>
              <a:gd name="connsiteY0" fmla="*/ 0 h 1116000"/>
              <a:gd name="connsiteX1" fmla="*/ 10936355 w 10936355"/>
              <a:gd name="connsiteY1" fmla="*/ 0 h 1116000"/>
              <a:gd name="connsiteX2" fmla="*/ 10936355 w 10936355"/>
              <a:gd name="connsiteY2" fmla="*/ 1116000 h 1116000"/>
              <a:gd name="connsiteX3" fmla="*/ 5793216 w 10936355"/>
              <a:gd name="connsiteY3" fmla="*/ 1113155 h 1116000"/>
              <a:gd name="connsiteX4" fmla="*/ 0 w 10936355"/>
              <a:gd name="connsiteY4" fmla="*/ 1116000 h 1116000"/>
              <a:gd name="connsiteX5" fmla="*/ 0 w 10936355"/>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10936355 w 10936716"/>
              <a:gd name="connsiteY3" fmla="*/ 1116000 h 1116000"/>
              <a:gd name="connsiteX4" fmla="*/ 5793216 w 10936716"/>
              <a:gd name="connsiteY4" fmla="*/ 1113155 h 1116000"/>
              <a:gd name="connsiteX5" fmla="*/ 0 w 10936716"/>
              <a:gd name="connsiteY5" fmla="*/ 1116000 h 1116000"/>
              <a:gd name="connsiteX6" fmla="*/ 0 w 10936716"/>
              <a:gd name="connsiteY6"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1116000">
                <a:moveTo>
                  <a:pt x="0" y="0"/>
                </a:moveTo>
                <a:lnTo>
                  <a:pt x="10936355" y="0"/>
                </a:lnTo>
                <a:cubicBezTo>
                  <a:pt x="10936475" y="226272"/>
                  <a:pt x="10936596" y="452543"/>
                  <a:pt x="10936716" y="678815"/>
                </a:cubicBezTo>
                <a:lnTo>
                  <a:pt x="5793216" y="1113155"/>
                </a:lnTo>
                <a:lnTo>
                  <a:pt x="0" y="1116000"/>
                </a:lnTo>
                <a:lnTo>
                  <a:pt x="0" y="0"/>
                </a:lnTo>
                <a:close/>
              </a:path>
            </a:pathLst>
          </a:custGeom>
        </p:spPr>
        <p:txBody>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61950724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3. Brushing/ image 2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63363390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userDrawn="1">
  <p:cSld name="4.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a:t>CorpoS (Body) 24 pt. (Mark-ups in Bold) </a:t>
            </a:r>
            <a:r>
              <a:rPr lang="en-GB" dirty="0"/>
              <a:t>// for Body text: Home // Paragraph// Increase List Level</a:t>
            </a:r>
          </a:p>
          <a:p>
            <a:pPr lvl="1"/>
            <a:r>
              <a:rPr lang="en-GB" dirty="0"/>
              <a:t>Second level (Body text)</a:t>
            </a:r>
          </a:p>
        </p:txBody>
      </p:sp>
      <p:sp>
        <p:nvSpPr>
          <p:cNvPr id="2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97495787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Fullpage 3 image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6" name="Picture Placeholder 3"/>
          <p:cNvSpPr>
            <a:spLocks noGrp="1"/>
          </p:cNvSpPr>
          <p:nvPr>
            <p:ph type="pic" sz="quarter" idx="14" hasCustomPrompt="1"/>
          </p:nvPr>
        </p:nvSpPr>
        <p:spPr bwMode="gray">
          <a:xfrm>
            <a:off x="3911151" y="0"/>
            <a:ext cx="419992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421955737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5. Brushing/ image 3 columns">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3"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a:t>CorpoS (Body) 24 pt. (Mark-ups in Bold) </a:t>
            </a:r>
            <a:r>
              <a:rPr lang="en-GB" dirty="0"/>
              <a:t>// for Body text: Home // Paragraph// Increase List Level</a:t>
            </a:r>
          </a:p>
          <a:p>
            <a:pPr lvl="1"/>
            <a:r>
              <a:rPr lang="en-GB" dirty="0"/>
              <a:t>Second level (Body text)</a:t>
            </a:r>
          </a:p>
          <a:p>
            <a:pPr lvl="2"/>
            <a:r>
              <a:rPr lang="en-GB" dirty="0"/>
              <a:t>Third level</a:t>
            </a:r>
          </a:p>
          <a:p>
            <a:pPr lvl="3"/>
            <a:r>
              <a:rPr lang="en-GB" dirty="0"/>
              <a:t>Fourth level</a:t>
            </a:r>
          </a:p>
          <a:p>
            <a:pPr lvl="4"/>
            <a:r>
              <a:rPr lang="en-GB" dirty="0"/>
              <a:t>Fifth level</a:t>
            </a:r>
          </a:p>
          <a:p>
            <a:pPr lvl="5"/>
            <a:r>
              <a:rPr lang="en-GB" dirty="0"/>
              <a:t>Sixth level</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64108032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preserve="1" userDrawn="1">
  <p:cSld name="Full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412169799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62.xml><?xml version="1.0" encoding="utf-8"?>
<p:sldLayout xmlns:a="http://schemas.openxmlformats.org/drawingml/2006/main" xmlns:r="http://schemas.openxmlformats.org/officeDocument/2006/relationships" xmlns:p="http://schemas.openxmlformats.org/presentationml/2006/main" showMasterSp="0" preserve="1" userDrawn="1">
  <p:cSld name="Full image/ 2 columns">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605990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2" name="Picture Placeholder 3"/>
          <p:cNvSpPr>
            <a:spLocks noGrp="1"/>
          </p:cNvSpPr>
          <p:nvPr>
            <p:ph type="pic" sz="quarter" idx="14" hasCustomPrompt="1"/>
          </p:nvPr>
        </p:nvSpPr>
        <p:spPr bwMode="gray">
          <a:xfrm>
            <a:off x="6132096" y="0"/>
            <a:ext cx="605990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1157302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63.xml><?xml version="1.0" encoding="utf-8"?>
<p:sldLayout xmlns:a="http://schemas.openxmlformats.org/drawingml/2006/main" xmlns:r="http://schemas.openxmlformats.org/officeDocument/2006/relationships" xmlns:p="http://schemas.openxmlformats.org/presentationml/2006/main" showMasterSp="0" preserve="1" userDrawn="1">
  <p:cSld name="Full image/ 4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3279297"/>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2" name="Picture Placeholder 3"/>
          <p:cNvSpPr>
            <a:spLocks noGrp="1"/>
          </p:cNvSpPr>
          <p:nvPr>
            <p:ph type="pic" sz="quarter" idx="14" hasCustomPrompt="1"/>
          </p:nvPr>
        </p:nvSpPr>
        <p:spPr bwMode="gray">
          <a:xfrm>
            <a:off x="6132096" y="3279297"/>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Picture Placeholder 3"/>
          <p:cNvSpPr>
            <a:spLocks noGrp="1"/>
          </p:cNvSpPr>
          <p:nvPr>
            <p:ph type="pic" sz="quarter" idx="15" hasCustomPrompt="1"/>
          </p:nvPr>
        </p:nvSpPr>
        <p:spPr bwMode="gray">
          <a:xfrm>
            <a:off x="0" y="1"/>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3" name="Picture Placeholder 3"/>
          <p:cNvSpPr>
            <a:spLocks noGrp="1"/>
          </p:cNvSpPr>
          <p:nvPr>
            <p:ph type="pic" sz="quarter" idx="16" hasCustomPrompt="1"/>
          </p:nvPr>
        </p:nvSpPr>
        <p:spPr bwMode="gray">
          <a:xfrm>
            <a:off x="6132096" y="1"/>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11878430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preserve="1" userDrawn="1">
  <p:cSld name="Full image/ 3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6" name="Picture Placeholder 3"/>
          <p:cNvSpPr>
            <a:spLocks noGrp="1"/>
          </p:cNvSpPr>
          <p:nvPr>
            <p:ph type="pic" sz="quarter" idx="14" hasCustomPrompt="1"/>
          </p:nvPr>
        </p:nvSpPr>
        <p:spPr bwMode="gray">
          <a:xfrm>
            <a:off x="3913531" y="0"/>
            <a:ext cx="419992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61542359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preserve="1" userDrawn="1">
  <p:cSld name="Full image/ 6 image">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3279297"/>
            <a:ext cx="3841337"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6" name="Picture Placeholder 3"/>
          <p:cNvSpPr>
            <a:spLocks noGrp="1"/>
          </p:cNvSpPr>
          <p:nvPr>
            <p:ph type="pic" sz="quarter" idx="14" hasCustomPrompt="1"/>
          </p:nvPr>
        </p:nvSpPr>
        <p:spPr bwMode="gray">
          <a:xfrm>
            <a:off x="3913531" y="3279297"/>
            <a:ext cx="419992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7" name="Picture Placeholder 3"/>
          <p:cNvSpPr>
            <a:spLocks noGrp="1"/>
          </p:cNvSpPr>
          <p:nvPr>
            <p:ph type="pic" sz="quarter" idx="15" hasCustomPrompt="1"/>
          </p:nvPr>
        </p:nvSpPr>
        <p:spPr bwMode="gray">
          <a:xfrm>
            <a:off x="8185649" y="3279297"/>
            <a:ext cx="4006350"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Picture Placeholder 3"/>
          <p:cNvSpPr>
            <a:spLocks noGrp="1"/>
          </p:cNvSpPr>
          <p:nvPr>
            <p:ph type="pic" sz="quarter" idx="16" hasCustomPrompt="1"/>
          </p:nvPr>
        </p:nvSpPr>
        <p:spPr bwMode="gray">
          <a:xfrm>
            <a:off x="0" y="1"/>
            <a:ext cx="3841337"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9" name="Picture Placeholder 3"/>
          <p:cNvSpPr>
            <a:spLocks noGrp="1"/>
          </p:cNvSpPr>
          <p:nvPr>
            <p:ph type="pic" sz="quarter" idx="17" hasCustomPrompt="1"/>
          </p:nvPr>
        </p:nvSpPr>
        <p:spPr bwMode="gray">
          <a:xfrm>
            <a:off x="8185650" y="1"/>
            <a:ext cx="4006350"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0" name="Picture Placeholder 3"/>
          <p:cNvSpPr>
            <a:spLocks noGrp="1"/>
          </p:cNvSpPr>
          <p:nvPr>
            <p:ph type="pic" sz="quarter" idx="18" hasCustomPrompt="1"/>
          </p:nvPr>
        </p:nvSpPr>
        <p:spPr bwMode="gray">
          <a:xfrm>
            <a:off x="3913531" y="1"/>
            <a:ext cx="419992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424064839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ext/ 3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70911042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ext/ 3 images/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263899212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Tree>
    <p:extLst>
      <p:ext uri="{BB962C8B-B14F-4D97-AF65-F5344CB8AC3E}">
        <p14:creationId xmlns:p14="http://schemas.microsoft.com/office/powerpoint/2010/main" val="669350174"/>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ablet/ 4 colum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7"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Tree>
    <p:extLst>
      <p:ext uri="{BB962C8B-B14F-4D97-AF65-F5344CB8AC3E}">
        <p14:creationId xmlns:p14="http://schemas.microsoft.com/office/powerpoint/2010/main" val="64180348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a:t>
            </a:r>
            <a:r>
              <a:rPr lang="en-GB" noProof="0" dirty="0"/>
              <a:t> S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31554864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324" y="288858"/>
            <a:ext cx="10932454" cy="1148857"/>
          </a:xfrm>
        </p:spPr>
        <p:txBody>
          <a:bodyPr/>
          <a:lstStyle/>
          <a:p>
            <a:r>
              <a:rPr lang="en-GB" noProof="0" dirty="0"/>
              <a:t>Headline in CorpoS (Body) 35 pt.</a:t>
            </a:r>
            <a:br>
              <a:rPr lang="en-GB" noProof="0" dirty="0"/>
            </a:br>
            <a:r>
              <a:rPr lang="en-GB" noProof="0" dirty="0"/>
              <a:t>in two lines</a:t>
            </a:r>
            <a:endParaRPr lang="en-GB" dirty="0"/>
          </a:p>
        </p:txBody>
      </p:sp>
    </p:spTree>
    <p:extLst>
      <p:ext uri="{BB962C8B-B14F-4D97-AF65-F5344CB8AC3E}">
        <p14:creationId xmlns:p14="http://schemas.microsoft.com/office/powerpoint/2010/main" val="9290829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Blank/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433029281"/>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userDrawn="1">
  <p:cSld name="3. Bürstung/ Bild 2-spaltig">
    <p:bg>
      <p:bgRef idx="1001">
        <a:schemeClr val="bg1"/>
      </p:bgRef>
    </p:bg>
    <p:spTree>
      <p:nvGrpSpPr>
        <p:cNvPr id="1" name=""/>
        <p:cNvGrpSpPr/>
        <p:nvPr/>
      </p:nvGrpSpPr>
      <p:grpSpPr>
        <a:xfrm>
          <a:off x="0" y="0"/>
          <a:ext cx="0" cy="0"/>
          <a:chOff x="0" y="0"/>
          <a:chExt cx="0" cy="0"/>
        </a:xfrm>
      </p:grpSpPr>
      <p:grpSp>
        <p:nvGrpSpPr>
          <p:cNvPr id="24" name="Regieanweisungen"/>
          <p:cNvGrpSpPr/>
          <p:nvPr userDrawn="1"/>
        </p:nvGrpSpPr>
        <p:grpSpPr>
          <a:xfrm>
            <a:off x="-2086913" y="-467892"/>
            <a:ext cx="13647691" cy="7792196"/>
            <a:chOff x="-2088000" y="-468000"/>
            <a:chExt cx="13654799" cy="7794000"/>
          </a:xfrm>
        </p:grpSpPr>
        <p:sp>
          <p:nvSpPr>
            <p:cNvPr id="2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9" name="Listenebenen"/>
              <p:cNvGrpSpPr/>
              <p:nvPr userDrawn="1"/>
            </p:nvGrpSpPr>
            <p:grpSpPr>
              <a:xfrm>
                <a:off x="-1692000" y="2232000"/>
                <a:ext cx="1548000" cy="792000"/>
                <a:chOff x="-1692000" y="2160000"/>
                <a:chExt cx="1548000" cy="792000"/>
              </a:xfrm>
            </p:grpSpPr>
            <p:sp>
              <p:nvSpPr>
                <p:cNvPr id="30"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1"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2"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3"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5"/>
          </p:nvPr>
        </p:nvSpPr>
        <p:spPr/>
        <p:txBody>
          <a:bodyPr/>
          <a:lstStyle/>
          <a:p>
            <a:r>
              <a:rPr lang="en-US">
                <a:solidFill>
                  <a:prstClr val="black"/>
                </a:solidFill>
              </a:rPr>
              <a:t>DFS Capital Market Day</a:t>
            </a:r>
            <a:endParaRPr lang="de-DE" dirty="0">
              <a:solidFill>
                <a:prstClr val="black"/>
              </a:solidFill>
            </a:endParaRPr>
          </a:p>
        </p:txBody>
      </p:sp>
      <p:sp>
        <p:nvSpPr>
          <p:cNvPr id="4" name="Foliennummernplatzhalter 3"/>
          <p:cNvSpPr>
            <a:spLocks noGrp="1"/>
          </p:cNvSpPr>
          <p:nvPr>
            <p:ph type="sldNum" sz="quarter" idx="16"/>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57511329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userDrawn="1">
  <p:cSld name="4. Bürstung/ Bild 2-spaltig">
    <p:bg>
      <p:bgRef idx="1001">
        <a:schemeClr val="bg1"/>
      </p:bgRef>
    </p:bg>
    <p:spTree>
      <p:nvGrpSpPr>
        <p:cNvPr id="1" name=""/>
        <p:cNvGrpSpPr/>
        <p:nvPr/>
      </p:nvGrpSpPr>
      <p:grpSpPr>
        <a:xfrm>
          <a:off x="0" y="0"/>
          <a:ext cx="0" cy="0"/>
          <a:chOff x="0" y="0"/>
          <a:chExt cx="0" cy="0"/>
        </a:xfrm>
      </p:grpSpPr>
      <p:grpSp>
        <p:nvGrpSpPr>
          <p:cNvPr id="27" name="Regieanweisungen"/>
          <p:cNvGrpSpPr/>
          <p:nvPr userDrawn="1"/>
        </p:nvGrpSpPr>
        <p:grpSpPr>
          <a:xfrm>
            <a:off x="-2086913" y="-467892"/>
            <a:ext cx="13647691" cy="7792196"/>
            <a:chOff x="-2088000" y="-468000"/>
            <a:chExt cx="13654799" cy="7794000"/>
          </a:xfrm>
        </p:grpSpPr>
        <p:sp>
          <p:nvSpPr>
            <p:cNvPr id="2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0"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Text oder Inhalt einfügen in </a:t>
            </a:r>
            <a:r>
              <a:rPr lang="de-DE" noProof="0" dirty="0"/>
              <a:t>CorpoS (Body) 24 pt. (Hervorhebungen in fett) </a:t>
            </a:r>
            <a:r>
              <a:rPr lang="de-DE" dirty="0"/>
              <a:t>// für Zusammenfassung oder kurzes Highlight: Start // Absatz // Listenebene erhöhen</a:t>
            </a:r>
          </a:p>
          <a:p>
            <a:pPr lvl="1"/>
            <a:r>
              <a:rPr lang="de-DE" dirty="0"/>
              <a:t>Zweite Ebene</a:t>
            </a:r>
          </a:p>
        </p:txBody>
      </p:sp>
      <p:sp>
        <p:nvSpPr>
          <p:cNvPr id="2" name="Fußzeilenplatzhalter 1"/>
          <p:cNvSpPr>
            <a:spLocks noGrp="1"/>
          </p:cNvSpPr>
          <p:nvPr>
            <p:ph type="ftr" sz="quarter" idx="16"/>
          </p:nvPr>
        </p:nvSpPr>
        <p:spPr/>
        <p:txBody>
          <a:bodyPr/>
          <a:lstStyle/>
          <a:p>
            <a:r>
              <a:rPr lang="en-US">
                <a:solidFill>
                  <a:prstClr val="black"/>
                </a:solidFill>
              </a:rPr>
              <a:t>DFS Capital Market Day</a:t>
            </a:r>
            <a:endParaRPr lang="de-DE" dirty="0">
              <a:solidFill>
                <a:prstClr val="black"/>
              </a:solidFill>
            </a:endParaRPr>
          </a:p>
        </p:txBody>
      </p:sp>
      <p:sp>
        <p:nvSpPr>
          <p:cNvPr id="5" name="Foliennummernplatzhalter 4"/>
          <p:cNvSpPr>
            <a:spLocks noGrp="1"/>
          </p:cNvSpPr>
          <p:nvPr>
            <p:ph type="sldNum" sz="quarter" idx="17"/>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72663719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userDrawn="1">
  <p:cSld name="Text/ Bild/ Ü 1 Zeile ">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2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3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1" name="Hinweise links"/>
            <p:cNvGrpSpPr/>
            <p:nvPr userDrawn="1"/>
          </p:nvGrpSpPr>
          <p:grpSpPr>
            <a:xfrm>
              <a:off x="-2088000" y="0"/>
              <a:ext cx="1980000" cy="3528000"/>
              <a:chOff x="-2088000" y="0"/>
              <a:chExt cx="1980000" cy="3528000"/>
            </a:xfrm>
          </p:grpSpPr>
          <p:sp>
            <p:nvSpPr>
              <p:cNvPr id="3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3" name="Listenebenen"/>
              <p:cNvGrpSpPr/>
              <p:nvPr userDrawn="1"/>
            </p:nvGrpSpPr>
            <p:grpSpPr>
              <a:xfrm>
                <a:off x="-1692000" y="2232000"/>
                <a:ext cx="1548000" cy="792000"/>
                <a:chOff x="-1692000" y="2160000"/>
                <a:chExt cx="1548000" cy="792000"/>
              </a:xfrm>
            </p:grpSpPr>
            <p:sp>
              <p:nvSpPr>
                <p:cNvPr id="3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6"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7"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a:xfrm>
            <a:off x="629671" y="285982"/>
            <a:ext cx="10931106" cy="683842"/>
          </a:xfrm>
        </p:spPr>
        <p:txBody>
          <a:bodyPr/>
          <a:lstStyle/>
          <a:p>
            <a:r>
              <a:rPr lang="de-DE" noProof="0" dirty="0"/>
              <a:t>Headline in CorpoS (Textkörper) 35 pt.</a:t>
            </a:r>
            <a:endParaRPr lang="de-DE" dirty="0"/>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4"/>
          </p:nvPr>
        </p:nvSpPr>
        <p:spPr/>
        <p:txBody>
          <a:bodyPr/>
          <a:lstStyle/>
          <a:p>
            <a:r>
              <a:rPr lang="en-US">
                <a:solidFill>
                  <a:prstClr val="black"/>
                </a:solidFill>
              </a:rPr>
              <a:t>DFS Capital Market Day</a:t>
            </a:r>
            <a:endParaRPr lang="de-DE" dirty="0">
              <a:solidFill>
                <a:prstClr val="black"/>
              </a:solidFill>
            </a:endParaRPr>
          </a:p>
        </p:txBody>
      </p:sp>
      <p:sp>
        <p:nvSpPr>
          <p:cNvPr id="6" name="Foliennummernplatzhalter 5"/>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63833019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userDrawn="1">
  <p:cSld name="Vollbild">
    <p:bg>
      <p:bgRef idx="1001">
        <a:schemeClr val="bg1"/>
      </p:bgRef>
    </p:bg>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4"/>
          </p:nvPr>
        </p:nvSpPr>
        <p:spPr/>
        <p:txBody>
          <a:bodyPr/>
          <a:lstStyle/>
          <a:p>
            <a:r>
              <a:rPr lang="de-DE">
                <a:solidFill>
                  <a:prstClr val="black"/>
                </a:solidFill>
              </a:rPr>
              <a:t>DFS Capital Market Day</a:t>
            </a:r>
            <a:endParaRPr lang="de-DE" dirty="0">
              <a:solidFill>
                <a:prstClr val="black"/>
              </a:solidFill>
            </a:endParaRPr>
          </a:p>
        </p:txBody>
      </p:sp>
      <p:sp>
        <p:nvSpPr>
          <p:cNvPr id="3" name="Foliennummernplatzhalter 2"/>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47948816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7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771939" y="6224373"/>
            <a:ext cx="424638" cy="329184"/>
          </a:xfrm>
        </p:spPr>
        <p:txBody>
          <a:bodyPr/>
          <a:lstStyle/>
          <a:p>
            <a:fld id="{96D389FB-5F15-6747-8C7C-A5F122A35A60}" type="slidenum">
              <a:rPr lang="en-US" smtClean="0">
                <a:solidFill>
                  <a:prstClr val="black"/>
                </a:solidFill>
              </a:rPr>
              <a:pPr/>
              <a:t>‹#›</a:t>
            </a:fld>
            <a:endParaRPr lang="en-US">
              <a:solidFill>
                <a:prstClr val="black"/>
              </a:solidFill>
            </a:endParaRPr>
          </a:p>
        </p:txBody>
      </p:sp>
      <p:sp>
        <p:nvSpPr>
          <p:cNvPr id="4" name="Title 3"/>
          <p:cNvSpPr>
            <a:spLocks noGrp="1"/>
          </p:cNvSpPr>
          <p:nvPr>
            <p:ph type="title"/>
          </p:nvPr>
        </p:nvSpPr>
        <p:spPr>
          <a:xfrm>
            <a:off x="838201" y="607274"/>
            <a:ext cx="10515600" cy="523220"/>
          </a:xfrm>
          <a:prstGeom prst="rect">
            <a:avLst/>
          </a:prstGeom>
        </p:spPr>
        <p:txBody>
          <a:bodyPr/>
          <a:lstStyle>
            <a:lvl1pPr algn="ctr">
              <a:defRPr sz="2800" b="0">
                <a:solidFill>
                  <a:srgbClr val="3F98FF"/>
                </a:solidFill>
                <a:latin typeface="Franklin Gothic Book" panose="020B0503020102020204" pitchFamily="34" charset="0"/>
              </a:defRPr>
            </a:lvl1pPr>
          </a:lstStyle>
          <a:p>
            <a:r>
              <a:rPr lang="en-US" dirty="0"/>
              <a:t>Click to edit Master title style</a:t>
            </a:r>
          </a:p>
        </p:txBody>
      </p:sp>
      <p:sp>
        <p:nvSpPr>
          <p:cNvPr id="8" name="Text Placeholder 7"/>
          <p:cNvSpPr>
            <a:spLocks noGrp="1"/>
          </p:cNvSpPr>
          <p:nvPr>
            <p:ph type="body" sz="quarter" idx="13"/>
          </p:nvPr>
        </p:nvSpPr>
        <p:spPr>
          <a:xfrm>
            <a:off x="533401" y="1854200"/>
            <a:ext cx="11070835" cy="4095750"/>
          </a:xfrm>
          <a:prstGeom prst="rect">
            <a:avLst/>
          </a:prstGeom>
        </p:spPr>
        <p:txBody>
          <a:bodyPr/>
          <a:lstStyle>
            <a:lvl1pPr>
              <a:defRPr sz="2399" b="1">
                <a:solidFill>
                  <a:schemeClr val="bg1">
                    <a:lumMod val="50000"/>
                  </a:schemeClr>
                </a:solidFill>
              </a:defRPr>
            </a:lvl1pPr>
            <a:lvl2pPr>
              <a:defRPr sz="1999">
                <a:solidFill>
                  <a:schemeClr val="bg1">
                    <a:lumMod val="50000"/>
                  </a:schemeClr>
                </a:solidFill>
              </a:defRPr>
            </a:lvl2pPr>
            <a:lvl3pPr>
              <a:defRPr sz="1999">
                <a:solidFill>
                  <a:schemeClr val="bg1">
                    <a:lumMod val="50000"/>
                  </a:schemeClr>
                </a:solidFill>
              </a:defRPr>
            </a:lvl3pPr>
            <a:lvl4pPr>
              <a:defRPr sz="1999">
                <a:solidFill>
                  <a:schemeClr val="bg1">
                    <a:lumMod val="50000"/>
                  </a:schemeClr>
                </a:solidFill>
              </a:defRPr>
            </a:lvl4pPr>
            <a:lvl5pPr>
              <a:defRPr sz="1999">
                <a:solidFill>
                  <a:schemeClr val="bg1">
                    <a:lumMod val="5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4"/>
          <p:cNvSpPr>
            <a:spLocks noGrp="1"/>
          </p:cNvSpPr>
          <p:nvPr>
            <p:ph type="body" sz="quarter" idx="14" hasCustomPrompt="1"/>
          </p:nvPr>
        </p:nvSpPr>
        <p:spPr>
          <a:xfrm>
            <a:off x="1896488" y="1215031"/>
            <a:ext cx="8460827" cy="400110"/>
          </a:xfrm>
          <a:prstGeom prst="rect">
            <a:avLst/>
          </a:prstGeom>
        </p:spPr>
        <p:txBody>
          <a:bodyPr/>
          <a:lstStyle>
            <a:lvl1pPr marL="0" indent="0" algn="ctr">
              <a:buNone/>
              <a:defRPr sz="1999" baseline="0">
                <a:solidFill>
                  <a:schemeClr val="bg1">
                    <a:lumMod val="50000"/>
                  </a:schemeClr>
                </a:solidFill>
              </a:defRPr>
            </a:lvl1pPr>
          </a:lstStyle>
          <a:p>
            <a:pPr algn="ctr"/>
            <a:r>
              <a:rPr lang="en-US" sz="1999" dirty="0">
                <a:solidFill>
                  <a:schemeClr val="tx1">
                    <a:lumMod val="50000"/>
                    <a:lumOff val="50000"/>
                  </a:schemeClr>
                </a:solidFill>
                <a:latin typeface="Calibri" charset="0"/>
                <a:ea typeface="Calibri" charset="0"/>
                <a:cs typeface="Calibri" charset="0"/>
              </a:rPr>
              <a:t>Click to edit Master subtitle style</a:t>
            </a:r>
          </a:p>
        </p:txBody>
      </p:sp>
    </p:spTree>
    <p:extLst>
      <p:ext uri="{BB962C8B-B14F-4D97-AF65-F5344CB8AC3E}">
        <p14:creationId xmlns:p14="http://schemas.microsoft.com/office/powerpoint/2010/main" val="3933744621"/>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de-DE" noProof="0" dirty="0" smtClean="0"/>
              <a:t>Headline für Agenda in </a:t>
            </a:r>
            <a:r>
              <a:rPr lang="de-DE" noProof="0" dirty="0" err="1" smtClean="0"/>
              <a:t>CorpoS</a:t>
            </a:r>
            <a:r>
              <a:rPr lang="de-DE" noProof="0" dirty="0" smtClean="0"/>
              <a:t> (Textkörper) 35 pt. </a:t>
            </a:r>
            <a:br>
              <a:rPr lang="de-DE" noProof="0" dirty="0" smtClean="0"/>
            </a:br>
            <a:r>
              <a:rPr lang="de-DE" noProof="0" dirty="0" smtClean="0"/>
              <a:t>in ein oder zwei Zeilen</a:t>
            </a:r>
            <a:endParaRPr lang="de-DE" dirty="0"/>
          </a:p>
        </p:txBody>
      </p:sp>
      <p:sp>
        <p:nvSpPr>
          <p:cNvPr id="6" name="Text Placeholder 5"/>
          <p:cNvSpPr>
            <a:spLocks noGrp="1"/>
          </p:cNvSpPr>
          <p:nvPr>
            <p:ph type="body" sz="quarter" idx="12" hasCustomPrompt="1"/>
          </p:nvPr>
        </p:nvSpPr>
        <p:spPr>
          <a:xfrm>
            <a:off x="628325" y="1504603"/>
            <a:ext cx="10932180" cy="4875671"/>
          </a:xfrm>
        </p:spPr>
        <p:txBody>
          <a:bodyPr/>
          <a:lstStyle>
            <a:lvl1pPr marL="359691" indent="-359691">
              <a:buSzPct val="100000"/>
              <a:buFont typeface="+mj-lt"/>
              <a:buAutoNum type="arabicPeriod"/>
              <a:defRPr baseline="0">
                <a:solidFill>
                  <a:schemeClr val="tx1"/>
                </a:solidFill>
              </a:defRPr>
            </a:lvl1pPr>
            <a:lvl2pPr marL="359691" indent="-359691">
              <a:buFont typeface="+mj-lt"/>
              <a:buAutoNum type="arabicPeriod"/>
              <a:defRPr>
                <a:solidFill>
                  <a:schemeClr val="tx1"/>
                </a:solidFill>
              </a:defRPr>
            </a:lvl2pPr>
            <a:lvl3pPr marL="359691" indent="-359691">
              <a:buFont typeface="+mj-lt"/>
              <a:buAutoNum type="arabicPeriod"/>
              <a:defRPr>
                <a:solidFill>
                  <a:schemeClr val="tx1"/>
                </a:solidFill>
              </a:defRPr>
            </a:lvl3pPr>
            <a:lvl4pPr marL="359691" indent="-359691">
              <a:buFont typeface="+mj-lt"/>
              <a:buAutoNum type="arabicPeriod"/>
              <a:defRPr>
                <a:solidFill>
                  <a:schemeClr val="tx1"/>
                </a:solidFill>
              </a:defRPr>
            </a:lvl4pPr>
            <a:lvl5pPr marL="359691" indent="-359691">
              <a:buFont typeface="+mj-lt"/>
              <a:buAutoNum type="arabicPeriod"/>
              <a:defRPr>
                <a:solidFill>
                  <a:schemeClr val="tx1"/>
                </a:solidFill>
              </a:defRPr>
            </a:lvl5pPr>
            <a:lvl6pPr marL="359691" indent="-359691">
              <a:buFont typeface="+mj-lt"/>
              <a:buAutoNum type="arabicPeriod"/>
              <a:defRPr>
                <a:solidFill>
                  <a:schemeClr val="tx1"/>
                </a:solidFill>
              </a:defRPr>
            </a:lvl6pPr>
            <a:lvl7pPr marL="359691" indent="-359691">
              <a:buFont typeface="+mj-lt"/>
              <a:buAutoNum type="arabicPeriod"/>
              <a:defRPr>
                <a:solidFill>
                  <a:schemeClr val="tx1"/>
                </a:solidFill>
              </a:defRPr>
            </a:lvl7pPr>
            <a:lvl8pPr marL="359691" indent="-359691">
              <a:buFont typeface="+mj-lt"/>
              <a:buAutoNum type="arabicPeriod"/>
              <a:defRPr>
                <a:solidFill>
                  <a:schemeClr val="tx1"/>
                </a:solidFill>
              </a:defRPr>
            </a:lvl8pPr>
            <a:lvl9pPr marL="359691" indent="-359691">
              <a:buFont typeface="+mj-lt"/>
              <a:buAutoNum type="arabicPeriod"/>
              <a:defRPr>
                <a:solidFill>
                  <a:schemeClr val="tx1"/>
                </a:solidFill>
              </a:defRPr>
            </a:lvl9pPr>
          </a:lstStyle>
          <a:p>
            <a:pPr lvl="0"/>
            <a:r>
              <a:rPr lang="de-DE" dirty="0" smtClean="0"/>
              <a:t>Agenda Punkt einfügen</a:t>
            </a:r>
          </a:p>
          <a:p>
            <a:pPr lvl="1"/>
            <a:r>
              <a:rPr lang="de-DE" dirty="0" smtClean="0"/>
              <a:t>Zweite Ebene</a:t>
            </a:r>
          </a:p>
          <a:p>
            <a:pPr lvl="2"/>
            <a:r>
              <a:rPr lang="de-DE" dirty="0" smtClean="0"/>
              <a:t>Dritte Ebene </a:t>
            </a:r>
          </a:p>
          <a:p>
            <a:pPr lvl="3"/>
            <a:r>
              <a:rPr lang="de-DE" dirty="0" smtClean="0"/>
              <a:t>Vierte Ebene </a:t>
            </a:r>
          </a:p>
          <a:p>
            <a:pPr lvl="4"/>
            <a:r>
              <a:rPr lang="de-DE" dirty="0" smtClean="0"/>
              <a:t>Fünfte Ebene </a:t>
            </a:r>
          </a:p>
          <a:p>
            <a:pPr lvl="5"/>
            <a:r>
              <a:rPr lang="de-DE" dirty="0" smtClean="0"/>
              <a:t>Sechste Ebene </a:t>
            </a:r>
          </a:p>
          <a:p>
            <a:pPr lvl="6"/>
            <a:r>
              <a:rPr lang="de-DE" dirty="0" smtClean="0"/>
              <a:t>Siebte Ebene </a:t>
            </a:r>
          </a:p>
          <a:p>
            <a:pPr lvl="7"/>
            <a:r>
              <a:rPr lang="de-DE" dirty="0" smtClean="0"/>
              <a:t>Achte Ebene </a:t>
            </a:r>
          </a:p>
          <a:p>
            <a:pPr lvl="8"/>
            <a:r>
              <a:rPr lang="de-DE" dirty="0" smtClean="0"/>
              <a:t>Neunte Ebene </a:t>
            </a:r>
          </a:p>
        </p:txBody>
      </p:sp>
      <p:sp>
        <p:nvSpPr>
          <p:cNvPr id="8" name="Footer Placeholder 10"/>
          <p:cNvSpPr>
            <a:spLocks noGrp="1"/>
          </p:cNvSpPr>
          <p:nvPr>
            <p:ph type="ftr" sz="quarter" idx="11"/>
          </p:nvPr>
        </p:nvSpPr>
        <p:spPr>
          <a:xfrm>
            <a:off x="2878501" y="6564881"/>
            <a:ext cx="8120971" cy="215949"/>
          </a:xfrm>
        </p:spPr>
        <p:txBody>
          <a:bodyPr/>
          <a:lstStyle/>
          <a:p>
            <a:r>
              <a:rPr lang="en-US" smtClean="0">
                <a:solidFill>
                  <a:prstClr val="black"/>
                </a:solidFill>
              </a:rPr>
              <a:t>BOM - EA 2 2016 &amp; OP 17-18 Overview / FS-CC / November 8, 2016 /</a:t>
            </a:r>
            <a:endParaRPr lang="en-GB" dirty="0" smtClean="0">
              <a:solidFill>
                <a:prstClr val="black"/>
              </a:solidFill>
            </a:endParaRPr>
          </a:p>
        </p:txBody>
      </p:sp>
      <p:sp>
        <p:nvSpPr>
          <p:cNvPr id="9" name="Slide Number Placeholder 11"/>
          <p:cNvSpPr>
            <a:spLocks noGrp="1"/>
          </p:cNvSpPr>
          <p:nvPr>
            <p:ph type="sldNum" sz="quarter" idx="13"/>
          </p:nvPr>
        </p:nvSpPr>
        <p:spPr>
          <a:xfrm>
            <a:off x="11036805" y="6564881"/>
            <a:ext cx="1155196" cy="215949"/>
          </a:xfrm>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4233487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userDrawn="1">
  <p:cSld name="Headline two line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CAReer - Getting Started | DFS Global Strategy | 16.11.2016 |</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10" y="1504602"/>
            <a:ext cx="10930593" cy="4983236"/>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344259106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579.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6992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cxnSp>
        <p:nvCxnSpPr>
          <p:cNvPr id="8" name="Footerline"/>
          <p:cNvCxnSpPr/>
          <p:nvPr userDrawn="1"/>
        </p:nvCxnSpPr>
        <p:spPr bwMode="auto">
          <a:xfrm>
            <a:off x="626241" y="6308653"/>
            <a:ext cx="10938303" cy="0"/>
          </a:xfrm>
          <a:prstGeom prst="line">
            <a:avLst/>
          </a:prstGeom>
          <a:solidFill>
            <a:schemeClr val="bg1"/>
          </a:solidFill>
          <a:ln w="12700" cap="flat" cmpd="sng" algn="ctr">
            <a:solidFill>
              <a:srgbClr val="C8C8C8"/>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0" name="Rectangle 4"/>
          <p:cNvSpPr txBox="1">
            <a:spLocks noChangeArrowheads="1"/>
          </p:cNvSpPr>
          <p:nvPr userDrawn="1"/>
        </p:nvSpPr>
        <p:spPr bwMode="auto">
          <a:xfrm>
            <a:off x="10846134" y="6667816"/>
            <a:ext cx="719625" cy="1439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defPPr>
              <a:defRPr lang="de-DE"/>
            </a:defPPr>
            <a:lvl1pPr algn="r" rtl="0" eaLnBrk="0" fontAlgn="base" hangingPunct="0">
              <a:lnSpc>
                <a:spcPct val="90000"/>
              </a:lnSpc>
              <a:spcBef>
                <a:spcPct val="0"/>
              </a:spcBef>
              <a:spcAft>
                <a:spcPct val="50000"/>
              </a:spcAft>
              <a:defRPr sz="1000" kern="1200">
                <a:solidFill>
                  <a:schemeClr val="tx1"/>
                </a:solidFill>
                <a:latin typeface="CorpoS" pitchFamily="2" charset="0"/>
                <a:ea typeface="+mn-ea"/>
                <a:cs typeface="+mn-cs"/>
              </a:defRPr>
            </a:lvl1pPr>
            <a:lvl2pPr marL="457200" algn="l" rtl="0" eaLnBrk="0" fontAlgn="base" hangingPunct="0">
              <a:spcBef>
                <a:spcPct val="0"/>
              </a:spcBef>
              <a:spcAft>
                <a:spcPct val="0"/>
              </a:spcAft>
              <a:defRPr sz="2000" kern="1200">
                <a:solidFill>
                  <a:schemeClr val="tx1"/>
                </a:solidFill>
                <a:latin typeface="CorpoS" pitchFamily="2" charset="0"/>
                <a:ea typeface="+mn-ea"/>
                <a:cs typeface="+mn-cs"/>
              </a:defRPr>
            </a:lvl2pPr>
            <a:lvl3pPr marL="914400" algn="l" rtl="0" eaLnBrk="0" fontAlgn="base" hangingPunct="0">
              <a:spcBef>
                <a:spcPct val="0"/>
              </a:spcBef>
              <a:spcAft>
                <a:spcPct val="0"/>
              </a:spcAft>
              <a:defRPr sz="2000" kern="1200">
                <a:solidFill>
                  <a:schemeClr val="tx1"/>
                </a:solidFill>
                <a:latin typeface="CorpoS" pitchFamily="2" charset="0"/>
                <a:ea typeface="+mn-ea"/>
                <a:cs typeface="+mn-cs"/>
              </a:defRPr>
            </a:lvl3pPr>
            <a:lvl4pPr marL="1371600" algn="l" rtl="0" eaLnBrk="0" fontAlgn="base" hangingPunct="0">
              <a:spcBef>
                <a:spcPct val="0"/>
              </a:spcBef>
              <a:spcAft>
                <a:spcPct val="0"/>
              </a:spcAft>
              <a:defRPr sz="2000" kern="1200">
                <a:solidFill>
                  <a:schemeClr val="tx1"/>
                </a:solidFill>
                <a:latin typeface="CorpoS" pitchFamily="2" charset="0"/>
                <a:ea typeface="+mn-ea"/>
                <a:cs typeface="+mn-cs"/>
              </a:defRPr>
            </a:lvl4pPr>
            <a:lvl5pPr marL="1828800" algn="l" rtl="0" eaLnBrk="0" fontAlgn="base" hangingPunct="0">
              <a:spcBef>
                <a:spcPct val="0"/>
              </a:spcBef>
              <a:spcAft>
                <a:spcPct val="0"/>
              </a:spcAft>
              <a:defRPr sz="2000" kern="1200">
                <a:solidFill>
                  <a:schemeClr val="tx1"/>
                </a:solidFill>
                <a:latin typeface="CorpoS" pitchFamily="2" charset="0"/>
                <a:ea typeface="+mn-ea"/>
                <a:cs typeface="+mn-cs"/>
              </a:defRPr>
            </a:lvl5pPr>
            <a:lvl6pPr marL="2286000" algn="l" defTabSz="914400" rtl="0" eaLnBrk="1" latinLnBrk="0" hangingPunct="1">
              <a:defRPr sz="2000" kern="1200">
                <a:solidFill>
                  <a:schemeClr val="tx1"/>
                </a:solidFill>
                <a:latin typeface="CorpoS" pitchFamily="2" charset="0"/>
                <a:ea typeface="+mn-ea"/>
                <a:cs typeface="+mn-cs"/>
              </a:defRPr>
            </a:lvl6pPr>
            <a:lvl7pPr marL="2743200" algn="l" defTabSz="914400" rtl="0" eaLnBrk="1" latinLnBrk="0" hangingPunct="1">
              <a:defRPr sz="2000" kern="1200">
                <a:solidFill>
                  <a:schemeClr val="tx1"/>
                </a:solidFill>
                <a:latin typeface="CorpoS" pitchFamily="2" charset="0"/>
                <a:ea typeface="+mn-ea"/>
                <a:cs typeface="+mn-cs"/>
              </a:defRPr>
            </a:lvl7pPr>
            <a:lvl8pPr marL="3200400" algn="l" defTabSz="914400" rtl="0" eaLnBrk="1" latinLnBrk="0" hangingPunct="1">
              <a:defRPr sz="2000" kern="1200">
                <a:solidFill>
                  <a:schemeClr val="tx1"/>
                </a:solidFill>
                <a:latin typeface="CorpoS" pitchFamily="2" charset="0"/>
                <a:ea typeface="+mn-ea"/>
                <a:cs typeface="+mn-cs"/>
              </a:defRPr>
            </a:lvl8pPr>
            <a:lvl9pPr marL="3657600" algn="l" defTabSz="914400" rtl="0" eaLnBrk="1" latinLnBrk="0" hangingPunct="1">
              <a:defRPr sz="2000" kern="1200">
                <a:solidFill>
                  <a:schemeClr val="tx1"/>
                </a:solidFill>
                <a:latin typeface="CorpoS" pitchFamily="2" charset="0"/>
                <a:ea typeface="+mn-ea"/>
                <a:cs typeface="+mn-cs"/>
              </a:defRPr>
            </a:lvl9pPr>
          </a:lstStyle>
          <a:p>
            <a:fld id="{D33D5760-650C-41B7-8FFB-2EDCBED7E542}" type="slidenum">
              <a:rPr lang="de-DE" altLang="de-DE" sz="1099" smtClean="0">
                <a:solidFill>
                  <a:prstClr val="black"/>
                </a:solidFill>
              </a:rPr>
              <a:pPr/>
              <a:t>‹#›</a:t>
            </a:fld>
            <a:endParaRPr lang="de-DE" altLang="de-DE" sz="1099" dirty="0">
              <a:solidFill>
                <a:prstClr val="black"/>
              </a:solidFill>
            </a:endParaRPr>
          </a:p>
        </p:txBody>
      </p:sp>
    </p:spTree>
    <p:extLst>
      <p:ext uri="{BB962C8B-B14F-4D97-AF65-F5344CB8AC3E}">
        <p14:creationId xmlns:p14="http://schemas.microsoft.com/office/powerpoint/2010/main" val="2883401123"/>
      </p:ext>
    </p:extLst>
  </p:cSld>
  <p:clrMapOvr>
    <a:masterClrMapping/>
  </p:clrMapOvr>
  <p:transition spd="slow">
    <p:fade/>
  </p:transition>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en-GB" dirty="0"/>
              <a:t>Insert text in </a:t>
            </a:r>
            <a:r>
              <a:rPr lang="en-GB" noProof="0" dirty="0" err="1"/>
              <a:t>CorpoS</a:t>
            </a:r>
            <a:r>
              <a:rPr lang="en-GB" noProof="0" dirty="0"/>
              <a:t>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8372082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580.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smtClean="0"/>
              <a:t>Titelmasterformat durch Klicken bearbeiten</a:t>
            </a:r>
            <a:endParaRPr lang="de-DE"/>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fld id="{19BA8597-20FA-4D05-A30F-780EBC0A86CB}" type="datetimeFigureOut">
              <a:rPr lang="de-DE" smtClean="0">
                <a:solidFill>
                  <a:prstClr val="black">
                    <a:tint val="75000"/>
                  </a:prstClr>
                </a:solidFill>
              </a:rPr>
              <a:pPr/>
              <a:t>26.04.2019</a:t>
            </a:fld>
            <a:endParaRPr lang="de-DE">
              <a:solidFill>
                <a:prstClr val="black">
                  <a:tint val="75000"/>
                </a:prstClr>
              </a:solidFill>
            </a:endParaRPr>
          </a:p>
        </p:txBody>
      </p:sp>
      <p:sp>
        <p:nvSpPr>
          <p:cNvPr id="5" name="Fußzeilenplatzhalter 4"/>
          <p:cNvSpPr>
            <a:spLocks noGrp="1"/>
          </p:cNvSpPr>
          <p:nvPr>
            <p:ph type="ftr" sz="quarter" idx="11"/>
          </p:nvPr>
        </p:nvSpPr>
        <p:spPr/>
        <p:txBody>
          <a:bodyPr/>
          <a:lstStyle/>
          <a:p>
            <a:endParaRPr lang="de-DE">
              <a:solidFill>
                <a:prstClr val="black">
                  <a:tint val="75000"/>
                </a:prstClr>
              </a:solidFill>
            </a:endParaRPr>
          </a:p>
        </p:txBody>
      </p:sp>
      <p:sp>
        <p:nvSpPr>
          <p:cNvPr id="6" name="Foliennummernplatzhalter 5"/>
          <p:cNvSpPr>
            <a:spLocks noGrp="1"/>
          </p:cNvSpPr>
          <p:nvPr>
            <p:ph type="sldNum" sz="quarter" idx="12"/>
          </p:nvPr>
        </p:nvSpPr>
        <p:spPr/>
        <p:txBody>
          <a:bodyPr/>
          <a:lstStyle/>
          <a:p>
            <a:fld id="{E7387338-73F0-45A1-B676-F92E8DB94C0D}"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284181448"/>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9BA8597-20FA-4D05-A30F-780EBC0A86CB}" type="datetimeFigureOut">
              <a:rPr lang="de-DE" smtClean="0">
                <a:solidFill>
                  <a:prstClr val="black">
                    <a:tint val="75000"/>
                  </a:prstClr>
                </a:solidFill>
              </a:rPr>
              <a:pPr/>
              <a:t>26.04.2019</a:t>
            </a:fld>
            <a:endParaRPr lang="de-DE">
              <a:solidFill>
                <a:prstClr val="black">
                  <a:tint val="75000"/>
                </a:prstClr>
              </a:solidFill>
            </a:endParaRPr>
          </a:p>
        </p:txBody>
      </p:sp>
      <p:sp>
        <p:nvSpPr>
          <p:cNvPr id="5" name="Fußzeilenplatzhalter 4"/>
          <p:cNvSpPr>
            <a:spLocks noGrp="1"/>
          </p:cNvSpPr>
          <p:nvPr>
            <p:ph type="ftr" sz="quarter" idx="11"/>
          </p:nvPr>
        </p:nvSpPr>
        <p:spPr/>
        <p:txBody>
          <a:bodyPr/>
          <a:lstStyle/>
          <a:p>
            <a:endParaRPr lang="de-DE">
              <a:solidFill>
                <a:prstClr val="black">
                  <a:tint val="75000"/>
                </a:prstClr>
              </a:solidFill>
            </a:endParaRPr>
          </a:p>
        </p:txBody>
      </p:sp>
      <p:sp>
        <p:nvSpPr>
          <p:cNvPr id="6" name="Foliennummernplatzhalter 5"/>
          <p:cNvSpPr>
            <a:spLocks noGrp="1"/>
          </p:cNvSpPr>
          <p:nvPr>
            <p:ph type="sldNum" sz="quarter" idx="12"/>
          </p:nvPr>
        </p:nvSpPr>
        <p:spPr/>
        <p:txBody>
          <a:bodyPr/>
          <a:lstStyle/>
          <a:p>
            <a:fld id="{E7387338-73F0-45A1-B676-F92E8DB94C0D}"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936731865"/>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de-DE" smtClean="0"/>
              <a:t>Titelmasterformat durch Klicken bearbeiten</a:t>
            </a:r>
            <a:endParaRPr lang="de-DE"/>
          </a:p>
        </p:txBody>
      </p:sp>
      <p:sp>
        <p:nvSpPr>
          <p:cNvPr id="3" name="Textplatzhalt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smtClean="0"/>
              <a:t>Textmasterformat bearbeiten</a:t>
            </a:r>
          </a:p>
        </p:txBody>
      </p:sp>
      <p:sp>
        <p:nvSpPr>
          <p:cNvPr id="4" name="Datumsplatzhalter 3"/>
          <p:cNvSpPr>
            <a:spLocks noGrp="1"/>
          </p:cNvSpPr>
          <p:nvPr>
            <p:ph type="dt" sz="half" idx="10"/>
          </p:nvPr>
        </p:nvSpPr>
        <p:spPr/>
        <p:txBody>
          <a:bodyPr/>
          <a:lstStyle/>
          <a:p>
            <a:fld id="{19BA8597-20FA-4D05-A30F-780EBC0A86CB}" type="datetimeFigureOut">
              <a:rPr lang="de-DE" smtClean="0">
                <a:solidFill>
                  <a:prstClr val="black">
                    <a:tint val="75000"/>
                  </a:prstClr>
                </a:solidFill>
              </a:rPr>
              <a:pPr/>
              <a:t>26.04.2019</a:t>
            </a:fld>
            <a:endParaRPr lang="de-DE">
              <a:solidFill>
                <a:prstClr val="black">
                  <a:tint val="75000"/>
                </a:prstClr>
              </a:solidFill>
            </a:endParaRPr>
          </a:p>
        </p:txBody>
      </p:sp>
      <p:sp>
        <p:nvSpPr>
          <p:cNvPr id="5" name="Fußzeilenplatzhalter 4"/>
          <p:cNvSpPr>
            <a:spLocks noGrp="1"/>
          </p:cNvSpPr>
          <p:nvPr>
            <p:ph type="ftr" sz="quarter" idx="11"/>
          </p:nvPr>
        </p:nvSpPr>
        <p:spPr/>
        <p:txBody>
          <a:bodyPr/>
          <a:lstStyle/>
          <a:p>
            <a:endParaRPr lang="de-DE">
              <a:solidFill>
                <a:prstClr val="black">
                  <a:tint val="75000"/>
                </a:prstClr>
              </a:solidFill>
            </a:endParaRPr>
          </a:p>
        </p:txBody>
      </p:sp>
      <p:sp>
        <p:nvSpPr>
          <p:cNvPr id="6" name="Foliennummernplatzhalter 5"/>
          <p:cNvSpPr>
            <a:spLocks noGrp="1"/>
          </p:cNvSpPr>
          <p:nvPr>
            <p:ph type="sldNum" sz="quarter" idx="12"/>
          </p:nvPr>
        </p:nvSpPr>
        <p:spPr/>
        <p:txBody>
          <a:bodyPr/>
          <a:lstStyle/>
          <a:p>
            <a:fld id="{E7387338-73F0-45A1-B676-F92E8DB94C0D}"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867945860"/>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838200" y="1825625"/>
            <a:ext cx="5181600" cy="4351338"/>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6172200" y="1825625"/>
            <a:ext cx="5181600" cy="4351338"/>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p>
            <a:fld id="{19BA8597-20FA-4D05-A30F-780EBC0A86CB}" type="datetimeFigureOut">
              <a:rPr lang="de-DE" smtClean="0">
                <a:solidFill>
                  <a:prstClr val="black">
                    <a:tint val="75000"/>
                  </a:prstClr>
                </a:solidFill>
              </a:rPr>
              <a:pPr/>
              <a:t>26.04.2019</a:t>
            </a:fld>
            <a:endParaRPr lang="de-DE">
              <a:solidFill>
                <a:prstClr val="black">
                  <a:tint val="75000"/>
                </a:prstClr>
              </a:solidFill>
            </a:endParaRPr>
          </a:p>
        </p:txBody>
      </p:sp>
      <p:sp>
        <p:nvSpPr>
          <p:cNvPr id="6" name="Fußzeilenplatzhalter 5"/>
          <p:cNvSpPr>
            <a:spLocks noGrp="1"/>
          </p:cNvSpPr>
          <p:nvPr>
            <p:ph type="ftr" sz="quarter" idx="11"/>
          </p:nvPr>
        </p:nvSpPr>
        <p:spPr/>
        <p:txBody>
          <a:bodyPr/>
          <a:lstStyle/>
          <a:p>
            <a:endParaRPr lang="de-DE">
              <a:solidFill>
                <a:prstClr val="black">
                  <a:tint val="75000"/>
                </a:prstClr>
              </a:solidFill>
            </a:endParaRPr>
          </a:p>
        </p:txBody>
      </p:sp>
      <p:sp>
        <p:nvSpPr>
          <p:cNvPr id="7" name="Foliennummernplatzhalter 6"/>
          <p:cNvSpPr>
            <a:spLocks noGrp="1"/>
          </p:cNvSpPr>
          <p:nvPr>
            <p:ph type="sldNum" sz="quarter" idx="12"/>
          </p:nvPr>
        </p:nvSpPr>
        <p:spPr/>
        <p:txBody>
          <a:bodyPr/>
          <a:lstStyle/>
          <a:p>
            <a:fld id="{E7387338-73F0-45A1-B676-F92E8DB94C0D}"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607986245"/>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de-DE" smtClean="0"/>
              <a:t>Titelmasterformat durch Klicken bearbeiten</a:t>
            </a:r>
            <a:endParaRPr lang="de-DE"/>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839788" y="2505075"/>
            <a:ext cx="5157787" cy="3684588"/>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6172200" y="2505075"/>
            <a:ext cx="5183188" cy="3684588"/>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p>
            <a:fld id="{19BA8597-20FA-4D05-A30F-780EBC0A86CB}" type="datetimeFigureOut">
              <a:rPr lang="de-DE" smtClean="0">
                <a:solidFill>
                  <a:prstClr val="black">
                    <a:tint val="75000"/>
                  </a:prstClr>
                </a:solidFill>
              </a:rPr>
              <a:pPr/>
              <a:t>26.04.2019</a:t>
            </a:fld>
            <a:endParaRPr lang="de-DE">
              <a:solidFill>
                <a:prstClr val="black">
                  <a:tint val="75000"/>
                </a:prstClr>
              </a:solidFill>
            </a:endParaRPr>
          </a:p>
        </p:txBody>
      </p:sp>
      <p:sp>
        <p:nvSpPr>
          <p:cNvPr id="8" name="Fußzeilenplatzhalter 7"/>
          <p:cNvSpPr>
            <a:spLocks noGrp="1"/>
          </p:cNvSpPr>
          <p:nvPr>
            <p:ph type="ftr" sz="quarter" idx="11"/>
          </p:nvPr>
        </p:nvSpPr>
        <p:spPr/>
        <p:txBody>
          <a:bodyPr/>
          <a:lstStyle/>
          <a:p>
            <a:endParaRPr lang="de-DE">
              <a:solidFill>
                <a:prstClr val="black">
                  <a:tint val="75000"/>
                </a:prstClr>
              </a:solidFill>
            </a:endParaRPr>
          </a:p>
        </p:txBody>
      </p:sp>
      <p:sp>
        <p:nvSpPr>
          <p:cNvPr id="9" name="Foliennummernplatzhalter 8"/>
          <p:cNvSpPr>
            <a:spLocks noGrp="1"/>
          </p:cNvSpPr>
          <p:nvPr>
            <p:ph type="sldNum" sz="quarter" idx="12"/>
          </p:nvPr>
        </p:nvSpPr>
        <p:spPr/>
        <p:txBody>
          <a:bodyPr/>
          <a:lstStyle/>
          <a:p>
            <a:fld id="{E7387338-73F0-45A1-B676-F92E8DB94C0D}"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4094932333"/>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19BA8597-20FA-4D05-A30F-780EBC0A86CB}" type="datetimeFigureOut">
              <a:rPr lang="de-DE" smtClean="0">
                <a:solidFill>
                  <a:prstClr val="black">
                    <a:tint val="75000"/>
                  </a:prstClr>
                </a:solidFill>
              </a:rPr>
              <a:pPr/>
              <a:t>26.04.2019</a:t>
            </a:fld>
            <a:endParaRPr lang="de-DE">
              <a:solidFill>
                <a:prstClr val="black">
                  <a:tint val="75000"/>
                </a:prstClr>
              </a:solidFill>
            </a:endParaRPr>
          </a:p>
        </p:txBody>
      </p:sp>
      <p:sp>
        <p:nvSpPr>
          <p:cNvPr id="4" name="Fußzeilenplatzhalter 3"/>
          <p:cNvSpPr>
            <a:spLocks noGrp="1"/>
          </p:cNvSpPr>
          <p:nvPr>
            <p:ph type="ftr" sz="quarter" idx="11"/>
          </p:nvPr>
        </p:nvSpPr>
        <p:spPr/>
        <p:txBody>
          <a:bodyPr/>
          <a:lstStyle/>
          <a:p>
            <a:endParaRPr lang="de-DE">
              <a:solidFill>
                <a:prstClr val="black">
                  <a:tint val="75000"/>
                </a:prstClr>
              </a:solidFill>
            </a:endParaRPr>
          </a:p>
        </p:txBody>
      </p:sp>
      <p:sp>
        <p:nvSpPr>
          <p:cNvPr id="5" name="Foliennummernplatzhalter 4"/>
          <p:cNvSpPr>
            <a:spLocks noGrp="1"/>
          </p:cNvSpPr>
          <p:nvPr>
            <p:ph type="sldNum" sz="quarter" idx="12"/>
          </p:nvPr>
        </p:nvSpPr>
        <p:spPr/>
        <p:txBody>
          <a:bodyPr/>
          <a:lstStyle/>
          <a:p>
            <a:fld id="{E7387338-73F0-45A1-B676-F92E8DB94C0D}"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19667630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19BA8597-20FA-4D05-A30F-780EBC0A86CB}" type="datetimeFigureOut">
              <a:rPr lang="de-DE" smtClean="0">
                <a:solidFill>
                  <a:prstClr val="black">
                    <a:tint val="75000"/>
                  </a:prstClr>
                </a:solidFill>
              </a:rPr>
              <a:pPr/>
              <a:t>26.04.2019</a:t>
            </a:fld>
            <a:endParaRPr lang="de-DE">
              <a:solidFill>
                <a:prstClr val="black">
                  <a:tint val="75000"/>
                </a:prstClr>
              </a:solidFill>
            </a:endParaRPr>
          </a:p>
        </p:txBody>
      </p:sp>
      <p:sp>
        <p:nvSpPr>
          <p:cNvPr id="3" name="Fußzeilenplatzhalter 2"/>
          <p:cNvSpPr>
            <a:spLocks noGrp="1"/>
          </p:cNvSpPr>
          <p:nvPr>
            <p:ph type="ftr" sz="quarter" idx="11"/>
          </p:nvPr>
        </p:nvSpPr>
        <p:spPr/>
        <p:txBody>
          <a:bodyPr/>
          <a:lstStyle/>
          <a:p>
            <a:endParaRPr lang="de-DE">
              <a:solidFill>
                <a:prstClr val="black">
                  <a:tint val="75000"/>
                </a:prstClr>
              </a:solidFill>
            </a:endParaRPr>
          </a:p>
        </p:txBody>
      </p:sp>
      <p:sp>
        <p:nvSpPr>
          <p:cNvPr id="4" name="Foliennummernplatzhalter 3"/>
          <p:cNvSpPr>
            <a:spLocks noGrp="1"/>
          </p:cNvSpPr>
          <p:nvPr>
            <p:ph type="sldNum" sz="quarter" idx="12"/>
          </p:nvPr>
        </p:nvSpPr>
        <p:spPr/>
        <p:txBody>
          <a:bodyPr/>
          <a:lstStyle/>
          <a:p>
            <a:fld id="{E7387338-73F0-45A1-B676-F92E8DB94C0D}"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943980626"/>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smtClean="0"/>
              <a:t>Titelmasterformat durch Klicken bearbeiten</a:t>
            </a:r>
            <a:endParaRPr lang="de-DE"/>
          </a:p>
        </p:txBody>
      </p:sp>
      <p:sp>
        <p:nvSpPr>
          <p:cNvPr id="3" name="Inhaltsplatzhalt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smtClean="0"/>
              <a:t>Textmasterformat bearbeiten</a:t>
            </a:r>
          </a:p>
        </p:txBody>
      </p:sp>
      <p:sp>
        <p:nvSpPr>
          <p:cNvPr id="5" name="Datumsplatzhalter 4"/>
          <p:cNvSpPr>
            <a:spLocks noGrp="1"/>
          </p:cNvSpPr>
          <p:nvPr>
            <p:ph type="dt" sz="half" idx="10"/>
          </p:nvPr>
        </p:nvSpPr>
        <p:spPr/>
        <p:txBody>
          <a:bodyPr/>
          <a:lstStyle/>
          <a:p>
            <a:fld id="{19BA8597-20FA-4D05-A30F-780EBC0A86CB}" type="datetimeFigureOut">
              <a:rPr lang="de-DE" smtClean="0">
                <a:solidFill>
                  <a:prstClr val="black">
                    <a:tint val="75000"/>
                  </a:prstClr>
                </a:solidFill>
              </a:rPr>
              <a:pPr/>
              <a:t>26.04.2019</a:t>
            </a:fld>
            <a:endParaRPr lang="de-DE">
              <a:solidFill>
                <a:prstClr val="black">
                  <a:tint val="75000"/>
                </a:prstClr>
              </a:solidFill>
            </a:endParaRPr>
          </a:p>
        </p:txBody>
      </p:sp>
      <p:sp>
        <p:nvSpPr>
          <p:cNvPr id="6" name="Fußzeilenplatzhalter 5"/>
          <p:cNvSpPr>
            <a:spLocks noGrp="1"/>
          </p:cNvSpPr>
          <p:nvPr>
            <p:ph type="ftr" sz="quarter" idx="11"/>
          </p:nvPr>
        </p:nvSpPr>
        <p:spPr/>
        <p:txBody>
          <a:bodyPr/>
          <a:lstStyle/>
          <a:p>
            <a:endParaRPr lang="de-DE">
              <a:solidFill>
                <a:prstClr val="black">
                  <a:tint val="75000"/>
                </a:prstClr>
              </a:solidFill>
            </a:endParaRPr>
          </a:p>
        </p:txBody>
      </p:sp>
      <p:sp>
        <p:nvSpPr>
          <p:cNvPr id="7" name="Foliennummernplatzhalter 6"/>
          <p:cNvSpPr>
            <a:spLocks noGrp="1"/>
          </p:cNvSpPr>
          <p:nvPr>
            <p:ph type="sldNum" sz="quarter" idx="12"/>
          </p:nvPr>
        </p:nvSpPr>
        <p:spPr/>
        <p:txBody>
          <a:bodyPr/>
          <a:lstStyle/>
          <a:p>
            <a:fld id="{E7387338-73F0-45A1-B676-F92E8DB94C0D}"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20104515"/>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smtClean="0"/>
              <a:t>Titelmasterformat durch Klicken bearbeiten</a:t>
            </a:r>
            <a:endParaRPr lang="de-DE"/>
          </a:p>
        </p:txBody>
      </p:sp>
      <p:sp>
        <p:nvSpPr>
          <p:cNvPr id="3" name="Bildplatzhalt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smtClean="0"/>
              <a:t>Textmasterformat bearbeiten</a:t>
            </a:r>
          </a:p>
        </p:txBody>
      </p:sp>
      <p:sp>
        <p:nvSpPr>
          <p:cNvPr id="5" name="Datumsplatzhalter 4"/>
          <p:cNvSpPr>
            <a:spLocks noGrp="1"/>
          </p:cNvSpPr>
          <p:nvPr>
            <p:ph type="dt" sz="half" idx="10"/>
          </p:nvPr>
        </p:nvSpPr>
        <p:spPr/>
        <p:txBody>
          <a:bodyPr/>
          <a:lstStyle/>
          <a:p>
            <a:fld id="{19BA8597-20FA-4D05-A30F-780EBC0A86CB}" type="datetimeFigureOut">
              <a:rPr lang="de-DE" smtClean="0">
                <a:solidFill>
                  <a:prstClr val="black">
                    <a:tint val="75000"/>
                  </a:prstClr>
                </a:solidFill>
              </a:rPr>
              <a:pPr/>
              <a:t>26.04.2019</a:t>
            </a:fld>
            <a:endParaRPr lang="de-DE">
              <a:solidFill>
                <a:prstClr val="black">
                  <a:tint val="75000"/>
                </a:prstClr>
              </a:solidFill>
            </a:endParaRPr>
          </a:p>
        </p:txBody>
      </p:sp>
      <p:sp>
        <p:nvSpPr>
          <p:cNvPr id="6" name="Fußzeilenplatzhalter 5"/>
          <p:cNvSpPr>
            <a:spLocks noGrp="1"/>
          </p:cNvSpPr>
          <p:nvPr>
            <p:ph type="ftr" sz="quarter" idx="11"/>
          </p:nvPr>
        </p:nvSpPr>
        <p:spPr/>
        <p:txBody>
          <a:bodyPr/>
          <a:lstStyle/>
          <a:p>
            <a:endParaRPr lang="de-DE">
              <a:solidFill>
                <a:prstClr val="black">
                  <a:tint val="75000"/>
                </a:prstClr>
              </a:solidFill>
            </a:endParaRPr>
          </a:p>
        </p:txBody>
      </p:sp>
      <p:sp>
        <p:nvSpPr>
          <p:cNvPr id="7" name="Foliennummernplatzhalter 6"/>
          <p:cNvSpPr>
            <a:spLocks noGrp="1"/>
          </p:cNvSpPr>
          <p:nvPr>
            <p:ph type="sldNum" sz="quarter" idx="12"/>
          </p:nvPr>
        </p:nvSpPr>
        <p:spPr/>
        <p:txBody>
          <a:bodyPr/>
          <a:lstStyle/>
          <a:p>
            <a:fld id="{E7387338-73F0-45A1-B676-F92E8DB94C0D}"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225489593"/>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9BA8597-20FA-4D05-A30F-780EBC0A86CB}" type="datetimeFigureOut">
              <a:rPr lang="de-DE" smtClean="0">
                <a:solidFill>
                  <a:prstClr val="black">
                    <a:tint val="75000"/>
                  </a:prstClr>
                </a:solidFill>
              </a:rPr>
              <a:pPr/>
              <a:t>26.04.2019</a:t>
            </a:fld>
            <a:endParaRPr lang="de-DE">
              <a:solidFill>
                <a:prstClr val="black">
                  <a:tint val="75000"/>
                </a:prstClr>
              </a:solidFill>
            </a:endParaRPr>
          </a:p>
        </p:txBody>
      </p:sp>
      <p:sp>
        <p:nvSpPr>
          <p:cNvPr id="5" name="Fußzeilenplatzhalter 4"/>
          <p:cNvSpPr>
            <a:spLocks noGrp="1"/>
          </p:cNvSpPr>
          <p:nvPr>
            <p:ph type="ftr" sz="quarter" idx="11"/>
          </p:nvPr>
        </p:nvSpPr>
        <p:spPr/>
        <p:txBody>
          <a:bodyPr/>
          <a:lstStyle/>
          <a:p>
            <a:endParaRPr lang="de-DE">
              <a:solidFill>
                <a:prstClr val="black">
                  <a:tint val="75000"/>
                </a:prstClr>
              </a:solidFill>
            </a:endParaRPr>
          </a:p>
        </p:txBody>
      </p:sp>
      <p:sp>
        <p:nvSpPr>
          <p:cNvPr id="6" name="Foliennummernplatzhalter 5"/>
          <p:cNvSpPr>
            <a:spLocks noGrp="1"/>
          </p:cNvSpPr>
          <p:nvPr>
            <p:ph type="sldNum" sz="quarter" idx="12"/>
          </p:nvPr>
        </p:nvSpPr>
        <p:spPr/>
        <p:txBody>
          <a:bodyPr/>
          <a:lstStyle/>
          <a:p>
            <a:fld id="{E7387338-73F0-45A1-B676-F92E8DB94C0D}"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8996025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small // Image">
    <p:spTree>
      <p:nvGrpSpPr>
        <p:cNvPr id="1" name=""/>
        <p:cNvGrpSpPr/>
        <p:nvPr/>
      </p:nvGrpSpPr>
      <p:grpSpPr>
        <a:xfrm>
          <a:off x="0" y="0"/>
          <a:ext cx="0" cy="0"/>
          <a:chOff x="0" y="0"/>
          <a:chExt cx="0" cy="0"/>
        </a:xfrm>
      </p:grpSpPr>
      <p:sp>
        <p:nvSpPr>
          <p:cNvPr id="10" name="Picture Placeholder 3"/>
          <p:cNvSpPr>
            <a:spLocks noGrp="1"/>
          </p:cNvSpPr>
          <p:nvPr>
            <p:ph type="pic" sz="quarter" idx="14" hasCustomPrompt="1"/>
          </p:nvPr>
        </p:nvSpPr>
        <p:spPr bwMode="gray">
          <a:xfrm>
            <a:off x="4848875" y="1504604"/>
            <a:ext cx="6711903" cy="4875669"/>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2" y="1504603"/>
            <a:ext cx="3857441" cy="4876681"/>
          </a:xfrm>
        </p:spPr>
        <p:txBody>
          <a:bodyPr>
            <a:normAutofit/>
          </a:bodyPr>
          <a:lstStyle>
            <a:lvl1pPr>
              <a:lnSpc>
                <a:spcPts val="2399"/>
              </a:lnSpc>
              <a:defRPr sz="1899" baseline="0"/>
            </a:lvl1pPr>
            <a:lvl2pPr>
              <a:lnSpc>
                <a:spcPts val="2399"/>
              </a:lnSpc>
              <a:defRPr sz="1899"/>
            </a:lvl2pPr>
            <a:lvl3pPr>
              <a:lnSpc>
                <a:spcPts val="2399"/>
              </a:lnSpc>
              <a:defRPr sz="1899"/>
            </a:lvl3pPr>
            <a:lvl4pPr>
              <a:lnSpc>
                <a:spcPts val="2399"/>
              </a:lnSpc>
              <a:defRPr sz="1899"/>
            </a:lvl4pPr>
            <a:lvl5pPr>
              <a:lnSpc>
                <a:spcPts val="2399"/>
              </a:lnSpc>
              <a:defRPr sz="1899"/>
            </a:lvl5pPr>
            <a:lvl6pPr>
              <a:lnSpc>
                <a:spcPts val="2399"/>
              </a:lnSpc>
              <a:defRPr sz="1899"/>
            </a:lvl6pPr>
            <a:lvl7pPr>
              <a:lnSpc>
                <a:spcPts val="2399"/>
              </a:lnSpc>
              <a:defRPr sz="1899"/>
            </a:lvl7pPr>
            <a:lvl8pPr>
              <a:lnSpc>
                <a:spcPts val="2399"/>
              </a:lnSpc>
              <a:defRPr sz="1899"/>
            </a:lvl8pPr>
            <a:lvl9pPr>
              <a:lnSpc>
                <a:spcPts val="2399"/>
              </a:lnSpc>
              <a:defRPr sz="1899"/>
            </a:lvl9pPr>
          </a:lstStyle>
          <a:p>
            <a:pPr lvl="0"/>
            <a:r>
              <a:rPr lang="en-GB" dirty="0"/>
              <a:t>Insert text in </a:t>
            </a:r>
            <a:r>
              <a:rPr lang="en-GB" noProof="0" dirty="0" err="1"/>
              <a:t>CorpoS</a:t>
            </a:r>
            <a:r>
              <a:rPr lang="en-GB" noProof="0" dirty="0"/>
              <a:t> (Body) 19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5" name="Title 4"/>
          <p:cNvSpPr>
            <a:spLocks noGrp="1"/>
          </p:cNvSpPr>
          <p:nvPr>
            <p:ph type="title" hasCustomPrompt="1"/>
          </p:nvPr>
        </p:nvSpPr>
        <p:spPr/>
        <p:txBody>
          <a:bodyPr/>
          <a:lstStyle/>
          <a:p>
            <a:r>
              <a:rPr lang="en-GB" noProof="0" dirty="0"/>
              <a:t>Headline in </a:t>
            </a:r>
            <a:r>
              <a:rPr lang="en-GB" noProof="0" dirty="0" err="1"/>
              <a:t>CorpoS</a:t>
            </a:r>
            <a:r>
              <a:rPr lang="en-GB" noProof="0" dirty="0"/>
              <a:t> (Body) 35 pt. for standard </a:t>
            </a:r>
            <a:br>
              <a:rPr lang="en-GB" noProof="0" dirty="0"/>
            </a:br>
            <a:r>
              <a:rPr lang="en-GB" noProof="0" dirty="0"/>
              <a:t>text-chart in two lines</a:t>
            </a:r>
            <a:endParaRPr lang="en-GB" dirty="0"/>
          </a:p>
        </p:txBody>
      </p:sp>
    </p:spTree>
    <p:extLst>
      <p:ext uri="{BB962C8B-B14F-4D97-AF65-F5344CB8AC3E}">
        <p14:creationId xmlns:p14="http://schemas.microsoft.com/office/powerpoint/2010/main" val="4135539043"/>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948">
          <p15:clr>
            <a:srgbClr val="FBAE40"/>
          </p15:clr>
        </p15:guide>
        <p15:guide id="3" orient="horz" pos="182">
          <p15:clr>
            <a:srgbClr val="FBAE40"/>
          </p15:clr>
        </p15:guide>
        <p15:guide id="4" pos="3056">
          <p15:clr>
            <a:srgbClr val="FBAE40"/>
          </p15:clr>
        </p15:guide>
        <p15:guide id="5" pos="2828">
          <p15:clr>
            <a:srgbClr val="FBAE40"/>
          </p15:clr>
        </p15:guide>
      </p15:sldGuideLst>
    </p:ext>
  </p:extLst>
</p:sldLayout>
</file>

<file path=ppt/slideLayouts/slideLayout590.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8900" cy="5811838"/>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838200" y="365125"/>
            <a:ext cx="7734300" cy="5811838"/>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19BA8597-20FA-4D05-A30F-780EBC0A86CB}" type="datetimeFigureOut">
              <a:rPr lang="de-DE" smtClean="0">
                <a:solidFill>
                  <a:prstClr val="black">
                    <a:tint val="75000"/>
                  </a:prstClr>
                </a:solidFill>
              </a:rPr>
              <a:pPr/>
              <a:t>26.04.2019</a:t>
            </a:fld>
            <a:endParaRPr lang="de-DE">
              <a:solidFill>
                <a:prstClr val="black">
                  <a:tint val="75000"/>
                </a:prstClr>
              </a:solidFill>
            </a:endParaRPr>
          </a:p>
        </p:txBody>
      </p:sp>
      <p:sp>
        <p:nvSpPr>
          <p:cNvPr id="5" name="Fußzeilenplatzhalter 4"/>
          <p:cNvSpPr>
            <a:spLocks noGrp="1"/>
          </p:cNvSpPr>
          <p:nvPr>
            <p:ph type="ftr" sz="quarter" idx="11"/>
          </p:nvPr>
        </p:nvSpPr>
        <p:spPr/>
        <p:txBody>
          <a:bodyPr/>
          <a:lstStyle/>
          <a:p>
            <a:endParaRPr lang="de-DE">
              <a:solidFill>
                <a:prstClr val="black">
                  <a:tint val="75000"/>
                </a:prstClr>
              </a:solidFill>
            </a:endParaRPr>
          </a:p>
        </p:txBody>
      </p:sp>
      <p:sp>
        <p:nvSpPr>
          <p:cNvPr id="6" name="Foliennummernplatzhalter 5"/>
          <p:cNvSpPr>
            <a:spLocks noGrp="1"/>
          </p:cNvSpPr>
          <p:nvPr>
            <p:ph type="sldNum" sz="quarter" idx="12"/>
          </p:nvPr>
        </p:nvSpPr>
        <p:spPr/>
        <p:txBody>
          <a:bodyPr/>
          <a:lstStyle/>
          <a:p>
            <a:fld id="{E7387338-73F0-45A1-B676-F92E8DB94C0D}"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552931601"/>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userDrawn="1">
  <p:cSld name="Headline two line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83707402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userDrawn="1">
  <p:cSld name="1_Agenda without brush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smtClean="0"/>
              <a:t>Headline for Agenda in CorpoS (Body) 35 pt. </a:t>
            </a:r>
            <a:br>
              <a:rPr lang="en-GB" noProof="0" dirty="0" smtClean="0"/>
            </a:br>
            <a:r>
              <a:rPr lang="en-GB" noProof="0" dirty="0" smtClean="0"/>
              <a:t>one or two lines</a:t>
            </a:r>
            <a:endParaRPr lang="en-GB" dirty="0"/>
          </a:p>
        </p:txBody>
      </p:sp>
      <p:sp>
        <p:nvSpPr>
          <p:cNvPr id="3" name="Footer Placeholder 2"/>
          <p:cNvSpPr>
            <a:spLocks noGrp="1"/>
          </p:cNvSpPr>
          <p:nvPr>
            <p:ph type="ftr" sz="quarter" idx="10"/>
          </p:nvPr>
        </p:nvSpPr>
        <p:spPr>
          <a:xfrm>
            <a:off x="2878500" y="6564880"/>
            <a:ext cx="8120970" cy="215950"/>
          </a:xfrm>
          <a:prstGeom prst="rect">
            <a:avLst/>
          </a:prstGeom>
        </p:spPr>
        <p:txBody>
          <a:bodyPr/>
          <a:lstStyle/>
          <a:p>
            <a:pPr defTabSz="1087306"/>
            <a:r>
              <a:rPr lang="en-GB" sz="2099" smtClean="0">
                <a:solidFill>
                  <a:prstClr val="black"/>
                </a:solidFill>
              </a:rPr>
              <a:t>Title of presentation / Department / Date /</a:t>
            </a:r>
            <a:endParaRPr lang="en-GB" sz="2099"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smtClean="0"/>
              <a:t>Insert Agenda point</a:t>
            </a:r>
          </a:p>
          <a:p>
            <a:pPr lvl="1"/>
            <a:r>
              <a:rPr lang="en-GB" dirty="0" smtClean="0"/>
              <a:t>Second level </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a:p>
            <a:pPr lvl="8"/>
            <a:r>
              <a:rPr lang="en-GB" dirty="0" smtClean="0"/>
              <a:t>Ninth level</a:t>
            </a:r>
          </a:p>
        </p:txBody>
      </p:sp>
    </p:spTree>
    <p:extLst>
      <p:ext uri="{BB962C8B-B14F-4D97-AF65-F5344CB8AC3E}">
        <p14:creationId xmlns:p14="http://schemas.microsoft.com/office/powerpoint/2010/main" val="146603821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showMasterSp="0" userDrawn="1">
  <p:cSld name="Vollbild">
    <p:bg>
      <p:bgRef idx="1001">
        <a:schemeClr val="bg1"/>
      </p:bgRef>
    </p:bg>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0097A7"/>
                  </a:solidFill>
                </a:rPr>
                <a:t>Hilfslinien anzeigen über Menu: Ansicht // Anzeigen // Haken bei Führungslinien setzen</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0097A7"/>
                  </a:solidFill>
                </a:rPr>
                <a:t>Fußzeile pro Folie oder für alle/mehrere anpassen über Menü: Einfügen // Text // Kopf- und Fußzeile</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0097A7"/>
                    </a:solidFill>
                  </a:rPr>
                  <a:t>Folie in Ursprungsform </a:t>
                </a:r>
              </a:p>
              <a:p>
                <a:pPr algn="r"/>
                <a:r>
                  <a:rPr lang="de-DE" sz="1099" dirty="0">
                    <a:solidFill>
                      <a:srgbClr val="0097A7"/>
                    </a:solidFill>
                  </a:rPr>
                  <a:t>bringen über Menu:</a:t>
                </a:r>
              </a:p>
              <a:p>
                <a:pPr algn="r"/>
                <a:r>
                  <a:rPr lang="de-DE" sz="1099" dirty="0">
                    <a:solidFill>
                      <a:srgbClr val="0097A7"/>
                    </a:solidFill>
                  </a:rPr>
                  <a:t>Start // Folien // Zurücksetzen</a:t>
                </a:r>
              </a:p>
              <a:p>
                <a:pPr algn="r"/>
                <a:endParaRPr lang="de-DE" sz="1099" dirty="0">
                  <a:solidFill>
                    <a:srgbClr val="0097A7"/>
                  </a:solidFill>
                </a:endParaRPr>
              </a:p>
              <a:p>
                <a:pPr algn="r"/>
                <a:r>
                  <a:rPr lang="de-DE" sz="1099" dirty="0">
                    <a:solidFill>
                      <a:srgbClr val="0097A7"/>
                    </a:solidFill>
                  </a:rPr>
                  <a:t>Wechsel des Folienlayouts </a:t>
                </a:r>
                <a:br>
                  <a:rPr lang="de-DE" sz="1099" dirty="0">
                    <a:solidFill>
                      <a:srgbClr val="0097A7"/>
                    </a:solidFill>
                  </a:rPr>
                </a:br>
                <a:r>
                  <a:rPr lang="de-DE" sz="1099" dirty="0">
                    <a:solidFill>
                      <a:srgbClr val="0097A7"/>
                    </a:solidFill>
                  </a:rPr>
                  <a:t>im Menü über:</a:t>
                </a:r>
              </a:p>
              <a:p>
                <a:pPr algn="r">
                  <a:defRPr/>
                </a:pPr>
                <a:r>
                  <a:rPr lang="de-DE" sz="1099" dirty="0">
                    <a:solidFill>
                      <a:srgbClr val="0097A7"/>
                    </a:solidFill>
                  </a:rPr>
                  <a:t>Start // Folien // Layout</a:t>
                </a:r>
              </a:p>
              <a:p>
                <a:pPr algn="r">
                  <a:defRPr/>
                </a:pPr>
                <a:endParaRPr lang="de-DE" sz="1099" dirty="0">
                  <a:solidFill>
                    <a:srgbClr val="0097A7"/>
                  </a:solidFill>
                </a:endParaRPr>
              </a:p>
              <a:p>
                <a:pPr algn="r">
                  <a:defRPr/>
                </a:pPr>
                <a:r>
                  <a:rPr lang="de-DE" sz="1099" dirty="0">
                    <a:solidFill>
                      <a:srgbClr val="0097A7"/>
                    </a:solidFill>
                  </a:rPr>
                  <a:t>Wechsel der Textebene</a:t>
                </a:r>
              </a:p>
              <a:p>
                <a:pPr algn="r">
                  <a:defRPr/>
                </a:pPr>
                <a:r>
                  <a:rPr lang="de-DE" sz="1099" dirty="0">
                    <a:solidFill>
                      <a:srgbClr val="0097A7"/>
                    </a:solidFill>
                  </a:rPr>
                  <a:t>im Menü über: </a:t>
                </a:r>
                <a:br>
                  <a:rPr lang="de-DE" sz="1099" dirty="0">
                    <a:solidFill>
                      <a:srgbClr val="0097A7"/>
                    </a:solidFill>
                  </a:rPr>
                </a:br>
                <a:r>
                  <a:rPr lang="de-DE" sz="1099" dirty="0">
                    <a:solidFill>
                      <a:srgbClr val="0097A7"/>
                    </a:solidFill>
                  </a:rPr>
                  <a:t>Start // Absatz // Listenebene erhöhen/verringern</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0097A7"/>
                      </a:solidFill>
                    </a:rPr>
                    <a:t>Listenebene erhöhen</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0097A7"/>
                      </a:solidFill>
                    </a:rPr>
                    <a:t>Listenebene verringern</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4"/>
          </p:nvPr>
        </p:nvSpPr>
        <p:spPr>
          <a:xfrm>
            <a:off x="2878500" y="6564880"/>
            <a:ext cx="8120970" cy="215950"/>
          </a:xfrm>
          <a:prstGeom prst="rect">
            <a:avLst/>
          </a:prstGeom>
        </p:spPr>
        <p:txBody>
          <a:bodyPr/>
          <a:lstStyle/>
          <a:p>
            <a:pPr defTabSz="1087306"/>
            <a:r>
              <a:rPr lang="de-DE" sz="2099" smtClean="0">
                <a:solidFill>
                  <a:srgbClr val="000000"/>
                </a:solidFill>
              </a:rPr>
              <a:t>Titel der Präsentation / Abteilung / Datum /</a:t>
            </a:r>
            <a:endParaRPr lang="de-DE" sz="2099" dirty="0">
              <a:solidFill>
                <a:srgbClr val="000000"/>
              </a:solidFill>
            </a:endParaRPr>
          </a:p>
        </p:txBody>
      </p:sp>
      <p:sp>
        <p:nvSpPr>
          <p:cNvPr id="3" name="Foliennummernplatzhalter 2"/>
          <p:cNvSpPr>
            <a:spLocks noGrp="1"/>
          </p:cNvSpPr>
          <p:nvPr>
            <p:ph type="sldNum" sz="quarter" idx="15"/>
          </p:nvPr>
        </p:nvSpPr>
        <p:spPr/>
        <p:txBody>
          <a:bodyPr/>
          <a:lstStyle/>
          <a:p>
            <a:r>
              <a:rPr lang="de-DE" dirty="0">
                <a:solidFill>
                  <a:srgbClr val="000000"/>
                </a:solidFill>
              </a:rPr>
              <a:t>Seite </a:t>
            </a:r>
            <a:fld id="{52531704-8F80-415D-BD2B-6B9991AE822F}" type="slidenum">
              <a:rPr lang="de-DE" smtClean="0">
                <a:solidFill>
                  <a:srgbClr val="000000"/>
                </a:solidFill>
              </a:rPr>
              <a:pPr/>
              <a:t>‹#›</a:t>
            </a:fld>
            <a:endParaRPr lang="de-DE" dirty="0">
              <a:solidFill>
                <a:srgbClr val="000000"/>
              </a:solidFill>
            </a:endParaRPr>
          </a:p>
        </p:txBody>
      </p:sp>
      <p:sp>
        <p:nvSpPr>
          <p:cNvPr id="1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7306">
              <a:defRPr/>
            </a:pPr>
            <a:r>
              <a:rPr lang="de-DE" sz="1199" dirty="0">
                <a:solidFill>
                  <a:srgbClr val="000000"/>
                </a:solidFill>
                <a:latin typeface="Arial"/>
                <a:cs typeface="Daimler CS"/>
              </a:rPr>
              <a:t>Daimler Financial Services AG</a:t>
            </a:r>
          </a:p>
        </p:txBody>
      </p:sp>
    </p:spTree>
    <p:extLst>
      <p:ext uri="{BB962C8B-B14F-4D97-AF65-F5344CB8AC3E}">
        <p14:creationId xmlns:p14="http://schemas.microsoft.com/office/powerpoint/2010/main" val="415725309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showMasterSp="0"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324" y="288858"/>
            <a:ext cx="10932454" cy="1148857"/>
          </a:xfrm>
        </p:spPr>
        <p:txBody>
          <a:bodyPr/>
          <a:lstStyle/>
          <a:p>
            <a:r>
              <a:rPr lang="en-GB" noProof="0" dirty="0"/>
              <a:t>Headline in CorpoS (Body) 35 pt.</a:t>
            </a:r>
            <a:br>
              <a:rPr lang="en-GB" noProof="0" dirty="0"/>
            </a:br>
            <a:r>
              <a:rPr lang="en-GB" noProof="0" dirty="0"/>
              <a:t>in two lines</a:t>
            </a:r>
            <a:endParaRPr lang="en-GB" dirty="0"/>
          </a:p>
        </p:txBody>
      </p:sp>
    </p:spTree>
    <p:extLst>
      <p:ext uri="{BB962C8B-B14F-4D97-AF65-F5344CB8AC3E}">
        <p14:creationId xmlns:p14="http://schemas.microsoft.com/office/powerpoint/2010/main" val="414506020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2_Agenda without brushi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7462"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23097814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1_Headline two lines //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269"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CAReer - Getting Started | DFS Global Strategy | 16.11.2016 |</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10" y="1504602"/>
            <a:ext cx="10930593" cy="4983236"/>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304980788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userDrawn="1">
  <p:cSld name="15_Titelfolie">
    <p:spTree>
      <p:nvGrpSpPr>
        <p:cNvPr id="1" name=""/>
        <p:cNvGrpSpPr/>
        <p:nvPr/>
      </p:nvGrpSpPr>
      <p:grpSpPr>
        <a:xfrm>
          <a:off x="0" y="0"/>
          <a:ext cx="0" cy="0"/>
          <a:chOff x="0" y="0"/>
          <a:chExt cx="0" cy="0"/>
        </a:xfrm>
      </p:grpSpPr>
      <p:sp>
        <p:nvSpPr>
          <p:cNvPr id="10" name="Rectangle 3"/>
          <p:cNvSpPr>
            <a:spLocks noGrp="1" noChangeArrowheads="1"/>
          </p:cNvSpPr>
          <p:nvPr>
            <p:ph type="sldNum" sz="quarter" idx="11"/>
          </p:nvPr>
        </p:nvSpPr>
        <p:spPr>
          <a:xfrm>
            <a:off x="10716515" y="6549377"/>
            <a:ext cx="946320" cy="154516"/>
          </a:xfrm>
        </p:spPr>
        <p:txBody>
          <a:bodyPr/>
          <a:lstStyle>
            <a:lvl1pPr>
              <a:defRPr baseline="0">
                <a:solidFill>
                  <a:schemeClr val="tx1"/>
                </a:solidFill>
              </a:defRPr>
            </a:lvl1pPr>
          </a:lstStyle>
          <a:p>
            <a:pPr>
              <a:defRPr/>
            </a:pPr>
            <a:fld id="{37A56F0B-F1B3-4616-9C38-CB21A8D04884}" type="slidenum">
              <a:rPr lang="de-DE" smtClean="0">
                <a:solidFill>
                  <a:srgbClr val="000000"/>
                </a:solidFill>
              </a:rPr>
              <a:pPr>
                <a:defRPr/>
              </a:pPr>
              <a:t>‹#›</a:t>
            </a:fld>
            <a:endParaRPr lang="de-DE" dirty="0">
              <a:solidFill>
                <a:srgbClr val="000000"/>
              </a:solidFill>
            </a:endParaRPr>
          </a:p>
        </p:txBody>
      </p:sp>
      <p:sp>
        <p:nvSpPr>
          <p:cNvPr id="11" name="Rectangle 5"/>
          <p:cNvSpPr>
            <a:spLocks noGrp="1" noChangeArrowheads="1"/>
          </p:cNvSpPr>
          <p:nvPr>
            <p:ph type="ftr" sz="quarter" idx="12"/>
          </p:nvPr>
        </p:nvSpPr>
        <p:spPr>
          <a:xfrm>
            <a:off x="11482688" y="6404359"/>
            <a:ext cx="193933" cy="364512"/>
          </a:xfrm>
          <a:prstGeom prst="rect">
            <a:avLst/>
          </a:prstGeom>
          <a:solidFill>
            <a:schemeClr val="bg1"/>
          </a:solidFill>
        </p:spPr>
        <p:txBody>
          <a:bodyPr lIns="71859" tIns="17965" rIns="71859" bIns="17965">
            <a:spAutoFit/>
          </a:bodyPr>
          <a:lstStyle>
            <a:lvl1pPr algn="r">
              <a:defRPr sz="2133">
                <a:solidFill>
                  <a:schemeClr val="tx1"/>
                </a:solidFill>
              </a:defRPr>
            </a:lvl1pPr>
          </a:lstStyle>
          <a:p>
            <a:pPr fontAlgn="base">
              <a:spcBef>
                <a:spcPct val="0"/>
              </a:spcBef>
              <a:spcAft>
                <a:spcPct val="0"/>
              </a:spcAft>
              <a:defRPr/>
            </a:pPr>
            <a:endParaRPr lang="de-DE" dirty="0">
              <a:solidFill>
                <a:srgbClr val="000000"/>
              </a:solidFill>
              <a:latin typeface="CorpoS" pitchFamily="2" charset="0"/>
            </a:endParaRPr>
          </a:p>
        </p:txBody>
      </p:sp>
    </p:spTree>
    <p:extLst>
      <p:ext uri="{BB962C8B-B14F-4D97-AF65-F5344CB8AC3E}">
        <p14:creationId xmlns:p14="http://schemas.microsoft.com/office/powerpoint/2010/main" val="1310494258"/>
      </p:ext>
    </p:extLst>
  </p:cSld>
  <p:clrMapOvr>
    <a:masterClrMapping/>
  </p:clrMapOvr>
  <p:timing>
    <p:tnLst>
      <p:par>
        <p:cTn id="1" dur="indefinite" restart="never" nodeType="tmRoot"/>
      </p:par>
    </p:tnLst>
  </p:timing>
</p:sldLayout>
</file>

<file path=ppt/slideLayouts/slideLayout598.xml><?xml version="1.0" encoding="utf-8"?>
<p:sldLayout xmlns:a="http://schemas.openxmlformats.org/drawingml/2006/main" xmlns:r="http://schemas.openxmlformats.org/officeDocument/2006/relationships" xmlns:p="http://schemas.openxmlformats.org/presentationml/2006/main" userDrawn="1">
  <p:cSld name="3_Agenda without brushi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75036"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67150330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599.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for Agenda in </a:t>
            </a:r>
            <a:r>
              <a:rPr lang="en-GB" noProof="0" dirty="0" err="1"/>
              <a:t>CorpoS</a:t>
            </a:r>
            <a:r>
              <a:rPr lang="en-GB" noProof="0" dirty="0"/>
              <a:t>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359415794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mage-chart 3/4 brushed ">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1"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3" name="Title 2"/>
          <p:cNvSpPr>
            <a:spLocks noGrp="1"/>
          </p:cNvSpPr>
          <p:nvPr>
            <p:ph type="title" hasCustomPrompt="1"/>
          </p:nvPr>
        </p:nvSpPr>
        <p:spPr>
          <a:xfrm>
            <a:off x="628323" y="288859"/>
            <a:ext cx="10932455" cy="1025684"/>
          </a:xfrm>
        </p:spPr>
        <p:txBody>
          <a:bodyPr wrap="square">
            <a:spAutoFit/>
          </a:bodyPr>
          <a:lstStyle>
            <a:lvl1pPr>
              <a:defRPr>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83189740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ntents with head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en-GB" dirty="0"/>
              <a:t>Insert content or text in </a:t>
            </a:r>
            <a:r>
              <a:rPr lang="en-GB" noProof="0" dirty="0" err="1"/>
              <a:t>CorpoS</a:t>
            </a:r>
            <a:r>
              <a:rPr lang="en-GB" noProof="0" dirty="0"/>
              <a:t>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en-GB" dirty="0"/>
              <a:t>Insert content or text in </a:t>
            </a:r>
            <a:r>
              <a:rPr lang="en-GB" noProof="0" dirty="0" err="1"/>
              <a:t>Corpo</a:t>
            </a:r>
            <a:r>
              <a:rPr lang="en-GB" noProof="0" dirty="0"/>
              <a:t> 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Tree>
    <p:extLst>
      <p:ext uri="{BB962C8B-B14F-4D97-AF65-F5344CB8AC3E}">
        <p14:creationId xmlns:p14="http://schemas.microsoft.com/office/powerpoint/2010/main" val="1922072163"/>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1_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292938557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1_Blank/ Headline 1 lin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76060"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0641813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2_Headline two line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160737603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userDrawn="1">
  <p:cSld name="4_Agenda without brushi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78108"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74344958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604.xml><?xml version="1.0" encoding="utf-8"?>
<p:sldLayout xmlns:a="http://schemas.openxmlformats.org/drawingml/2006/main" xmlns:r="http://schemas.openxmlformats.org/officeDocument/2006/relationships" xmlns:p="http://schemas.openxmlformats.org/presentationml/2006/main" userDrawn="1">
  <p:cSld name="2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for Agenda in </a:t>
            </a:r>
            <a:r>
              <a:rPr lang="en-GB" noProof="0" dirty="0" err="1"/>
              <a:t>CorpoS</a:t>
            </a:r>
            <a:r>
              <a:rPr lang="en-GB" noProof="0" dirty="0"/>
              <a:t>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4788263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605.xml><?xml version="1.0" encoding="utf-8"?>
<p:sldLayout xmlns:a="http://schemas.openxmlformats.org/drawingml/2006/main" xmlns:r="http://schemas.openxmlformats.org/officeDocument/2006/relationships" xmlns:p="http://schemas.openxmlformats.org/presentationml/2006/main" userDrawn="1">
  <p:cSld name="2_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132887014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606.xml><?xml version="1.0" encoding="utf-8"?>
<p:sldLayout xmlns:a="http://schemas.openxmlformats.org/drawingml/2006/main" xmlns:r="http://schemas.openxmlformats.org/officeDocument/2006/relationships" xmlns:p="http://schemas.openxmlformats.org/presentationml/2006/main" userDrawn="1">
  <p:cSld name="2_Blank/ Headline 1 lin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79132"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387469663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607.xml><?xml version="1.0" encoding="utf-8"?>
<p:sldLayout xmlns:a="http://schemas.openxmlformats.org/drawingml/2006/main" xmlns:r="http://schemas.openxmlformats.org/officeDocument/2006/relationships" xmlns:p="http://schemas.openxmlformats.org/presentationml/2006/main" userDrawn="1">
  <p:cSld name="3_Headline two line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9584573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608.xml><?xml version="1.0" encoding="utf-8"?>
<p:sldLayout xmlns:a="http://schemas.openxmlformats.org/drawingml/2006/main" xmlns:r="http://schemas.openxmlformats.org/officeDocument/2006/relationships" xmlns:p="http://schemas.openxmlformats.org/presentationml/2006/main" userDrawn="1">
  <p:cSld name="5_Agenda without brushi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83228"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351324361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609.xml><?xml version="1.0" encoding="utf-8"?>
<p:sldLayout xmlns:a="http://schemas.openxmlformats.org/drawingml/2006/main" xmlns:r="http://schemas.openxmlformats.org/officeDocument/2006/relationships" xmlns:p="http://schemas.openxmlformats.org/presentationml/2006/main" userDrawn="1">
  <p:cSld name="3_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418951563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 product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7"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Tree>
    <p:extLst>
      <p:ext uri="{BB962C8B-B14F-4D97-AF65-F5344CB8AC3E}">
        <p14:creationId xmlns:p14="http://schemas.microsoft.com/office/powerpoint/2010/main" val="317004883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userDrawn="1">
  <p:cSld name="4_Headline two line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62301800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611.xml><?xml version="1.0" encoding="utf-8"?>
<p:sldLayout xmlns:a="http://schemas.openxmlformats.org/drawingml/2006/main" xmlns:r="http://schemas.openxmlformats.org/officeDocument/2006/relationships" xmlns:p="http://schemas.openxmlformats.org/presentationml/2006/main" userDrawn="1">
  <p:cSld name="1_Headline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Textkörper) 35 pt.</a:t>
            </a:r>
            <a:endParaRPr lang="de-DE" dirty="0"/>
          </a:p>
        </p:txBody>
      </p:sp>
      <p:sp>
        <p:nvSpPr>
          <p:cNvPr id="5" name="Fußzeilenplatzhalter 4"/>
          <p:cNvSpPr>
            <a:spLocks noGrp="1"/>
          </p:cNvSpPr>
          <p:nvPr>
            <p:ph type="ftr" sz="quarter" idx="10"/>
          </p:nvPr>
        </p:nvSpPr>
        <p:spPr/>
        <p:txBody>
          <a:bodyPr/>
          <a:lstStyle/>
          <a:p>
            <a:r>
              <a:rPr lang="de-DE" dirty="0"/>
              <a:t>Titel der Präsentation / Abteilung / Datum /</a:t>
            </a:r>
          </a:p>
        </p:txBody>
      </p:sp>
      <p:sp>
        <p:nvSpPr>
          <p:cNvPr id="6" name="Foliennummernplatzhalter 5"/>
          <p:cNvSpPr>
            <a:spLocks noGrp="1"/>
          </p:cNvSpPr>
          <p:nvPr>
            <p:ph type="sldNum" sz="quarter" idx="11"/>
          </p:nvPr>
        </p:nvSpPr>
        <p:spPr/>
        <p:txBody>
          <a:bodyPr/>
          <a:lstStyle/>
          <a:p>
            <a:r>
              <a:rPr lang="de-DE" dirty="0"/>
              <a:t>Seite </a:t>
            </a:r>
            <a:fld id="{52531704-8F80-415D-BD2B-6B9991AE822F}" type="slidenum">
              <a:rPr lang="de-DE" smtClean="0"/>
              <a:pPr/>
              <a:t>‹#›</a:t>
            </a:fld>
            <a:endParaRPr lang="de-DE" dirty="0"/>
          </a:p>
        </p:txBody>
      </p:sp>
    </p:spTree>
    <p:extLst>
      <p:ext uri="{BB962C8B-B14F-4D97-AF65-F5344CB8AC3E}">
        <p14:creationId xmlns:p14="http://schemas.microsoft.com/office/powerpoint/2010/main" val="1831655362"/>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6_Agenda without brushi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84252"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240347025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613.xml><?xml version="1.0" encoding="utf-8"?>
<p:sldLayout xmlns:a="http://schemas.openxmlformats.org/drawingml/2006/main" xmlns:r="http://schemas.openxmlformats.org/officeDocument/2006/relationships" xmlns:p="http://schemas.openxmlformats.org/presentationml/2006/main" userDrawn="1">
  <p:cSld name="4_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114618102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Headline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Textkörper) 35 pt.</a:t>
            </a:r>
            <a:endParaRPr lang="de-DE" dirty="0"/>
          </a:p>
        </p:txBody>
      </p:sp>
      <p:sp>
        <p:nvSpPr>
          <p:cNvPr id="5" name="Fußzeilenplatzhalter 4"/>
          <p:cNvSpPr>
            <a:spLocks noGrp="1"/>
          </p:cNvSpPr>
          <p:nvPr>
            <p:ph type="ftr" sz="quarter" idx="10"/>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1"/>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694633488"/>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615.xml><?xml version="1.0" encoding="utf-8"?>
<p:sldLayout xmlns:a="http://schemas.openxmlformats.org/drawingml/2006/main" xmlns:r="http://schemas.openxmlformats.org/officeDocument/2006/relationships" xmlns:p="http://schemas.openxmlformats.org/presentationml/2006/main" userDrawn="1">
  <p:cSld name="Headline two lines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smtClean="0"/>
              <a:t>Headline in </a:t>
            </a:r>
            <a:r>
              <a:rPr lang="en-GB" noProof="0" dirty="0" err="1" smtClean="0"/>
              <a:t>CorpoS</a:t>
            </a:r>
            <a:r>
              <a:rPr lang="en-GB" noProof="0" dirty="0" smtClean="0"/>
              <a:t> (Body) 35 pt.</a:t>
            </a:r>
            <a:br>
              <a:rPr lang="en-GB" noProof="0" dirty="0" smtClean="0"/>
            </a:br>
            <a:r>
              <a:rPr lang="en-GB" noProof="0" dirty="0" smtClean="0"/>
              <a:t>in two lines</a:t>
            </a:r>
            <a:endParaRPr lang="en-GB" dirty="0"/>
          </a:p>
        </p:txBody>
      </p:sp>
      <p:sp>
        <p:nvSpPr>
          <p:cNvPr id="3" name="Footer Placeholder 2"/>
          <p:cNvSpPr>
            <a:spLocks noGrp="1"/>
          </p:cNvSpPr>
          <p:nvPr>
            <p:ph type="ftr" sz="quarter" idx="10"/>
          </p:nvPr>
        </p:nvSpPr>
        <p:spPr/>
        <p:txBody>
          <a:bodyPr/>
          <a:lstStyle/>
          <a:p>
            <a:r>
              <a:rPr lang="en-GB" smtClean="0">
                <a:solidFill>
                  <a:prstClr val="black"/>
                </a:solidFill>
              </a:rPr>
              <a:t>DFS Welcome   -   </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307186530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userDrawn="1">
  <p:cSld name="3_KITT_Blue">
    <p:bg>
      <p:bgPr>
        <a:solidFill>
          <a:srgbClr val="337693"/>
        </a:solidFill>
        <a:effectLst/>
      </p:bgPr>
    </p:bg>
    <p:spTree>
      <p:nvGrpSpPr>
        <p:cNvPr id="1" name=""/>
        <p:cNvGrpSpPr/>
        <p:nvPr/>
      </p:nvGrpSpPr>
      <p:grpSpPr>
        <a:xfrm>
          <a:off x="0" y="0"/>
          <a:ext cx="0" cy="0"/>
          <a:chOff x="0" y="0"/>
          <a:chExt cx="0" cy="0"/>
        </a:xfrm>
      </p:grpSpPr>
      <p:sp>
        <p:nvSpPr>
          <p:cNvPr id="8" name="Inhaltsplatzhalter 3">
            <a:extLst>
              <a:ext uri="{FF2B5EF4-FFF2-40B4-BE49-F238E27FC236}">
                <a16:creationId xmlns:a16="http://schemas.microsoft.com/office/drawing/2014/main" id="{964DCD15-F37F-47D8-A21E-6AE7697CC054}"/>
              </a:ext>
            </a:extLst>
          </p:cNvPr>
          <p:cNvSpPr>
            <a:spLocks noGrp="1"/>
          </p:cNvSpPr>
          <p:nvPr>
            <p:ph sz="quarter" idx="10" hasCustomPrompt="1"/>
          </p:nvPr>
        </p:nvSpPr>
        <p:spPr bwMode="gray">
          <a:xfrm>
            <a:off x="3" y="1"/>
            <a:ext cx="12203185" cy="1411817"/>
          </a:xfrm>
          <a:custGeom>
            <a:avLst/>
            <a:gdLst>
              <a:gd name="connsiteX0" fmla="*/ 0 w 9144000"/>
              <a:gd name="connsiteY0" fmla="*/ 0 h 1058863"/>
              <a:gd name="connsiteX1" fmla="*/ 9144000 w 9144000"/>
              <a:gd name="connsiteY1" fmla="*/ 0 h 1058863"/>
              <a:gd name="connsiteX2" fmla="*/ 9144000 w 9144000"/>
              <a:gd name="connsiteY2" fmla="*/ 1058863 h 1058863"/>
              <a:gd name="connsiteX3" fmla="*/ 0 w 9144000"/>
              <a:gd name="connsiteY3" fmla="*/ 1058863 h 1058863"/>
              <a:gd name="connsiteX4" fmla="*/ 0 w 9144000"/>
              <a:gd name="connsiteY4" fmla="*/ 0 h 1058863"/>
              <a:gd name="connsiteX0" fmla="*/ 0 w 9152389"/>
              <a:gd name="connsiteY0" fmla="*/ 0 h 1058863"/>
              <a:gd name="connsiteX1" fmla="*/ 9144000 w 9152389"/>
              <a:gd name="connsiteY1" fmla="*/ 0 h 1058863"/>
              <a:gd name="connsiteX2" fmla="*/ 9152389 w 9152389"/>
              <a:gd name="connsiteY2" fmla="*/ 723303 h 1058863"/>
              <a:gd name="connsiteX3" fmla="*/ 0 w 9152389"/>
              <a:gd name="connsiteY3" fmla="*/ 1058863 h 1058863"/>
              <a:gd name="connsiteX4" fmla="*/ 0 w 9152389"/>
              <a:gd name="connsiteY4" fmla="*/ 0 h 1058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2389" h="1058863">
                <a:moveTo>
                  <a:pt x="0" y="0"/>
                </a:moveTo>
                <a:lnTo>
                  <a:pt x="9144000" y="0"/>
                </a:lnTo>
                <a:cubicBezTo>
                  <a:pt x="9146796" y="241101"/>
                  <a:pt x="9149593" y="482202"/>
                  <a:pt x="9152389" y="723303"/>
                </a:cubicBezTo>
                <a:lnTo>
                  <a:pt x="0" y="1058863"/>
                </a:lnTo>
                <a:lnTo>
                  <a:pt x="0" y="0"/>
                </a:lnTo>
                <a:close/>
              </a:path>
            </a:pathLst>
          </a:custGeom>
          <a:ln>
            <a:noFill/>
          </a:ln>
          <a:effectLst>
            <a:outerShdw blurRad="635000" dist="1270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32000" tIns="144000" rtlCol="0" anchor="t" anchorCtr="0"/>
          <a:lstStyle>
            <a:lvl1pPr marL="0" indent="0">
              <a:buNone/>
              <a:defRPr lang="de-DE" sz="3198" b="1" cap="all" dirty="0" smtClean="0">
                <a:solidFill>
                  <a:schemeClr val="lt1"/>
                </a:solidFill>
              </a:defRPr>
            </a:lvl1pPr>
          </a:lstStyle>
          <a:p>
            <a:pPr marL="0" lvl="0"/>
            <a:r>
              <a:rPr lang="de-DE" dirty="0" err="1"/>
              <a:t>TitEl</a:t>
            </a:r>
            <a:endParaRPr lang="de-DE" dirty="0"/>
          </a:p>
        </p:txBody>
      </p:sp>
    </p:spTree>
    <p:extLst>
      <p:ext uri="{BB962C8B-B14F-4D97-AF65-F5344CB8AC3E}">
        <p14:creationId xmlns:p14="http://schemas.microsoft.com/office/powerpoint/2010/main" val="169642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preserve="1" userDrawn="1">
  <p:cSld name="Title 3/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1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1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0" name="Hinweise links"/>
            <p:cNvGrpSpPr/>
            <p:nvPr userDrawn="1"/>
          </p:nvGrpSpPr>
          <p:grpSpPr>
            <a:xfrm>
              <a:off x="-2088000" y="0"/>
              <a:ext cx="1980000" cy="3528000"/>
              <a:chOff x="-2088000" y="0"/>
              <a:chExt cx="1980000" cy="3528000"/>
            </a:xfrm>
          </p:grpSpPr>
          <p:sp>
            <p:nvSpPr>
              <p:cNvPr id="2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2" name="Listenebenen"/>
              <p:cNvGrpSpPr/>
              <p:nvPr userDrawn="1"/>
            </p:nvGrpSpPr>
            <p:grpSpPr>
              <a:xfrm>
                <a:off x="-1692000" y="2232000"/>
                <a:ext cx="1548000" cy="792000"/>
                <a:chOff x="-1692000" y="2160000"/>
                <a:chExt cx="1548000" cy="792000"/>
              </a:xfrm>
            </p:grpSpPr>
            <p:sp>
              <p:nvSpPr>
                <p:cNvPr id="2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25"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26"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de-DE" dirty="0"/>
              <a:t>Name des Vortragenden: </a:t>
            </a:r>
            <a:r>
              <a:rPr lang="de-DE" noProof="0" dirty="0" err="1"/>
              <a:t>CorpoS</a:t>
            </a:r>
            <a:r>
              <a:rPr lang="de-DE" noProof="0" dirty="0"/>
              <a:t> </a:t>
            </a:r>
            <a:r>
              <a:rPr lang="de-DE" dirty="0"/>
              <a:t>(Textkörper) 35 pt.</a:t>
            </a:r>
            <a:br>
              <a:rPr lang="de-DE" dirty="0"/>
            </a:br>
            <a:r>
              <a:rPr lang="de-DE" dirty="0"/>
              <a:t>Präsentationstitel in zwei Zeilen Text, </a:t>
            </a:r>
            <a:r>
              <a:rPr lang="de-DE" dirty="0" err="1"/>
              <a:t>dd</a:t>
            </a:r>
            <a:r>
              <a:rPr lang="de-DE" dirty="0"/>
              <a:t>. </a:t>
            </a:r>
            <a:r>
              <a:rPr lang="de-DE" dirty="0" err="1"/>
              <a:t>mmmm</a:t>
            </a:r>
            <a:r>
              <a:rPr lang="de-DE" dirty="0"/>
              <a:t> </a:t>
            </a:r>
            <a:r>
              <a:rPr lang="de-DE" dirty="0" err="1"/>
              <a:t>yyyy</a:t>
            </a:r>
            <a:endParaRPr lang="de-DE"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919467126"/>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preserve="1" userDrawn="1">
  <p:cSld name="Title 2/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1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1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0" name="Hinweise links"/>
            <p:cNvGrpSpPr/>
            <p:nvPr userDrawn="1"/>
          </p:nvGrpSpPr>
          <p:grpSpPr>
            <a:xfrm>
              <a:off x="-2088000" y="0"/>
              <a:ext cx="1980000" cy="3528000"/>
              <a:chOff x="-2088000" y="0"/>
              <a:chExt cx="1980000" cy="3528000"/>
            </a:xfrm>
          </p:grpSpPr>
          <p:sp>
            <p:nvSpPr>
              <p:cNvPr id="2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2" name="Listenebenen"/>
              <p:cNvGrpSpPr/>
              <p:nvPr userDrawn="1"/>
            </p:nvGrpSpPr>
            <p:grpSpPr>
              <a:xfrm>
                <a:off x="-1692000" y="2232000"/>
                <a:ext cx="1548000" cy="792000"/>
                <a:chOff x="-1692000" y="2160000"/>
                <a:chExt cx="1548000" cy="792000"/>
              </a:xfrm>
            </p:grpSpPr>
            <p:sp>
              <p:nvSpPr>
                <p:cNvPr id="2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25"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26"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4608438"/>
            <a:ext cx="10932181" cy="1538527"/>
          </a:xfrm>
        </p:spPr>
        <p:txBody>
          <a:bodyPr wrap="square" anchor="b" anchorCtr="0">
            <a:spAutoFit/>
          </a:bodyPr>
          <a:lstStyle>
            <a:lvl1pPr>
              <a:defRPr/>
            </a:lvl1pPr>
          </a:lstStyle>
          <a:p>
            <a:r>
              <a:rPr lang="de-DE" dirty="0"/>
              <a:t>Name des Vortragenden: </a:t>
            </a:r>
            <a:r>
              <a:rPr lang="de-DE" noProof="0" dirty="0" err="1"/>
              <a:t>CorpoS</a:t>
            </a:r>
            <a:r>
              <a:rPr lang="de-DE" noProof="0" dirty="0"/>
              <a:t> </a:t>
            </a:r>
            <a:r>
              <a:rPr lang="de-DE" dirty="0"/>
              <a:t>(Textkörper) 35 pt.</a:t>
            </a:r>
            <a:br>
              <a:rPr lang="de-DE" dirty="0"/>
            </a:br>
            <a:r>
              <a:rPr lang="de-DE" dirty="0"/>
              <a:t>Präsentationstitel in zwei oder mehreren </a:t>
            </a:r>
            <a:br>
              <a:rPr lang="de-DE" dirty="0"/>
            </a:br>
            <a:r>
              <a:rPr lang="de-DE" dirty="0"/>
              <a:t>Zeilen Text, </a:t>
            </a:r>
            <a:r>
              <a:rPr lang="de-DE" dirty="0" err="1"/>
              <a:t>dd</a:t>
            </a:r>
            <a:r>
              <a:rPr lang="de-DE" dirty="0"/>
              <a:t>. </a:t>
            </a:r>
            <a:r>
              <a:rPr lang="de-DE" dirty="0" err="1"/>
              <a:t>mmmm</a:t>
            </a:r>
            <a:r>
              <a:rPr lang="de-DE" dirty="0"/>
              <a:t> </a:t>
            </a:r>
            <a:r>
              <a:rPr lang="de-DE" dirty="0" err="1"/>
              <a:t>yyyy</a:t>
            </a:r>
            <a:endParaRPr lang="de-DE"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95724974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preserve="1" userDrawn="1">
  <p:cSld name="Title 1/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1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1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0" name="Hinweise links"/>
            <p:cNvGrpSpPr/>
            <p:nvPr userDrawn="1"/>
          </p:nvGrpSpPr>
          <p:grpSpPr>
            <a:xfrm>
              <a:off x="-2088000" y="0"/>
              <a:ext cx="1980000" cy="3528000"/>
              <a:chOff x="-2088000" y="0"/>
              <a:chExt cx="1980000" cy="3528000"/>
            </a:xfrm>
          </p:grpSpPr>
          <p:sp>
            <p:nvSpPr>
              <p:cNvPr id="2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2" name="Listenebenen"/>
              <p:cNvGrpSpPr/>
              <p:nvPr userDrawn="1"/>
            </p:nvGrpSpPr>
            <p:grpSpPr>
              <a:xfrm>
                <a:off x="-1692000" y="2232000"/>
                <a:ext cx="1548000" cy="792000"/>
                <a:chOff x="-1692000" y="2160000"/>
                <a:chExt cx="1548000" cy="792000"/>
              </a:xfrm>
            </p:grpSpPr>
            <p:sp>
              <p:nvSpPr>
                <p:cNvPr id="2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25"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26"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4608438"/>
            <a:ext cx="10930832" cy="1538527"/>
          </a:xfrm>
        </p:spPr>
        <p:txBody>
          <a:bodyPr wrap="square" anchor="b" anchorCtr="0">
            <a:spAutoFit/>
          </a:bodyPr>
          <a:lstStyle>
            <a:lvl1pPr>
              <a:defRPr baseline="0"/>
            </a:lvl1pPr>
          </a:lstStyle>
          <a:p>
            <a:r>
              <a:rPr lang="de-DE" dirty="0"/>
              <a:t>Name des Vortragenden: </a:t>
            </a:r>
            <a:r>
              <a:rPr lang="de-DE" noProof="0" dirty="0" err="1"/>
              <a:t>CorpoS</a:t>
            </a:r>
            <a:r>
              <a:rPr lang="de-DE" noProof="0" dirty="0"/>
              <a:t> </a:t>
            </a:r>
            <a:r>
              <a:rPr lang="de-DE" dirty="0"/>
              <a:t>(Textkörper) 35 pt.</a:t>
            </a:r>
            <a:br>
              <a:rPr lang="de-DE" dirty="0"/>
            </a:br>
            <a:r>
              <a:rPr lang="de-DE" dirty="0"/>
              <a:t>Präsentationstitel in zwei oder drei </a:t>
            </a:r>
            <a:br>
              <a:rPr lang="de-DE" dirty="0"/>
            </a:br>
            <a:r>
              <a:rPr lang="de-DE" dirty="0"/>
              <a:t>Zeilen Text, </a:t>
            </a:r>
            <a:r>
              <a:rPr lang="de-DE" dirty="0" err="1"/>
              <a:t>dd</a:t>
            </a:r>
            <a:r>
              <a:rPr lang="de-DE" dirty="0"/>
              <a:t>. </a:t>
            </a:r>
            <a:r>
              <a:rPr lang="de-DE" dirty="0" err="1"/>
              <a:t>mmmm</a:t>
            </a:r>
            <a:r>
              <a:rPr lang="de-DE" dirty="0"/>
              <a:t> </a:t>
            </a:r>
            <a:r>
              <a:rPr lang="de-DE" dirty="0" err="1"/>
              <a:t>yyyy</a:t>
            </a:r>
            <a:endParaRPr lang="de-DE"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7079870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Headline two lines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45324892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preserve="1" userDrawn="1">
  <p:cSld name="Title 3/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26"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27"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Titel 1"/>
          <p:cNvSpPr>
            <a:spLocks noGrp="1"/>
          </p:cNvSpPr>
          <p:nvPr>
            <p:ph type="ctrTitle" hasCustomPrompt="1"/>
          </p:nvPr>
        </p:nvSpPr>
        <p:spPr>
          <a:xfrm>
            <a:off x="628323" y="2045814"/>
            <a:ext cx="10932181" cy="1763324"/>
          </a:xfrm>
        </p:spPr>
        <p:txBody>
          <a:bodyPr wrap="square" anchor="t" anchorCtr="0">
            <a:noAutofit/>
          </a:bodyPr>
          <a:lstStyle>
            <a:lvl1pPr>
              <a:defRPr baseline="0">
                <a:solidFill>
                  <a:schemeClr val="bg1"/>
                </a:solidFill>
              </a:defRPr>
            </a:lvl1pPr>
          </a:lstStyle>
          <a:p>
            <a:r>
              <a:rPr lang="de-DE" dirty="0"/>
              <a:t>Name des Vortragenden: </a:t>
            </a:r>
            <a:r>
              <a:rPr lang="de-DE" noProof="0" dirty="0" err="1"/>
              <a:t>CorpoS</a:t>
            </a:r>
            <a:r>
              <a:rPr lang="de-DE" noProof="0" dirty="0"/>
              <a:t> </a:t>
            </a:r>
            <a:r>
              <a:rPr lang="de-DE" dirty="0"/>
              <a:t>(Textkörper) 35 pt.</a:t>
            </a:r>
            <a:br>
              <a:rPr lang="de-DE" dirty="0"/>
            </a:br>
            <a:r>
              <a:rPr lang="de-DE" dirty="0"/>
              <a:t>Präsentationstitel in zwei oder drei </a:t>
            </a:r>
            <a:br>
              <a:rPr lang="de-DE" dirty="0"/>
            </a:br>
            <a:r>
              <a:rPr lang="de-DE" dirty="0"/>
              <a:t>Zeilen Text, </a:t>
            </a:r>
            <a:r>
              <a:rPr lang="de-DE" dirty="0" err="1"/>
              <a:t>dd</a:t>
            </a:r>
            <a:r>
              <a:rPr lang="de-DE" dirty="0"/>
              <a:t>. </a:t>
            </a:r>
            <a:r>
              <a:rPr lang="de-DE" dirty="0" err="1"/>
              <a:t>mmmm</a:t>
            </a:r>
            <a:r>
              <a:rPr lang="de-DE" dirty="0"/>
              <a:t> </a:t>
            </a:r>
            <a:r>
              <a:rPr lang="de-DE" dirty="0" err="1"/>
              <a:t>yyyy</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31130822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preserve="1" userDrawn="1">
  <p:cSld name="Title 2/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26"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27"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Titel 1"/>
          <p:cNvSpPr>
            <a:spLocks noGrp="1"/>
          </p:cNvSpPr>
          <p:nvPr>
            <p:ph type="ctrTitle" hasCustomPrompt="1"/>
          </p:nvPr>
        </p:nvSpPr>
        <p:spPr>
          <a:xfrm>
            <a:off x="628323" y="2044433"/>
            <a:ext cx="10932181" cy="648964"/>
          </a:xfrm>
        </p:spPr>
        <p:txBody>
          <a:bodyPr wrap="square" anchor="t" anchorCtr="0">
            <a:noAutofit/>
          </a:bodyPr>
          <a:lstStyle>
            <a:lvl1pPr>
              <a:defRPr>
                <a:solidFill>
                  <a:schemeClr val="bg1"/>
                </a:solidFill>
              </a:defRPr>
            </a:lvl1pPr>
          </a:lstStyle>
          <a:p>
            <a:r>
              <a:rPr lang="de-DE" dirty="0"/>
              <a:t>Headline der Präsentation</a:t>
            </a:r>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40462711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preserve="1" userDrawn="1">
  <p:cSld name="Image-chart 3/4 brushed ">
    <p:bg>
      <p:bgRef idx="1001">
        <a:schemeClr val="bg1"/>
      </p:bgRef>
    </p:bg>
    <p:spTree>
      <p:nvGrpSpPr>
        <p:cNvPr id="1" name=""/>
        <p:cNvGrpSpPr/>
        <p:nvPr/>
      </p:nvGrpSpPr>
      <p:grpSpPr>
        <a:xfrm>
          <a:off x="0" y="0"/>
          <a:ext cx="0" cy="0"/>
          <a:chOff x="0" y="0"/>
          <a:chExt cx="0" cy="0"/>
        </a:xfrm>
      </p:grpSpPr>
      <p:grpSp>
        <p:nvGrpSpPr>
          <p:cNvPr id="26" name="Regieanweisungen"/>
          <p:cNvGrpSpPr/>
          <p:nvPr userDrawn="1"/>
        </p:nvGrpSpPr>
        <p:grpSpPr>
          <a:xfrm>
            <a:off x="-2086913" y="-467892"/>
            <a:ext cx="13647691" cy="7792196"/>
            <a:chOff x="-2088000" y="-468000"/>
            <a:chExt cx="13654799" cy="7794000"/>
          </a:xfrm>
        </p:grpSpPr>
        <p:sp>
          <p:nvSpPr>
            <p:cNvPr id="2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9" name="Hinweise links"/>
            <p:cNvGrpSpPr/>
            <p:nvPr userDrawn="1"/>
          </p:nvGrpSpPr>
          <p:grpSpPr>
            <a:xfrm>
              <a:off x="-2088000" y="0"/>
              <a:ext cx="1980000" cy="3528000"/>
              <a:chOff x="-2088000" y="0"/>
              <a:chExt cx="1980000" cy="3528000"/>
            </a:xfrm>
          </p:grpSpPr>
          <p:sp>
            <p:nvSpPr>
              <p:cNvPr id="30"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4"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1"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3" name="Title 2"/>
          <p:cNvSpPr>
            <a:spLocks noGrp="1"/>
          </p:cNvSpPr>
          <p:nvPr>
            <p:ph type="title" hasCustomPrompt="1"/>
          </p:nvPr>
        </p:nvSpPr>
        <p:spPr>
          <a:xfrm>
            <a:off x="628323" y="288859"/>
            <a:ext cx="10932455" cy="1025684"/>
          </a:xfrm>
        </p:spPr>
        <p:txBody>
          <a:bodyPr wrap="square">
            <a:spAutoFit/>
          </a:bodyPr>
          <a:lstStyle>
            <a:lvl1pPr>
              <a:defRPr baseline="0">
                <a:solidFill>
                  <a:schemeClr val="bg1"/>
                </a:solidFill>
              </a:defRPr>
            </a:lvl1pPr>
          </a:lstStyle>
          <a:p>
            <a:r>
              <a:rPr lang="de-DE" dirty="0"/>
              <a:t>Bilder Folie, Headline </a:t>
            </a:r>
            <a:r>
              <a:rPr lang="de-DE" noProof="0" dirty="0" err="1"/>
              <a:t>CorpoS</a:t>
            </a:r>
            <a:r>
              <a:rPr lang="de-DE" noProof="0" dirty="0"/>
              <a:t> </a:t>
            </a:r>
            <a:r>
              <a:rPr lang="de-DE" dirty="0"/>
              <a:t>(Textkörper) 35 pt. </a:t>
            </a:r>
            <a:br>
              <a:rPr lang="de-DE" dirty="0"/>
            </a:br>
            <a:r>
              <a:rPr lang="de-DE" dirty="0"/>
              <a:t>in zwei oder mehr Zeilen</a:t>
            </a: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4"/>
          </p:nvPr>
        </p:nvSpPr>
        <p:spPr/>
        <p:txBody>
          <a:bodyPr/>
          <a:lstStyle/>
          <a:p>
            <a:r>
              <a:rPr lang="de-DE" dirty="0">
                <a:solidFill>
                  <a:prstClr val="black"/>
                </a:solidFill>
              </a:rPr>
              <a:t>Titel der Präsentation / Abteilung / Datum /</a:t>
            </a:r>
          </a:p>
        </p:txBody>
      </p:sp>
      <p:sp>
        <p:nvSpPr>
          <p:cNvPr id="4" name="Foliennummernplatzhalter 3"/>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22596149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preserve="1" userDrawn="1">
  <p:cSld name="Image-chart 1/4 brushed">
    <p:bg>
      <p:bgRef idx="1001">
        <a:schemeClr val="bg1"/>
      </p:bgRef>
    </p:bg>
    <p:spTree>
      <p:nvGrpSpPr>
        <p:cNvPr id="1" name=""/>
        <p:cNvGrpSpPr/>
        <p:nvPr/>
      </p:nvGrpSpPr>
      <p:grpSpPr>
        <a:xfrm>
          <a:off x="0" y="0"/>
          <a:ext cx="0" cy="0"/>
          <a:chOff x="0" y="0"/>
          <a:chExt cx="0" cy="0"/>
        </a:xfrm>
      </p:grpSpPr>
      <p:grpSp>
        <p:nvGrpSpPr>
          <p:cNvPr id="26" name="Regieanweisungen"/>
          <p:cNvGrpSpPr/>
          <p:nvPr userDrawn="1"/>
        </p:nvGrpSpPr>
        <p:grpSpPr>
          <a:xfrm>
            <a:off x="-2086913" y="-467892"/>
            <a:ext cx="13647691" cy="7792196"/>
            <a:chOff x="-2088000" y="-468000"/>
            <a:chExt cx="13654799" cy="7794000"/>
          </a:xfrm>
        </p:grpSpPr>
        <p:sp>
          <p:nvSpPr>
            <p:cNvPr id="2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9" name="Hinweise links"/>
            <p:cNvGrpSpPr/>
            <p:nvPr userDrawn="1"/>
          </p:nvGrpSpPr>
          <p:grpSpPr>
            <a:xfrm>
              <a:off x="-2088000" y="0"/>
              <a:ext cx="1980000" cy="3528000"/>
              <a:chOff x="-2088000" y="0"/>
              <a:chExt cx="1980000" cy="3528000"/>
            </a:xfrm>
          </p:grpSpPr>
          <p:sp>
            <p:nvSpPr>
              <p:cNvPr id="30"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4"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a:extLst>
              <a:ext uri="{28A0092B-C50C-407E-A947-70E740481C1C}">
                <a14:useLocalDpi xmlns:a14="http://schemas.microsoft.com/office/drawing/2010/main" val="0"/>
              </a:ext>
            </a:extLst>
          </a:blip>
          <a:srcRect b="5375"/>
          <a:stretch/>
        </p:blipFill>
        <p:spPr bwMode="white">
          <a:xfrm>
            <a:off x="0" y="-1"/>
            <a:ext cx="12190451" cy="6487839"/>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3" name="Title 2"/>
          <p:cNvSpPr>
            <a:spLocks noGrp="1"/>
          </p:cNvSpPr>
          <p:nvPr>
            <p:ph type="title" hasCustomPrompt="1"/>
          </p:nvPr>
        </p:nvSpPr>
        <p:spPr>
          <a:xfrm>
            <a:off x="630116" y="288857"/>
            <a:ext cx="10930662" cy="1151733"/>
          </a:xfrm>
        </p:spPr>
        <p:txBody>
          <a:bodyPr/>
          <a:lstStyle>
            <a:lvl1pPr>
              <a:defRPr baseline="0">
                <a:solidFill>
                  <a:schemeClr val="bg1"/>
                </a:solidFill>
              </a:defRPr>
            </a:lvl1pPr>
          </a:lstStyle>
          <a:p>
            <a:r>
              <a:rPr lang="de-DE" dirty="0"/>
              <a:t>Bilder Folie, Headline </a:t>
            </a:r>
            <a:r>
              <a:rPr lang="de-DE" noProof="0" dirty="0" err="1"/>
              <a:t>CorpoS</a:t>
            </a:r>
            <a:r>
              <a:rPr lang="de-DE" noProof="0" dirty="0"/>
              <a:t> </a:t>
            </a:r>
            <a:r>
              <a:rPr lang="de-DE" dirty="0"/>
              <a:t>(Textkörper) 35 pt. </a:t>
            </a:r>
            <a:br>
              <a:rPr lang="de-DE" dirty="0"/>
            </a:br>
            <a:r>
              <a:rPr lang="de-DE" dirty="0"/>
              <a:t>in zwei Zeilen</a:t>
            </a: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4"/>
          </p:nvPr>
        </p:nvSpPr>
        <p:spPr/>
        <p:txBody>
          <a:bodyPr/>
          <a:lstStyle/>
          <a:p>
            <a:r>
              <a:rPr lang="de-DE" dirty="0">
                <a:solidFill>
                  <a:prstClr val="black"/>
                </a:solidFill>
              </a:rPr>
              <a:t>Titel der Präsentation / Abteilung / Datum /</a:t>
            </a:r>
          </a:p>
        </p:txBody>
      </p:sp>
      <p:sp>
        <p:nvSpPr>
          <p:cNvPr id="4" name="Foliennummernplatzhalter 3"/>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65678300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624.xml><?xml version="1.0" encoding="utf-8"?>
<p:sldLayout xmlns:a="http://schemas.openxmlformats.org/drawingml/2006/main" xmlns:r="http://schemas.openxmlformats.org/officeDocument/2006/relationships" xmlns:p="http://schemas.openxmlformats.org/presentationml/2006/main" showMasterSp="0" preserve="1" userDrawn="1">
  <p:cSld name="Agenda 1/3 brushed">
    <p:spTree>
      <p:nvGrpSpPr>
        <p:cNvPr id="1" name=""/>
        <p:cNvGrpSpPr/>
        <p:nvPr/>
      </p:nvGrpSpPr>
      <p:grpSpPr>
        <a:xfrm>
          <a:off x="0" y="0"/>
          <a:ext cx="0" cy="0"/>
          <a:chOff x="0" y="0"/>
          <a:chExt cx="0" cy="0"/>
        </a:xfrm>
      </p:grpSpPr>
      <p:pic>
        <p:nvPicPr>
          <p:cNvPr id="32" name="Buerstung U_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a:xfrm>
            <a:off x="628323" y="288859"/>
            <a:ext cx="10932455" cy="1148857"/>
          </a:xfrm>
        </p:spPr>
        <p:txBody>
          <a:bodyPr/>
          <a:lstStyle>
            <a:lvl1pPr>
              <a:defRPr/>
            </a:lvl1pPr>
          </a:lstStyle>
          <a:p>
            <a:r>
              <a:rPr lang="de-DE" noProof="0" dirty="0"/>
              <a:t>Headline für Agenda in </a:t>
            </a:r>
            <a:r>
              <a:rPr lang="de-DE" noProof="0" dirty="0" err="1"/>
              <a:t>CorpoS</a:t>
            </a:r>
            <a:r>
              <a:rPr lang="de-DE" noProof="0" dirty="0"/>
              <a:t> (Textkörper) 35 pt. </a:t>
            </a:r>
            <a:br>
              <a:rPr lang="de-DE" noProof="0" dirty="0"/>
            </a:br>
            <a:r>
              <a:rPr lang="de-DE" noProof="0" dirty="0"/>
              <a:t>in ein oder zwei Zeilen</a:t>
            </a:r>
            <a:endParaRPr lang="de-DE" dirty="0"/>
          </a:p>
        </p:txBody>
      </p:sp>
      <p:sp>
        <p:nvSpPr>
          <p:cNvPr id="6" name="Text Placeholder 5"/>
          <p:cNvSpPr>
            <a:spLocks noGrp="1"/>
          </p:cNvSpPr>
          <p:nvPr>
            <p:ph type="body" sz="quarter" idx="12" hasCustomPrompt="1"/>
          </p:nvPr>
        </p:nvSpPr>
        <p:spPr>
          <a:xfrm>
            <a:off x="630116" y="1504603"/>
            <a:ext cx="10930388" cy="3759916"/>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Agenda Punkt einfügen</a:t>
            </a:r>
          </a:p>
          <a:p>
            <a:pPr lvl="1"/>
            <a:r>
              <a:rPr lang="de-DE" dirty="0"/>
              <a:t>Zweite Ebene</a:t>
            </a:r>
          </a:p>
          <a:p>
            <a:pPr lvl="2"/>
            <a:r>
              <a:rPr lang="de-DE" dirty="0"/>
              <a:t>Dritte Ebene </a:t>
            </a:r>
          </a:p>
          <a:p>
            <a:pPr lvl="3"/>
            <a:r>
              <a:rPr lang="de-DE" dirty="0"/>
              <a:t>Vierte Ebene </a:t>
            </a:r>
          </a:p>
          <a:p>
            <a:pPr lvl="4"/>
            <a:r>
              <a:rPr lang="de-DE" dirty="0"/>
              <a:t>Fünfte Ebene </a:t>
            </a:r>
          </a:p>
          <a:p>
            <a:pPr lvl="5"/>
            <a:r>
              <a:rPr lang="de-DE" dirty="0"/>
              <a:t>Sechste Ebene </a:t>
            </a:r>
          </a:p>
          <a:p>
            <a:pPr lvl="6"/>
            <a:r>
              <a:rPr lang="de-DE" dirty="0"/>
              <a:t>Siebte Ebene </a:t>
            </a:r>
          </a:p>
          <a:p>
            <a:pPr lvl="7"/>
            <a:r>
              <a:rPr lang="de-DE" dirty="0"/>
              <a:t>Achte Ebene </a:t>
            </a:r>
          </a:p>
          <a:p>
            <a:pPr lvl="8"/>
            <a:r>
              <a:rPr lang="de-DE" dirty="0"/>
              <a:t>Neunte Ebene </a:t>
            </a:r>
          </a:p>
        </p:txBody>
      </p:sp>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29"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5" name="Fußzeilenplatzhalter 4"/>
          <p:cNvSpPr>
            <a:spLocks noGrp="1"/>
          </p:cNvSpPr>
          <p:nvPr>
            <p:ph type="ftr" sz="quarter" idx="13"/>
          </p:nvPr>
        </p:nvSpPr>
        <p:spPr/>
        <p:txBody>
          <a:bodyPr/>
          <a:lstStyle/>
          <a:p>
            <a:r>
              <a:rPr lang="de-DE" dirty="0">
                <a:solidFill>
                  <a:prstClr val="black"/>
                </a:solidFill>
              </a:rPr>
              <a:t>Titel der Präsentation / Abteilung / Datum /</a:t>
            </a:r>
          </a:p>
        </p:txBody>
      </p:sp>
      <p:sp>
        <p:nvSpPr>
          <p:cNvPr id="7" name="Foliennummernplatzhalter 6"/>
          <p:cNvSpPr>
            <a:spLocks noGrp="1"/>
          </p:cNvSpPr>
          <p:nvPr>
            <p:ph type="sldNum" sz="quarter" idx="14"/>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67320142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de-DE" noProof="0" dirty="0"/>
              <a:t>Headline für Agenda in </a:t>
            </a:r>
            <a:r>
              <a:rPr lang="de-DE" noProof="0" dirty="0" err="1"/>
              <a:t>CorpoS</a:t>
            </a:r>
            <a:r>
              <a:rPr lang="de-DE" noProof="0" dirty="0"/>
              <a:t> (Textkörper) 35 pt. </a:t>
            </a:r>
            <a:br>
              <a:rPr lang="de-DE" noProof="0" dirty="0"/>
            </a:br>
            <a:r>
              <a:rPr lang="de-DE" noProof="0" dirty="0"/>
              <a:t>in ein oder zwei Zeilen</a:t>
            </a:r>
            <a:endParaRPr lang="de-DE" dirty="0"/>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baseline="0">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Agenda Punkt einfügen</a:t>
            </a:r>
          </a:p>
          <a:p>
            <a:pPr lvl="1"/>
            <a:r>
              <a:rPr lang="de-DE" dirty="0"/>
              <a:t>Zweite Ebene</a:t>
            </a:r>
          </a:p>
          <a:p>
            <a:pPr lvl="2"/>
            <a:r>
              <a:rPr lang="de-DE" dirty="0"/>
              <a:t>Dritte Ebene </a:t>
            </a:r>
          </a:p>
          <a:p>
            <a:pPr lvl="3"/>
            <a:r>
              <a:rPr lang="de-DE" dirty="0"/>
              <a:t>Vierte Ebene </a:t>
            </a:r>
          </a:p>
          <a:p>
            <a:pPr lvl="4"/>
            <a:r>
              <a:rPr lang="de-DE" dirty="0"/>
              <a:t>Fünfte Ebene </a:t>
            </a:r>
          </a:p>
          <a:p>
            <a:pPr lvl="5"/>
            <a:r>
              <a:rPr lang="de-DE" dirty="0"/>
              <a:t>Sechste Ebene </a:t>
            </a:r>
          </a:p>
          <a:p>
            <a:pPr lvl="6"/>
            <a:r>
              <a:rPr lang="de-DE" dirty="0"/>
              <a:t>Siebte Ebene </a:t>
            </a:r>
          </a:p>
          <a:p>
            <a:pPr lvl="7"/>
            <a:r>
              <a:rPr lang="de-DE" dirty="0"/>
              <a:t>Achte Ebene </a:t>
            </a:r>
          </a:p>
          <a:p>
            <a:pPr lvl="8"/>
            <a:r>
              <a:rPr lang="de-DE" dirty="0"/>
              <a:t>Neunte Ebene </a:t>
            </a:r>
          </a:p>
        </p:txBody>
      </p:sp>
      <p:sp>
        <p:nvSpPr>
          <p:cNvPr id="5" name="Fußzeilenplatzhalter 4"/>
          <p:cNvSpPr>
            <a:spLocks noGrp="1"/>
          </p:cNvSpPr>
          <p:nvPr>
            <p:ph type="ftr" sz="quarter" idx="13"/>
          </p:nvPr>
        </p:nvSpPr>
        <p:spPr/>
        <p:txBody>
          <a:bodyPr/>
          <a:lstStyle/>
          <a:p>
            <a:r>
              <a:rPr lang="de-DE" dirty="0">
                <a:solidFill>
                  <a:prstClr val="black"/>
                </a:solidFill>
              </a:rPr>
              <a:t>Titel der Präsentation / Abteilung / Datum /</a:t>
            </a:r>
          </a:p>
        </p:txBody>
      </p:sp>
      <p:sp>
        <p:nvSpPr>
          <p:cNvPr id="7" name="Foliennummernplatzhalter 6"/>
          <p:cNvSpPr>
            <a:spLocks noGrp="1"/>
          </p:cNvSpPr>
          <p:nvPr>
            <p:ph type="sldNum" sz="quarter" idx="14"/>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0430100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Headline two line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Textkörper) 35 pt.</a:t>
            </a:r>
            <a:br>
              <a:rPr lang="de-DE" noProof="0" dirty="0"/>
            </a:br>
            <a:r>
              <a:rPr lang="de-DE" noProof="0" dirty="0"/>
              <a:t>über zwei Zeilen</a:t>
            </a:r>
            <a:endParaRPr lang="de-DE" dirty="0"/>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dirty="0"/>
              <a:t>Text oder Inhalt einfügen in </a:t>
            </a:r>
            <a:r>
              <a:rPr lang="de-DE" noProof="0" dirty="0" err="1"/>
              <a:t>CorpoS</a:t>
            </a:r>
            <a:r>
              <a:rPr lang="de-DE" noProof="0" dirty="0"/>
              <a:t> (Body) 24 pt. (Mark-</a:t>
            </a:r>
            <a:r>
              <a:rPr lang="de-DE" noProof="0" dirty="0" err="1"/>
              <a:t>ups</a:t>
            </a:r>
            <a:r>
              <a:rPr lang="de-DE" noProof="0" dirty="0"/>
              <a:t> in Fett) </a:t>
            </a:r>
            <a:r>
              <a:rPr lang="de-DE" dirty="0"/>
              <a:t>// für Zusammenfassung oder kurzes Highlight: Start // Absatz // Listenebene erhöhen</a:t>
            </a:r>
          </a:p>
          <a:p>
            <a:pPr lvl="1"/>
            <a:r>
              <a:rPr lang="de-DE" dirty="0"/>
              <a:t>Zweite Ebene (Zusammenfassung oder kurzes Highlight)</a:t>
            </a:r>
          </a:p>
          <a:p>
            <a:pPr lvl="2"/>
            <a:r>
              <a:rPr lang="de-DE" dirty="0"/>
              <a:t>Dritte Ebene </a:t>
            </a:r>
          </a:p>
          <a:p>
            <a:pPr lvl="3"/>
            <a:r>
              <a:rPr lang="de-DE" dirty="0"/>
              <a:t>Vierte Ebene </a:t>
            </a:r>
          </a:p>
          <a:p>
            <a:pPr lvl="4"/>
            <a:r>
              <a:rPr lang="de-DE" dirty="0"/>
              <a:t>Fünfte Ebene </a:t>
            </a:r>
          </a:p>
          <a:p>
            <a:pPr lvl="5"/>
            <a:r>
              <a:rPr lang="de-DE" dirty="0"/>
              <a:t>Sechste Ebene </a:t>
            </a:r>
          </a:p>
          <a:p>
            <a:pPr lvl="6"/>
            <a:r>
              <a:rPr lang="de-DE" dirty="0"/>
              <a:t>Siebte Ebene </a:t>
            </a:r>
          </a:p>
          <a:p>
            <a:pPr lvl="7"/>
            <a:r>
              <a:rPr lang="de-DE" dirty="0"/>
              <a:t>Achte Ebene </a:t>
            </a:r>
          </a:p>
          <a:p>
            <a:pPr lvl="8"/>
            <a:r>
              <a:rPr lang="de-DE" dirty="0"/>
              <a:t>Neunte Ebene </a:t>
            </a:r>
          </a:p>
        </p:txBody>
      </p:sp>
      <p:sp>
        <p:nvSpPr>
          <p:cNvPr id="5" name="Fußzeilenplatzhalter 4"/>
          <p:cNvSpPr>
            <a:spLocks noGrp="1"/>
          </p:cNvSpPr>
          <p:nvPr>
            <p:ph type="ftr" sz="quarter" idx="13"/>
          </p:nvPr>
        </p:nvSpPr>
        <p:spPr/>
        <p:txBody>
          <a:bodyPr/>
          <a:lstStyle/>
          <a:p>
            <a:r>
              <a:rPr lang="de-DE" dirty="0">
                <a:solidFill>
                  <a:prstClr val="black"/>
                </a:solidFill>
              </a:rPr>
              <a:t>Titel der Präsentation / Abteilung / Datum /</a:t>
            </a:r>
          </a:p>
        </p:txBody>
      </p:sp>
      <p:sp>
        <p:nvSpPr>
          <p:cNvPr id="7" name="Foliennummernplatzhalter 6"/>
          <p:cNvSpPr>
            <a:spLocks noGrp="1"/>
          </p:cNvSpPr>
          <p:nvPr>
            <p:ph type="sldNum" sz="quarter" idx="14"/>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05476310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preserve="1" userDrawn="1">
  <p:cSld name="Headline two lines // Image">
    <p:spTree>
      <p:nvGrpSpPr>
        <p:cNvPr id="1" name=""/>
        <p:cNvGrpSpPr/>
        <p:nvPr/>
      </p:nvGrpSpPr>
      <p:grpSpPr>
        <a:xfrm>
          <a:off x="0" y="0"/>
          <a:ext cx="0" cy="0"/>
          <a:chOff x="0" y="0"/>
          <a:chExt cx="0" cy="0"/>
        </a:xfrm>
      </p:grpSpPr>
      <p:sp>
        <p:nvSpPr>
          <p:cNvPr id="1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Textkörper) 35 pt.</a:t>
            </a:r>
            <a:br>
              <a:rPr lang="de-DE" noProof="0" dirty="0"/>
            </a:br>
            <a:r>
              <a:rPr lang="de-DE" noProof="0" dirty="0"/>
              <a:t>über zwei Zeilen</a:t>
            </a:r>
            <a:endParaRPr lang="de-DE" dirty="0"/>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a:t>
            </a:r>
            <a:r>
              <a:rPr lang="de-DE" noProof="0" dirty="0"/>
              <a:t> S (Body) 24 p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1" name="Hinweise links"/>
            <p:cNvGrpSpPr/>
            <p:nvPr userDrawn="1"/>
          </p:nvGrpSpPr>
          <p:grpSpPr>
            <a:xfrm>
              <a:off x="-2088000" y="0"/>
              <a:ext cx="1980000" cy="3528000"/>
              <a:chOff x="-2088000" y="0"/>
              <a:chExt cx="1980000" cy="3528000"/>
            </a:xfrm>
          </p:grpSpPr>
          <p:sp>
            <p:nvSpPr>
              <p:cNvPr id="3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3" name="Listenebenen"/>
              <p:cNvGrpSpPr/>
              <p:nvPr userDrawn="1"/>
            </p:nvGrpSpPr>
            <p:grpSpPr>
              <a:xfrm>
                <a:off x="-1692000" y="2232000"/>
                <a:ext cx="1548000" cy="792000"/>
                <a:chOff x="-1692000" y="2160000"/>
                <a:chExt cx="1548000" cy="792000"/>
              </a:xfrm>
            </p:grpSpPr>
            <p:sp>
              <p:nvSpPr>
                <p:cNvPr id="3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6"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7"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5" name="Fußzeilenplatzhalter 4"/>
          <p:cNvSpPr>
            <a:spLocks noGrp="1"/>
          </p:cNvSpPr>
          <p:nvPr>
            <p:ph type="ftr" sz="quarter" idx="14"/>
          </p:nvPr>
        </p:nvSpPr>
        <p:spPr/>
        <p:txBody>
          <a:bodyPr/>
          <a:lstStyle/>
          <a:p>
            <a:r>
              <a:rPr lang="de-DE" dirty="0">
                <a:solidFill>
                  <a:prstClr val="black"/>
                </a:solidFill>
              </a:rPr>
              <a:t>Titel der Präsentation / Abteilung / Datum /</a:t>
            </a:r>
          </a:p>
        </p:txBody>
      </p:sp>
      <p:sp>
        <p:nvSpPr>
          <p:cNvPr id="8" name="Foliennummernplatzhalter 7"/>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56967516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Headlin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Textkörper) 35 pt.</a:t>
            </a:r>
            <a:endParaRPr lang="de-DE" dirty="0"/>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de-DE" dirty="0"/>
              <a:t>Text oder Inhalt einfügen in </a:t>
            </a:r>
            <a:r>
              <a:rPr lang="de-DE" noProof="0" dirty="0"/>
              <a:t>CorpoS (Body) 24 pt. (mark-</a:t>
            </a:r>
            <a:r>
              <a:rPr lang="de-DE" noProof="0" dirty="0" err="1"/>
              <a:t>ups</a:t>
            </a:r>
            <a:r>
              <a:rPr lang="de-DE" noProof="0" dirty="0"/>
              <a:t> in Fett) </a:t>
            </a:r>
            <a:r>
              <a:rPr lang="de-DE" dirty="0"/>
              <a:t>// für Zusammenfassung oder kurzes Highlight: Start // Absatz // Listenebene erhöhen</a:t>
            </a:r>
          </a:p>
          <a:p>
            <a:pPr lvl="1"/>
            <a:r>
              <a:rPr lang="de-DE" dirty="0"/>
              <a:t>Zweite Ebene (Zusammenfassung oder kurzes Highlight)</a:t>
            </a:r>
          </a:p>
          <a:p>
            <a:pPr lvl="2"/>
            <a:r>
              <a:rPr lang="de-DE" dirty="0"/>
              <a:t>Dritte Ebene </a:t>
            </a:r>
          </a:p>
          <a:p>
            <a:pPr lvl="3"/>
            <a:r>
              <a:rPr lang="de-DE" dirty="0"/>
              <a:t>Vierte Ebene </a:t>
            </a:r>
          </a:p>
          <a:p>
            <a:pPr lvl="4"/>
            <a:r>
              <a:rPr lang="de-DE" dirty="0"/>
              <a:t>Fünfte Ebene </a:t>
            </a:r>
          </a:p>
          <a:p>
            <a:pPr lvl="5"/>
            <a:r>
              <a:rPr lang="de-DE" dirty="0"/>
              <a:t>Sechste Ebene </a:t>
            </a:r>
          </a:p>
          <a:p>
            <a:pPr lvl="6"/>
            <a:r>
              <a:rPr lang="de-DE" dirty="0"/>
              <a:t>Siebte Ebene </a:t>
            </a:r>
          </a:p>
          <a:p>
            <a:pPr lvl="7"/>
            <a:r>
              <a:rPr lang="de-DE" dirty="0"/>
              <a:t>Achte Ebene </a:t>
            </a:r>
          </a:p>
          <a:p>
            <a:pPr lvl="8"/>
            <a:r>
              <a:rPr lang="de-DE" dirty="0"/>
              <a:t>Neunte Ebene </a:t>
            </a:r>
          </a:p>
        </p:txBody>
      </p:sp>
      <p:sp>
        <p:nvSpPr>
          <p:cNvPr id="5" name="Fußzeilenplatzhalter 4"/>
          <p:cNvSpPr>
            <a:spLocks noGrp="1"/>
          </p:cNvSpPr>
          <p:nvPr>
            <p:ph type="ftr" sz="quarter" idx="13"/>
          </p:nvPr>
        </p:nvSpPr>
        <p:spPr/>
        <p:txBody>
          <a:bodyPr/>
          <a:lstStyle/>
          <a:p>
            <a:r>
              <a:rPr lang="de-DE" dirty="0">
                <a:solidFill>
                  <a:prstClr val="black"/>
                </a:solidFill>
              </a:rPr>
              <a:t>Titel der Präsentation / Abteilung / Datum /</a:t>
            </a:r>
          </a:p>
        </p:txBody>
      </p:sp>
      <p:sp>
        <p:nvSpPr>
          <p:cNvPr id="7" name="Foliennummernplatzhalter 6"/>
          <p:cNvSpPr>
            <a:spLocks noGrp="1"/>
          </p:cNvSpPr>
          <p:nvPr>
            <p:ph type="sldNum" sz="quarter" idx="14"/>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420576267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629.xml><?xml version="1.0" encoding="utf-8"?>
<p:sldLayout xmlns:a="http://schemas.openxmlformats.org/drawingml/2006/main" xmlns:r="http://schemas.openxmlformats.org/officeDocument/2006/relationships" xmlns:p="http://schemas.openxmlformats.org/presentationml/2006/main" showMasterSp="0" preserve="1" userDrawn="1">
  <p:cSld name="Headline // Image">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2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3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1" name="Hinweise links"/>
            <p:cNvGrpSpPr/>
            <p:nvPr userDrawn="1"/>
          </p:nvGrpSpPr>
          <p:grpSpPr>
            <a:xfrm>
              <a:off x="-2088000" y="0"/>
              <a:ext cx="1980000" cy="3528000"/>
              <a:chOff x="-2088000" y="0"/>
              <a:chExt cx="1980000" cy="3528000"/>
            </a:xfrm>
          </p:grpSpPr>
          <p:sp>
            <p:nvSpPr>
              <p:cNvPr id="3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3" name="Listenebenen"/>
              <p:cNvGrpSpPr/>
              <p:nvPr userDrawn="1"/>
            </p:nvGrpSpPr>
            <p:grpSpPr>
              <a:xfrm>
                <a:off x="-1692000" y="2232000"/>
                <a:ext cx="1548000" cy="792000"/>
                <a:chOff x="-1692000" y="2160000"/>
                <a:chExt cx="1548000" cy="792000"/>
              </a:xfrm>
            </p:grpSpPr>
            <p:sp>
              <p:nvSpPr>
                <p:cNvPr id="3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6"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7"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Textkörper) 35 pt.</a:t>
            </a:r>
            <a:endParaRPr lang="de-DE" dirty="0"/>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4"/>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03674722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Headline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405578854"/>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630.xml><?xml version="1.0" encoding="utf-8"?>
<p:sldLayout xmlns:a="http://schemas.openxmlformats.org/drawingml/2006/main" xmlns:r="http://schemas.openxmlformats.org/officeDocument/2006/relationships" xmlns:p="http://schemas.openxmlformats.org/presentationml/2006/main" showMasterSp="0" preserve="1" userDrawn="1">
  <p:cSld name="2 Images-chart 2/4 brushed">
    <p:bg>
      <p:bgRef idx="1001">
        <a:schemeClr val="bg1"/>
      </p:bgRef>
    </p:bg>
    <p:spTree>
      <p:nvGrpSpPr>
        <p:cNvPr id="1" name=""/>
        <p:cNvGrpSpPr/>
        <p:nvPr/>
      </p:nvGrpSpPr>
      <p:grpSpPr>
        <a:xfrm>
          <a:off x="0" y="0"/>
          <a:ext cx="0" cy="0"/>
          <a:chOff x="0" y="0"/>
          <a:chExt cx="0" cy="0"/>
        </a:xfrm>
      </p:grpSpPr>
      <p:grpSp>
        <p:nvGrpSpPr>
          <p:cNvPr id="25" name="Regieanweisungen"/>
          <p:cNvGrpSpPr/>
          <p:nvPr userDrawn="1"/>
        </p:nvGrpSpPr>
        <p:grpSpPr>
          <a:xfrm>
            <a:off x="-2086913" y="-467892"/>
            <a:ext cx="13647691" cy="7792196"/>
            <a:chOff x="-2088000" y="-468000"/>
            <a:chExt cx="13654799" cy="7794000"/>
          </a:xfrm>
        </p:grpSpPr>
        <p:sp>
          <p:nvSpPr>
            <p:cNvPr id="2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3"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de-DE" dirty="0"/>
              <a:t>Bilder Folie, Headline </a:t>
            </a:r>
            <a:r>
              <a:rPr lang="de-DE" noProof="0" dirty="0" err="1"/>
              <a:t>CorpoS</a:t>
            </a:r>
            <a:r>
              <a:rPr lang="de-DE" noProof="0" dirty="0"/>
              <a:t> </a:t>
            </a:r>
            <a:r>
              <a:rPr lang="de-DE" dirty="0"/>
              <a:t>(Textkörper) 35 pt. </a:t>
            </a:r>
            <a:br>
              <a:rPr lang="de-DE" dirty="0"/>
            </a:br>
            <a:r>
              <a:rPr lang="de-DE" dirty="0"/>
              <a:t>in zwei oder mehr Zeilen</a:t>
            </a: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4"/>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99832986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631.xml><?xml version="1.0" encoding="utf-8"?>
<p:sldLayout xmlns:a="http://schemas.openxmlformats.org/drawingml/2006/main" xmlns:r="http://schemas.openxmlformats.org/officeDocument/2006/relationships" xmlns:p="http://schemas.openxmlformats.org/presentationml/2006/main" showMasterSp="0" preserve="1" userDrawn="1">
  <p:cSld name="2 Images-chart 1/4 brushed">
    <p:bg>
      <p:bgRef idx="1001">
        <a:schemeClr val="bg1"/>
      </p:bgRef>
    </p:bg>
    <p:spTree>
      <p:nvGrpSpPr>
        <p:cNvPr id="1" name=""/>
        <p:cNvGrpSpPr/>
        <p:nvPr/>
      </p:nvGrpSpPr>
      <p:grpSpPr>
        <a:xfrm>
          <a:off x="0" y="0"/>
          <a:ext cx="0" cy="0"/>
          <a:chOff x="0" y="0"/>
          <a:chExt cx="0" cy="0"/>
        </a:xfrm>
      </p:grpSpPr>
      <p:grpSp>
        <p:nvGrpSpPr>
          <p:cNvPr id="24" name="Regieanweisungen"/>
          <p:cNvGrpSpPr/>
          <p:nvPr userDrawn="1"/>
        </p:nvGrpSpPr>
        <p:grpSpPr>
          <a:xfrm>
            <a:off x="-2086913" y="-467892"/>
            <a:ext cx="13647691" cy="7792196"/>
            <a:chOff x="-2088000" y="-468000"/>
            <a:chExt cx="13654799" cy="7794000"/>
          </a:xfrm>
        </p:grpSpPr>
        <p:sp>
          <p:nvSpPr>
            <p:cNvPr id="2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9" name="Listenebenen"/>
              <p:cNvGrpSpPr/>
              <p:nvPr userDrawn="1"/>
            </p:nvGrpSpPr>
            <p:grpSpPr>
              <a:xfrm>
                <a:off x="-1692000" y="2232000"/>
                <a:ext cx="1548000" cy="792000"/>
                <a:chOff x="-1692000" y="2160000"/>
                <a:chExt cx="1548000" cy="792000"/>
              </a:xfrm>
            </p:grpSpPr>
            <p:sp>
              <p:nvSpPr>
                <p:cNvPr id="30"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1"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2"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3"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3" name="Title 2"/>
          <p:cNvSpPr>
            <a:spLocks noGrp="1"/>
          </p:cNvSpPr>
          <p:nvPr>
            <p:ph type="title" hasCustomPrompt="1"/>
          </p:nvPr>
        </p:nvSpPr>
        <p:spPr>
          <a:xfrm>
            <a:off x="630116" y="288859"/>
            <a:ext cx="10930662" cy="1148857"/>
          </a:xfrm>
        </p:spPr>
        <p:txBody>
          <a:bodyPr/>
          <a:lstStyle>
            <a:lvl1pPr>
              <a:defRPr>
                <a:solidFill>
                  <a:schemeClr val="bg1"/>
                </a:solidFill>
              </a:defRPr>
            </a:lvl1pPr>
          </a:lstStyle>
          <a:p>
            <a:r>
              <a:rPr lang="de-DE" dirty="0"/>
              <a:t>Bilder Folie, Headline </a:t>
            </a:r>
            <a:r>
              <a:rPr lang="de-DE" noProof="0" dirty="0" err="1"/>
              <a:t>CorpoS</a:t>
            </a:r>
            <a:r>
              <a:rPr lang="de-DE" noProof="0" dirty="0"/>
              <a:t> </a:t>
            </a:r>
            <a:r>
              <a:rPr lang="de-DE" dirty="0"/>
              <a:t>(Textkörper) 35 pt. </a:t>
            </a:r>
            <a:br>
              <a:rPr lang="de-DE" dirty="0"/>
            </a:br>
            <a:r>
              <a:rPr lang="de-DE" dirty="0"/>
              <a:t>in zwei Zeilen</a:t>
            </a: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4"/>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84596494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632.xml><?xml version="1.0" encoding="utf-8"?>
<p:sldLayout xmlns:a="http://schemas.openxmlformats.org/drawingml/2006/main" xmlns:r="http://schemas.openxmlformats.org/officeDocument/2006/relationships" xmlns:p="http://schemas.openxmlformats.org/presentationml/2006/main" showMasterSp="0" preserve="1" userDrawn="1">
  <p:cSld name="2 Images-chart 1/3 brushed">
    <p:bg>
      <p:bgRef idx="1001">
        <a:schemeClr val="bg1"/>
      </p:bgRef>
    </p:bg>
    <p:spTree>
      <p:nvGrpSpPr>
        <p:cNvPr id="1" name=""/>
        <p:cNvGrpSpPr/>
        <p:nvPr/>
      </p:nvGrpSpPr>
      <p:grpSpPr>
        <a:xfrm>
          <a:off x="0" y="0"/>
          <a:ext cx="0" cy="0"/>
          <a:chOff x="0" y="0"/>
          <a:chExt cx="0" cy="0"/>
        </a:xfrm>
      </p:grpSpPr>
      <p:grpSp>
        <p:nvGrpSpPr>
          <p:cNvPr id="24" name="Regieanweisungen"/>
          <p:cNvGrpSpPr/>
          <p:nvPr userDrawn="1"/>
        </p:nvGrpSpPr>
        <p:grpSpPr>
          <a:xfrm>
            <a:off x="-2086913" y="-467892"/>
            <a:ext cx="13647691" cy="7792196"/>
            <a:chOff x="-2088000" y="-468000"/>
            <a:chExt cx="13654799" cy="7794000"/>
          </a:xfrm>
        </p:grpSpPr>
        <p:sp>
          <p:nvSpPr>
            <p:cNvPr id="2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9" name="Listenebenen"/>
              <p:cNvGrpSpPr/>
              <p:nvPr userDrawn="1"/>
            </p:nvGrpSpPr>
            <p:grpSpPr>
              <a:xfrm>
                <a:off x="-1692000" y="2232000"/>
                <a:ext cx="1548000" cy="792000"/>
                <a:chOff x="-1692000" y="2160000"/>
                <a:chExt cx="1548000" cy="792000"/>
              </a:xfrm>
            </p:grpSpPr>
            <p:sp>
              <p:nvSpPr>
                <p:cNvPr id="30"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1"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2"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3"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5"/>
          </p:nvPr>
        </p:nvSpPr>
        <p:spPr/>
        <p:txBody>
          <a:bodyPr/>
          <a:lstStyle/>
          <a:p>
            <a:r>
              <a:rPr lang="de-DE" dirty="0">
                <a:solidFill>
                  <a:prstClr val="black"/>
                </a:solidFill>
              </a:rPr>
              <a:t>Titel der Präsentation / Abteilung / Datum /</a:t>
            </a:r>
          </a:p>
        </p:txBody>
      </p:sp>
      <p:sp>
        <p:nvSpPr>
          <p:cNvPr id="4" name="Foliennummernplatzhalter 3"/>
          <p:cNvSpPr>
            <a:spLocks noGrp="1"/>
          </p:cNvSpPr>
          <p:nvPr>
            <p:ph type="sldNum" sz="quarter" idx="16"/>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5265400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633.xml><?xml version="1.0" encoding="utf-8"?>
<p:sldLayout xmlns:a="http://schemas.openxmlformats.org/drawingml/2006/main" xmlns:r="http://schemas.openxmlformats.org/officeDocument/2006/relationships" xmlns:p="http://schemas.openxmlformats.org/presentationml/2006/main" showMasterSp="0" preserve="1" userDrawn="1">
  <p:cSld name="2 Images-chart 2/3 brushed">
    <p:bg>
      <p:bgRef idx="1001">
        <a:schemeClr val="bg1"/>
      </p:bgRef>
    </p:bg>
    <p:spTree>
      <p:nvGrpSpPr>
        <p:cNvPr id="1" name=""/>
        <p:cNvGrpSpPr/>
        <p:nvPr/>
      </p:nvGrpSpPr>
      <p:grpSpPr>
        <a:xfrm>
          <a:off x="0" y="0"/>
          <a:ext cx="0" cy="0"/>
          <a:chOff x="0" y="0"/>
          <a:chExt cx="0" cy="0"/>
        </a:xfrm>
      </p:grpSpPr>
      <p:grpSp>
        <p:nvGrpSpPr>
          <p:cNvPr id="27" name="Regieanweisungen"/>
          <p:cNvGrpSpPr/>
          <p:nvPr userDrawn="1"/>
        </p:nvGrpSpPr>
        <p:grpSpPr>
          <a:xfrm>
            <a:off x="-2086913" y="-467892"/>
            <a:ext cx="13647691" cy="7792196"/>
            <a:chOff x="-2088000" y="-468000"/>
            <a:chExt cx="13654799" cy="7794000"/>
          </a:xfrm>
        </p:grpSpPr>
        <p:sp>
          <p:nvSpPr>
            <p:cNvPr id="2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0"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Insert </a:t>
            </a:r>
            <a:r>
              <a:rPr lang="de-DE" dirty="0" err="1"/>
              <a:t>text</a:t>
            </a:r>
            <a:r>
              <a:rPr lang="de-DE" dirty="0"/>
              <a:t> in </a:t>
            </a:r>
            <a:r>
              <a:rPr lang="de-DE" noProof="0" dirty="0" err="1"/>
              <a:t>CorpoS</a:t>
            </a:r>
            <a:r>
              <a:rPr lang="de-DE" noProof="0" dirty="0"/>
              <a:t> (Body) 24 p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Body </a:t>
            </a:r>
            <a:r>
              <a:rPr lang="de-DE" dirty="0" err="1"/>
              <a:t>text</a:t>
            </a:r>
            <a:r>
              <a:rPr lang="de-DE" dirty="0"/>
              <a:t>: Home // Paragraph// </a:t>
            </a:r>
            <a:r>
              <a:rPr lang="de-DE" dirty="0" err="1"/>
              <a:t>Increase</a:t>
            </a:r>
            <a:r>
              <a:rPr lang="de-DE" dirty="0"/>
              <a:t> List Level</a:t>
            </a:r>
          </a:p>
          <a:p>
            <a:pPr lvl="1"/>
            <a:r>
              <a:rPr lang="de-DE" dirty="0"/>
              <a:t>Second </a:t>
            </a:r>
            <a:r>
              <a:rPr lang="de-DE" dirty="0" err="1"/>
              <a:t>level</a:t>
            </a:r>
            <a:r>
              <a:rPr lang="de-DE" dirty="0"/>
              <a:t> (Body </a:t>
            </a:r>
            <a:r>
              <a:rPr lang="de-DE" dirty="0" err="1"/>
              <a:t>text</a:t>
            </a:r>
            <a:r>
              <a:rPr lang="de-DE" dirty="0"/>
              <a:t>)</a:t>
            </a:r>
          </a:p>
        </p:txBody>
      </p:sp>
      <p:sp>
        <p:nvSpPr>
          <p:cNvPr id="2" name="Fußzeilenplatzhalter 1"/>
          <p:cNvSpPr>
            <a:spLocks noGrp="1"/>
          </p:cNvSpPr>
          <p:nvPr>
            <p:ph type="ftr" sz="quarter" idx="16"/>
          </p:nvPr>
        </p:nvSpPr>
        <p:spPr/>
        <p:txBody>
          <a:bodyPr/>
          <a:lstStyle/>
          <a:p>
            <a:r>
              <a:rPr lang="de-DE" dirty="0">
                <a:solidFill>
                  <a:prstClr val="black"/>
                </a:solidFill>
              </a:rPr>
              <a:t>Titel der Präsentation / Abteilung / Datum /</a:t>
            </a:r>
          </a:p>
        </p:txBody>
      </p:sp>
      <p:sp>
        <p:nvSpPr>
          <p:cNvPr id="5" name="Foliennummernplatzhalter 4"/>
          <p:cNvSpPr>
            <a:spLocks noGrp="1"/>
          </p:cNvSpPr>
          <p:nvPr>
            <p:ph type="sldNum" sz="quarter" idx="17"/>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3292789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preserve="1" userDrawn="1">
  <p:cSld name="2 Images-chart 3/3 brushed">
    <p:bg>
      <p:bgRef idx="1001">
        <a:schemeClr val="bg1"/>
      </p:bgRef>
    </p:bg>
    <p:spTree>
      <p:nvGrpSpPr>
        <p:cNvPr id="1" name=""/>
        <p:cNvGrpSpPr/>
        <p:nvPr/>
      </p:nvGrpSpPr>
      <p:grpSpPr>
        <a:xfrm>
          <a:off x="0" y="0"/>
          <a:ext cx="0" cy="0"/>
          <a:chOff x="0" y="0"/>
          <a:chExt cx="0" cy="0"/>
        </a:xfrm>
      </p:grpSpPr>
      <p:grpSp>
        <p:nvGrpSpPr>
          <p:cNvPr id="26" name="Regieanweisungen"/>
          <p:cNvGrpSpPr/>
          <p:nvPr userDrawn="1"/>
        </p:nvGrpSpPr>
        <p:grpSpPr>
          <a:xfrm>
            <a:off x="-2086913" y="-467892"/>
            <a:ext cx="13647691" cy="7792196"/>
            <a:chOff x="-2088000" y="-468000"/>
            <a:chExt cx="13654799" cy="7794000"/>
          </a:xfrm>
        </p:grpSpPr>
        <p:sp>
          <p:nvSpPr>
            <p:cNvPr id="2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9" name="Hinweise links"/>
            <p:cNvGrpSpPr/>
            <p:nvPr userDrawn="1"/>
          </p:nvGrpSpPr>
          <p:grpSpPr>
            <a:xfrm>
              <a:off x="-2088000" y="0"/>
              <a:ext cx="1980000" cy="3528000"/>
              <a:chOff x="-2088000" y="0"/>
              <a:chExt cx="1980000" cy="3528000"/>
            </a:xfrm>
          </p:grpSpPr>
          <p:sp>
            <p:nvSpPr>
              <p:cNvPr id="30"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4"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Insert </a:t>
            </a:r>
            <a:r>
              <a:rPr lang="de-DE" dirty="0" err="1"/>
              <a:t>text</a:t>
            </a:r>
            <a:r>
              <a:rPr lang="de-DE" dirty="0"/>
              <a:t> in </a:t>
            </a:r>
            <a:r>
              <a:rPr lang="de-DE" noProof="0" dirty="0"/>
              <a:t>CorpoS (Body) 24 p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Body </a:t>
            </a:r>
            <a:r>
              <a:rPr lang="de-DE" dirty="0" err="1"/>
              <a:t>text</a:t>
            </a:r>
            <a:r>
              <a:rPr lang="de-DE" dirty="0"/>
              <a:t>: Home // Paragraph// </a:t>
            </a:r>
            <a:r>
              <a:rPr lang="de-DE" dirty="0" err="1"/>
              <a:t>Increase</a:t>
            </a:r>
            <a:r>
              <a:rPr lang="de-DE" dirty="0"/>
              <a:t> List Level</a:t>
            </a:r>
          </a:p>
          <a:p>
            <a:pPr lvl="1"/>
            <a:r>
              <a:rPr lang="de-DE" dirty="0"/>
              <a:t>Second </a:t>
            </a:r>
            <a:r>
              <a:rPr lang="de-DE" dirty="0" err="1"/>
              <a:t>level</a:t>
            </a:r>
            <a:r>
              <a:rPr lang="de-DE" dirty="0"/>
              <a:t> (Body </a:t>
            </a:r>
            <a:r>
              <a:rPr lang="de-DE" dirty="0" err="1"/>
              <a:t>tex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3" name="Fußzeilenplatzhalter 2"/>
          <p:cNvSpPr>
            <a:spLocks noGrp="1"/>
          </p:cNvSpPr>
          <p:nvPr>
            <p:ph type="ftr" sz="quarter" idx="16"/>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7"/>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67744718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635.xml><?xml version="1.0" encoding="utf-8"?>
<p:sldLayout xmlns:a="http://schemas.openxmlformats.org/drawingml/2006/main" xmlns:r="http://schemas.openxmlformats.org/officeDocument/2006/relationships" xmlns:p="http://schemas.openxmlformats.org/presentationml/2006/main" showMasterSp="0" preserve="1" userDrawn="1">
  <p:cSld name="Fullpage image">
    <p:bg>
      <p:bgRef idx="1001">
        <a:schemeClr val="bg1"/>
      </p:bgRef>
    </p:bg>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4"/>
          </p:nvPr>
        </p:nvSpPr>
        <p:spPr/>
        <p:txBody>
          <a:bodyPr/>
          <a:lstStyle/>
          <a:p>
            <a:r>
              <a:rPr lang="de-DE" dirty="0">
                <a:solidFill>
                  <a:prstClr val="black"/>
                </a:solidFill>
              </a:rPr>
              <a:t>Titel der Präsentation / Abteilung / Datum /</a:t>
            </a:r>
          </a:p>
        </p:txBody>
      </p:sp>
      <p:sp>
        <p:nvSpPr>
          <p:cNvPr id="3" name="Foliennummernplatzhalter 2"/>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25482076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636.xml><?xml version="1.0" encoding="utf-8"?>
<p:sldLayout xmlns:a="http://schemas.openxmlformats.org/drawingml/2006/main" xmlns:r="http://schemas.openxmlformats.org/officeDocument/2006/relationships" xmlns:p="http://schemas.openxmlformats.org/presentationml/2006/main" showMasterSp="0" preserve="1" userDrawn="1">
  <p:cSld name="Fullpage 3 images">
    <p:bg>
      <p:bgRef idx="1001">
        <a:schemeClr val="bg1"/>
      </p:bgRef>
    </p:bg>
    <p:spTree>
      <p:nvGrpSpPr>
        <p:cNvPr id="1" name=""/>
        <p:cNvGrpSpPr/>
        <p:nvPr/>
      </p:nvGrpSpPr>
      <p:grpSpPr>
        <a:xfrm>
          <a:off x="0" y="0"/>
          <a:ext cx="0" cy="0"/>
          <a:chOff x="0" y="0"/>
          <a:chExt cx="0" cy="0"/>
        </a:xfrm>
      </p:grpSpPr>
      <p:grpSp>
        <p:nvGrpSpPr>
          <p:cNvPr id="25" name="Regieanweisungen"/>
          <p:cNvGrpSpPr/>
          <p:nvPr userDrawn="1"/>
        </p:nvGrpSpPr>
        <p:grpSpPr>
          <a:xfrm>
            <a:off x="-2086913" y="-467892"/>
            <a:ext cx="13647691" cy="7792196"/>
            <a:chOff x="-2088000" y="-468000"/>
            <a:chExt cx="13654799" cy="7794000"/>
          </a:xfrm>
        </p:grpSpPr>
        <p:sp>
          <p:nvSpPr>
            <p:cNvPr id="2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3"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6" name="Picture Placeholder 3"/>
          <p:cNvSpPr>
            <a:spLocks noGrp="1"/>
          </p:cNvSpPr>
          <p:nvPr>
            <p:ph type="pic" sz="quarter" idx="14" hasCustomPrompt="1"/>
          </p:nvPr>
        </p:nvSpPr>
        <p:spPr bwMode="gray">
          <a:xfrm>
            <a:off x="3911151" y="0"/>
            <a:ext cx="4199925"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6"/>
          </p:nvPr>
        </p:nvSpPr>
        <p:spPr/>
        <p:txBody>
          <a:bodyPr/>
          <a:lstStyle/>
          <a:p>
            <a:r>
              <a:rPr lang="de-DE" dirty="0">
                <a:solidFill>
                  <a:prstClr val="black"/>
                </a:solidFill>
              </a:rPr>
              <a:t>Titel der Präsentation / Abteilung / Datum /</a:t>
            </a:r>
          </a:p>
        </p:txBody>
      </p:sp>
      <p:sp>
        <p:nvSpPr>
          <p:cNvPr id="3" name="Foliennummernplatzhalter 2"/>
          <p:cNvSpPr>
            <a:spLocks noGrp="1"/>
          </p:cNvSpPr>
          <p:nvPr>
            <p:ph type="sldNum" sz="quarter" idx="17"/>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22987886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wo 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Textkörper) 35 pt.</a:t>
            </a:r>
            <a:endParaRPr lang="de-DE" dirty="0"/>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de-DE" dirty="0"/>
              <a:t>Text einfügen </a:t>
            </a:r>
            <a:r>
              <a:rPr lang="de-DE" noProof="0" dirty="0"/>
              <a:t>(mark-</a:t>
            </a:r>
            <a:r>
              <a:rPr lang="de-DE" noProof="0" dirty="0" err="1"/>
              <a:t>ups</a:t>
            </a:r>
            <a:r>
              <a:rPr lang="de-DE" noProof="0" dirty="0"/>
              <a:t> in Fett) </a:t>
            </a:r>
            <a:r>
              <a:rPr lang="de-DE" dirty="0"/>
              <a:t>// für Zusammenfassung: Listenebene erhöhen</a:t>
            </a:r>
          </a:p>
          <a:p>
            <a:pPr lvl="1"/>
            <a:r>
              <a:rPr lang="de-DE" dirty="0"/>
              <a:t>Zweite Ebene (Zusammenfassung oder kurzes Highlight)</a:t>
            </a:r>
          </a:p>
        </p:txBody>
      </p:sp>
      <p:sp>
        <p:nvSpPr>
          <p:cNvPr id="9" name="Text Placeholder 7"/>
          <p:cNvSpPr>
            <a:spLocks noGrp="1"/>
          </p:cNvSpPr>
          <p:nvPr>
            <p:ph type="body" sz="quarter" idx="13" hasCustomPrompt="1"/>
          </p:nvPr>
        </p:nvSpPr>
        <p:spPr>
          <a:xfrm>
            <a:off x="6096000" y="4966850"/>
            <a:ext cx="5464504" cy="1414434"/>
          </a:xfrm>
        </p:spPr>
        <p:txBody>
          <a:bodyPr/>
          <a:lstStyle>
            <a:lvl1pPr>
              <a:defRPr/>
            </a:lvl1pPr>
            <a:lvl2pPr>
              <a:defRPr/>
            </a:lvl2pPr>
          </a:lstStyle>
          <a:p>
            <a:pPr lvl="0"/>
            <a:r>
              <a:rPr lang="de-DE" dirty="0"/>
              <a:t>Text einfügen </a:t>
            </a:r>
            <a:r>
              <a:rPr lang="de-DE" noProof="0" dirty="0"/>
              <a:t>(mark-</a:t>
            </a:r>
            <a:r>
              <a:rPr lang="de-DE" noProof="0" dirty="0" err="1"/>
              <a:t>ups</a:t>
            </a:r>
            <a:r>
              <a:rPr lang="de-DE" noProof="0" dirty="0"/>
              <a:t> in Fett) </a:t>
            </a:r>
            <a:r>
              <a:rPr lang="de-DE" dirty="0"/>
              <a:t>// für Zusammenfassung: Listenebene erhöhen</a:t>
            </a:r>
          </a:p>
          <a:p>
            <a:pPr lvl="1"/>
            <a:r>
              <a:rPr lang="de-DE" dirty="0"/>
              <a:t>Zweite Ebene (Zusammenfassung oder kurzes Highlight)</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7"/>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8"/>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407952113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Textkörper) 35 pt.</a:t>
            </a:r>
            <a:endParaRPr lang="de-DE" dirty="0"/>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de-DE" dirty="0"/>
              <a:t>Text einfügen in </a:t>
            </a:r>
            <a:r>
              <a:rPr lang="de-DE" noProof="0" dirty="0"/>
              <a:t>CorpoS (Body) 24 pt. (mark-</a:t>
            </a:r>
            <a:r>
              <a:rPr lang="de-DE" noProof="0" dirty="0" err="1"/>
              <a:t>ups</a:t>
            </a:r>
            <a:r>
              <a:rPr lang="de-DE" noProof="0" dirty="0"/>
              <a:t> in Fett) </a:t>
            </a:r>
            <a:r>
              <a:rPr lang="de-DE" dirty="0"/>
              <a:t>// für Zusammenfassung oder kurzes Highlight: Start // Absatz // Listenebene erhöhen</a:t>
            </a:r>
          </a:p>
          <a:p>
            <a:pPr lvl="1"/>
            <a:r>
              <a:rPr lang="de-DE" dirty="0"/>
              <a:t>Zweite Ebene (Zusammenfassung oder kurzes Highlight)</a:t>
            </a:r>
          </a:p>
          <a:p>
            <a:pPr lvl="2"/>
            <a:r>
              <a:rPr lang="de-DE" dirty="0"/>
              <a:t>Dritte Ebene </a:t>
            </a:r>
          </a:p>
          <a:p>
            <a:pPr lvl="3"/>
            <a:r>
              <a:rPr lang="de-DE" dirty="0"/>
              <a:t>Vierte Ebene </a:t>
            </a:r>
          </a:p>
          <a:p>
            <a:pPr lvl="4"/>
            <a:r>
              <a:rPr lang="de-DE" dirty="0"/>
              <a:t>Fünfte Ebene </a:t>
            </a:r>
          </a:p>
          <a:p>
            <a:pPr lvl="5"/>
            <a:r>
              <a:rPr lang="de-DE" dirty="0"/>
              <a:t>Sechste Ebene </a:t>
            </a:r>
          </a:p>
          <a:p>
            <a:pPr lvl="6"/>
            <a:r>
              <a:rPr lang="de-DE" dirty="0"/>
              <a:t>Siebte Ebene </a:t>
            </a:r>
          </a:p>
          <a:p>
            <a:pPr lvl="7"/>
            <a:r>
              <a:rPr lang="de-DE" dirty="0"/>
              <a:t>Achte Ebene </a:t>
            </a:r>
          </a:p>
          <a:p>
            <a:pPr lvl="8"/>
            <a:r>
              <a:rPr lang="de-DE" dirty="0"/>
              <a:t>Neunte Ebene </a:t>
            </a:r>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7"/>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8"/>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21560981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ext small // Image">
    <p:spTree>
      <p:nvGrpSpPr>
        <p:cNvPr id="1" name=""/>
        <p:cNvGrpSpPr/>
        <p:nvPr/>
      </p:nvGrpSpPr>
      <p:grpSpPr>
        <a:xfrm>
          <a:off x="0" y="0"/>
          <a:ext cx="0" cy="0"/>
          <a:chOff x="0" y="0"/>
          <a:chExt cx="0" cy="0"/>
        </a:xfrm>
      </p:grpSpPr>
      <p:sp>
        <p:nvSpPr>
          <p:cNvPr id="10" name="Picture Placeholder 3"/>
          <p:cNvSpPr>
            <a:spLocks noGrp="1"/>
          </p:cNvSpPr>
          <p:nvPr>
            <p:ph type="pic" sz="quarter" idx="14" hasCustomPrompt="1"/>
          </p:nvPr>
        </p:nvSpPr>
        <p:spPr bwMode="gray">
          <a:xfrm>
            <a:off x="4848875" y="1504604"/>
            <a:ext cx="6711903" cy="4875669"/>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8" name="Text Placeholder 7"/>
          <p:cNvSpPr>
            <a:spLocks noGrp="1"/>
          </p:cNvSpPr>
          <p:nvPr>
            <p:ph type="body" sz="quarter" idx="12" hasCustomPrompt="1"/>
          </p:nvPr>
        </p:nvSpPr>
        <p:spPr>
          <a:xfrm>
            <a:off x="629672" y="1504603"/>
            <a:ext cx="3857441" cy="4876681"/>
          </a:xfrm>
        </p:spPr>
        <p:txBody>
          <a:bodyPr>
            <a:normAutofit/>
          </a:bodyPr>
          <a:lstStyle>
            <a:lvl1pPr>
              <a:lnSpc>
                <a:spcPts val="2399"/>
              </a:lnSpc>
              <a:defRPr sz="1899" baseline="0"/>
            </a:lvl1pPr>
            <a:lvl2pPr>
              <a:lnSpc>
                <a:spcPts val="2399"/>
              </a:lnSpc>
              <a:defRPr sz="1899"/>
            </a:lvl2pPr>
            <a:lvl3pPr>
              <a:lnSpc>
                <a:spcPts val="2399"/>
              </a:lnSpc>
              <a:defRPr sz="1899"/>
            </a:lvl3pPr>
            <a:lvl4pPr>
              <a:lnSpc>
                <a:spcPts val="2399"/>
              </a:lnSpc>
              <a:defRPr sz="1899"/>
            </a:lvl4pPr>
            <a:lvl5pPr>
              <a:lnSpc>
                <a:spcPts val="2399"/>
              </a:lnSpc>
              <a:defRPr sz="1899"/>
            </a:lvl5pPr>
            <a:lvl6pPr>
              <a:lnSpc>
                <a:spcPts val="2399"/>
              </a:lnSpc>
              <a:defRPr sz="1899"/>
            </a:lvl6pPr>
            <a:lvl7pPr>
              <a:lnSpc>
                <a:spcPts val="2399"/>
              </a:lnSpc>
              <a:defRPr sz="1899"/>
            </a:lvl7pPr>
            <a:lvl8pPr>
              <a:lnSpc>
                <a:spcPts val="2399"/>
              </a:lnSpc>
              <a:defRPr sz="1899"/>
            </a:lvl8pPr>
            <a:lvl9pPr>
              <a:lnSpc>
                <a:spcPts val="2399"/>
              </a:lnSpc>
              <a:defRPr sz="1899"/>
            </a:lvl9pPr>
          </a:lstStyle>
          <a:p>
            <a:pPr lvl="0"/>
            <a:r>
              <a:rPr lang="de-DE" dirty="0"/>
              <a:t>Text einfügen in </a:t>
            </a:r>
            <a:r>
              <a:rPr lang="de-DE" noProof="0" dirty="0"/>
              <a:t>CorpoS (Body) 19 pt. (mark-</a:t>
            </a:r>
            <a:r>
              <a:rPr lang="de-DE" noProof="0" dirty="0" err="1"/>
              <a:t>ups</a:t>
            </a:r>
            <a:r>
              <a:rPr lang="de-DE" noProof="0" dirty="0"/>
              <a:t> in Fett) </a:t>
            </a:r>
            <a:r>
              <a:rPr lang="de-DE" dirty="0"/>
              <a:t>// für Zusammenfassung oder kurzes Highlight: Start // Absatz // Listenebene erhöhen</a:t>
            </a:r>
          </a:p>
          <a:p>
            <a:pPr lvl="1"/>
            <a:r>
              <a:rPr lang="de-DE" dirty="0"/>
              <a:t>Zweite Ebene (Zusammenfassung oder kurzes Highlight)</a:t>
            </a:r>
          </a:p>
          <a:p>
            <a:pPr lvl="2"/>
            <a:r>
              <a:rPr lang="de-DE" dirty="0"/>
              <a:t>Dritte Ebene </a:t>
            </a:r>
          </a:p>
          <a:p>
            <a:pPr lvl="3"/>
            <a:r>
              <a:rPr lang="de-DE" dirty="0"/>
              <a:t>Vierte Ebene </a:t>
            </a:r>
          </a:p>
          <a:p>
            <a:pPr lvl="4"/>
            <a:r>
              <a:rPr lang="de-DE" dirty="0"/>
              <a:t>Fünfte Ebene </a:t>
            </a:r>
          </a:p>
          <a:p>
            <a:pPr lvl="5"/>
            <a:r>
              <a:rPr lang="de-DE" dirty="0"/>
              <a:t>Sechste Ebene </a:t>
            </a:r>
          </a:p>
          <a:p>
            <a:pPr lvl="6"/>
            <a:r>
              <a:rPr lang="de-DE" dirty="0"/>
              <a:t>Siebte Ebene </a:t>
            </a:r>
          </a:p>
          <a:p>
            <a:pPr lvl="7"/>
            <a:r>
              <a:rPr lang="de-DE" dirty="0"/>
              <a:t>Achte Ebene </a:t>
            </a:r>
          </a:p>
          <a:p>
            <a:pPr lvl="8"/>
            <a:r>
              <a:rPr lang="de-DE" dirty="0"/>
              <a:t>Neunte Ebene </a:t>
            </a:r>
          </a:p>
        </p:txBody>
      </p:sp>
      <p:sp>
        <p:nvSpPr>
          <p:cNvPr id="5" name="Title 4"/>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Textkörper) 35 pt. für Standard </a:t>
            </a:r>
            <a:br>
              <a:rPr lang="de-DE" noProof="0" dirty="0"/>
            </a:br>
            <a:r>
              <a:rPr lang="de-DE" noProof="0" dirty="0"/>
              <a:t>Text-Folie in zwei Zeilen</a:t>
            </a:r>
            <a:endParaRPr lang="de-DE" dirty="0"/>
          </a:p>
        </p:txBody>
      </p:sp>
      <p:sp>
        <p:nvSpPr>
          <p:cNvPr id="2" name="Fußzeilenplatzhalter 1"/>
          <p:cNvSpPr>
            <a:spLocks noGrp="1"/>
          </p:cNvSpPr>
          <p:nvPr>
            <p:ph type="ftr" sz="quarter" idx="15"/>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6"/>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619185027"/>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948">
          <p15:clr>
            <a:srgbClr val="FBAE40"/>
          </p15:clr>
        </p15:guide>
        <p15:guide id="3" orient="horz" pos="182">
          <p15:clr>
            <a:srgbClr val="FBAE40"/>
          </p15:clr>
        </p15:guide>
        <p15:guide id="4" pos="3056">
          <p15:clr>
            <a:srgbClr val="FBAE40"/>
          </p15:clr>
        </p15:guide>
        <p15:guide id="5" pos="282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204464586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wo contents with head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Textkörper) 35 pt.</a:t>
            </a:r>
            <a:br>
              <a:rPr lang="de-DE" noProof="0" dirty="0"/>
            </a:br>
            <a:r>
              <a:rPr lang="de-DE" noProof="0" dirty="0"/>
              <a:t>über zwei Zeilen</a:t>
            </a:r>
            <a:endParaRPr lang="de-DE" dirty="0"/>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de-DE" dirty="0"/>
              <a:t>Text oder Inhalt einfügen in </a:t>
            </a:r>
            <a:r>
              <a:rPr lang="de-DE" noProof="0" dirty="0"/>
              <a:t>CorpoS (Body) 24 pt. (mark-</a:t>
            </a:r>
            <a:r>
              <a:rPr lang="de-DE" noProof="0" dirty="0" err="1"/>
              <a:t>ups</a:t>
            </a:r>
            <a:r>
              <a:rPr lang="de-DE" noProof="0" dirty="0"/>
              <a:t> in Fett) </a:t>
            </a:r>
            <a:r>
              <a:rPr lang="de-DE" dirty="0"/>
              <a:t>// für Zusammenfassung oder kurzes Highlight: Start // Absatz // Listenebene erhöhen</a:t>
            </a:r>
          </a:p>
          <a:p>
            <a:pPr lvl="1"/>
            <a:r>
              <a:rPr lang="de-DE" dirty="0"/>
              <a:t>Zweite Ebene (Zusammenfassung oder kurzes Highlight)</a:t>
            </a:r>
          </a:p>
          <a:p>
            <a:pPr lvl="2"/>
            <a:r>
              <a:rPr lang="de-DE" dirty="0"/>
              <a:t>Dritte Ebene</a:t>
            </a:r>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a:t>Headline einfügen</a:t>
            </a:r>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a:t>Headline einfügen</a:t>
            </a:r>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de-DE" dirty="0"/>
              <a:t>Text oder Inhalt einfügen in </a:t>
            </a:r>
            <a:r>
              <a:rPr lang="de-DE" noProof="0" dirty="0"/>
              <a:t>CorpoS (Body) 24 pt. (mark-</a:t>
            </a:r>
            <a:r>
              <a:rPr lang="de-DE" noProof="0" dirty="0" err="1"/>
              <a:t>ups</a:t>
            </a:r>
            <a:r>
              <a:rPr lang="de-DE" noProof="0" dirty="0"/>
              <a:t> in Fett) </a:t>
            </a:r>
            <a:r>
              <a:rPr lang="de-DE" dirty="0"/>
              <a:t>// für Zusammenfassung oder kurzes Highlight: Start // Absatz // Listenebene erhöhen</a:t>
            </a:r>
          </a:p>
          <a:p>
            <a:pPr lvl="1"/>
            <a:r>
              <a:rPr lang="de-DE" dirty="0"/>
              <a:t>Zweite Ebene (Zusammenfassung oder kurzes Highlight)</a:t>
            </a:r>
          </a:p>
          <a:p>
            <a:pPr lvl="2"/>
            <a:r>
              <a:rPr lang="de-DE" dirty="0"/>
              <a:t>Dritte Ebene</a:t>
            </a:r>
          </a:p>
        </p:txBody>
      </p:sp>
      <p:sp>
        <p:nvSpPr>
          <p:cNvPr id="5" name="Fußzeilenplatzhalter 4"/>
          <p:cNvSpPr>
            <a:spLocks noGrp="1"/>
          </p:cNvSpPr>
          <p:nvPr>
            <p:ph type="ftr" sz="quarter" idx="16"/>
          </p:nvPr>
        </p:nvSpPr>
        <p:spPr/>
        <p:txBody>
          <a:bodyPr/>
          <a:lstStyle/>
          <a:p>
            <a:r>
              <a:rPr lang="de-DE" dirty="0">
                <a:solidFill>
                  <a:prstClr val="black"/>
                </a:solidFill>
              </a:rPr>
              <a:t>Titel der Präsentation / Abteilung / Datum /</a:t>
            </a:r>
          </a:p>
        </p:txBody>
      </p:sp>
      <p:sp>
        <p:nvSpPr>
          <p:cNvPr id="12" name="Foliennummernplatzhalter 11"/>
          <p:cNvSpPr>
            <a:spLocks noGrp="1"/>
          </p:cNvSpPr>
          <p:nvPr>
            <p:ph type="sldNum" sz="quarter" idx="17"/>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642082808"/>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4 products">
    <p:spTree>
      <p:nvGrpSpPr>
        <p:cNvPr id="1" name=""/>
        <p:cNvGrpSpPr/>
        <p:nvPr/>
      </p:nvGrpSpPr>
      <p:grpSpPr>
        <a:xfrm>
          <a:off x="0" y="0"/>
          <a:ext cx="0" cy="0"/>
          <a:chOff x="0" y="0"/>
          <a:chExt cx="0" cy="0"/>
        </a:xfrm>
      </p:grpSpPr>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Text einfügen</a:t>
            </a:r>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Text einfügen</a:t>
            </a:r>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Text einfügen</a:t>
            </a:r>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Text einfügen</a:t>
            </a:r>
          </a:p>
        </p:txBody>
      </p:sp>
      <p:sp>
        <p:nvSpPr>
          <p:cNvPr id="47"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Textkörper) 35 pt.</a:t>
            </a:r>
            <a:endParaRPr lang="de-DE" dirty="0"/>
          </a:p>
        </p:txBody>
      </p:sp>
      <p:sp>
        <p:nvSpPr>
          <p:cNvPr id="2" name="Fußzeilenplatzhalter 1"/>
          <p:cNvSpPr>
            <a:spLocks noGrp="1"/>
          </p:cNvSpPr>
          <p:nvPr>
            <p:ph type="ftr" sz="quarter" idx="43"/>
          </p:nvPr>
        </p:nvSpPr>
        <p:spPr/>
        <p:txBody>
          <a:bodyPr/>
          <a:lstStyle/>
          <a:p>
            <a:r>
              <a:rPr lang="de-DE" dirty="0">
                <a:solidFill>
                  <a:prstClr val="black"/>
                </a:solidFill>
              </a:rPr>
              <a:t>Titel der Präsentation / Abteilung / Datum /</a:t>
            </a:r>
          </a:p>
        </p:txBody>
      </p:sp>
      <p:sp>
        <p:nvSpPr>
          <p:cNvPr id="8" name="Foliennummernplatzhalter 7"/>
          <p:cNvSpPr>
            <a:spLocks noGrp="1"/>
          </p:cNvSpPr>
          <p:nvPr>
            <p:ph type="sldNum" sz="quarter" idx="44"/>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56285287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Headline two lines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Textkörper) 35 pt.</a:t>
            </a:r>
            <a:br>
              <a:rPr lang="de-DE" noProof="0" dirty="0"/>
            </a:br>
            <a:r>
              <a:rPr lang="de-DE" noProof="0" dirty="0"/>
              <a:t>über zwei Zeilen</a:t>
            </a:r>
            <a:endParaRPr lang="de-DE" dirty="0"/>
          </a:p>
        </p:txBody>
      </p:sp>
      <p:sp>
        <p:nvSpPr>
          <p:cNvPr id="5" name="Fußzeilenplatzhalter 4"/>
          <p:cNvSpPr>
            <a:spLocks noGrp="1"/>
          </p:cNvSpPr>
          <p:nvPr>
            <p:ph type="ftr" sz="quarter" idx="10"/>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1"/>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81367346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Headline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Textkörper) 35 pt.</a:t>
            </a:r>
            <a:endParaRPr lang="de-DE" dirty="0"/>
          </a:p>
        </p:txBody>
      </p:sp>
      <p:sp>
        <p:nvSpPr>
          <p:cNvPr id="5" name="Fußzeilenplatzhalter 4"/>
          <p:cNvSpPr>
            <a:spLocks noGrp="1"/>
          </p:cNvSpPr>
          <p:nvPr>
            <p:ph type="ftr" sz="quarter" idx="10"/>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1"/>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324317939"/>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type="tx">
  <p:cSld name="Einleitungstext, dark grey">
    <p:bg>
      <p:bgPr>
        <a:solidFill>
          <a:srgbClr val="25262E"/>
        </a:solidFill>
        <a:effectLst/>
      </p:bgPr>
    </p:bg>
    <p:spTree>
      <p:nvGrpSpPr>
        <p:cNvPr id="1" name=""/>
        <p:cNvGrpSpPr/>
        <p:nvPr/>
      </p:nvGrpSpPr>
      <p:grpSpPr>
        <a:xfrm>
          <a:off x="0" y="0"/>
          <a:ext cx="0" cy="0"/>
          <a:chOff x="0" y="0"/>
          <a:chExt cx="0" cy="0"/>
        </a:xfrm>
      </p:grpSpPr>
      <p:pic>
        <p:nvPicPr>
          <p:cNvPr id="354" name="Shape 172" descr="Shape 172"/>
          <p:cNvPicPr>
            <a:picLocks noChangeAspect="1"/>
          </p:cNvPicPr>
          <p:nvPr/>
        </p:nvPicPr>
        <p:blipFill>
          <a:blip r:embed="rId2">
            <a:extLst/>
          </a:blip>
          <a:stretch>
            <a:fillRect/>
          </a:stretch>
        </p:blipFill>
        <p:spPr>
          <a:xfrm>
            <a:off x="0" y="0"/>
            <a:ext cx="12192000" cy="6858000"/>
          </a:xfrm>
          <a:prstGeom prst="rect">
            <a:avLst/>
          </a:prstGeom>
          <a:ln w="12700">
            <a:miter lim="400000"/>
          </a:ln>
        </p:spPr>
      </p:pic>
      <p:sp>
        <p:nvSpPr>
          <p:cNvPr id="355" name="Foliennummer"/>
          <p:cNvSpPr>
            <a:spLocks noGrp="1"/>
          </p:cNvSpPr>
          <p:nvPr>
            <p:ph type="sldNum" sz="quarter" idx="2"/>
          </p:nvPr>
        </p:nvSpPr>
        <p:spPr>
          <a:xfrm>
            <a:off x="11183344" y="6219192"/>
            <a:ext cx="307617" cy="184623"/>
          </a:xfrm>
          <a:prstGeom prst="rect">
            <a:avLst/>
          </a:prstGeom>
        </p:spPr>
        <p:txBody>
          <a:bodyPr lIns="0" tIns="0" rIns="0" bIns="0"/>
          <a:lstStyle>
            <a:lvl1pPr algn="r">
              <a:defRPr>
                <a:solidFill>
                  <a:srgbClr val="00B7BF"/>
                </a:solidFill>
                <a:latin typeface="+mj-lt"/>
                <a:ea typeface="+mj-ea"/>
                <a:cs typeface="+mj-cs"/>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1834775065"/>
      </p:ext>
    </p:extLst>
  </p:cSld>
  <p:clrMapOvr>
    <a:masterClrMapping/>
  </p:clrMapOvr>
  <p:transition spd="med"/>
</p:sldLayout>
</file>

<file path=ppt/slideLayouts/slideLayout645.xml><?xml version="1.0" encoding="utf-8"?>
<p:sldLayout xmlns:a="http://schemas.openxmlformats.org/drawingml/2006/main" xmlns:r="http://schemas.openxmlformats.org/officeDocument/2006/relationships" xmlns:p="http://schemas.openxmlformats.org/presentationml/2006/main" type="tx">
  <p:cSld name="photo half Kopie">
    <p:bg>
      <p:bgPr>
        <a:solidFill>
          <a:srgbClr val="24262F"/>
        </a:solidFill>
        <a:effectLst/>
      </p:bgPr>
    </p:bg>
    <p:spTree>
      <p:nvGrpSpPr>
        <p:cNvPr id="1" name=""/>
        <p:cNvGrpSpPr/>
        <p:nvPr/>
      </p:nvGrpSpPr>
      <p:grpSpPr>
        <a:xfrm>
          <a:off x="0" y="0"/>
          <a:ext cx="0" cy="0"/>
          <a:chOff x="0" y="0"/>
          <a:chExt cx="0" cy="0"/>
        </a:xfrm>
      </p:grpSpPr>
      <p:sp>
        <p:nvSpPr>
          <p:cNvPr id="395" name="Shape 395"/>
          <p:cNvSpPr>
            <a:spLocks noGrp="1"/>
          </p:cNvSpPr>
          <p:nvPr>
            <p:ph type="title"/>
          </p:nvPr>
        </p:nvSpPr>
        <p:spPr>
          <a:xfrm>
            <a:off x="628983" y="653999"/>
            <a:ext cx="4888052" cy="1110005"/>
          </a:xfrm>
          <a:prstGeom prst="rect">
            <a:avLst/>
          </a:prstGeom>
        </p:spPr>
        <p:txBody>
          <a:bodyPr lIns="0" tIns="0" rIns="0" bIns="0" anchor="t">
            <a:noAutofit/>
          </a:bodyPr>
          <a:lstStyle>
            <a:lvl1pPr defTabSz="292025">
              <a:defRPr sz="4498" spc="-45">
                <a:solidFill>
                  <a:srgbClr val="00BEB3"/>
                </a:solidFill>
                <a:latin typeface="Helvetica"/>
                <a:ea typeface="Helvetica"/>
                <a:cs typeface="Helvetica"/>
                <a:sym typeface="Helvetica"/>
              </a:defRPr>
            </a:lvl1pPr>
          </a:lstStyle>
          <a:p>
            <a:r>
              <a:t>Title Text</a:t>
            </a:r>
          </a:p>
        </p:txBody>
      </p:sp>
      <p:sp>
        <p:nvSpPr>
          <p:cNvPr id="396" name="Shape 396"/>
          <p:cNvSpPr>
            <a:spLocks noGrp="1"/>
          </p:cNvSpPr>
          <p:nvPr>
            <p:ph type="body" sz="half" idx="1"/>
          </p:nvPr>
        </p:nvSpPr>
        <p:spPr>
          <a:xfrm>
            <a:off x="628983" y="1780298"/>
            <a:ext cx="4888052" cy="4543409"/>
          </a:xfrm>
          <a:prstGeom prst="rect">
            <a:avLst/>
          </a:prstGeom>
        </p:spPr>
        <p:txBody>
          <a:bodyPr lIns="26796" tIns="26796" rIns="26796" bIns="26796" anchor="t">
            <a:noAutofit/>
          </a:bodyPr>
          <a:lstStyle>
            <a:lvl1pPr marL="233887" indent="-233887" defTabSz="317418">
              <a:spcBef>
                <a:spcPts val="1499"/>
              </a:spcBef>
              <a:defRPr sz="1999" spc="60">
                <a:latin typeface="Helvetica"/>
                <a:ea typeface="Helvetica"/>
                <a:cs typeface="Helvetica"/>
                <a:sym typeface="Helvetica"/>
              </a:defRPr>
            </a:lvl1pPr>
            <a:lvl2pPr marL="456079" indent="-233887" defTabSz="317418">
              <a:spcBef>
                <a:spcPts val="1499"/>
              </a:spcBef>
              <a:defRPr sz="1999" spc="60">
                <a:latin typeface="Helvetica"/>
                <a:ea typeface="Helvetica"/>
                <a:cs typeface="Helvetica"/>
                <a:sym typeface="Helvetica"/>
              </a:defRPr>
            </a:lvl2pPr>
            <a:lvl3pPr marL="678272" indent="-233887" defTabSz="317418">
              <a:spcBef>
                <a:spcPts val="1499"/>
              </a:spcBef>
              <a:defRPr sz="1999" spc="60">
                <a:latin typeface="Helvetica"/>
                <a:ea typeface="Helvetica"/>
                <a:cs typeface="Helvetica"/>
                <a:sym typeface="Helvetica"/>
              </a:defRPr>
            </a:lvl3pPr>
            <a:lvl4pPr marL="900465" indent="-233887" defTabSz="317418">
              <a:spcBef>
                <a:spcPts val="1499"/>
              </a:spcBef>
              <a:defRPr sz="1999" spc="60">
                <a:latin typeface="Helvetica"/>
                <a:ea typeface="Helvetica"/>
                <a:cs typeface="Helvetica"/>
                <a:sym typeface="Helvetica"/>
              </a:defRPr>
            </a:lvl4pPr>
            <a:lvl5pPr marL="1122656" indent="-233887" defTabSz="317418">
              <a:spcBef>
                <a:spcPts val="1499"/>
              </a:spcBef>
              <a:defRPr sz="1999" spc="60">
                <a:latin typeface="Helvetica"/>
                <a:ea typeface="Helvetica"/>
                <a:cs typeface="Helvetica"/>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397" name="Shape 397"/>
          <p:cNvSpPr>
            <a:spLocks noGrp="1"/>
          </p:cNvSpPr>
          <p:nvPr>
            <p:ph type="sldNum" sz="quarter" idx="2"/>
          </p:nvPr>
        </p:nvSpPr>
        <p:spPr>
          <a:xfrm>
            <a:off x="11560066" y="4802"/>
            <a:ext cx="632888" cy="238767"/>
          </a:xfrm>
          <a:prstGeom prst="rect">
            <a:avLst/>
          </a:prstGeom>
          <a:extLst>
            <a:ext uri="{C572A759-6A51-4108-AA02-DFA0A04FC94B}">
              <ma14:wrappingTextBoxFlag xmlns="" xmlns:ma14="http://schemas.microsoft.com/office/mac/drawingml/2011/main" val="1"/>
            </a:ext>
          </a:extLst>
        </p:spPr>
        <p:txBody>
          <a:bodyPr wrap="square" lIns="26796" tIns="26796" rIns="26796" bIns="26796"/>
          <a:lstStyle>
            <a:lvl1pPr algn="ctr" defTabSz="292025">
              <a:defRPr>
                <a:solidFill>
                  <a:srgbClr val="FFFFFF"/>
                </a:solidFill>
                <a:latin typeface="Helvetica"/>
                <a:ea typeface="Helvetica"/>
                <a:cs typeface="Helvetica"/>
                <a:sym typeface="Helvetica"/>
              </a:defRPr>
            </a:lvl1pPr>
          </a:lstStyle>
          <a:p>
            <a:fld id="{86CB4B4D-7CA3-9044-876B-883B54F8677D}" type="slidenum">
              <a:rPr/>
              <a:pPr/>
              <a:t>‹#›</a:t>
            </a:fld>
            <a:endParaRPr/>
          </a:p>
        </p:txBody>
      </p:sp>
    </p:spTree>
    <p:extLst>
      <p:ext uri="{BB962C8B-B14F-4D97-AF65-F5344CB8AC3E}">
        <p14:creationId xmlns:p14="http://schemas.microsoft.com/office/powerpoint/2010/main" val="1067279095"/>
      </p:ext>
    </p:extLst>
  </p:cSld>
  <p:clrMapOvr>
    <a:masterClrMapping/>
  </p:clrMapOvr>
  <p:transition spd="med"/>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preserve="1" userDrawn="1">
  <p:cSld name="Title 3/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1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1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0" name="Hinweise links"/>
            <p:cNvGrpSpPr/>
            <p:nvPr userDrawn="1"/>
          </p:nvGrpSpPr>
          <p:grpSpPr>
            <a:xfrm>
              <a:off x="-2088000" y="0"/>
              <a:ext cx="1980000" cy="3528000"/>
              <a:chOff x="-2088000" y="0"/>
              <a:chExt cx="1980000" cy="3528000"/>
            </a:xfrm>
          </p:grpSpPr>
          <p:sp>
            <p:nvSpPr>
              <p:cNvPr id="2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2" name="Listenebenen"/>
              <p:cNvGrpSpPr/>
              <p:nvPr userDrawn="1"/>
            </p:nvGrpSpPr>
            <p:grpSpPr>
              <a:xfrm>
                <a:off x="-1692000" y="2232000"/>
                <a:ext cx="1548000" cy="792000"/>
                <a:chOff x="-1692000" y="2160000"/>
                <a:chExt cx="1548000" cy="792000"/>
              </a:xfrm>
            </p:grpSpPr>
            <p:sp>
              <p:nvSpPr>
                <p:cNvPr id="2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25"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26"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de-DE" dirty="0"/>
              <a:t>Name des Vortragenden: </a:t>
            </a:r>
            <a:r>
              <a:rPr lang="de-DE" noProof="0" dirty="0" err="1"/>
              <a:t>CorpoS</a:t>
            </a:r>
            <a:r>
              <a:rPr lang="de-DE" noProof="0" dirty="0"/>
              <a:t> </a:t>
            </a:r>
            <a:r>
              <a:rPr lang="de-DE" dirty="0"/>
              <a:t>(Textkörper) 35 pt.</a:t>
            </a:r>
            <a:br>
              <a:rPr lang="de-DE" dirty="0"/>
            </a:br>
            <a:r>
              <a:rPr lang="de-DE" dirty="0"/>
              <a:t>Präsentationstitel in zwei Zeilen Text, </a:t>
            </a:r>
            <a:r>
              <a:rPr lang="de-DE" dirty="0" err="1"/>
              <a:t>dd</a:t>
            </a:r>
            <a:r>
              <a:rPr lang="de-DE" dirty="0"/>
              <a:t>. </a:t>
            </a:r>
            <a:r>
              <a:rPr lang="de-DE" dirty="0" err="1"/>
              <a:t>mmmm</a:t>
            </a:r>
            <a:r>
              <a:rPr lang="de-DE" dirty="0"/>
              <a:t> </a:t>
            </a:r>
            <a:r>
              <a:rPr lang="de-DE" dirty="0" err="1"/>
              <a:t>yyyy</a:t>
            </a:r>
            <a:endParaRPr lang="de-DE"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561196072"/>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preserve="1" userDrawn="1">
  <p:cSld name="Title 2/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1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1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0" name="Hinweise links"/>
            <p:cNvGrpSpPr/>
            <p:nvPr userDrawn="1"/>
          </p:nvGrpSpPr>
          <p:grpSpPr>
            <a:xfrm>
              <a:off x="-2088000" y="0"/>
              <a:ext cx="1980000" cy="3528000"/>
              <a:chOff x="-2088000" y="0"/>
              <a:chExt cx="1980000" cy="3528000"/>
            </a:xfrm>
          </p:grpSpPr>
          <p:sp>
            <p:nvSpPr>
              <p:cNvPr id="2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2" name="Listenebenen"/>
              <p:cNvGrpSpPr/>
              <p:nvPr userDrawn="1"/>
            </p:nvGrpSpPr>
            <p:grpSpPr>
              <a:xfrm>
                <a:off x="-1692000" y="2232000"/>
                <a:ext cx="1548000" cy="792000"/>
                <a:chOff x="-1692000" y="2160000"/>
                <a:chExt cx="1548000" cy="792000"/>
              </a:xfrm>
            </p:grpSpPr>
            <p:sp>
              <p:nvSpPr>
                <p:cNvPr id="2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25"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26"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4608438"/>
            <a:ext cx="10932181" cy="1538527"/>
          </a:xfrm>
        </p:spPr>
        <p:txBody>
          <a:bodyPr wrap="square" anchor="b" anchorCtr="0">
            <a:spAutoFit/>
          </a:bodyPr>
          <a:lstStyle>
            <a:lvl1pPr>
              <a:defRPr/>
            </a:lvl1pPr>
          </a:lstStyle>
          <a:p>
            <a:r>
              <a:rPr lang="de-DE" dirty="0"/>
              <a:t>Name des Vortragenden: </a:t>
            </a:r>
            <a:r>
              <a:rPr lang="de-DE" noProof="0" dirty="0" err="1"/>
              <a:t>CorpoS</a:t>
            </a:r>
            <a:r>
              <a:rPr lang="de-DE" noProof="0" dirty="0"/>
              <a:t> </a:t>
            </a:r>
            <a:r>
              <a:rPr lang="de-DE" dirty="0"/>
              <a:t>(Textkörper) 35 pt.</a:t>
            </a:r>
            <a:br>
              <a:rPr lang="de-DE" dirty="0"/>
            </a:br>
            <a:r>
              <a:rPr lang="de-DE" dirty="0"/>
              <a:t>Präsentationstitel in zwei oder mehreren </a:t>
            </a:r>
            <a:br>
              <a:rPr lang="de-DE" dirty="0"/>
            </a:br>
            <a:r>
              <a:rPr lang="de-DE" dirty="0"/>
              <a:t>Zeilen Text, </a:t>
            </a:r>
            <a:r>
              <a:rPr lang="de-DE" dirty="0" err="1"/>
              <a:t>dd</a:t>
            </a:r>
            <a:r>
              <a:rPr lang="de-DE" dirty="0"/>
              <a:t>. </a:t>
            </a:r>
            <a:r>
              <a:rPr lang="de-DE" dirty="0" err="1"/>
              <a:t>mmmm</a:t>
            </a:r>
            <a:r>
              <a:rPr lang="de-DE" dirty="0"/>
              <a:t> </a:t>
            </a:r>
            <a:r>
              <a:rPr lang="de-DE" dirty="0" err="1"/>
              <a:t>yyyy</a:t>
            </a:r>
            <a:endParaRPr lang="de-DE"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386858511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userDrawn="1">
  <p:cSld name="Title 1/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1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1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0" name="Hinweise links"/>
            <p:cNvGrpSpPr/>
            <p:nvPr userDrawn="1"/>
          </p:nvGrpSpPr>
          <p:grpSpPr>
            <a:xfrm>
              <a:off x="-2088000" y="0"/>
              <a:ext cx="1980000" cy="3528000"/>
              <a:chOff x="-2088000" y="0"/>
              <a:chExt cx="1980000" cy="3528000"/>
            </a:xfrm>
          </p:grpSpPr>
          <p:sp>
            <p:nvSpPr>
              <p:cNvPr id="2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2" name="Listenebenen"/>
              <p:cNvGrpSpPr/>
              <p:nvPr userDrawn="1"/>
            </p:nvGrpSpPr>
            <p:grpSpPr>
              <a:xfrm>
                <a:off x="-1692000" y="2232000"/>
                <a:ext cx="1548000" cy="792000"/>
                <a:chOff x="-1692000" y="2160000"/>
                <a:chExt cx="1548000" cy="792000"/>
              </a:xfrm>
            </p:grpSpPr>
            <p:sp>
              <p:nvSpPr>
                <p:cNvPr id="2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25"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26"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4608438"/>
            <a:ext cx="10930832" cy="1538527"/>
          </a:xfrm>
        </p:spPr>
        <p:txBody>
          <a:bodyPr wrap="square" anchor="b" anchorCtr="0">
            <a:spAutoFit/>
          </a:bodyPr>
          <a:lstStyle>
            <a:lvl1pPr>
              <a:defRPr baseline="0"/>
            </a:lvl1pPr>
          </a:lstStyle>
          <a:p>
            <a:r>
              <a:rPr lang="de-DE" dirty="0"/>
              <a:t>Name des Vortragenden: </a:t>
            </a:r>
            <a:r>
              <a:rPr lang="de-DE" noProof="0" dirty="0" err="1"/>
              <a:t>CorpoS</a:t>
            </a:r>
            <a:r>
              <a:rPr lang="de-DE" noProof="0" dirty="0"/>
              <a:t> </a:t>
            </a:r>
            <a:r>
              <a:rPr lang="de-DE" dirty="0"/>
              <a:t>(Textkörper) 35 pt.</a:t>
            </a:r>
            <a:br>
              <a:rPr lang="de-DE" dirty="0"/>
            </a:br>
            <a:r>
              <a:rPr lang="de-DE" dirty="0"/>
              <a:t>Präsentationstitel in zwei oder drei </a:t>
            </a:r>
            <a:br>
              <a:rPr lang="de-DE" dirty="0"/>
            </a:br>
            <a:r>
              <a:rPr lang="de-DE" dirty="0"/>
              <a:t>Zeilen Text, </a:t>
            </a:r>
            <a:r>
              <a:rPr lang="de-DE" dirty="0" err="1"/>
              <a:t>dd</a:t>
            </a:r>
            <a:r>
              <a:rPr lang="de-DE" dirty="0"/>
              <a:t>. </a:t>
            </a:r>
            <a:r>
              <a:rPr lang="de-DE" dirty="0" err="1"/>
              <a:t>mmmm</a:t>
            </a:r>
            <a:r>
              <a:rPr lang="de-DE" dirty="0"/>
              <a:t> </a:t>
            </a:r>
            <a:r>
              <a:rPr lang="de-DE" dirty="0" err="1"/>
              <a:t>yyyy</a:t>
            </a:r>
            <a:endParaRPr lang="de-DE"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342519957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649.xml><?xml version="1.0" encoding="utf-8"?>
<p:sldLayout xmlns:a="http://schemas.openxmlformats.org/drawingml/2006/main" xmlns:r="http://schemas.openxmlformats.org/officeDocument/2006/relationships" xmlns:p="http://schemas.openxmlformats.org/presentationml/2006/main" showMasterSp="0" preserve="1" userDrawn="1">
  <p:cSld name="Title 3/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26"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27"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Titel 1"/>
          <p:cNvSpPr>
            <a:spLocks noGrp="1"/>
          </p:cNvSpPr>
          <p:nvPr>
            <p:ph type="ctrTitle" hasCustomPrompt="1"/>
          </p:nvPr>
        </p:nvSpPr>
        <p:spPr>
          <a:xfrm>
            <a:off x="628323" y="2045814"/>
            <a:ext cx="10932181" cy="1763324"/>
          </a:xfrm>
        </p:spPr>
        <p:txBody>
          <a:bodyPr wrap="square" anchor="t" anchorCtr="0">
            <a:noAutofit/>
          </a:bodyPr>
          <a:lstStyle>
            <a:lvl1pPr>
              <a:defRPr baseline="0">
                <a:solidFill>
                  <a:schemeClr val="bg1"/>
                </a:solidFill>
              </a:defRPr>
            </a:lvl1pPr>
          </a:lstStyle>
          <a:p>
            <a:r>
              <a:rPr lang="de-DE" dirty="0"/>
              <a:t>Name des Vortragenden: </a:t>
            </a:r>
            <a:r>
              <a:rPr lang="de-DE" noProof="0" dirty="0" err="1"/>
              <a:t>CorpoS</a:t>
            </a:r>
            <a:r>
              <a:rPr lang="de-DE" noProof="0" dirty="0"/>
              <a:t> </a:t>
            </a:r>
            <a:r>
              <a:rPr lang="de-DE" dirty="0"/>
              <a:t>(Textkörper) 35 pt.</a:t>
            </a:r>
            <a:br>
              <a:rPr lang="de-DE" dirty="0"/>
            </a:br>
            <a:r>
              <a:rPr lang="de-DE" dirty="0"/>
              <a:t>Präsentationstitel in zwei oder drei </a:t>
            </a:r>
            <a:br>
              <a:rPr lang="de-DE" dirty="0"/>
            </a:br>
            <a:r>
              <a:rPr lang="de-DE" dirty="0"/>
              <a:t>Zeilen Text, </a:t>
            </a:r>
            <a:r>
              <a:rPr lang="de-DE" dirty="0" err="1"/>
              <a:t>dd</a:t>
            </a:r>
            <a:r>
              <a:rPr lang="de-DE" dirty="0"/>
              <a:t>. </a:t>
            </a:r>
            <a:r>
              <a:rPr lang="de-DE" dirty="0" err="1"/>
              <a:t>mmmm</a:t>
            </a:r>
            <a:r>
              <a:rPr lang="de-DE" dirty="0"/>
              <a:t> </a:t>
            </a:r>
            <a:r>
              <a:rPr lang="de-DE" dirty="0" err="1"/>
              <a:t>yyyy</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351411435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Agenda with brushin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 name="Title 1"/>
          <p:cNvSpPr>
            <a:spLocks noGrp="1"/>
          </p:cNvSpPr>
          <p:nvPr>
            <p:ph type="title" hasCustomPrompt="1"/>
          </p:nvPr>
        </p:nvSpPr>
        <p:spPr>
          <a:xfrm>
            <a:off x="628323" y="288859"/>
            <a:ext cx="10932455" cy="1148857"/>
          </a:xfrm>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7" y="1504603"/>
            <a:ext cx="10931023" cy="3386305"/>
          </a:xfrm>
          <a:custGeom>
            <a:avLst/>
            <a:gdLst>
              <a:gd name="connsiteX0" fmla="*/ 0 w 10936081"/>
              <a:gd name="connsiteY0" fmla="*/ 0 h 3384000"/>
              <a:gd name="connsiteX1" fmla="*/ 10936081 w 10936081"/>
              <a:gd name="connsiteY1" fmla="*/ 0 h 3384000"/>
              <a:gd name="connsiteX2" fmla="*/ 10936081 w 10936081"/>
              <a:gd name="connsiteY2" fmla="*/ 3384000 h 3384000"/>
              <a:gd name="connsiteX3" fmla="*/ 0 w 10936081"/>
              <a:gd name="connsiteY3" fmla="*/ 3384000 h 3384000"/>
              <a:gd name="connsiteX4" fmla="*/ 0 w 10936081"/>
              <a:gd name="connsiteY4" fmla="*/ 0 h 3384000"/>
              <a:gd name="connsiteX0" fmla="*/ 0 w 10936081"/>
              <a:gd name="connsiteY0" fmla="*/ 0 h 3387089"/>
              <a:gd name="connsiteX1" fmla="*/ 10936081 w 10936081"/>
              <a:gd name="connsiteY1" fmla="*/ 0 h 3387089"/>
              <a:gd name="connsiteX2" fmla="*/ 10936081 w 10936081"/>
              <a:gd name="connsiteY2" fmla="*/ 3384000 h 3387089"/>
              <a:gd name="connsiteX3" fmla="*/ 2006076 w 10936081"/>
              <a:gd name="connsiteY3" fmla="*/ 3387089 h 3387089"/>
              <a:gd name="connsiteX4" fmla="*/ 0 w 10936081"/>
              <a:gd name="connsiteY4" fmla="*/ 3384000 h 3387089"/>
              <a:gd name="connsiteX5" fmla="*/ 0 w 10936081"/>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10936081 w 10936716"/>
              <a:gd name="connsiteY3" fmla="*/ 3384000 h 3387089"/>
              <a:gd name="connsiteX4" fmla="*/ 2006076 w 10936716"/>
              <a:gd name="connsiteY4" fmla="*/ 3387089 h 3387089"/>
              <a:gd name="connsiteX5" fmla="*/ 0 w 10936716"/>
              <a:gd name="connsiteY5" fmla="*/ 3384000 h 3387089"/>
              <a:gd name="connsiteX6" fmla="*/ 0 w 10936716"/>
              <a:gd name="connsiteY6"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3387089">
                <a:moveTo>
                  <a:pt x="0" y="0"/>
                </a:moveTo>
                <a:lnTo>
                  <a:pt x="10936081" y="0"/>
                </a:lnTo>
                <a:cubicBezTo>
                  <a:pt x="10936293" y="852170"/>
                  <a:pt x="10936504" y="1704339"/>
                  <a:pt x="10936716" y="2556509"/>
                </a:cubicBezTo>
                <a:lnTo>
                  <a:pt x="2006076" y="3387089"/>
                </a:lnTo>
                <a:lnTo>
                  <a:pt x="0" y="3384000"/>
                </a:lnTo>
                <a:lnTo>
                  <a:pt x="0" y="0"/>
                </a:lnTo>
                <a:close/>
              </a:path>
            </a:pathLst>
          </a:custGeo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35800101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preserve="1" userDrawn="1">
  <p:cSld name="Title 2/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26"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27"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Titel 1"/>
          <p:cNvSpPr>
            <a:spLocks noGrp="1"/>
          </p:cNvSpPr>
          <p:nvPr>
            <p:ph type="ctrTitle" hasCustomPrompt="1"/>
          </p:nvPr>
        </p:nvSpPr>
        <p:spPr>
          <a:xfrm>
            <a:off x="628323" y="2044433"/>
            <a:ext cx="10932181" cy="648964"/>
          </a:xfrm>
        </p:spPr>
        <p:txBody>
          <a:bodyPr wrap="square" anchor="t" anchorCtr="0">
            <a:noAutofit/>
          </a:bodyPr>
          <a:lstStyle>
            <a:lvl1pPr>
              <a:defRPr>
                <a:solidFill>
                  <a:schemeClr val="bg1"/>
                </a:solidFill>
              </a:defRPr>
            </a:lvl1pPr>
          </a:lstStyle>
          <a:p>
            <a:r>
              <a:rPr lang="de-DE" dirty="0"/>
              <a:t>Headline der Präsentation</a:t>
            </a:r>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418859880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651.xml><?xml version="1.0" encoding="utf-8"?>
<p:sldLayout xmlns:a="http://schemas.openxmlformats.org/drawingml/2006/main" xmlns:r="http://schemas.openxmlformats.org/officeDocument/2006/relationships" xmlns:p="http://schemas.openxmlformats.org/presentationml/2006/main" showMasterSp="0" preserve="1" userDrawn="1">
  <p:cSld name="Image-chart 3/4 brushed ">
    <p:bg>
      <p:bgRef idx="1001">
        <a:schemeClr val="bg1"/>
      </p:bgRef>
    </p:bg>
    <p:spTree>
      <p:nvGrpSpPr>
        <p:cNvPr id="1" name=""/>
        <p:cNvGrpSpPr/>
        <p:nvPr/>
      </p:nvGrpSpPr>
      <p:grpSpPr>
        <a:xfrm>
          <a:off x="0" y="0"/>
          <a:ext cx="0" cy="0"/>
          <a:chOff x="0" y="0"/>
          <a:chExt cx="0" cy="0"/>
        </a:xfrm>
      </p:grpSpPr>
      <p:grpSp>
        <p:nvGrpSpPr>
          <p:cNvPr id="26" name="Regieanweisungen"/>
          <p:cNvGrpSpPr/>
          <p:nvPr userDrawn="1"/>
        </p:nvGrpSpPr>
        <p:grpSpPr>
          <a:xfrm>
            <a:off x="-2086913" y="-467892"/>
            <a:ext cx="13647691" cy="7792196"/>
            <a:chOff x="-2088000" y="-468000"/>
            <a:chExt cx="13654799" cy="7794000"/>
          </a:xfrm>
        </p:grpSpPr>
        <p:sp>
          <p:nvSpPr>
            <p:cNvPr id="2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9" name="Hinweise links"/>
            <p:cNvGrpSpPr/>
            <p:nvPr userDrawn="1"/>
          </p:nvGrpSpPr>
          <p:grpSpPr>
            <a:xfrm>
              <a:off x="-2088000" y="0"/>
              <a:ext cx="1980000" cy="3528000"/>
              <a:chOff x="-2088000" y="0"/>
              <a:chExt cx="1980000" cy="3528000"/>
            </a:xfrm>
          </p:grpSpPr>
          <p:sp>
            <p:nvSpPr>
              <p:cNvPr id="30"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4"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1"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3" name="Title 2"/>
          <p:cNvSpPr>
            <a:spLocks noGrp="1"/>
          </p:cNvSpPr>
          <p:nvPr>
            <p:ph type="title" hasCustomPrompt="1"/>
          </p:nvPr>
        </p:nvSpPr>
        <p:spPr>
          <a:xfrm>
            <a:off x="628323" y="288859"/>
            <a:ext cx="10932455" cy="1025684"/>
          </a:xfrm>
        </p:spPr>
        <p:txBody>
          <a:bodyPr wrap="square">
            <a:spAutoFit/>
          </a:bodyPr>
          <a:lstStyle>
            <a:lvl1pPr>
              <a:defRPr baseline="0">
                <a:solidFill>
                  <a:schemeClr val="bg1"/>
                </a:solidFill>
              </a:defRPr>
            </a:lvl1pPr>
          </a:lstStyle>
          <a:p>
            <a:r>
              <a:rPr lang="de-DE" dirty="0"/>
              <a:t>Bilder Folie, Headline </a:t>
            </a:r>
            <a:r>
              <a:rPr lang="de-DE" noProof="0" dirty="0" err="1"/>
              <a:t>CorpoS</a:t>
            </a:r>
            <a:r>
              <a:rPr lang="de-DE" noProof="0" dirty="0"/>
              <a:t> </a:t>
            </a:r>
            <a:r>
              <a:rPr lang="de-DE" dirty="0"/>
              <a:t>(Textkörper) 35 pt. </a:t>
            </a:r>
            <a:br>
              <a:rPr lang="de-DE" dirty="0"/>
            </a:br>
            <a:r>
              <a:rPr lang="de-DE" dirty="0"/>
              <a:t>in zwei oder mehr Zeilen</a:t>
            </a: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4"/>
          </p:nvPr>
        </p:nvSpPr>
        <p:spPr/>
        <p:txBody>
          <a:bodyPr/>
          <a:lstStyle/>
          <a:p>
            <a:r>
              <a:rPr lang="de-DE" dirty="0">
                <a:solidFill>
                  <a:prstClr val="black"/>
                </a:solidFill>
              </a:rPr>
              <a:t>Titel der Präsentation / Abteilung / Datum /</a:t>
            </a:r>
          </a:p>
        </p:txBody>
      </p:sp>
      <p:sp>
        <p:nvSpPr>
          <p:cNvPr id="4" name="Foliennummernplatzhalter 3"/>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29767834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652.xml><?xml version="1.0" encoding="utf-8"?>
<p:sldLayout xmlns:a="http://schemas.openxmlformats.org/drawingml/2006/main" xmlns:r="http://schemas.openxmlformats.org/officeDocument/2006/relationships" xmlns:p="http://schemas.openxmlformats.org/presentationml/2006/main" showMasterSp="0" preserve="1" userDrawn="1">
  <p:cSld name="Image-chart 1/4 brushed">
    <p:bg>
      <p:bgRef idx="1001">
        <a:schemeClr val="bg1"/>
      </p:bgRef>
    </p:bg>
    <p:spTree>
      <p:nvGrpSpPr>
        <p:cNvPr id="1" name=""/>
        <p:cNvGrpSpPr/>
        <p:nvPr/>
      </p:nvGrpSpPr>
      <p:grpSpPr>
        <a:xfrm>
          <a:off x="0" y="0"/>
          <a:ext cx="0" cy="0"/>
          <a:chOff x="0" y="0"/>
          <a:chExt cx="0" cy="0"/>
        </a:xfrm>
      </p:grpSpPr>
      <p:grpSp>
        <p:nvGrpSpPr>
          <p:cNvPr id="26" name="Regieanweisungen"/>
          <p:cNvGrpSpPr/>
          <p:nvPr userDrawn="1"/>
        </p:nvGrpSpPr>
        <p:grpSpPr>
          <a:xfrm>
            <a:off x="-2086913" y="-467892"/>
            <a:ext cx="13647691" cy="7792196"/>
            <a:chOff x="-2088000" y="-468000"/>
            <a:chExt cx="13654799" cy="7794000"/>
          </a:xfrm>
        </p:grpSpPr>
        <p:sp>
          <p:nvSpPr>
            <p:cNvPr id="2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9" name="Hinweise links"/>
            <p:cNvGrpSpPr/>
            <p:nvPr userDrawn="1"/>
          </p:nvGrpSpPr>
          <p:grpSpPr>
            <a:xfrm>
              <a:off x="-2088000" y="0"/>
              <a:ext cx="1980000" cy="3528000"/>
              <a:chOff x="-2088000" y="0"/>
              <a:chExt cx="1980000" cy="3528000"/>
            </a:xfrm>
          </p:grpSpPr>
          <p:sp>
            <p:nvSpPr>
              <p:cNvPr id="30"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4"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a:extLst>
              <a:ext uri="{28A0092B-C50C-407E-A947-70E740481C1C}">
                <a14:useLocalDpi xmlns:a14="http://schemas.microsoft.com/office/drawing/2010/main" val="0"/>
              </a:ext>
            </a:extLst>
          </a:blip>
          <a:srcRect b="5375"/>
          <a:stretch/>
        </p:blipFill>
        <p:spPr bwMode="white">
          <a:xfrm>
            <a:off x="0" y="-1"/>
            <a:ext cx="12190451" cy="6487839"/>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3" name="Title 2"/>
          <p:cNvSpPr>
            <a:spLocks noGrp="1"/>
          </p:cNvSpPr>
          <p:nvPr>
            <p:ph type="title" hasCustomPrompt="1"/>
          </p:nvPr>
        </p:nvSpPr>
        <p:spPr>
          <a:xfrm>
            <a:off x="630116" y="288857"/>
            <a:ext cx="10930662" cy="1151733"/>
          </a:xfrm>
        </p:spPr>
        <p:txBody>
          <a:bodyPr/>
          <a:lstStyle>
            <a:lvl1pPr>
              <a:defRPr baseline="0">
                <a:solidFill>
                  <a:schemeClr val="bg1"/>
                </a:solidFill>
              </a:defRPr>
            </a:lvl1pPr>
          </a:lstStyle>
          <a:p>
            <a:r>
              <a:rPr lang="de-DE" dirty="0"/>
              <a:t>Bilder Folie, Headline </a:t>
            </a:r>
            <a:r>
              <a:rPr lang="de-DE" noProof="0" dirty="0" err="1"/>
              <a:t>CorpoS</a:t>
            </a:r>
            <a:r>
              <a:rPr lang="de-DE" noProof="0" dirty="0"/>
              <a:t> </a:t>
            </a:r>
            <a:r>
              <a:rPr lang="de-DE" dirty="0"/>
              <a:t>(Textkörper) 35 pt. </a:t>
            </a:r>
            <a:br>
              <a:rPr lang="de-DE" dirty="0"/>
            </a:br>
            <a:r>
              <a:rPr lang="de-DE" dirty="0"/>
              <a:t>in zwei Zeilen</a:t>
            </a: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4"/>
          </p:nvPr>
        </p:nvSpPr>
        <p:spPr/>
        <p:txBody>
          <a:bodyPr/>
          <a:lstStyle/>
          <a:p>
            <a:r>
              <a:rPr lang="de-DE" dirty="0">
                <a:solidFill>
                  <a:prstClr val="black"/>
                </a:solidFill>
              </a:rPr>
              <a:t>Titel der Präsentation / Abteilung / Datum /</a:t>
            </a:r>
          </a:p>
        </p:txBody>
      </p:sp>
      <p:sp>
        <p:nvSpPr>
          <p:cNvPr id="4" name="Foliennummernplatzhalter 3"/>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25395940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653.xml><?xml version="1.0" encoding="utf-8"?>
<p:sldLayout xmlns:a="http://schemas.openxmlformats.org/drawingml/2006/main" xmlns:r="http://schemas.openxmlformats.org/officeDocument/2006/relationships" xmlns:p="http://schemas.openxmlformats.org/presentationml/2006/main" showMasterSp="0" preserve="1" userDrawn="1">
  <p:cSld name="Agenda 1/3 brushed">
    <p:spTree>
      <p:nvGrpSpPr>
        <p:cNvPr id="1" name=""/>
        <p:cNvGrpSpPr/>
        <p:nvPr/>
      </p:nvGrpSpPr>
      <p:grpSpPr>
        <a:xfrm>
          <a:off x="0" y="0"/>
          <a:ext cx="0" cy="0"/>
          <a:chOff x="0" y="0"/>
          <a:chExt cx="0" cy="0"/>
        </a:xfrm>
      </p:grpSpPr>
      <p:pic>
        <p:nvPicPr>
          <p:cNvPr id="32" name="Buerstung U_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a:xfrm>
            <a:off x="628323" y="288859"/>
            <a:ext cx="10932455" cy="1148857"/>
          </a:xfrm>
        </p:spPr>
        <p:txBody>
          <a:bodyPr/>
          <a:lstStyle>
            <a:lvl1pPr>
              <a:defRPr/>
            </a:lvl1pPr>
          </a:lstStyle>
          <a:p>
            <a:r>
              <a:rPr lang="de-DE" noProof="0" dirty="0"/>
              <a:t>Headline für Agenda in </a:t>
            </a:r>
            <a:r>
              <a:rPr lang="de-DE" noProof="0" dirty="0" err="1"/>
              <a:t>CorpoS</a:t>
            </a:r>
            <a:r>
              <a:rPr lang="de-DE" noProof="0" dirty="0"/>
              <a:t> (Textkörper) 35 pt. </a:t>
            </a:r>
            <a:br>
              <a:rPr lang="de-DE" noProof="0" dirty="0"/>
            </a:br>
            <a:r>
              <a:rPr lang="de-DE" noProof="0" dirty="0"/>
              <a:t>in ein oder zwei Zeilen</a:t>
            </a:r>
            <a:endParaRPr lang="de-DE" dirty="0"/>
          </a:p>
        </p:txBody>
      </p:sp>
      <p:sp>
        <p:nvSpPr>
          <p:cNvPr id="6" name="Text Placeholder 5"/>
          <p:cNvSpPr>
            <a:spLocks noGrp="1"/>
          </p:cNvSpPr>
          <p:nvPr>
            <p:ph type="body" sz="quarter" idx="12" hasCustomPrompt="1"/>
          </p:nvPr>
        </p:nvSpPr>
        <p:spPr>
          <a:xfrm>
            <a:off x="630116" y="1504603"/>
            <a:ext cx="10930388" cy="3759916"/>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Agenda Punkt einfügen</a:t>
            </a:r>
          </a:p>
          <a:p>
            <a:pPr lvl="1"/>
            <a:r>
              <a:rPr lang="de-DE" dirty="0"/>
              <a:t>Zweite Ebene</a:t>
            </a:r>
          </a:p>
          <a:p>
            <a:pPr lvl="2"/>
            <a:r>
              <a:rPr lang="de-DE" dirty="0"/>
              <a:t>Dritte Ebene </a:t>
            </a:r>
          </a:p>
          <a:p>
            <a:pPr lvl="3"/>
            <a:r>
              <a:rPr lang="de-DE" dirty="0"/>
              <a:t>Vierte Ebene </a:t>
            </a:r>
          </a:p>
          <a:p>
            <a:pPr lvl="4"/>
            <a:r>
              <a:rPr lang="de-DE" dirty="0"/>
              <a:t>Fünfte Ebene </a:t>
            </a:r>
          </a:p>
          <a:p>
            <a:pPr lvl="5"/>
            <a:r>
              <a:rPr lang="de-DE" dirty="0"/>
              <a:t>Sechste Ebene </a:t>
            </a:r>
          </a:p>
          <a:p>
            <a:pPr lvl="6"/>
            <a:r>
              <a:rPr lang="de-DE" dirty="0"/>
              <a:t>Siebte Ebene </a:t>
            </a:r>
          </a:p>
          <a:p>
            <a:pPr lvl="7"/>
            <a:r>
              <a:rPr lang="de-DE" dirty="0"/>
              <a:t>Achte Ebene </a:t>
            </a:r>
          </a:p>
          <a:p>
            <a:pPr lvl="8"/>
            <a:r>
              <a:rPr lang="de-DE" dirty="0"/>
              <a:t>Neunte Ebene </a:t>
            </a:r>
          </a:p>
        </p:txBody>
      </p:sp>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29"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5" name="Fußzeilenplatzhalter 4"/>
          <p:cNvSpPr>
            <a:spLocks noGrp="1"/>
          </p:cNvSpPr>
          <p:nvPr>
            <p:ph type="ftr" sz="quarter" idx="13"/>
          </p:nvPr>
        </p:nvSpPr>
        <p:spPr/>
        <p:txBody>
          <a:bodyPr/>
          <a:lstStyle/>
          <a:p>
            <a:r>
              <a:rPr lang="de-DE" dirty="0">
                <a:solidFill>
                  <a:prstClr val="black"/>
                </a:solidFill>
              </a:rPr>
              <a:t>Titel der Präsentation / Abteilung / Datum /</a:t>
            </a:r>
          </a:p>
        </p:txBody>
      </p:sp>
      <p:sp>
        <p:nvSpPr>
          <p:cNvPr id="7" name="Foliennummernplatzhalter 6"/>
          <p:cNvSpPr>
            <a:spLocks noGrp="1"/>
          </p:cNvSpPr>
          <p:nvPr>
            <p:ph type="sldNum" sz="quarter" idx="14"/>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78342667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de-DE" noProof="0" dirty="0"/>
              <a:t>Headline für Agenda in </a:t>
            </a:r>
            <a:r>
              <a:rPr lang="de-DE" noProof="0" dirty="0" err="1"/>
              <a:t>CorpoS</a:t>
            </a:r>
            <a:r>
              <a:rPr lang="de-DE" noProof="0" dirty="0"/>
              <a:t> (Textkörper) 35 pt. </a:t>
            </a:r>
            <a:br>
              <a:rPr lang="de-DE" noProof="0" dirty="0"/>
            </a:br>
            <a:r>
              <a:rPr lang="de-DE" noProof="0" dirty="0"/>
              <a:t>in ein oder zwei Zeilen</a:t>
            </a:r>
            <a:endParaRPr lang="de-DE" dirty="0"/>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baseline="0">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Agenda Punkt einfügen</a:t>
            </a:r>
          </a:p>
          <a:p>
            <a:pPr lvl="1"/>
            <a:r>
              <a:rPr lang="de-DE" dirty="0"/>
              <a:t>Zweite Ebene</a:t>
            </a:r>
          </a:p>
          <a:p>
            <a:pPr lvl="2"/>
            <a:r>
              <a:rPr lang="de-DE" dirty="0"/>
              <a:t>Dritte Ebene </a:t>
            </a:r>
          </a:p>
          <a:p>
            <a:pPr lvl="3"/>
            <a:r>
              <a:rPr lang="de-DE" dirty="0"/>
              <a:t>Vierte Ebene </a:t>
            </a:r>
          </a:p>
          <a:p>
            <a:pPr lvl="4"/>
            <a:r>
              <a:rPr lang="de-DE" dirty="0"/>
              <a:t>Fünfte Ebene </a:t>
            </a:r>
          </a:p>
          <a:p>
            <a:pPr lvl="5"/>
            <a:r>
              <a:rPr lang="de-DE" dirty="0"/>
              <a:t>Sechste Ebene </a:t>
            </a:r>
          </a:p>
          <a:p>
            <a:pPr lvl="6"/>
            <a:r>
              <a:rPr lang="de-DE" dirty="0"/>
              <a:t>Siebte Ebene </a:t>
            </a:r>
          </a:p>
          <a:p>
            <a:pPr lvl="7"/>
            <a:r>
              <a:rPr lang="de-DE" dirty="0"/>
              <a:t>Achte Ebene </a:t>
            </a:r>
          </a:p>
          <a:p>
            <a:pPr lvl="8"/>
            <a:r>
              <a:rPr lang="de-DE" dirty="0"/>
              <a:t>Neunte Ebene </a:t>
            </a:r>
          </a:p>
        </p:txBody>
      </p:sp>
      <p:sp>
        <p:nvSpPr>
          <p:cNvPr id="5" name="Fußzeilenplatzhalter 4"/>
          <p:cNvSpPr>
            <a:spLocks noGrp="1"/>
          </p:cNvSpPr>
          <p:nvPr>
            <p:ph type="ftr" sz="quarter" idx="13"/>
          </p:nvPr>
        </p:nvSpPr>
        <p:spPr/>
        <p:txBody>
          <a:bodyPr/>
          <a:lstStyle/>
          <a:p>
            <a:r>
              <a:rPr lang="de-DE" dirty="0">
                <a:solidFill>
                  <a:prstClr val="black"/>
                </a:solidFill>
              </a:rPr>
              <a:t>Titel der Präsentation / Abteilung / Datum /</a:t>
            </a:r>
          </a:p>
        </p:txBody>
      </p:sp>
      <p:sp>
        <p:nvSpPr>
          <p:cNvPr id="7" name="Foliennummernplatzhalter 6"/>
          <p:cNvSpPr>
            <a:spLocks noGrp="1"/>
          </p:cNvSpPr>
          <p:nvPr>
            <p:ph type="sldNum" sz="quarter" idx="14"/>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72206824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Headline two line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Textkörper) 35 pt.</a:t>
            </a:r>
            <a:br>
              <a:rPr lang="de-DE" noProof="0" dirty="0"/>
            </a:br>
            <a:r>
              <a:rPr lang="de-DE" noProof="0" dirty="0"/>
              <a:t>über zwei Zeilen</a:t>
            </a:r>
            <a:endParaRPr lang="de-DE" dirty="0"/>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dirty="0"/>
              <a:t>Text oder Inhalt einfügen in </a:t>
            </a:r>
            <a:r>
              <a:rPr lang="de-DE" noProof="0" dirty="0" err="1"/>
              <a:t>CorpoS</a:t>
            </a:r>
            <a:r>
              <a:rPr lang="de-DE" noProof="0" dirty="0"/>
              <a:t> (Body) 24 pt. (Mark-</a:t>
            </a:r>
            <a:r>
              <a:rPr lang="de-DE" noProof="0" dirty="0" err="1"/>
              <a:t>ups</a:t>
            </a:r>
            <a:r>
              <a:rPr lang="de-DE" noProof="0" dirty="0"/>
              <a:t> in Fett) </a:t>
            </a:r>
            <a:r>
              <a:rPr lang="de-DE" dirty="0"/>
              <a:t>// für Zusammenfassung oder kurzes Highlight: Start // Absatz // Listenebene erhöhen</a:t>
            </a:r>
          </a:p>
          <a:p>
            <a:pPr lvl="1"/>
            <a:r>
              <a:rPr lang="de-DE" dirty="0"/>
              <a:t>Zweite Ebene (Zusammenfassung oder kurzes Highlight)</a:t>
            </a:r>
          </a:p>
          <a:p>
            <a:pPr lvl="2"/>
            <a:r>
              <a:rPr lang="de-DE" dirty="0"/>
              <a:t>Dritte Ebene </a:t>
            </a:r>
          </a:p>
          <a:p>
            <a:pPr lvl="3"/>
            <a:r>
              <a:rPr lang="de-DE" dirty="0"/>
              <a:t>Vierte Ebene </a:t>
            </a:r>
          </a:p>
          <a:p>
            <a:pPr lvl="4"/>
            <a:r>
              <a:rPr lang="de-DE" dirty="0"/>
              <a:t>Fünfte Ebene </a:t>
            </a:r>
          </a:p>
          <a:p>
            <a:pPr lvl="5"/>
            <a:r>
              <a:rPr lang="de-DE" dirty="0"/>
              <a:t>Sechste Ebene </a:t>
            </a:r>
          </a:p>
          <a:p>
            <a:pPr lvl="6"/>
            <a:r>
              <a:rPr lang="de-DE" dirty="0"/>
              <a:t>Siebte Ebene </a:t>
            </a:r>
          </a:p>
          <a:p>
            <a:pPr lvl="7"/>
            <a:r>
              <a:rPr lang="de-DE" dirty="0"/>
              <a:t>Achte Ebene </a:t>
            </a:r>
          </a:p>
          <a:p>
            <a:pPr lvl="8"/>
            <a:r>
              <a:rPr lang="de-DE" dirty="0"/>
              <a:t>Neunte Ebene </a:t>
            </a:r>
          </a:p>
        </p:txBody>
      </p:sp>
      <p:sp>
        <p:nvSpPr>
          <p:cNvPr id="5" name="Fußzeilenplatzhalter 4"/>
          <p:cNvSpPr>
            <a:spLocks noGrp="1"/>
          </p:cNvSpPr>
          <p:nvPr>
            <p:ph type="ftr" sz="quarter" idx="13"/>
          </p:nvPr>
        </p:nvSpPr>
        <p:spPr/>
        <p:txBody>
          <a:bodyPr/>
          <a:lstStyle/>
          <a:p>
            <a:r>
              <a:rPr lang="de-DE" dirty="0">
                <a:solidFill>
                  <a:prstClr val="black"/>
                </a:solidFill>
              </a:rPr>
              <a:t>Titel der Präsentation / Abteilung / Datum /</a:t>
            </a:r>
          </a:p>
        </p:txBody>
      </p:sp>
      <p:sp>
        <p:nvSpPr>
          <p:cNvPr id="7" name="Foliennummernplatzhalter 6"/>
          <p:cNvSpPr>
            <a:spLocks noGrp="1"/>
          </p:cNvSpPr>
          <p:nvPr>
            <p:ph type="sldNum" sz="quarter" idx="14"/>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58305823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656.xml><?xml version="1.0" encoding="utf-8"?>
<p:sldLayout xmlns:a="http://schemas.openxmlformats.org/drawingml/2006/main" xmlns:r="http://schemas.openxmlformats.org/officeDocument/2006/relationships" xmlns:p="http://schemas.openxmlformats.org/presentationml/2006/main" showMasterSp="0" preserve="1" userDrawn="1">
  <p:cSld name="Headline two lines // Image">
    <p:spTree>
      <p:nvGrpSpPr>
        <p:cNvPr id="1" name=""/>
        <p:cNvGrpSpPr/>
        <p:nvPr/>
      </p:nvGrpSpPr>
      <p:grpSpPr>
        <a:xfrm>
          <a:off x="0" y="0"/>
          <a:ext cx="0" cy="0"/>
          <a:chOff x="0" y="0"/>
          <a:chExt cx="0" cy="0"/>
        </a:xfrm>
      </p:grpSpPr>
      <p:sp>
        <p:nvSpPr>
          <p:cNvPr id="1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Textkörper) 35 pt.</a:t>
            </a:r>
            <a:br>
              <a:rPr lang="de-DE" noProof="0" dirty="0"/>
            </a:br>
            <a:r>
              <a:rPr lang="de-DE" noProof="0" dirty="0"/>
              <a:t>über zwei Zeilen</a:t>
            </a:r>
            <a:endParaRPr lang="de-DE" dirty="0"/>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a:t>
            </a:r>
            <a:r>
              <a:rPr lang="de-DE" noProof="0" dirty="0"/>
              <a:t> S (Body) 24 p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1" name="Hinweise links"/>
            <p:cNvGrpSpPr/>
            <p:nvPr userDrawn="1"/>
          </p:nvGrpSpPr>
          <p:grpSpPr>
            <a:xfrm>
              <a:off x="-2088000" y="0"/>
              <a:ext cx="1980000" cy="3528000"/>
              <a:chOff x="-2088000" y="0"/>
              <a:chExt cx="1980000" cy="3528000"/>
            </a:xfrm>
          </p:grpSpPr>
          <p:sp>
            <p:nvSpPr>
              <p:cNvPr id="3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3" name="Listenebenen"/>
              <p:cNvGrpSpPr/>
              <p:nvPr userDrawn="1"/>
            </p:nvGrpSpPr>
            <p:grpSpPr>
              <a:xfrm>
                <a:off x="-1692000" y="2232000"/>
                <a:ext cx="1548000" cy="792000"/>
                <a:chOff x="-1692000" y="2160000"/>
                <a:chExt cx="1548000" cy="792000"/>
              </a:xfrm>
            </p:grpSpPr>
            <p:sp>
              <p:nvSpPr>
                <p:cNvPr id="3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6"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7"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5" name="Fußzeilenplatzhalter 4"/>
          <p:cNvSpPr>
            <a:spLocks noGrp="1"/>
          </p:cNvSpPr>
          <p:nvPr>
            <p:ph type="ftr" sz="quarter" idx="14"/>
          </p:nvPr>
        </p:nvSpPr>
        <p:spPr/>
        <p:txBody>
          <a:bodyPr/>
          <a:lstStyle/>
          <a:p>
            <a:r>
              <a:rPr lang="de-DE" dirty="0">
                <a:solidFill>
                  <a:prstClr val="black"/>
                </a:solidFill>
              </a:rPr>
              <a:t>Titel der Präsentation / Abteilung / Datum /</a:t>
            </a:r>
          </a:p>
        </p:txBody>
      </p:sp>
      <p:sp>
        <p:nvSpPr>
          <p:cNvPr id="8" name="Foliennummernplatzhalter 7"/>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50160502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Headlin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Textkörper) 35 pt.</a:t>
            </a:r>
            <a:endParaRPr lang="de-DE" dirty="0"/>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de-DE" dirty="0"/>
              <a:t>Text oder Inhalt einfügen in </a:t>
            </a:r>
            <a:r>
              <a:rPr lang="de-DE" noProof="0" dirty="0"/>
              <a:t>CorpoS (Body) 24 pt. (mark-</a:t>
            </a:r>
            <a:r>
              <a:rPr lang="de-DE" noProof="0" dirty="0" err="1"/>
              <a:t>ups</a:t>
            </a:r>
            <a:r>
              <a:rPr lang="de-DE" noProof="0" dirty="0"/>
              <a:t> in Fett) </a:t>
            </a:r>
            <a:r>
              <a:rPr lang="de-DE" dirty="0"/>
              <a:t>// für Zusammenfassung oder kurzes Highlight: Start // Absatz // Listenebene erhöhen</a:t>
            </a:r>
          </a:p>
          <a:p>
            <a:pPr lvl="1"/>
            <a:r>
              <a:rPr lang="de-DE" dirty="0"/>
              <a:t>Zweite Ebene (Zusammenfassung oder kurzes Highlight)</a:t>
            </a:r>
          </a:p>
          <a:p>
            <a:pPr lvl="2"/>
            <a:r>
              <a:rPr lang="de-DE" dirty="0"/>
              <a:t>Dritte Ebene </a:t>
            </a:r>
          </a:p>
          <a:p>
            <a:pPr lvl="3"/>
            <a:r>
              <a:rPr lang="de-DE" dirty="0"/>
              <a:t>Vierte Ebene </a:t>
            </a:r>
          </a:p>
          <a:p>
            <a:pPr lvl="4"/>
            <a:r>
              <a:rPr lang="de-DE" dirty="0"/>
              <a:t>Fünfte Ebene </a:t>
            </a:r>
          </a:p>
          <a:p>
            <a:pPr lvl="5"/>
            <a:r>
              <a:rPr lang="de-DE" dirty="0"/>
              <a:t>Sechste Ebene </a:t>
            </a:r>
          </a:p>
          <a:p>
            <a:pPr lvl="6"/>
            <a:r>
              <a:rPr lang="de-DE" dirty="0"/>
              <a:t>Siebte Ebene </a:t>
            </a:r>
          </a:p>
          <a:p>
            <a:pPr lvl="7"/>
            <a:r>
              <a:rPr lang="de-DE" dirty="0"/>
              <a:t>Achte Ebene </a:t>
            </a:r>
          </a:p>
          <a:p>
            <a:pPr lvl="8"/>
            <a:r>
              <a:rPr lang="de-DE" dirty="0"/>
              <a:t>Neunte Ebene </a:t>
            </a:r>
          </a:p>
        </p:txBody>
      </p:sp>
      <p:sp>
        <p:nvSpPr>
          <p:cNvPr id="5" name="Fußzeilenplatzhalter 4"/>
          <p:cNvSpPr>
            <a:spLocks noGrp="1"/>
          </p:cNvSpPr>
          <p:nvPr>
            <p:ph type="ftr" sz="quarter" idx="13"/>
          </p:nvPr>
        </p:nvSpPr>
        <p:spPr/>
        <p:txBody>
          <a:bodyPr/>
          <a:lstStyle/>
          <a:p>
            <a:r>
              <a:rPr lang="de-DE" dirty="0">
                <a:solidFill>
                  <a:prstClr val="black"/>
                </a:solidFill>
              </a:rPr>
              <a:t>Titel der Präsentation / Abteilung / Datum /</a:t>
            </a:r>
          </a:p>
        </p:txBody>
      </p:sp>
      <p:sp>
        <p:nvSpPr>
          <p:cNvPr id="7" name="Foliennummernplatzhalter 6"/>
          <p:cNvSpPr>
            <a:spLocks noGrp="1"/>
          </p:cNvSpPr>
          <p:nvPr>
            <p:ph type="sldNum" sz="quarter" idx="14"/>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09058396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658.xml><?xml version="1.0" encoding="utf-8"?>
<p:sldLayout xmlns:a="http://schemas.openxmlformats.org/drawingml/2006/main" xmlns:r="http://schemas.openxmlformats.org/officeDocument/2006/relationships" xmlns:p="http://schemas.openxmlformats.org/presentationml/2006/main" showMasterSp="0" preserve="1" userDrawn="1">
  <p:cSld name="Headline // Image">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2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3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1" name="Hinweise links"/>
            <p:cNvGrpSpPr/>
            <p:nvPr userDrawn="1"/>
          </p:nvGrpSpPr>
          <p:grpSpPr>
            <a:xfrm>
              <a:off x="-2088000" y="0"/>
              <a:ext cx="1980000" cy="3528000"/>
              <a:chOff x="-2088000" y="0"/>
              <a:chExt cx="1980000" cy="3528000"/>
            </a:xfrm>
          </p:grpSpPr>
          <p:sp>
            <p:nvSpPr>
              <p:cNvPr id="3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3" name="Listenebenen"/>
              <p:cNvGrpSpPr/>
              <p:nvPr userDrawn="1"/>
            </p:nvGrpSpPr>
            <p:grpSpPr>
              <a:xfrm>
                <a:off x="-1692000" y="2232000"/>
                <a:ext cx="1548000" cy="792000"/>
                <a:chOff x="-1692000" y="2160000"/>
                <a:chExt cx="1548000" cy="792000"/>
              </a:xfrm>
            </p:grpSpPr>
            <p:sp>
              <p:nvSpPr>
                <p:cNvPr id="3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6"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7"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Textkörper) 35 pt.</a:t>
            </a:r>
            <a:endParaRPr lang="de-DE" dirty="0"/>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4"/>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89077639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659.xml><?xml version="1.0" encoding="utf-8"?>
<p:sldLayout xmlns:a="http://schemas.openxmlformats.org/drawingml/2006/main" xmlns:r="http://schemas.openxmlformats.org/officeDocument/2006/relationships" xmlns:p="http://schemas.openxmlformats.org/presentationml/2006/main" showMasterSp="0" preserve="1" userDrawn="1">
  <p:cSld name="2 Images-chart 2/4 brushed">
    <p:bg>
      <p:bgRef idx="1001">
        <a:schemeClr val="bg1"/>
      </p:bgRef>
    </p:bg>
    <p:spTree>
      <p:nvGrpSpPr>
        <p:cNvPr id="1" name=""/>
        <p:cNvGrpSpPr/>
        <p:nvPr/>
      </p:nvGrpSpPr>
      <p:grpSpPr>
        <a:xfrm>
          <a:off x="0" y="0"/>
          <a:ext cx="0" cy="0"/>
          <a:chOff x="0" y="0"/>
          <a:chExt cx="0" cy="0"/>
        </a:xfrm>
      </p:grpSpPr>
      <p:grpSp>
        <p:nvGrpSpPr>
          <p:cNvPr id="25" name="Regieanweisungen"/>
          <p:cNvGrpSpPr/>
          <p:nvPr userDrawn="1"/>
        </p:nvGrpSpPr>
        <p:grpSpPr>
          <a:xfrm>
            <a:off x="-2086913" y="-467892"/>
            <a:ext cx="13647691" cy="7792196"/>
            <a:chOff x="-2088000" y="-468000"/>
            <a:chExt cx="13654799" cy="7794000"/>
          </a:xfrm>
        </p:grpSpPr>
        <p:sp>
          <p:nvSpPr>
            <p:cNvPr id="2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3"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de-DE" dirty="0"/>
              <a:t>Bilder Folie, Headline </a:t>
            </a:r>
            <a:r>
              <a:rPr lang="de-DE" noProof="0" dirty="0" err="1"/>
              <a:t>CorpoS</a:t>
            </a:r>
            <a:r>
              <a:rPr lang="de-DE" noProof="0" dirty="0"/>
              <a:t> </a:t>
            </a:r>
            <a:r>
              <a:rPr lang="de-DE" dirty="0"/>
              <a:t>(Textkörper) 35 pt. </a:t>
            </a:r>
            <a:br>
              <a:rPr lang="de-DE" dirty="0"/>
            </a:br>
            <a:r>
              <a:rPr lang="de-DE" dirty="0"/>
              <a:t>in zwei oder mehr Zeilen</a:t>
            </a: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4"/>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405823338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1557"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260512784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660.xml><?xml version="1.0" encoding="utf-8"?>
<p:sldLayout xmlns:a="http://schemas.openxmlformats.org/drawingml/2006/main" xmlns:r="http://schemas.openxmlformats.org/officeDocument/2006/relationships" xmlns:p="http://schemas.openxmlformats.org/presentationml/2006/main" showMasterSp="0" preserve="1" userDrawn="1">
  <p:cSld name="2 Images-chart 1/4 brushed">
    <p:bg>
      <p:bgRef idx="1001">
        <a:schemeClr val="bg1"/>
      </p:bgRef>
    </p:bg>
    <p:spTree>
      <p:nvGrpSpPr>
        <p:cNvPr id="1" name=""/>
        <p:cNvGrpSpPr/>
        <p:nvPr/>
      </p:nvGrpSpPr>
      <p:grpSpPr>
        <a:xfrm>
          <a:off x="0" y="0"/>
          <a:ext cx="0" cy="0"/>
          <a:chOff x="0" y="0"/>
          <a:chExt cx="0" cy="0"/>
        </a:xfrm>
      </p:grpSpPr>
      <p:grpSp>
        <p:nvGrpSpPr>
          <p:cNvPr id="24" name="Regieanweisungen"/>
          <p:cNvGrpSpPr/>
          <p:nvPr userDrawn="1"/>
        </p:nvGrpSpPr>
        <p:grpSpPr>
          <a:xfrm>
            <a:off x="-2086913" y="-467892"/>
            <a:ext cx="13647691" cy="7792196"/>
            <a:chOff x="-2088000" y="-468000"/>
            <a:chExt cx="13654799" cy="7794000"/>
          </a:xfrm>
        </p:grpSpPr>
        <p:sp>
          <p:nvSpPr>
            <p:cNvPr id="2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9" name="Listenebenen"/>
              <p:cNvGrpSpPr/>
              <p:nvPr userDrawn="1"/>
            </p:nvGrpSpPr>
            <p:grpSpPr>
              <a:xfrm>
                <a:off x="-1692000" y="2232000"/>
                <a:ext cx="1548000" cy="792000"/>
                <a:chOff x="-1692000" y="2160000"/>
                <a:chExt cx="1548000" cy="792000"/>
              </a:xfrm>
            </p:grpSpPr>
            <p:sp>
              <p:nvSpPr>
                <p:cNvPr id="30"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1"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2"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3"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3" name="Title 2"/>
          <p:cNvSpPr>
            <a:spLocks noGrp="1"/>
          </p:cNvSpPr>
          <p:nvPr>
            <p:ph type="title" hasCustomPrompt="1"/>
          </p:nvPr>
        </p:nvSpPr>
        <p:spPr>
          <a:xfrm>
            <a:off x="630116" y="288859"/>
            <a:ext cx="10930662" cy="1148857"/>
          </a:xfrm>
        </p:spPr>
        <p:txBody>
          <a:bodyPr/>
          <a:lstStyle>
            <a:lvl1pPr>
              <a:defRPr>
                <a:solidFill>
                  <a:schemeClr val="bg1"/>
                </a:solidFill>
              </a:defRPr>
            </a:lvl1pPr>
          </a:lstStyle>
          <a:p>
            <a:r>
              <a:rPr lang="de-DE" dirty="0"/>
              <a:t>Bilder Folie, Headline </a:t>
            </a:r>
            <a:r>
              <a:rPr lang="de-DE" noProof="0" dirty="0" err="1"/>
              <a:t>CorpoS</a:t>
            </a:r>
            <a:r>
              <a:rPr lang="de-DE" noProof="0" dirty="0"/>
              <a:t> </a:t>
            </a:r>
            <a:r>
              <a:rPr lang="de-DE" dirty="0"/>
              <a:t>(Textkörper) 35 pt. </a:t>
            </a:r>
            <a:br>
              <a:rPr lang="de-DE" dirty="0"/>
            </a:br>
            <a:r>
              <a:rPr lang="de-DE" dirty="0"/>
              <a:t>in zwei Zeilen</a:t>
            </a: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4"/>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42551710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661.xml><?xml version="1.0" encoding="utf-8"?>
<p:sldLayout xmlns:a="http://schemas.openxmlformats.org/drawingml/2006/main" xmlns:r="http://schemas.openxmlformats.org/officeDocument/2006/relationships" xmlns:p="http://schemas.openxmlformats.org/presentationml/2006/main" showMasterSp="0" preserve="1" userDrawn="1">
  <p:cSld name="2 Images-chart 1/3 brushed">
    <p:bg>
      <p:bgRef idx="1001">
        <a:schemeClr val="bg1"/>
      </p:bgRef>
    </p:bg>
    <p:spTree>
      <p:nvGrpSpPr>
        <p:cNvPr id="1" name=""/>
        <p:cNvGrpSpPr/>
        <p:nvPr/>
      </p:nvGrpSpPr>
      <p:grpSpPr>
        <a:xfrm>
          <a:off x="0" y="0"/>
          <a:ext cx="0" cy="0"/>
          <a:chOff x="0" y="0"/>
          <a:chExt cx="0" cy="0"/>
        </a:xfrm>
      </p:grpSpPr>
      <p:grpSp>
        <p:nvGrpSpPr>
          <p:cNvPr id="24" name="Regieanweisungen"/>
          <p:cNvGrpSpPr/>
          <p:nvPr userDrawn="1"/>
        </p:nvGrpSpPr>
        <p:grpSpPr>
          <a:xfrm>
            <a:off x="-2086913" y="-467892"/>
            <a:ext cx="13647691" cy="7792196"/>
            <a:chOff x="-2088000" y="-468000"/>
            <a:chExt cx="13654799" cy="7794000"/>
          </a:xfrm>
        </p:grpSpPr>
        <p:sp>
          <p:nvSpPr>
            <p:cNvPr id="2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9" name="Listenebenen"/>
              <p:cNvGrpSpPr/>
              <p:nvPr userDrawn="1"/>
            </p:nvGrpSpPr>
            <p:grpSpPr>
              <a:xfrm>
                <a:off x="-1692000" y="2232000"/>
                <a:ext cx="1548000" cy="792000"/>
                <a:chOff x="-1692000" y="2160000"/>
                <a:chExt cx="1548000" cy="792000"/>
              </a:xfrm>
            </p:grpSpPr>
            <p:sp>
              <p:nvSpPr>
                <p:cNvPr id="30"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1"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2"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3"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5"/>
          </p:nvPr>
        </p:nvSpPr>
        <p:spPr/>
        <p:txBody>
          <a:bodyPr/>
          <a:lstStyle/>
          <a:p>
            <a:r>
              <a:rPr lang="de-DE" dirty="0">
                <a:solidFill>
                  <a:prstClr val="black"/>
                </a:solidFill>
              </a:rPr>
              <a:t>Titel der Präsentation / Abteilung / Datum /</a:t>
            </a:r>
          </a:p>
        </p:txBody>
      </p:sp>
      <p:sp>
        <p:nvSpPr>
          <p:cNvPr id="4" name="Foliennummernplatzhalter 3"/>
          <p:cNvSpPr>
            <a:spLocks noGrp="1"/>
          </p:cNvSpPr>
          <p:nvPr>
            <p:ph type="sldNum" sz="quarter" idx="16"/>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48927963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662.xml><?xml version="1.0" encoding="utf-8"?>
<p:sldLayout xmlns:a="http://schemas.openxmlformats.org/drawingml/2006/main" xmlns:r="http://schemas.openxmlformats.org/officeDocument/2006/relationships" xmlns:p="http://schemas.openxmlformats.org/presentationml/2006/main" showMasterSp="0" preserve="1" userDrawn="1">
  <p:cSld name="2 Images-chart 2/3 brushed">
    <p:bg>
      <p:bgRef idx="1001">
        <a:schemeClr val="bg1"/>
      </p:bgRef>
    </p:bg>
    <p:spTree>
      <p:nvGrpSpPr>
        <p:cNvPr id="1" name=""/>
        <p:cNvGrpSpPr/>
        <p:nvPr/>
      </p:nvGrpSpPr>
      <p:grpSpPr>
        <a:xfrm>
          <a:off x="0" y="0"/>
          <a:ext cx="0" cy="0"/>
          <a:chOff x="0" y="0"/>
          <a:chExt cx="0" cy="0"/>
        </a:xfrm>
      </p:grpSpPr>
      <p:grpSp>
        <p:nvGrpSpPr>
          <p:cNvPr id="27" name="Regieanweisungen"/>
          <p:cNvGrpSpPr/>
          <p:nvPr userDrawn="1"/>
        </p:nvGrpSpPr>
        <p:grpSpPr>
          <a:xfrm>
            <a:off x="-2086913" y="-467892"/>
            <a:ext cx="13647691" cy="7792196"/>
            <a:chOff x="-2088000" y="-468000"/>
            <a:chExt cx="13654799" cy="7794000"/>
          </a:xfrm>
        </p:grpSpPr>
        <p:sp>
          <p:nvSpPr>
            <p:cNvPr id="2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0"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Insert </a:t>
            </a:r>
            <a:r>
              <a:rPr lang="de-DE" dirty="0" err="1"/>
              <a:t>text</a:t>
            </a:r>
            <a:r>
              <a:rPr lang="de-DE" dirty="0"/>
              <a:t> in </a:t>
            </a:r>
            <a:r>
              <a:rPr lang="de-DE" noProof="0" dirty="0" err="1"/>
              <a:t>CorpoS</a:t>
            </a:r>
            <a:r>
              <a:rPr lang="de-DE" noProof="0" dirty="0"/>
              <a:t> (Body) 24 p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Body </a:t>
            </a:r>
            <a:r>
              <a:rPr lang="de-DE" dirty="0" err="1"/>
              <a:t>text</a:t>
            </a:r>
            <a:r>
              <a:rPr lang="de-DE" dirty="0"/>
              <a:t>: Home // Paragraph// </a:t>
            </a:r>
            <a:r>
              <a:rPr lang="de-DE" dirty="0" err="1"/>
              <a:t>Increase</a:t>
            </a:r>
            <a:r>
              <a:rPr lang="de-DE" dirty="0"/>
              <a:t> List Level</a:t>
            </a:r>
          </a:p>
          <a:p>
            <a:pPr lvl="1"/>
            <a:r>
              <a:rPr lang="de-DE" dirty="0"/>
              <a:t>Second </a:t>
            </a:r>
            <a:r>
              <a:rPr lang="de-DE" dirty="0" err="1"/>
              <a:t>level</a:t>
            </a:r>
            <a:r>
              <a:rPr lang="de-DE" dirty="0"/>
              <a:t> (Body </a:t>
            </a:r>
            <a:r>
              <a:rPr lang="de-DE" dirty="0" err="1"/>
              <a:t>text</a:t>
            </a:r>
            <a:r>
              <a:rPr lang="de-DE" dirty="0"/>
              <a:t>)</a:t>
            </a:r>
          </a:p>
        </p:txBody>
      </p:sp>
      <p:sp>
        <p:nvSpPr>
          <p:cNvPr id="2" name="Fußzeilenplatzhalter 1"/>
          <p:cNvSpPr>
            <a:spLocks noGrp="1"/>
          </p:cNvSpPr>
          <p:nvPr>
            <p:ph type="ftr" sz="quarter" idx="16"/>
          </p:nvPr>
        </p:nvSpPr>
        <p:spPr/>
        <p:txBody>
          <a:bodyPr/>
          <a:lstStyle/>
          <a:p>
            <a:r>
              <a:rPr lang="de-DE" dirty="0">
                <a:solidFill>
                  <a:prstClr val="black"/>
                </a:solidFill>
              </a:rPr>
              <a:t>Titel der Präsentation / Abteilung / Datum /</a:t>
            </a:r>
          </a:p>
        </p:txBody>
      </p:sp>
      <p:sp>
        <p:nvSpPr>
          <p:cNvPr id="5" name="Foliennummernplatzhalter 4"/>
          <p:cNvSpPr>
            <a:spLocks noGrp="1"/>
          </p:cNvSpPr>
          <p:nvPr>
            <p:ph type="sldNum" sz="quarter" idx="17"/>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56296245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663.xml><?xml version="1.0" encoding="utf-8"?>
<p:sldLayout xmlns:a="http://schemas.openxmlformats.org/drawingml/2006/main" xmlns:r="http://schemas.openxmlformats.org/officeDocument/2006/relationships" xmlns:p="http://schemas.openxmlformats.org/presentationml/2006/main" showMasterSp="0" preserve="1" userDrawn="1">
  <p:cSld name="2 Images-chart 3/3 brushed">
    <p:bg>
      <p:bgRef idx="1001">
        <a:schemeClr val="bg1"/>
      </p:bgRef>
    </p:bg>
    <p:spTree>
      <p:nvGrpSpPr>
        <p:cNvPr id="1" name=""/>
        <p:cNvGrpSpPr/>
        <p:nvPr/>
      </p:nvGrpSpPr>
      <p:grpSpPr>
        <a:xfrm>
          <a:off x="0" y="0"/>
          <a:ext cx="0" cy="0"/>
          <a:chOff x="0" y="0"/>
          <a:chExt cx="0" cy="0"/>
        </a:xfrm>
      </p:grpSpPr>
      <p:grpSp>
        <p:nvGrpSpPr>
          <p:cNvPr id="26" name="Regieanweisungen"/>
          <p:cNvGrpSpPr/>
          <p:nvPr userDrawn="1"/>
        </p:nvGrpSpPr>
        <p:grpSpPr>
          <a:xfrm>
            <a:off x="-2086913" y="-467892"/>
            <a:ext cx="13647691" cy="7792196"/>
            <a:chOff x="-2088000" y="-468000"/>
            <a:chExt cx="13654799" cy="7794000"/>
          </a:xfrm>
        </p:grpSpPr>
        <p:sp>
          <p:nvSpPr>
            <p:cNvPr id="2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9" name="Hinweise links"/>
            <p:cNvGrpSpPr/>
            <p:nvPr userDrawn="1"/>
          </p:nvGrpSpPr>
          <p:grpSpPr>
            <a:xfrm>
              <a:off x="-2088000" y="0"/>
              <a:ext cx="1980000" cy="3528000"/>
              <a:chOff x="-2088000" y="0"/>
              <a:chExt cx="1980000" cy="3528000"/>
            </a:xfrm>
          </p:grpSpPr>
          <p:sp>
            <p:nvSpPr>
              <p:cNvPr id="30"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4"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Insert </a:t>
            </a:r>
            <a:r>
              <a:rPr lang="de-DE" dirty="0" err="1"/>
              <a:t>text</a:t>
            </a:r>
            <a:r>
              <a:rPr lang="de-DE" dirty="0"/>
              <a:t> in </a:t>
            </a:r>
            <a:r>
              <a:rPr lang="de-DE" noProof="0" dirty="0"/>
              <a:t>CorpoS (Body) 24 p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Body </a:t>
            </a:r>
            <a:r>
              <a:rPr lang="de-DE" dirty="0" err="1"/>
              <a:t>text</a:t>
            </a:r>
            <a:r>
              <a:rPr lang="de-DE" dirty="0"/>
              <a:t>: Home // Paragraph// </a:t>
            </a:r>
            <a:r>
              <a:rPr lang="de-DE" dirty="0" err="1"/>
              <a:t>Increase</a:t>
            </a:r>
            <a:r>
              <a:rPr lang="de-DE" dirty="0"/>
              <a:t> List Level</a:t>
            </a:r>
          </a:p>
          <a:p>
            <a:pPr lvl="1"/>
            <a:r>
              <a:rPr lang="de-DE" dirty="0"/>
              <a:t>Second </a:t>
            </a:r>
            <a:r>
              <a:rPr lang="de-DE" dirty="0" err="1"/>
              <a:t>level</a:t>
            </a:r>
            <a:r>
              <a:rPr lang="de-DE" dirty="0"/>
              <a:t> (Body </a:t>
            </a:r>
            <a:r>
              <a:rPr lang="de-DE" dirty="0" err="1"/>
              <a:t>tex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3" name="Fußzeilenplatzhalter 2"/>
          <p:cNvSpPr>
            <a:spLocks noGrp="1"/>
          </p:cNvSpPr>
          <p:nvPr>
            <p:ph type="ftr" sz="quarter" idx="16"/>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7"/>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472334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664.xml><?xml version="1.0" encoding="utf-8"?>
<p:sldLayout xmlns:a="http://schemas.openxmlformats.org/drawingml/2006/main" xmlns:r="http://schemas.openxmlformats.org/officeDocument/2006/relationships" xmlns:p="http://schemas.openxmlformats.org/presentationml/2006/main" showMasterSp="0" preserve="1" userDrawn="1">
  <p:cSld name="Fullpage image">
    <p:bg>
      <p:bgRef idx="1001">
        <a:schemeClr val="bg1"/>
      </p:bgRef>
    </p:bg>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4"/>
          </p:nvPr>
        </p:nvSpPr>
        <p:spPr/>
        <p:txBody>
          <a:bodyPr/>
          <a:lstStyle/>
          <a:p>
            <a:r>
              <a:rPr lang="de-DE" dirty="0">
                <a:solidFill>
                  <a:prstClr val="black"/>
                </a:solidFill>
              </a:rPr>
              <a:t>Titel der Präsentation / Abteilung / Datum /</a:t>
            </a:r>
          </a:p>
        </p:txBody>
      </p:sp>
      <p:sp>
        <p:nvSpPr>
          <p:cNvPr id="3" name="Foliennummernplatzhalter 2"/>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8569089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showMasterSp="0" preserve="1" userDrawn="1">
  <p:cSld name="Fullpage 3 images">
    <p:bg>
      <p:bgRef idx="1001">
        <a:schemeClr val="bg1"/>
      </p:bgRef>
    </p:bg>
    <p:spTree>
      <p:nvGrpSpPr>
        <p:cNvPr id="1" name=""/>
        <p:cNvGrpSpPr/>
        <p:nvPr/>
      </p:nvGrpSpPr>
      <p:grpSpPr>
        <a:xfrm>
          <a:off x="0" y="0"/>
          <a:ext cx="0" cy="0"/>
          <a:chOff x="0" y="0"/>
          <a:chExt cx="0" cy="0"/>
        </a:xfrm>
      </p:grpSpPr>
      <p:grpSp>
        <p:nvGrpSpPr>
          <p:cNvPr id="25" name="Regieanweisungen"/>
          <p:cNvGrpSpPr/>
          <p:nvPr userDrawn="1"/>
        </p:nvGrpSpPr>
        <p:grpSpPr>
          <a:xfrm>
            <a:off x="-2086913" y="-467892"/>
            <a:ext cx="13647691" cy="7792196"/>
            <a:chOff x="-2088000" y="-468000"/>
            <a:chExt cx="13654799" cy="7794000"/>
          </a:xfrm>
        </p:grpSpPr>
        <p:sp>
          <p:nvSpPr>
            <p:cNvPr id="2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33"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6" name="Picture Placeholder 3"/>
          <p:cNvSpPr>
            <a:spLocks noGrp="1"/>
          </p:cNvSpPr>
          <p:nvPr>
            <p:ph type="pic" sz="quarter" idx="14" hasCustomPrompt="1"/>
          </p:nvPr>
        </p:nvSpPr>
        <p:spPr bwMode="gray">
          <a:xfrm>
            <a:off x="3911151" y="0"/>
            <a:ext cx="4199925"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6"/>
          </p:nvPr>
        </p:nvSpPr>
        <p:spPr/>
        <p:txBody>
          <a:bodyPr/>
          <a:lstStyle/>
          <a:p>
            <a:r>
              <a:rPr lang="de-DE" dirty="0">
                <a:solidFill>
                  <a:prstClr val="black"/>
                </a:solidFill>
              </a:rPr>
              <a:t>Titel der Präsentation / Abteilung / Datum /</a:t>
            </a:r>
          </a:p>
        </p:txBody>
      </p:sp>
      <p:sp>
        <p:nvSpPr>
          <p:cNvPr id="3" name="Foliennummernplatzhalter 2"/>
          <p:cNvSpPr>
            <a:spLocks noGrp="1"/>
          </p:cNvSpPr>
          <p:nvPr>
            <p:ph type="sldNum" sz="quarter" idx="17"/>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1000708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Two 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Textkörper) 35 pt.</a:t>
            </a:r>
            <a:endParaRPr lang="de-DE" dirty="0"/>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de-DE" dirty="0"/>
              <a:t>Text einfügen </a:t>
            </a:r>
            <a:r>
              <a:rPr lang="de-DE" noProof="0" dirty="0"/>
              <a:t>(mark-</a:t>
            </a:r>
            <a:r>
              <a:rPr lang="de-DE" noProof="0" dirty="0" err="1"/>
              <a:t>ups</a:t>
            </a:r>
            <a:r>
              <a:rPr lang="de-DE" noProof="0" dirty="0"/>
              <a:t> in Fett) </a:t>
            </a:r>
            <a:r>
              <a:rPr lang="de-DE" dirty="0"/>
              <a:t>// für Zusammenfassung: Listenebene erhöhen</a:t>
            </a:r>
          </a:p>
          <a:p>
            <a:pPr lvl="1"/>
            <a:r>
              <a:rPr lang="de-DE" dirty="0"/>
              <a:t>Zweite Ebene (Zusammenfassung oder kurzes Highlight)</a:t>
            </a:r>
          </a:p>
        </p:txBody>
      </p:sp>
      <p:sp>
        <p:nvSpPr>
          <p:cNvPr id="9" name="Text Placeholder 7"/>
          <p:cNvSpPr>
            <a:spLocks noGrp="1"/>
          </p:cNvSpPr>
          <p:nvPr>
            <p:ph type="body" sz="quarter" idx="13" hasCustomPrompt="1"/>
          </p:nvPr>
        </p:nvSpPr>
        <p:spPr>
          <a:xfrm>
            <a:off x="6096000" y="4966850"/>
            <a:ext cx="5464504" cy="1414434"/>
          </a:xfrm>
        </p:spPr>
        <p:txBody>
          <a:bodyPr/>
          <a:lstStyle>
            <a:lvl1pPr>
              <a:defRPr/>
            </a:lvl1pPr>
            <a:lvl2pPr>
              <a:defRPr/>
            </a:lvl2pPr>
          </a:lstStyle>
          <a:p>
            <a:pPr lvl="0"/>
            <a:r>
              <a:rPr lang="de-DE" dirty="0"/>
              <a:t>Text einfügen </a:t>
            </a:r>
            <a:r>
              <a:rPr lang="de-DE" noProof="0" dirty="0"/>
              <a:t>(mark-</a:t>
            </a:r>
            <a:r>
              <a:rPr lang="de-DE" noProof="0" dirty="0" err="1"/>
              <a:t>ups</a:t>
            </a:r>
            <a:r>
              <a:rPr lang="de-DE" noProof="0" dirty="0"/>
              <a:t> in Fett) </a:t>
            </a:r>
            <a:r>
              <a:rPr lang="de-DE" dirty="0"/>
              <a:t>// für Zusammenfassung: Listenebene erhöhen</a:t>
            </a:r>
          </a:p>
          <a:p>
            <a:pPr lvl="1"/>
            <a:r>
              <a:rPr lang="de-DE" dirty="0"/>
              <a:t>Zweite Ebene (Zusammenfassung oder kurzes Highlight)</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7"/>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8"/>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81098555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Textkörper) 35 pt.</a:t>
            </a:r>
            <a:endParaRPr lang="de-DE" dirty="0"/>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de-DE" dirty="0"/>
              <a:t>Text einfügen in </a:t>
            </a:r>
            <a:r>
              <a:rPr lang="de-DE" noProof="0" dirty="0"/>
              <a:t>CorpoS (Body) 24 pt. (mark-</a:t>
            </a:r>
            <a:r>
              <a:rPr lang="de-DE" noProof="0" dirty="0" err="1"/>
              <a:t>ups</a:t>
            </a:r>
            <a:r>
              <a:rPr lang="de-DE" noProof="0" dirty="0"/>
              <a:t> in Fett) </a:t>
            </a:r>
            <a:r>
              <a:rPr lang="de-DE" dirty="0"/>
              <a:t>// für Zusammenfassung oder kurzes Highlight: Start // Absatz // Listenebene erhöhen</a:t>
            </a:r>
          </a:p>
          <a:p>
            <a:pPr lvl="1"/>
            <a:r>
              <a:rPr lang="de-DE" dirty="0"/>
              <a:t>Zweite Ebene (Zusammenfassung oder kurzes Highlight)</a:t>
            </a:r>
          </a:p>
          <a:p>
            <a:pPr lvl="2"/>
            <a:r>
              <a:rPr lang="de-DE" dirty="0"/>
              <a:t>Dritte Ebene </a:t>
            </a:r>
          </a:p>
          <a:p>
            <a:pPr lvl="3"/>
            <a:r>
              <a:rPr lang="de-DE" dirty="0"/>
              <a:t>Vierte Ebene </a:t>
            </a:r>
          </a:p>
          <a:p>
            <a:pPr lvl="4"/>
            <a:r>
              <a:rPr lang="de-DE" dirty="0"/>
              <a:t>Fünfte Ebene </a:t>
            </a:r>
          </a:p>
          <a:p>
            <a:pPr lvl="5"/>
            <a:r>
              <a:rPr lang="de-DE" dirty="0"/>
              <a:t>Sechste Ebene </a:t>
            </a:r>
          </a:p>
          <a:p>
            <a:pPr lvl="6"/>
            <a:r>
              <a:rPr lang="de-DE" dirty="0"/>
              <a:t>Siebte Ebene </a:t>
            </a:r>
          </a:p>
          <a:p>
            <a:pPr lvl="7"/>
            <a:r>
              <a:rPr lang="de-DE" dirty="0"/>
              <a:t>Achte Ebene </a:t>
            </a:r>
          </a:p>
          <a:p>
            <a:pPr lvl="8"/>
            <a:r>
              <a:rPr lang="de-DE" dirty="0"/>
              <a:t>Neunte Ebene </a:t>
            </a:r>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7"/>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8"/>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87484142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Text small // Image">
    <p:spTree>
      <p:nvGrpSpPr>
        <p:cNvPr id="1" name=""/>
        <p:cNvGrpSpPr/>
        <p:nvPr/>
      </p:nvGrpSpPr>
      <p:grpSpPr>
        <a:xfrm>
          <a:off x="0" y="0"/>
          <a:ext cx="0" cy="0"/>
          <a:chOff x="0" y="0"/>
          <a:chExt cx="0" cy="0"/>
        </a:xfrm>
      </p:grpSpPr>
      <p:sp>
        <p:nvSpPr>
          <p:cNvPr id="10" name="Picture Placeholder 3"/>
          <p:cNvSpPr>
            <a:spLocks noGrp="1"/>
          </p:cNvSpPr>
          <p:nvPr>
            <p:ph type="pic" sz="quarter" idx="14" hasCustomPrompt="1"/>
          </p:nvPr>
        </p:nvSpPr>
        <p:spPr bwMode="gray">
          <a:xfrm>
            <a:off x="4848875" y="1504604"/>
            <a:ext cx="6711903" cy="4875669"/>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8" name="Text Placeholder 7"/>
          <p:cNvSpPr>
            <a:spLocks noGrp="1"/>
          </p:cNvSpPr>
          <p:nvPr>
            <p:ph type="body" sz="quarter" idx="12" hasCustomPrompt="1"/>
          </p:nvPr>
        </p:nvSpPr>
        <p:spPr>
          <a:xfrm>
            <a:off x="629672" y="1504603"/>
            <a:ext cx="3857441" cy="4876681"/>
          </a:xfrm>
        </p:spPr>
        <p:txBody>
          <a:bodyPr>
            <a:normAutofit/>
          </a:bodyPr>
          <a:lstStyle>
            <a:lvl1pPr>
              <a:lnSpc>
                <a:spcPts val="2399"/>
              </a:lnSpc>
              <a:defRPr sz="1899" baseline="0"/>
            </a:lvl1pPr>
            <a:lvl2pPr>
              <a:lnSpc>
                <a:spcPts val="2399"/>
              </a:lnSpc>
              <a:defRPr sz="1899"/>
            </a:lvl2pPr>
            <a:lvl3pPr>
              <a:lnSpc>
                <a:spcPts val="2399"/>
              </a:lnSpc>
              <a:defRPr sz="1899"/>
            </a:lvl3pPr>
            <a:lvl4pPr>
              <a:lnSpc>
                <a:spcPts val="2399"/>
              </a:lnSpc>
              <a:defRPr sz="1899"/>
            </a:lvl4pPr>
            <a:lvl5pPr>
              <a:lnSpc>
                <a:spcPts val="2399"/>
              </a:lnSpc>
              <a:defRPr sz="1899"/>
            </a:lvl5pPr>
            <a:lvl6pPr>
              <a:lnSpc>
                <a:spcPts val="2399"/>
              </a:lnSpc>
              <a:defRPr sz="1899"/>
            </a:lvl6pPr>
            <a:lvl7pPr>
              <a:lnSpc>
                <a:spcPts val="2399"/>
              </a:lnSpc>
              <a:defRPr sz="1899"/>
            </a:lvl7pPr>
            <a:lvl8pPr>
              <a:lnSpc>
                <a:spcPts val="2399"/>
              </a:lnSpc>
              <a:defRPr sz="1899"/>
            </a:lvl8pPr>
            <a:lvl9pPr>
              <a:lnSpc>
                <a:spcPts val="2399"/>
              </a:lnSpc>
              <a:defRPr sz="1899"/>
            </a:lvl9pPr>
          </a:lstStyle>
          <a:p>
            <a:pPr lvl="0"/>
            <a:r>
              <a:rPr lang="de-DE" dirty="0"/>
              <a:t>Text einfügen in </a:t>
            </a:r>
            <a:r>
              <a:rPr lang="de-DE" noProof="0" dirty="0"/>
              <a:t>CorpoS (Body) 19 pt. (mark-</a:t>
            </a:r>
            <a:r>
              <a:rPr lang="de-DE" noProof="0" dirty="0" err="1"/>
              <a:t>ups</a:t>
            </a:r>
            <a:r>
              <a:rPr lang="de-DE" noProof="0" dirty="0"/>
              <a:t> in Fett) </a:t>
            </a:r>
            <a:r>
              <a:rPr lang="de-DE" dirty="0"/>
              <a:t>// für Zusammenfassung oder kurzes Highlight: Start // Absatz // Listenebene erhöhen</a:t>
            </a:r>
          </a:p>
          <a:p>
            <a:pPr lvl="1"/>
            <a:r>
              <a:rPr lang="de-DE" dirty="0"/>
              <a:t>Zweite Ebene (Zusammenfassung oder kurzes Highlight)</a:t>
            </a:r>
          </a:p>
          <a:p>
            <a:pPr lvl="2"/>
            <a:r>
              <a:rPr lang="de-DE" dirty="0"/>
              <a:t>Dritte Ebene </a:t>
            </a:r>
          </a:p>
          <a:p>
            <a:pPr lvl="3"/>
            <a:r>
              <a:rPr lang="de-DE" dirty="0"/>
              <a:t>Vierte Ebene </a:t>
            </a:r>
          </a:p>
          <a:p>
            <a:pPr lvl="4"/>
            <a:r>
              <a:rPr lang="de-DE" dirty="0"/>
              <a:t>Fünfte Ebene </a:t>
            </a:r>
          </a:p>
          <a:p>
            <a:pPr lvl="5"/>
            <a:r>
              <a:rPr lang="de-DE" dirty="0"/>
              <a:t>Sechste Ebene </a:t>
            </a:r>
          </a:p>
          <a:p>
            <a:pPr lvl="6"/>
            <a:r>
              <a:rPr lang="de-DE" dirty="0"/>
              <a:t>Siebte Ebene </a:t>
            </a:r>
          </a:p>
          <a:p>
            <a:pPr lvl="7"/>
            <a:r>
              <a:rPr lang="de-DE" dirty="0"/>
              <a:t>Achte Ebene </a:t>
            </a:r>
          </a:p>
          <a:p>
            <a:pPr lvl="8"/>
            <a:r>
              <a:rPr lang="de-DE" dirty="0"/>
              <a:t>Neunte Ebene </a:t>
            </a:r>
          </a:p>
        </p:txBody>
      </p:sp>
      <p:sp>
        <p:nvSpPr>
          <p:cNvPr id="5" name="Title 4"/>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Textkörper) 35 pt. für Standard </a:t>
            </a:r>
            <a:br>
              <a:rPr lang="de-DE" noProof="0" dirty="0"/>
            </a:br>
            <a:r>
              <a:rPr lang="de-DE" noProof="0" dirty="0"/>
              <a:t>Text-Folie in zwei Zeilen</a:t>
            </a:r>
            <a:endParaRPr lang="de-DE" dirty="0"/>
          </a:p>
        </p:txBody>
      </p:sp>
      <p:sp>
        <p:nvSpPr>
          <p:cNvPr id="2" name="Fußzeilenplatzhalter 1"/>
          <p:cNvSpPr>
            <a:spLocks noGrp="1"/>
          </p:cNvSpPr>
          <p:nvPr>
            <p:ph type="ftr" sz="quarter" idx="15"/>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6"/>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623223769"/>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948">
          <p15:clr>
            <a:srgbClr val="FBAE40"/>
          </p15:clr>
        </p15:guide>
        <p15:guide id="3" orient="horz" pos="182">
          <p15:clr>
            <a:srgbClr val="FBAE40"/>
          </p15:clr>
        </p15:guide>
        <p15:guide id="4" pos="3056">
          <p15:clr>
            <a:srgbClr val="FBAE40"/>
          </p15:clr>
        </p15:guide>
        <p15:guide id="5" pos="2828">
          <p15:clr>
            <a:srgbClr val="FBAE40"/>
          </p15:clr>
        </p15:guide>
      </p15:sldGuideLst>
    </p:ext>
  </p:extLst>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Two contents with head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Textkörper) 35 pt.</a:t>
            </a:r>
            <a:br>
              <a:rPr lang="de-DE" noProof="0" dirty="0"/>
            </a:br>
            <a:r>
              <a:rPr lang="de-DE" noProof="0" dirty="0"/>
              <a:t>über zwei Zeilen</a:t>
            </a:r>
            <a:endParaRPr lang="de-DE" dirty="0"/>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de-DE" dirty="0"/>
              <a:t>Text oder Inhalt einfügen in </a:t>
            </a:r>
            <a:r>
              <a:rPr lang="de-DE" noProof="0" dirty="0"/>
              <a:t>CorpoS (Body) 24 pt. (mark-</a:t>
            </a:r>
            <a:r>
              <a:rPr lang="de-DE" noProof="0" dirty="0" err="1"/>
              <a:t>ups</a:t>
            </a:r>
            <a:r>
              <a:rPr lang="de-DE" noProof="0" dirty="0"/>
              <a:t> in Fett) </a:t>
            </a:r>
            <a:r>
              <a:rPr lang="de-DE" dirty="0"/>
              <a:t>// für Zusammenfassung oder kurzes Highlight: Start // Absatz // Listenebene erhöhen</a:t>
            </a:r>
          </a:p>
          <a:p>
            <a:pPr lvl="1"/>
            <a:r>
              <a:rPr lang="de-DE" dirty="0"/>
              <a:t>Zweite Ebene (Zusammenfassung oder kurzes Highlight)</a:t>
            </a:r>
          </a:p>
          <a:p>
            <a:pPr lvl="2"/>
            <a:r>
              <a:rPr lang="de-DE" dirty="0"/>
              <a:t>Dritte Ebene</a:t>
            </a:r>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a:t>Headline einfügen</a:t>
            </a:r>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a:t>Headline einfügen</a:t>
            </a:r>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de-DE" dirty="0"/>
              <a:t>Text oder Inhalt einfügen in </a:t>
            </a:r>
            <a:r>
              <a:rPr lang="de-DE" noProof="0" dirty="0"/>
              <a:t>CorpoS (Body) 24 pt. (mark-</a:t>
            </a:r>
            <a:r>
              <a:rPr lang="de-DE" noProof="0" dirty="0" err="1"/>
              <a:t>ups</a:t>
            </a:r>
            <a:r>
              <a:rPr lang="de-DE" noProof="0" dirty="0"/>
              <a:t> in Fett) </a:t>
            </a:r>
            <a:r>
              <a:rPr lang="de-DE" dirty="0"/>
              <a:t>// für Zusammenfassung oder kurzes Highlight: Start // Absatz // Listenebene erhöhen</a:t>
            </a:r>
          </a:p>
          <a:p>
            <a:pPr lvl="1"/>
            <a:r>
              <a:rPr lang="de-DE" dirty="0"/>
              <a:t>Zweite Ebene (Zusammenfassung oder kurzes Highlight)</a:t>
            </a:r>
          </a:p>
          <a:p>
            <a:pPr lvl="2"/>
            <a:r>
              <a:rPr lang="de-DE" dirty="0"/>
              <a:t>Dritte Ebene</a:t>
            </a:r>
          </a:p>
        </p:txBody>
      </p:sp>
      <p:sp>
        <p:nvSpPr>
          <p:cNvPr id="5" name="Fußzeilenplatzhalter 4"/>
          <p:cNvSpPr>
            <a:spLocks noGrp="1"/>
          </p:cNvSpPr>
          <p:nvPr>
            <p:ph type="ftr" sz="quarter" idx="16"/>
          </p:nvPr>
        </p:nvSpPr>
        <p:spPr/>
        <p:txBody>
          <a:bodyPr/>
          <a:lstStyle/>
          <a:p>
            <a:r>
              <a:rPr lang="de-DE" dirty="0">
                <a:solidFill>
                  <a:prstClr val="black"/>
                </a:solidFill>
              </a:rPr>
              <a:t>Titel der Präsentation / Abteilung / Datum /</a:t>
            </a:r>
          </a:p>
        </p:txBody>
      </p:sp>
      <p:sp>
        <p:nvSpPr>
          <p:cNvPr id="12" name="Foliennummernplatzhalter 11"/>
          <p:cNvSpPr>
            <a:spLocks noGrp="1"/>
          </p:cNvSpPr>
          <p:nvPr>
            <p:ph type="sldNum" sz="quarter" idx="17"/>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595720952"/>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Full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70991123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4 products">
    <p:spTree>
      <p:nvGrpSpPr>
        <p:cNvPr id="1" name=""/>
        <p:cNvGrpSpPr/>
        <p:nvPr/>
      </p:nvGrpSpPr>
      <p:grpSpPr>
        <a:xfrm>
          <a:off x="0" y="0"/>
          <a:ext cx="0" cy="0"/>
          <a:chOff x="0" y="0"/>
          <a:chExt cx="0" cy="0"/>
        </a:xfrm>
      </p:grpSpPr>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Text einfügen</a:t>
            </a:r>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Text einfügen</a:t>
            </a:r>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Text einfügen</a:t>
            </a:r>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Text einfügen</a:t>
            </a:r>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Text einfügen</a:t>
            </a:r>
          </a:p>
        </p:txBody>
      </p:sp>
      <p:sp>
        <p:nvSpPr>
          <p:cNvPr id="47"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Textkörper) 35 pt.</a:t>
            </a:r>
            <a:endParaRPr lang="de-DE" dirty="0"/>
          </a:p>
        </p:txBody>
      </p:sp>
      <p:sp>
        <p:nvSpPr>
          <p:cNvPr id="2" name="Fußzeilenplatzhalter 1"/>
          <p:cNvSpPr>
            <a:spLocks noGrp="1"/>
          </p:cNvSpPr>
          <p:nvPr>
            <p:ph type="ftr" sz="quarter" idx="43"/>
          </p:nvPr>
        </p:nvSpPr>
        <p:spPr/>
        <p:txBody>
          <a:bodyPr/>
          <a:lstStyle/>
          <a:p>
            <a:r>
              <a:rPr lang="de-DE" dirty="0">
                <a:solidFill>
                  <a:prstClr val="black"/>
                </a:solidFill>
              </a:rPr>
              <a:t>Titel der Präsentation / Abteilung / Datum /</a:t>
            </a:r>
          </a:p>
        </p:txBody>
      </p:sp>
      <p:sp>
        <p:nvSpPr>
          <p:cNvPr id="8" name="Foliennummernplatzhalter 7"/>
          <p:cNvSpPr>
            <a:spLocks noGrp="1"/>
          </p:cNvSpPr>
          <p:nvPr>
            <p:ph type="sldNum" sz="quarter" idx="44"/>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25507247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Headline two lines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Textkörper) 35 pt.</a:t>
            </a:r>
            <a:br>
              <a:rPr lang="de-DE" noProof="0" dirty="0"/>
            </a:br>
            <a:r>
              <a:rPr lang="de-DE" noProof="0" dirty="0"/>
              <a:t>über zwei Zeilen</a:t>
            </a:r>
            <a:endParaRPr lang="de-DE" dirty="0"/>
          </a:p>
        </p:txBody>
      </p:sp>
      <p:sp>
        <p:nvSpPr>
          <p:cNvPr id="5" name="Fußzeilenplatzhalter 4"/>
          <p:cNvSpPr>
            <a:spLocks noGrp="1"/>
          </p:cNvSpPr>
          <p:nvPr>
            <p:ph type="ftr" sz="quarter" idx="10"/>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1"/>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17986371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Headline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Textkörper) 35 pt.</a:t>
            </a:r>
            <a:endParaRPr lang="de-DE" dirty="0"/>
          </a:p>
        </p:txBody>
      </p:sp>
      <p:sp>
        <p:nvSpPr>
          <p:cNvPr id="5" name="Fußzeilenplatzhalter 4"/>
          <p:cNvSpPr>
            <a:spLocks noGrp="1"/>
          </p:cNvSpPr>
          <p:nvPr>
            <p:ph type="ftr" sz="quarter" idx="10"/>
          </p:nvPr>
        </p:nvSpPr>
        <p:spPr/>
        <p:txBody>
          <a:bodyPr/>
          <a:lstStyle/>
          <a:p>
            <a:r>
              <a:rPr lang="de-DE" dirty="0">
                <a:solidFill>
                  <a:prstClr val="black"/>
                </a:solidFill>
              </a:rPr>
              <a:t>Titel der Präsentation / Abteilung / Datum /</a:t>
            </a:r>
          </a:p>
        </p:txBody>
      </p:sp>
      <p:sp>
        <p:nvSpPr>
          <p:cNvPr id="6" name="Foliennummernplatzhalter 5"/>
          <p:cNvSpPr>
            <a:spLocks noGrp="1"/>
          </p:cNvSpPr>
          <p:nvPr>
            <p:ph type="sldNum" sz="quarter" idx="11"/>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481864163"/>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673.xml><?xml version="1.0" encoding="utf-8"?>
<p:sldLayout xmlns:a="http://schemas.openxmlformats.org/drawingml/2006/main" xmlns:r="http://schemas.openxmlformats.org/officeDocument/2006/relationships" xmlns:p="http://schemas.openxmlformats.org/presentationml/2006/main" showMasterSp="0" type="tx">
  <p:cSld name="Einleitungstext, dark grey">
    <p:bg>
      <p:bgPr>
        <a:solidFill>
          <a:srgbClr val="25262E"/>
        </a:solidFill>
        <a:effectLst/>
      </p:bgPr>
    </p:bg>
    <p:spTree>
      <p:nvGrpSpPr>
        <p:cNvPr id="1" name=""/>
        <p:cNvGrpSpPr/>
        <p:nvPr/>
      </p:nvGrpSpPr>
      <p:grpSpPr>
        <a:xfrm>
          <a:off x="0" y="0"/>
          <a:ext cx="0" cy="0"/>
          <a:chOff x="0" y="0"/>
          <a:chExt cx="0" cy="0"/>
        </a:xfrm>
      </p:grpSpPr>
      <p:pic>
        <p:nvPicPr>
          <p:cNvPr id="354" name="Shape 172" descr="Shape 172"/>
          <p:cNvPicPr>
            <a:picLocks noChangeAspect="1"/>
          </p:cNvPicPr>
          <p:nvPr/>
        </p:nvPicPr>
        <p:blipFill>
          <a:blip r:embed="rId2">
            <a:extLst/>
          </a:blip>
          <a:stretch>
            <a:fillRect/>
          </a:stretch>
        </p:blipFill>
        <p:spPr>
          <a:xfrm>
            <a:off x="0" y="0"/>
            <a:ext cx="12192000" cy="6858000"/>
          </a:xfrm>
          <a:prstGeom prst="rect">
            <a:avLst/>
          </a:prstGeom>
          <a:ln w="12700">
            <a:miter lim="400000"/>
          </a:ln>
        </p:spPr>
      </p:pic>
      <p:sp>
        <p:nvSpPr>
          <p:cNvPr id="355" name="Foliennummer"/>
          <p:cNvSpPr>
            <a:spLocks noGrp="1"/>
          </p:cNvSpPr>
          <p:nvPr>
            <p:ph type="sldNum" sz="quarter" idx="2"/>
          </p:nvPr>
        </p:nvSpPr>
        <p:spPr>
          <a:xfrm>
            <a:off x="11183344" y="6219192"/>
            <a:ext cx="307617" cy="184623"/>
          </a:xfrm>
          <a:prstGeom prst="rect">
            <a:avLst/>
          </a:prstGeom>
        </p:spPr>
        <p:txBody>
          <a:bodyPr lIns="0" tIns="0" rIns="0" bIns="0"/>
          <a:lstStyle>
            <a:lvl1pPr algn="r">
              <a:defRPr>
                <a:solidFill>
                  <a:srgbClr val="00B7BF"/>
                </a:solidFill>
                <a:latin typeface="+mj-lt"/>
                <a:ea typeface="+mj-ea"/>
                <a:cs typeface="+mj-cs"/>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919610718"/>
      </p:ext>
    </p:extLst>
  </p:cSld>
  <p:clrMapOvr>
    <a:masterClrMapping/>
  </p:clrMapOvr>
  <p:transition spd="med"/>
</p:sldLayout>
</file>

<file path=ppt/slideLayouts/slideLayout674.xml><?xml version="1.0" encoding="utf-8"?>
<p:sldLayout xmlns:a="http://schemas.openxmlformats.org/drawingml/2006/main" xmlns:r="http://schemas.openxmlformats.org/officeDocument/2006/relationships" xmlns:p="http://schemas.openxmlformats.org/presentationml/2006/main" type="tx">
  <p:cSld name="photo half Kopie">
    <p:bg>
      <p:bgPr>
        <a:solidFill>
          <a:srgbClr val="24262F"/>
        </a:solidFill>
        <a:effectLst/>
      </p:bgPr>
    </p:bg>
    <p:spTree>
      <p:nvGrpSpPr>
        <p:cNvPr id="1" name=""/>
        <p:cNvGrpSpPr/>
        <p:nvPr/>
      </p:nvGrpSpPr>
      <p:grpSpPr>
        <a:xfrm>
          <a:off x="0" y="0"/>
          <a:ext cx="0" cy="0"/>
          <a:chOff x="0" y="0"/>
          <a:chExt cx="0" cy="0"/>
        </a:xfrm>
      </p:grpSpPr>
      <p:sp>
        <p:nvSpPr>
          <p:cNvPr id="395" name="Shape 395"/>
          <p:cNvSpPr>
            <a:spLocks noGrp="1"/>
          </p:cNvSpPr>
          <p:nvPr>
            <p:ph type="title"/>
          </p:nvPr>
        </p:nvSpPr>
        <p:spPr>
          <a:xfrm>
            <a:off x="628983" y="653999"/>
            <a:ext cx="4888052" cy="1110005"/>
          </a:xfrm>
          <a:prstGeom prst="rect">
            <a:avLst/>
          </a:prstGeom>
        </p:spPr>
        <p:txBody>
          <a:bodyPr lIns="0" tIns="0" rIns="0" bIns="0" anchor="t">
            <a:noAutofit/>
          </a:bodyPr>
          <a:lstStyle>
            <a:lvl1pPr defTabSz="292025">
              <a:defRPr sz="4498" spc="-45">
                <a:solidFill>
                  <a:srgbClr val="00BEB3"/>
                </a:solidFill>
                <a:latin typeface="Helvetica"/>
                <a:ea typeface="Helvetica"/>
                <a:cs typeface="Helvetica"/>
                <a:sym typeface="Helvetica"/>
              </a:defRPr>
            </a:lvl1pPr>
          </a:lstStyle>
          <a:p>
            <a:r>
              <a:t>Title Text</a:t>
            </a:r>
          </a:p>
        </p:txBody>
      </p:sp>
      <p:sp>
        <p:nvSpPr>
          <p:cNvPr id="396" name="Shape 396"/>
          <p:cNvSpPr>
            <a:spLocks noGrp="1"/>
          </p:cNvSpPr>
          <p:nvPr>
            <p:ph type="body" sz="half" idx="1"/>
          </p:nvPr>
        </p:nvSpPr>
        <p:spPr>
          <a:xfrm>
            <a:off x="628983" y="1780298"/>
            <a:ext cx="4888052" cy="4543409"/>
          </a:xfrm>
          <a:prstGeom prst="rect">
            <a:avLst/>
          </a:prstGeom>
        </p:spPr>
        <p:txBody>
          <a:bodyPr lIns="26796" tIns="26796" rIns="26796" bIns="26796" anchor="t">
            <a:noAutofit/>
          </a:bodyPr>
          <a:lstStyle>
            <a:lvl1pPr marL="233887" indent="-233887" defTabSz="317418">
              <a:spcBef>
                <a:spcPts val="1499"/>
              </a:spcBef>
              <a:defRPr sz="1999" spc="60">
                <a:latin typeface="Helvetica"/>
                <a:ea typeface="Helvetica"/>
                <a:cs typeface="Helvetica"/>
                <a:sym typeface="Helvetica"/>
              </a:defRPr>
            </a:lvl1pPr>
            <a:lvl2pPr marL="456079" indent="-233887" defTabSz="317418">
              <a:spcBef>
                <a:spcPts val="1499"/>
              </a:spcBef>
              <a:defRPr sz="1999" spc="60">
                <a:latin typeface="Helvetica"/>
                <a:ea typeface="Helvetica"/>
                <a:cs typeface="Helvetica"/>
                <a:sym typeface="Helvetica"/>
              </a:defRPr>
            </a:lvl2pPr>
            <a:lvl3pPr marL="678272" indent="-233887" defTabSz="317418">
              <a:spcBef>
                <a:spcPts val="1499"/>
              </a:spcBef>
              <a:defRPr sz="1999" spc="60">
                <a:latin typeface="Helvetica"/>
                <a:ea typeface="Helvetica"/>
                <a:cs typeface="Helvetica"/>
                <a:sym typeface="Helvetica"/>
              </a:defRPr>
            </a:lvl3pPr>
            <a:lvl4pPr marL="900465" indent="-233887" defTabSz="317418">
              <a:spcBef>
                <a:spcPts val="1499"/>
              </a:spcBef>
              <a:defRPr sz="1999" spc="60">
                <a:latin typeface="Helvetica"/>
                <a:ea typeface="Helvetica"/>
                <a:cs typeface="Helvetica"/>
                <a:sym typeface="Helvetica"/>
              </a:defRPr>
            </a:lvl4pPr>
            <a:lvl5pPr marL="1122656" indent="-233887" defTabSz="317418">
              <a:spcBef>
                <a:spcPts val="1499"/>
              </a:spcBef>
              <a:defRPr sz="1999" spc="60">
                <a:latin typeface="Helvetica"/>
                <a:ea typeface="Helvetica"/>
                <a:cs typeface="Helvetica"/>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397" name="Shape 397"/>
          <p:cNvSpPr>
            <a:spLocks noGrp="1"/>
          </p:cNvSpPr>
          <p:nvPr>
            <p:ph type="sldNum" sz="quarter" idx="2"/>
          </p:nvPr>
        </p:nvSpPr>
        <p:spPr>
          <a:xfrm>
            <a:off x="11560066" y="4802"/>
            <a:ext cx="632888" cy="238767"/>
          </a:xfrm>
          <a:prstGeom prst="rect">
            <a:avLst/>
          </a:prstGeom>
          <a:extLst>
            <a:ext uri="{C572A759-6A51-4108-AA02-DFA0A04FC94B}">
              <ma14:wrappingTextBoxFlag xmlns="" xmlns:ma14="http://schemas.microsoft.com/office/mac/drawingml/2011/main" val="1"/>
            </a:ext>
          </a:extLst>
        </p:spPr>
        <p:txBody>
          <a:bodyPr wrap="square" lIns="26796" tIns="26796" rIns="26796" bIns="26796"/>
          <a:lstStyle>
            <a:lvl1pPr algn="ctr" defTabSz="292025">
              <a:defRPr>
                <a:solidFill>
                  <a:srgbClr val="FFFFFF"/>
                </a:solidFill>
                <a:latin typeface="Helvetica"/>
                <a:ea typeface="Helvetica"/>
                <a:cs typeface="Helvetica"/>
                <a:sym typeface="Helvetica"/>
              </a:defRPr>
            </a:lvl1pPr>
          </a:lstStyle>
          <a:p>
            <a:fld id="{86CB4B4D-7CA3-9044-876B-883B54F8677D}" type="slidenum">
              <a:rPr/>
              <a:pPr/>
              <a:t>‹#›</a:t>
            </a:fld>
            <a:endParaRPr/>
          </a:p>
        </p:txBody>
      </p:sp>
    </p:spTree>
    <p:extLst>
      <p:ext uri="{BB962C8B-B14F-4D97-AF65-F5344CB8AC3E}">
        <p14:creationId xmlns:p14="http://schemas.microsoft.com/office/powerpoint/2010/main" val="1221785585"/>
      </p:ext>
    </p:extLst>
  </p:cSld>
  <p:clrMapOvr>
    <a:masterClrMapping/>
  </p:clrMapOvr>
  <p:transition spd="med"/>
</p:sldLayout>
</file>

<file path=ppt/slideLayouts/slideLayout675.xml><?xml version="1.0" encoding="utf-8"?>
<p:sldLayout xmlns:a="http://schemas.openxmlformats.org/drawingml/2006/main" xmlns:r="http://schemas.openxmlformats.org/officeDocument/2006/relationships" xmlns:p="http://schemas.openxmlformats.org/presentationml/2006/main" showMasterSp="0" preserve="1" userDrawn="1">
  <p:cSld name="1.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en-GB" dirty="0"/>
              <a:t>Referent’s name: </a:t>
            </a:r>
            <a:r>
              <a:rPr lang="en-GB" noProof="0" dirty="0"/>
              <a:t>CorpoS </a:t>
            </a:r>
            <a:r>
              <a:rPr lang="en-GB" dirty="0"/>
              <a:t>(Body) 35 pt. Presentation title</a:t>
            </a:r>
            <a:br>
              <a:rPr lang="en-GB" dirty="0"/>
            </a:br>
            <a:r>
              <a:rPr lang="en-GB" dirty="0"/>
              <a:t>in two lines of text, dd. </a:t>
            </a:r>
            <a:r>
              <a:rPr lang="en-GB" dirty="0" err="1"/>
              <a:t>mmmm</a:t>
            </a:r>
            <a:r>
              <a:rPr lang="en-GB" dirty="0"/>
              <a:t> </a:t>
            </a:r>
            <a:r>
              <a:rPr lang="en-GB" dirty="0" err="1"/>
              <a:t>yyyy</a:t>
            </a:r>
            <a:endParaRPr lang="en-GB"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2219664778"/>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676.xml><?xml version="1.0" encoding="utf-8"?>
<p:sldLayout xmlns:a="http://schemas.openxmlformats.org/drawingml/2006/main" xmlns:r="http://schemas.openxmlformats.org/officeDocument/2006/relationships" xmlns:p="http://schemas.openxmlformats.org/presentationml/2006/main" showMasterSp="0" preserve="1" userDrawn="1">
  <p:cSld name="2.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a:lvl1pPr>
          </a:lstStyle>
          <a:p>
            <a:r>
              <a:rPr lang="en-GB" dirty="0"/>
              <a:t>Referent’s name: </a:t>
            </a:r>
            <a:r>
              <a:rPr lang="en-GB" noProof="0" dirty="0"/>
              <a:t>CorpoS </a:t>
            </a:r>
            <a:r>
              <a:rPr lang="en-GB" dirty="0"/>
              <a:t>(Body) 35 pt. Presentation title</a:t>
            </a:r>
            <a:br>
              <a:rPr lang="en-GB" dirty="0"/>
            </a:br>
            <a:r>
              <a:rPr lang="en-GB" dirty="0"/>
              <a:t>in two or more lines of text, dd. </a:t>
            </a:r>
            <a:r>
              <a:rPr lang="en-GB" dirty="0" err="1"/>
              <a:t>mmmm</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7"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202168602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677.xml><?xml version="1.0" encoding="utf-8"?>
<p:sldLayout xmlns:a="http://schemas.openxmlformats.org/drawingml/2006/main" xmlns:r="http://schemas.openxmlformats.org/officeDocument/2006/relationships" xmlns:p="http://schemas.openxmlformats.org/presentationml/2006/main" showMasterSp="0" preserve="1"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248836920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678.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4433"/>
            <a:ext cx="7232233" cy="648964"/>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en-GB" dirty="0"/>
              <a:t>Headline for presentation</a:t>
            </a:r>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320888190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679.xml><?xml version="1.0" encoding="utf-8"?>
<p:sldLayout xmlns:a="http://schemas.openxmlformats.org/drawingml/2006/main" xmlns:r="http://schemas.openxmlformats.org/officeDocument/2006/relationships" xmlns:p="http://schemas.openxmlformats.org/presentationml/2006/main" showMasterSp="0" preserve="1" userDrawn="1">
  <p:cSld name="Section chart">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1" y="0"/>
            <a:ext cx="12190451" cy="6487838"/>
          </a:xfrm>
          <a:prstGeom prst="rect">
            <a:avLst/>
          </a:prstGeom>
        </p:spPr>
      </p:pic>
      <p:sp>
        <p:nvSpPr>
          <p:cNvPr id="3" name="Title 2"/>
          <p:cNvSpPr>
            <a:spLocks noGrp="1"/>
          </p:cNvSpPr>
          <p:nvPr>
            <p:ph type="title" hasCustomPrompt="1"/>
          </p:nvPr>
        </p:nvSpPr>
        <p:spPr>
          <a:xfrm>
            <a:off x="628323" y="288859"/>
            <a:ext cx="10932455" cy="1025684"/>
          </a:xfrm>
        </p:spPr>
        <p:txBody>
          <a:bodyPr wrap="square">
            <a:spAutoFit/>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08763262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110568787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680.xml><?xml version="1.0" encoding="utf-8"?>
<p:sldLayout xmlns:a="http://schemas.openxmlformats.org/drawingml/2006/main" xmlns:r="http://schemas.openxmlformats.org/officeDocument/2006/relationships" xmlns:p="http://schemas.openxmlformats.org/presentationml/2006/main" showMasterSp="0" preserve="1" userDrawn="1">
  <p:cSld name="Text/ image brushing">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a:extLst>
              <a:ext uri="{28A0092B-C50C-407E-A947-70E740481C1C}">
                <a14:useLocalDpi xmlns:a14="http://schemas.microsoft.com/office/drawing/2010/main" val="0"/>
              </a:ext>
            </a:extLst>
          </a:blip>
          <a:srcRect b="5375"/>
          <a:stretch/>
        </p:blipFill>
        <p:spPr bwMode="white">
          <a:xfrm>
            <a:off x="0" y="-1"/>
            <a:ext cx="12190451" cy="6487839"/>
          </a:xfrm>
          <a:prstGeom prst="rect">
            <a:avLst/>
          </a:prstGeom>
        </p:spPr>
      </p:pic>
      <p:sp>
        <p:nvSpPr>
          <p:cNvPr id="3" name="Title 2"/>
          <p:cNvSpPr>
            <a:spLocks noGrp="1"/>
          </p:cNvSpPr>
          <p:nvPr>
            <p:ph type="title" hasCustomPrompt="1"/>
          </p:nvPr>
        </p:nvSpPr>
        <p:spPr>
          <a:xfrm>
            <a:off x="630116" y="288857"/>
            <a:ext cx="10930662" cy="1151733"/>
          </a:xfrm>
          <a:custGeom>
            <a:avLst/>
            <a:gdLst>
              <a:gd name="connsiteX0" fmla="*/ 0 w 10936355"/>
              <a:gd name="connsiteY0" fmla="*/ 0 h 1152000"/>
              <a:gd name="connsiteX1" fmla="*/ 10936355 w 10936355"/>
              <a:gd name="connsiteY1" fmla="*/ 0 h 1152000"/>
              <a:gd name="connsiteX2" fmla="*/ 10936355 w 10936355"/>
              <a:gd name="connsiteY2" fmla="*/ 1152000 h 1152000"/>
              <a:gd name="connsiteX3" fmla="*/ 0 w 10936355"/>
              <a:gd name="connsiteY3" fmla="*/ 1152000 h 1152000"/>
              <a:gd name="connsiteX4" fmla="*/ 0 w 10936355"/>
              <a:gd name="connsiteY4"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4948164 w 10936355"/>
              <a:gd name="connsiteY4" fmla="*/ 1147990 h 1152000"/>
              <a:gd name="connsiteX5" fmla="*/ 0 w 10936355"/>
              <a:gd name="connsiteY5" fmla="*/ 1152000 h 1152000"/>
              <a:gd name="connsiteX6" fmla="*/ 0 w 10936355"/>
              <a:gd name="connsiteY6"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355" h="1152000">
                <a:moveTo>
                  <a:pt x="0" y="0"/>
                </a:moveTo>
                <a:lnTo>
                  <a:pt x="10936355" y="0"/>
                </a:lnTo>
                <a:cubicBezTo>
                  <a:pt x="10935205" y="231775"/>
                  <a:pt x="10934056" y="463551"/>
                  <a:pt x="10932906" y="695326"/>
                </a:cubicBezTo>
                <a:lnTo>
                  <a:pt x="4948164" y="1147990"/>
                </a:lnTo>
                <a:lnTo>
                  <a:pt x="0" y="1152000"/>
                </a:lnTo>
                <a:lnTo>
                  <a:pt x="0" y="0"/>
                </a:lnTo>
                <a:close/>
              </a:path>
            </a:pathLst>
          </a:custGeom>
        </p:spPr>
        <p:txBody>
          <a:bodyPr/>
          <a:lstStyle>
            <a:lvl1pPr>
              <a:defRPr baseline="0">
                <a:solidFill>
                  <a:schemeClr val="bg1"/>
                </a:solidFill>
              </a:defRPr>
            </a:lvl1pPr>
          </a:lstStyle>
          <a:p>
            <a:r>
              <a:rPr lang="en-GB" dirty="0"/>
              <a:t>Image-chart, Headline </a:t>
            </a:r>
            <a:r>
              <a:rPr lang="en-GB" noProof="0" dirty="0"/>
              <a:t>CorpoS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87429504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681.xml><?xml version="1.0" encoding="utf-8"?>
<p:sldLayout xmlns:a="http://schemas.openxmlformats.org/drawingml/2006/main" xmlns:r="http://schemas.openxmlformats.org/officeDocument/2006/relationships" xmlns:p="http://schemas.openxmlformats.org/presentationml/2006/main" showMasterSp="0" preserve="1" userDrawn="1">
  <p:cSld name="Agenda with brushin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 name="Title 1"/>
          <p:cNvSpPr>
            <a:spLocks noGrp="1"/>
          </p:cNvSpPr>
          <p:nvPr>
            <p:ph type="title" hasCustomPrompt="1"/>
          </p:nvPr>
        </p:nvSpPr>
        <p:spPr>
          <a:xfrm>
            <a:off x="628323" y="288859"/>
            <a:ext cx="10932455" cy="1148857"/>
          </a:xfrm>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7" y="1504603"/>
            <a:ext cx="10931023" cy="3386305"/>
          </a:xfrm>
          <a:custGeom>
            <a:avLst/>
            <a:gdLst>
              <a:gd name="connsiteX0" fmla="*/ 0 w 10936081"/>
              <a:gd name="connsiteY0" fmla="*/ 0 h 3384000"/>
              <a:gd name="connsiteX1" fmla="*/ 10936081 w 10936081"/>
              <a:gd name="connsiteY1" fmla="*/ 0 h 3384000"/>
              <a:gd name="connsiteX2" fmla="*/ 10936081 w 10936081"/>
              <a:gd name="connsiteY2" fmla="*/ 3384000 h 3384000"/>
              <a:gd name="connsiteX3" fmla="*/ 0 w 10936081"/>
              <a:gd name="connsiteY3" fmla="*/ 3384000 h 3384000"/>
              <a:gd name="connsiteX4" fmla="*/ 0 w 10936081"/>
              <a:gd name="connsiteY4" fmla="*/ 0 h 3384000"/>
              <a:gd name="connsiteX0" fmla="*/ 0 w 10936081"/>
              <a:gd name="connsiteY0" fmla="*/ 0 h 3387089"/>
              <a:gd name="connsiteX1" fmla="*/ 10936081 w 10936081"/>
              <a:gd name="connsiteY1" fmla="*/ 0 h 3387089"/>
              <a:gd name="connsiteX2" fmla="*/ 10936081 w 10936081"/>
              <a:gd name="connsiteY2" fmla="*/ 3384000 h 3387089"/>
              <a:gd name="connsiteX3" fmla="*/ 2006076 w 10936081"/>
              <a:gd name="connsiteY3" fmla="*/ 3387089 h 3387089"/>
              <a:gd name="connsiteX4" fmla="*/ 0 w 10936081"/>
              <a:gd name="connsiteY4" fmla="*/ 3384000 h 3387089"/>
              <a:gd name="connsiteX5" fmla="*/ 0 w 10936081"/>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10936081 w 10936716"/>
              <a:gd name="connsiteY3" fmla="*/ 3384000 h 3387089"/>
              <a:gd name="connsiteX4" fmla="*/ 2006076 w 10936716"/>
              <a:gd name="connsiteY4" fmla="*/ 3387089 h 3387089"/>
              <a:gd name="connsiteX5" fmla="*/ 0 w 10936716"/>
              <a:gd name="connsiteY5" fmla="*/ 3384000 h 3387089"/>
              <a:gd name="connsiteX6" fmla="*/ 0 w 10936716"/>
              <a:gd name="connsiteY6"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 name="connsiteX0" fmla="*/ 0 w 10936716"/>
              <a:gd name="connsiteY0" fmla="*/ 0 h 3387089"/>
              <a:gd name="connsiteX1" fmla="*/ 10936081 w 10936716"/>
              <a:gd name="connsiteY1" fmla="*/ 0 h 3387089"/>
              <a:gd name="connsiteX2" fmla="*/ 10936716 w 10936716"/>
              <a:gd name="connsiteY2" fmla="*/ 2556509 h 3387089"/>
              <a:gd name="connsiteX3" fmla="*/ 2006076 w 10936716"/>
              <a:gd name="connsiteY3" fmla="*/ 3387089 h 3387089"/>
              <a:gd name="connsiteX4" fmla="*/ 0 w 10936716"/>
              <a:gd name="connsiteY4" fmla="*/ 3384000 h 3387089"/>
              <a:gd name="connsiteX5" fmla="*/ 0 w 10936716"/>
              <a:gd name="connsiteY5" fmla="*/ 0 h 338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3387089">
                <a:moveTo>
                  <a:pt x="0" y="0"/>
                </a:moveTo>
                <a:lnTo>
                  <a:pt x="10936081" y="0"/>
                </a:lnTo>
                <a:cubicBezTo>
                  <a:pt x="10936293" y="852170"/>
                  <a:pt x="10936504" y="1704339"/>
                  <a:pt x="10936716" y="2556509"/>
                </a:cubicBezTo>
                <a:lnTo>
                  <a:pt x="2006076" y="3387089"/>
                </a:lnTo>
                <a:lnTo>
                  <a:pt x="0" y="3384000"/>
                </a:lnTo>
                <a:lnTo>
                  <a:pt x="0" y="0"/>
                </a:lnTo>
                <a:close/>
              </a:path>
            </a:pathLst>
          </a:custGeo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08299825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412442111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415799758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684.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2 lines">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a:t>
            </a:r>
            <a:r>
              <a:rPr lang="en-GB" noProof="0" dirty="0"/>
              <a:t> 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75668222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Text/ content/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136915540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686.xml><?xml version="1.0" encoding="utf-8"?>
<p:sldLayout xmlns:a="http://schemas.openxmlformats.org/drawingml/2006/main" xmlns:r="http://schemas.openxmlformats.org/officeDocument/2006/relationships" xmlns:p="http://schemas.openxmlformats.org/presentationml/2006/main" showMasterSp="0" preserve="1" userDrawn="1">
  <p:cSld name="Text/ image/ Headline 1 line">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36149607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687.xml><?xml version="1.0" encoding="utf-8"?>
<p:sldLayout xmlns:a="http://schemas.openxmlformats.org/drawingml/2006/main" xmlns:r="http://schemas.openxmlformats.org/officeDocument/2006/relationships" xmlns:p="http://schemas.openxmlformats.org/presentationml/2006/main" showMasterSp="0" preserve="1" userDrawn="1">
  <p:cSld name="1.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60589422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688.xml><?xml version="1.0" encoding="utf-8"?>
<p:sldLayout xmlns:a="http://schemas.openxmlformats.org/drawingml/2006/main" xmlns:r="http://schemas.openxmlformats.org/officeDocument/2006/relationships" xmlns:p="http://schemas.openxmlformats.org/presentationml/2006/main" showMasterSp="0" preserve="1" userDrawn="1">
  <p:cSld name="2.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7" y="288858"/>
            <a:ext cx="10931023" cy="1115742"/>
          </a:xfrm>
          <a:custGeom>
            <a:avLst/>
            <a:gdLst>
              <a:gd name="connsiteX0" fmla="*/ 0 w 10936355"/>
              <a:gd name="connsiteY0" fmla="*/ 0 h 1116000"/>
              <a:gd name="connsiteX1" fmla="*/ 10936355 w 10936355"/>
              <a:gd name="connsiteY1" fmla="*/ 0 h 1116000"/>
              <a:gd name="connsiteX2" fmla="*/ 10936355 w 10936355"/>
              <a:gd name="connsiteY2" fmla="*/ 1116000 h 1116000"/>
              <a:gd name="connsiteX3" fmla="*/ 0 w 10936355"/>
              <a:gd name="connsiteY3" fmla="*/ 1116000 h 1116000"/>
              <a:gd name="connsiteX4" fmla="*/ 0 w 10936355"/>
              <a:gd name="connsiteY4" fmla="*/ 0 h 1116000"/>
              <a:gd name="connsiteX0" fmla="*/ 0 w 10936355"/>
              <a:gd name="connsiteY0" fmla="*/ 0 h 1116000"/>
              <a:gd name="connsiteX1" fmla="*/ 10936355 w 10936355"/>
              <a:gd name="connsiteY1" fmla="*/ 0 h 1116000"/>
              <a:gd name="connsiteX2" fmla="*/ 10936355 w 10936355"/>
              <a:gd name="connsiteY2" fmla="*/ 1116000 h 1116000"/>
              <a:gd name="connsiteX3" fmla="*/ 5793216 w 10936355"/>
              <a:gd name="connsiteY3" fmla="*/ 1113155 h 1116000"/>
              <a:gd name="connsiteX4" fmla="*/ 0 w 10936355"/>
              <a:gd name="connsiteY4" fmla="*/ 1116000 h 1116000"/>
              <a:gd name="connsiteX5" fmla="*/ 0 w 10936355"/>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10936355 w 10936716"/>
              <a:gd name="connsiteY3" fmla="*/ 1116000 h 1116000"/>
              <a:gd name="connsiteX4" fmla="*/ 5793216 w 10936716"/>
              <a:gd name="connsiteY4" fmla="*/ 1113155 h 1116000"/>
              <a:gd name="connsiteX5" fmla="*/ 0 w 10936716"/>
              <a:gd name="connsiteY5" fmla="*/ 1116000 h 1116000"/>
              <a:gd name="connsiteX6" fmla="*/ 0 w 10936716"/>
              <a:gd name="connsiteY6"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 name="connsiteX0" fmla="*/ 0 w 10936716"/>
              <a:gd name="connsiteY0" fmla="*/ 0 h 1116000"/>
              <a:gd name="connsiteX1" fmla="*/ 10936355 w 10936716"/>
              <a:gd name="connsiteY1" fmla="*/ 0 h 1116000"/>
              <a:gd name="connsiteX2" fmla="*/ 10936716 w 10936716"/>
              <a:gd name="connsiteY2" fmla="*/ 678815 h 1116000"/>
              <a:gd name="connsiteX3" fmla="*/ 5793216 w 10936716"/>
              <a:gd name="connsiteY3" fmla="*/ 1113155 h 1116000"/>
              <a:gd name="connsiteX4" fmla="*/ 0 w 10936716"/>
              <a:gd name="connsiteY4" fmla="*/ 1116000 h 1116000"/>
              <a:gd name="connsiteX5" fmla="*/ 0 w 10936716"/>
              <a:gd name="connsiteY5" fmla="*/ 0 h 11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716" h="1116000">
                <a:moveTo>
                  <a:pt x="0" y="0"/>
                </a:moveTo>
                <a:lnTo>
                  <a:pt x="10936355" y="0"/>
                </a:lnTo>
                <a:cubicBezTo>
                  <a:pt x="10936475" y="226272"/>
                  <a:pt x="10936596" y="452543"/>
                  <a:pt x="10936716" y="678815"/>
                </a:cubicBezTo>
                <a:lnTo>
                  <a:pt x="5793216" y="1113155"/>
                </a:lnTo>
                <a:lnTo>
                  <a:pt x="0" y="1116000"/>
                </a:lnTo>
                <a:lnTo>
                  <a:pt x="0" y="0"/>
                </a:lnTo>
                <a:close/>
              </a:path>
            </a:pathLst>
          </a:custGeom>
        </p:spPr>
        <p:txBody>
          <a:bodyPr/>
          <a:lstStyle>
            <a:lvl1pPr>
              <a:defRPr>
                <a:solidFill>
                  <a:schemeClr val="bg1"/>
                </a:solidFill>
              </a:defRPr>
            </a:lvl1pPr>
          </a:lstStyle>
          <a:p>
            <a:r>
              <a:rPr lang="en-GB" dirty="0"/>
              <a:t>Image-chart, Headline </a:t>
            </a:r>
            <a:r>
              <a:rPr lang="en-GB" noProof="0" dirty="0"/>
              <a:t>CorpoS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96658097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689.xml><?xml version="1.0" encoding="utf-8"?>
<p:sldLayout xmlns:a="http://schemas.openxmlformats.org/drawingml/2006/main" xmlns:r="http://schemas.openxmlformats.org/officeDocument/2006/relationships" xmlns:p="http://schemas.openxmlformats.org/presentationml/2006/main" showMasterSp="0" preserve="1" userDrawn="1">
  <p:cSld name="3. Brushing/ image 2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32011041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2_Text/ image/ Headline 1 lin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258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78" y="285982"/>
            <a:ext cx="10931106" cy="683842"/>
          </a:xfrm>
        </p:spPr>
        <p:txBody>
          <a:bodyPr/>
          <a:lstStyle/>
          <a:p>
            <a:r>
              <a:rPr lang="en-US" noProof="0" dirty="0"/>
              <a:t>Headline in </a:t>
            </a:r>
            <a:r>
              <a:rPr lang="en-US" noProof="0" dirty="0" err="1"/>
              <a:t>CorpoS</a:t>
            </a:r>
            <a:r>
              <a:rPr lang="en-US" noProof="0" dirty="0"/>
              <a:t> (Body) 35 pt.</a:t>
            </a:r>
            <a:endParaRPr lang="en-US" dirty="0"/>
          </a:p>
        </p:txBody>
      </p:sp>
      <p:sp>
        <p:nvSpPr>
          <p:cNvPr id="3" name="Footer Placeholder 2"/>
          <p:cNvSpPr>
            <a:spLocks noGrp="1"/>
          </p:cNvSpPr>
          <p:nvPr>
            <p:ph type="ftr" sz="quarter" idx="10"/>
          </p:nvPr>
        </p:nvSpPr>
        <p:spPr/>
        <p:txBody>
          <a:bodyPr/>
          <a:lstStyle/>
          <a:p>
            <a:r>
              <a:rPr lang="en-US" dirty="0">
                <a:solidFill>
                  <a:prstClr val="black"/>
                </a:solidFill>
              </a:rPr>
              <a:t>DFS BoM Meeting | January 2017 | </a:t>
            </a:r>
          </a:p>
        </p:txBody>
      </p:sp>
      <p:sp>
        <p:nvSpPr>
          <p:cNvPr id="4" name="Slide Number Placeholder 3"/>
          <p:cNvSpPr>
            <a:spLocks noGrp="1"/>
          </p:cNvSpPr>
          <p:nvPr>
            <p:ph type="sldNum" sz="quarter" idx="11"/>
          </p:nvPr>
        </p:nvSpPr>
        <p:spPr/>
        <p:txBody>
          <a:bodyPr/>
          <a:lstStyle/>
          <a:p>
            <a:r>
              <a:rPr lang="en-US" dirty="0">
                <a:solidFill>
                  <a:prstClr val="black"/>
                </a:solidFill>
              </a:rPr>
              <a:t>Page </a:t>
            </a:r>
            <a:fld id="{52531704-8F80-415D-BD2B-6B9991AE822F}" type="slidenum">
              <a:rPr lang="en-US" smtClean="0">
                <a:solidFill>
                  <a:prstClr val="black"/>
                </a:solidFill>
              </a:rPr>
              <a:pPr/>
              <a:t>‹#›</a:t>
            </a:fld>
            <a:endParaRPr lang="en-US" dirty="0">
              <a:solidFill>
                <a:prstClr val="black"/>
              </a:solidFill>
            </a:endParaRPr>
          </a:p>
        </p:txBody>
      </p:sp>
      <p:sp>
        <p:nvSpPr>
          <p:cNvPr id="17"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7417">
              <a:defRPr/>
            </a:pPr>
            <a:r>
              <a:rPr lang="en-US" sz="1199" dirty="0">
                <a:solidFill>
                  <a:prstClr val="black"/>
                </a:solidFill>
                <a:cs typeface="Daimler CS"/>
              </a:rPr>
              <a:t>Daimler Mobility Services GmbH</a:t>
            </a:r>
          </a:p>
        </p:txBody>
      </p:sp>
      <p:cxnSp>
        <p:nvCxnSpPr>
          <p:cNvPr id="16"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Tree>
    <p:extLst>
      <p:ext uri="{BB962C8B-B14F-4D97-AF65-F5344CB8AC3E}">
        <p14:creationId xmlns:p14="http://schemas.microsoft.com/office/powerpoint/2010/main" val="154610998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690.xml><?xml version="1.0" encoding="utf-8"?>
<p:sldLayout xmlns:a="http://schemas.openxmlformats.org/drawingml/2006/main" xmlns:r="http://schemas.openxmlformats.org/officeDocument/2006/relationships" xmlns:p="http://schemas.openxmlformats.org/presentationml/2006/main" showMasterSp="0" preserve="1" userDrawn="1">
  <p:cSld name="4. Brushing/ image 2 columns">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a:t>CorpoS (Body) 24 pt. (Mark-ups in Bold) </a:t>
            </a:r>
            <a:r>
              <a:rPr lang="en-GB" dirty="0"/>
              <a:t>// for Body text: Home // Paragraph// Increase List Level</a:t>
            </a:r>
          </a:p>
          <a:p>
            <a:pPr lvl="1"/>
            <a:r>
              <a:rPr lang="en-GB" dirty="0"/>
              <a:t>Second level (Body text)</a:t>
            </a:r>
          </a:p>
        </p:txBody>
      </p:sp>
      <p:sp>
        <p:nvSpPr>
          <p:cNvPr id="2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69869238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691.xml><?xml version="1.0" encoding="utf-8"?>
<p:sldLayout xmlns:a="http://schemas.openxmlformats.org/drawingml/2006/main" xmlns:r="http://schemas.openxmlformats.org/officeDocument/2006/relationships" xmlns:p="http://schemas.openxmlformats.org/presentationml/2006/main" showMasterSp="0" preserve="1" userDrawn="1">
  <p:cSld name="5. Brushing/ image 3 columns">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3"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a:t>CorpoS (Body) 24 pt. (Mark-ups in Bold) </a:t>
            </a:r>
            <a:r>
              <a:rPr lang="en-GB" dirty="0"/>
              <a:t>// for Body text: Home // Paragraph// Increase List Level</a:t>
            </a:r>
          </a:p>
          <a:p>
            <a:pPr lvl="1"/>
            <a:r>
              <a:rPr lang="en-GB" dirty="0"/>
              <a:t>Second level (Body text)</a:t>
            </a:r>
          </a:p>
          <a:p>
            <a:pPr lvl="2"/>
            <a:r>
              <a:rPr lang="en-GB" dirty="0"/>
              <a:t>Third level</a:t>
            </a:r>
          </a:p>
          <a:p>
            <a:pPr lvl="3"/>
            <a:r>
              <a:rPr lang="en-GB" dirty="0"/>
              <a:t>Fourth level</a:t>
            </a:r>
          </a:p>
          <a:p>
            <a:pPr lvl="4"/>
            <a:r>
              <a:rPr lang="en-GB" dirty="0"/>
              <a:t>Fifth level</a:t>
            </a:r>
          </a:p>
          <a:p>
            <a:pPr lvl="5"/>
            <a:r>
              <a:rPr lang="en-GB" dirty="0"/>
              <a:t>Sixth level</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20010659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692.xml><?xml version="1.0" encoding="utf-8"?>
<p:sldLayout xmlns:a="http://schemas.openxmlformats.org/drawingml/2006/main" xmlns:r="http://schemas.openxmlformats.org/officeDocument/2006/relationships" xmlns:p="http://schemas.openxmlformats.org/presentationml/2006/main" showMasterSp="0" preserve="1" userDrawn="1">
  <p:cSld name="Full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33265317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693.xml><?xml version="1.0" encoding="utf-8"?>
<p:sldLayout xmlns:a="http://schemas.openxmlformats.org/drawingml/2006/main" xmlns:r="http://schemas.openxmlformats.org/officeDocument/2006/relationships" xmlns:p="http://schemas.openxmlformats.org/presentationml/2006/main" showMasterSp="0" preserve="1" userDrawn="1">
  <p:cSld name="Full image/ 2 columns">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605990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2" name="Picture Placeholder 3"/>
          <p:cNvSpPr>
            <a:spLocks noGrp="1"/>
          </p:cNvSpPr>
          <p:nvPr>
            <p:ph type="pic" sz="quarter" idx="14" hasCustomPrompt="1"/>
          </p:nvPr>
        </p:nvSpPr>
        <p:spPr bwMode="gray">
          <a:xfrm>
            <a:off x="6132096" y="0"/>
            <a:ext cx="605990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49405223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694.xml><?xml version="1.0" encoding="utf-8"?>
<p:sldLayout xmlns:a="http://schemas.openxmlformats.org/drawingml/2006/main" xmlns:r="http://schemas.openxmlformats.org/officeDocument/2006/relationships" xmlns:p="http://schemas.openxmlformats.org/presentationml/2006/main" showMasterSp="0" preserve="1" userDrawn="1">
  <p:cSld name="Full image/ 4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3279297"/>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2" name="Picture Placeholder 3"/>
          <p:cNvSpPr>
            <a:spLocks noGrp="1"/>
          </p:cNvSpPr>
          <p:nvPr>
            <p:ph type="pic" sz="quarter" idx="14" hasCustomPrompt="1"/>
          </p:nvPr>
        </p:nvSpPr>
        <p:spPr bwMode="gray">
          <a:xfrm>
            <a:off x="6132096" y="3279297"/>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1" name="Picture Placeholder 3"/>
          <p:cNvSpPr>
            <a:spLocks noGrp="1"/>
          </p:cNvSpPr>
          <p:nvPr>
            <p:ph type="pic" sz="quarter" idx="15" hasCustomPrompt="1"/>
          </p:nvPr>
        </p:nvSpPr>
        <p:spPr bwMode="gray">
          <a:xfrm>
            <a:off x="0" y="1"/>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3" name="Picture Placeholder 3"/>
          <p:cNvSpPr>
            <a:spLocks noGrp="1"/>
          </p:cNvSpPr>
          <p:nvPr>
            <p:ph type="pic" sz="quarter" idx="16" hasCustomPrompt="1"/>
          </p:nvPr>
        </p:nvSpPr>
        <p:spPr bwMode="gray">
          <a:xfrm>
            <a:off x="6132096" y="1"/>
            <a:ext cx="605990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78329200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695.xml><?xml version="1.0" encoding="utf-8"?>
<p:sldLayout xmlns:a="http://schemas.openxmlformats.org/drawingml/2006/main" xmlns:r="http://schemas.openxmlformats.org/officeDocument/2006/relationships" xmlns:p="http://schemas.openxmlformats.org/presentationml/2006/main" showMasterSp="0" preserve="1" userDrawn="1">
  <p:cSld name="Full image/ 3 column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6" name="Picture Placeholder 3"/>
          <p:cNvSpPr>
            <a:spLocks noGrp="1"/>
          </p:cNvSpPr>
          <p:nvPr>
            <p:ph type="pic" sz="quarter" idx="14" hasCustomPrompt="1"/>
          </p:nvPr>
        </p:nvSpPr>
        <p:spPr bwMode="gray">
          <a:xfrm>
            <a:off x="3913531" y="0"/>
            <a:ext cx="419992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70431061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696.xml><?xml version="1.0" encoding="utf-8"?>
<p:sldLayout xmlns:a="http://schemas.openxmlformats.org/drawingml/2006/main" xmlns:r="http://schemas.openxmlformats.org/officeDocument/2006/relationships" xmlns:p="http://schemas.openxmlformats.org/presentationml/2006/main" showMasterSp="0" preserve="1" userDrawn="1">
  <p:cSld name="Full image/ 6 image">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en-US">
                <a:solidFill>
                  <a:prstClr val="black"/>
                </a:solidFill>
              </a:rPr>
              <a:t>DFS Capital Market Day</a:t>
            </a:r>
            <a:endParaRPr lang="en-GB" dirty="0">
              <a:solidFill>
                <a:prstClr val="black"/>
              </a:solidFill>
            </a:endParaRP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3279297"/>
            <a:ext cx="3841337"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6" name="Picture Placeholder 3"/>
          <p:cNvSpPr>
            <a:spLocks noGrp="1"/>
          </p:cNvSpPr>
          <p:nvPr>
            <p:ph type="pic" sz="quarter" idx="14" hasCustomPrompt="1"/>
          </p:nvPr>
        </p:nvSpPr>
        <p:spPr bwMode="gray">
          <a:xfrm>
            <a:off x="3913531" y="3279297"/>
            <a:ext cx="419992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7" name="Picture Placeholder 3"/>
          <p:cNvSpPr>
            <a:spLocks noGrp="1"/>
          </p:cNvSpPr>
          <p:nvPr>
            <p:ph type="pic" sz="quarter" idx="15" hasCustomPrompt="1"/>
          </p:nvPr>
        </p:nvSpPr>
        <p:spPr bwMode="gray">
          <a:xfrm>
            <a:off x="8185649" y="3279297"/>
            <a:ext cx="4006350"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5" name="Picture Placeholder 3"/>
          <p:cNvSpPr>
            <a:spLocks noGrp="1"/>
          </p:cNvSpPr>
          <p:nvPr>
            <p:ph type="pic" sz="quarter" idx="16" hasCustomPrompt="1"/>
          </p:nvPr>
        </p:nvSpPr>
        <p:spPr bwMode="gray">
          <a:xfrm>
            <a:off x="0" y="1"/>
            <a:ext cx="3841337"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9" name="Picture Placeholder 3"/>
          <p:cNvSpPr>
            <a:spLocks noGrp="1"/>
          </p:cNvSpPr>
          <p:nvPr>
            <p:ph type="pic" sz="quarter" idx="17" hasCustomPrompt="1"/>
          </p:nvPr>
        </p:nvSpPr>
        <p:spPr bwMode="gray">
          <a:xfrm>
            <a:off x="8185650" y="1"/>
            <a:ext cx="4006350"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0" name="Picture Placeholder 3"/>
          <p:cNvSpPr>
            <a:spLocks noGrp="1"/>
          </p:cNvSpPr>
          <p:nvPr>
            <p:ph type="pic" sz="quarter" idx="18" hasCustomPrompt="1"/>
          </p:nvPr>
        </p:nvSpPr>
        <p:spPr bwMode="gray">
          <a:xfrm>
            <a:off x="3913531" y="1"/>
            <a:ext cx="4199925" cy="3207314"/>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61033216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Text/ 3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02761843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Text/ 3 images/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34267148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Tree>
    <p:extLst>
      <p:ext uri="{BB962C8B-B14F-4D97-AF65-F5344CB8AC3E}">
        <p14:creationId xmlns:p14="http://schemas.microsoft.com/office/powerpoint/2010/main" val="4251858587"/>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Image-chart 1/4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a:extLst>
              <a:ext uri="{28A0092B-C50C-407E-A947-70E740481C1C}">
                <a14:useLocalDpi xmlns:a14="http://schemas.microsoft.com/office/drawing/2010/main" val="0"/>
              </a:ext>
            </a:extLst>
          </a:blip>
          <a:srcRect b="5375"/>
          <a:stretch/>
        </p:blipFill>
        <p:spPr bwMode="white">
          <a:xfrm>
            <a:off x="0" y="-1"/>
            <a:ext cx="12190451" cy="6487839"/>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3" name="Title 2"/>
          <p:cNvSpPr>
            <a:spLocks noGrp="1"/>
          </p:cNvSpPr>
          <p:nvPr>
            <p:ph type="title" hasCustomPrompt="1"/>
          </p:nvPr>
        </p:nvSpPr>
        <p:spPr>
          <a:xfrm>
            <a:off x="630116" y="288857"/>
            <a:ext cx="10930662" cy="1151733"/>
          </a:xfrm>
        </p:spPr>
        <p:txBody>
          <a:bodyPr/>
          <a:lstStyle>
            <a:lvl1pPr>
              <a:defRPr baseline="0">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78214875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daimler blanco">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1360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75"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MS footprint | </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7" name="Daimler AG (Wortmarke)"/>
          <p:cNvSpPr>
            <a:spLocks noChangeArrowheads="1"/>
          </p:cNvSpPr>
          <p:nvPr userDrawn="1"/>
        </p:nvSpPr>
        <p:spPr bwMode="auto">
          <a:xfrm>
            <a:off x="629674" y="6564883"/>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7490">
              <a:defRPr/>
            </a:pPr>
            <a:r>
              <a:rPr lang="de-DE" sz="1199" dirty="0">
                <a:solidFill>
                  <a:prstClr val="black"/>
                </a:solidFill>
                <a:cs typeface="Daimler CS"/>
              </a:rPr>
              <a:t>Daimler Mobility Services GmbH</a:t>
            </a:r>
          </a:p>
        </p:txBody>
      </p:sp>
      <p:cxnSp>
        <p:nvCxnSpPr>
          <p:cNvPr id="16" name="Footerline"/>
          <p:cNvCxnSpPr/>
          <p:nvPr userDrawn="1"/>
        </p:nvCxnSpPr>
        <p:spPr bwMode="auto">
          <a:xfrm>
            <a:off x="629674"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Tree>
    <p:extLst>
      <p:ext uri="{BB962C8B-B14F-4D97-AF65-F5344CB8AC3E}">
        <p14:creationId xmlns:p14="http://schemas.microsoft.com/office/powerpoint/2010/main" val="406797595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66">
          <p15:clr>
            <a:srgbClr val="FBAE40"/>
          </p15:clr>
        </p15:guide>
        <p15:guide id="3" orient="horz" pos="754">
          <p15:clr>
            <a:srgbClr val="FBAE40"/>
          </p15:clr>
        </p15:guide>
        <p15:guide id="4" orient="horz" pos="845">
          <p15:clr>
            <a:srgbClr val="FBAE40"/>
          </p15:clr>
        </p15:guide>
      </p15:sldGuideLst>
    </p:ext>
  </p:extLst>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Tablet/ 4 colum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7"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Tree>
    <p:extLst>
      <p:ext uri="{BB962C8B-B14F-4D97-AF65-F5344CB8AC3E}">
        <p14:creationId xmlns:p14="http://schemas.microsoft.com/office/powerpoint/2010/main" val="241474304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701.xml><?xml version="1.0" encoding="utf-8"?>
<p:sldLayout xmlns:a="http://schemas.openxmlformats.org/drawingml/2006/main" xmlns:r="http://schemas.openxmlformats.org/officeDocument/2006/relationships" xmlns:p="http://schemas.openxmlformats.org/presentationml/2006/main" showMasterSp="0" preserve="1"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324" y="288858"/>
            <a:ext cx="10932454" cy="1148857"/>
          </a:xfrm>
        </p:spPr>
        <p:txBody>
          <a:bodyPr/>
          <a:lstStyle/>
          <a:p>
            <a:r>
              <a:rPr lang="en-GB" noProof="0" dirty="0"/>
              <a:t>Headline in CorpoS (Body) 35 pt.</a:t>
            </a:r>
            <a:br>
              <a:rPr lang="en-GB" noProof="0" dirty="0"/>
            </a:br>
            <a:r>
              <a:rPr lang="en-GB" noProof="0" dirty="0"/>
              <a:t>in two lines</a:t>
            </a:r>
            <a:endParaRPr lang="en-GB" dirty="0"/>
          </a:p>
        </p:txBody>
      </p:sp>
    </p:spTree>
    <p:extLst>
      <p:ext uri="{BB962C8B-B14F-4D97-AF65-F5344CB8AC3E}">
        <p14:creationId xmlns:p14="http://schemas.microsoft.com/office/powerpoint/2010/main" val="121378170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Blank/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US">
                <a:solidFill>
                  <a:prstClr val="black"/>
                </a:solidFill>
              </a:rPr>
              <a:t>DFS Capital Market Day</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660620557"/>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703.xml><?xml version="1.0" encoding="utf-8"?>
<p:sldLayout xmlns:a="http://schemas.openxmlformats.org/drawingml/2006/main" xmlns:r="http://schemas.openxmlformats.org/officeDocument/2006/relationships" xmlns:p="http://schemas.openxmlformats.org/presentationml/2006/main" showMasterSp="0" userDrawn="1">
  <p:cSld name="3. Bürstung/ Bild 2-spaltig">
    <p:bg>
      <p:bgRef idx="1001">
        <a:schemeClr val="bg1"/>
      </p:bgRef>
    </p:bg>
    <p:spTree>
      <p:nvGrpSpPr>
        <p:cNvPr id="1" name=""/>
        <p:cNvGrpSpPr/>
        <p:nvPr/>
      </p:nvGrpSpPr>
      <p:grpSpPr>
        <a:xfrm>
          <a:off x="0" y="0"/>
          <a:ext cx="0" cy="0"/>
          <a:chOff x="0" y="0"/>
          <a:chExt cx="0" cy="0"/>
        </a:xfrm>
      </p:grpSpPr>
      <p:grpSp>
        <p:nvGrpSpPr>
          <p:cNvPr id="24" name="Regieanweisungen"/>
          <p:cNvGrpSpPr/>
          <p:nvPr userDrawn="1"/>
        </p:nvGrpSpPr>
        <p:grpSpPr>
          <a:xfrm>
            <a:off x="-2086913" y="-467892"/>
            <a:ext cx="13647691" cy="7792196"/>
            <a:chOff x="-2088000" y="-468000"/>
            <a:chExt cx="13654799" cy="7794000"/>
          </a:xfrm>
        </p:grpSpPr>
        <p:sp>
          <p:nvSpPr>
            <p:cNvPr id="2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9" name="Listenebenen"/>
              <p:cNvGrpSpPr/>
              <p:nvPr userDrawn="1"/>
            </p:nvGrpSpPr>
            <p:grpSpPr>
              <a:xfrm>
                <a:off x="-1692000" y="2232000"/>
                <a:ext cx="1548000" cy="792000"/>
                <a:chOff x="-1692000" y="2160000"/>
                <a:chExt cx="1548000" cy="792000"/>
              </a:xfrm>
            </p:grpSpPr>
            <p:sp>
              <p:nvSpPr>
                <p:cNvPr id="30"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1"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2"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3"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5"/>
          </p:nvPr>
        </p:nvSpPr>
        <p:spPr/>
        <p:txBody>
          <a:bodyPr/>
          <a:lstStyle/>
          <a:p>
            <a:r>
              <a:rPr lang="en-US">
                <a:solidFill>
                  <a:prstClr val="black"/>
                </a:solidFill>
              </a:rPr>
              <a:t>DFS Capital Market Day</a:t>
            </a:r>
            <a:endParaRPr lang="de-DE" dirty="0">
              <a:solidFill>
                <a:prstClr val="black"/>
              </a:solidFill>
            </a:endParaRPr>
          </a:p>
        </p:txBody>
      </p:sp>
      <p:sp>
        <p:nvSpPr>
          <p:cNvPr id="4" name="Foliennummernplatzhalter 3"/>
          <p:cNvSpPr>
            <a:spLocks noGrp="1"/>
          </p:cNvSpPr>
          <p:nvPr>
            <p:ph type="sldNum" sz="quarter" idx="16"/>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15376839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704.xml><?xml version="1.0" encoding="utf-8"?>
<p:sldLayout xmlns:a="http://schemas.openxmlformats.org/drawingml/2006/main" xmlns:r="http://schemas.openxmlformats.org/officeDocument/2006/relationships" xmlns:p="http://schemas.openxmlformats.org/presentationml/2006/main" showMasterSp="0" userDrawn="1">
  <p:cSld name="4. Bürstung/ Bild 2-spaltig">
    <p:bg>
      <p:bgRef idx="1001">
        <a:schemeClr val="bg1"/>
      </p:bgRef>
    </p:bg>
    <p:spTree>
      <p:nvGrpSpPr>
        <p:cNvPr id="1" name=""/>
        <p:cNvGrpSpPr/>
        <p:nvPr/>
      </p:nvGrpSpPr>
      <p:grpSpPr>
        <a:xfrm>
          <a:off x="0" y="0"/>
          <a:ext cx="0" cy="0"/>
          <a:chOff x="0" y="0"/>
          <a:chExt cx="0" cy="0"/>
        </a:xfrm>
      </p:grpSpPr>
      <p:grpSp>
        <p:nvGrpSpPr>
          <p:cNvPr id="27" name="Regieanweisungen"/>
          <p:cNvGrpSpPr/>
          <p:nvPr userDrawn="1"/>
        </p:nvGrpSpPr>
        <p:grpSpPr>
          <a:xfrm>
            <a:off x="-2086913" y="-467892"/>
            <a:ext cx="13647691" cy="7792196"/>
            <a:chOff x="-2088000" y="-468000"/>
            <a:chExt cx="13654799" cy="7794000"/>
          </a:xfrm>
        </p:grpSpPr>
        <p:sp>
          <p:nvSpPr>
            <p:cNvPr id="28"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9"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0"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Text oder Inhalt einfügen in </a:t>
            </a:r>
            <a:r>
              <a:rPr lang="de-DE" noProof="0" dirty="0"/>
              <a:t>CorpoS (Body) 24 pt. (Hervorhebungen in fett) </a:t>
            </a:r>
            <a:r>
              <a:rPr lang="de-DE" dirty="0"/>
              <a:t>// für Zusammenfassung oder kurzes Highlight: Start // Absatz // Listenebene erhöhen</a:t>
            </a:r>
          </a:p>
          <a:p>
            <a:pPr lvl="1"/>
            <a:r>
              <a:rPr lang="de-DE" dirty="0"/>
              <a:t>Zweite Ebene</a:t>
            </a:r>
          </a:p>
        </p:txBody>
      </p:sp>
      <p:sp>
        <p:nvSpPr>
          <p:cNvPr id="2" name="Fußzeilenplatzhalter 1"/>
          <p:cNvSpPr>
            <a:spLocks noGrp="1"/>
          </p:cNvSpPr>
          <p:nvPr>
            <p:ph type="ftr" sz="quarter" idx="16"/>
          </p:nvPr>
        </p:nvSpPr>
        <p:spPr/>
        <p:txBody>
          <a:bodyPr/>
          <a:lstStyle/>
          <a:p>
            <a:r>
              <a:rPr lang="en-US">
                <a:solidFill>
                  <a:prstClr val="black"/>
                </a:solidFill>
              </a:rPr>
              <a:t>DFS Capital Market Day</a:t>
            </a:r>
            <a:endParaRPr lang="de-DE" dirty="0">
              <a:solidFill>
                <a:prstClr val="black"/>
              </a:solidFill>
            </a:endParaRPr>
          </a:p>
        </p:txBody>
      </p:sp>
      <p:sp>
        <p:nvSpPr>
          <p:cNvPr id="5" name="Foliennummernplatzhalter 4"/>
          <p:cNvSpPr>
            <a:spLocks noGrp="1"/>
          </p:cNvSpPr>
          <p:nvPr>
            <p:ph type="sldNum" sz="quarter" idx="17"/>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32203506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705.xml><?xml version="1.0" encoding="utf-8"?>
<p:sldLayout xmlns:a="http://schemas.openxmlformats.org/drawingml/2006/main" xmlns:r="http://schemas.openxmlformats.org/officeDocument/2006/relationships" xmlns:p="http://schemas.openxmlformats.org/presentationml/2006/main" showMasterSp="0" userDrawn="1">
  <p:cSld name="Text/ Bild/ Ü 1 Zeile ">
    <p:spTree>
      <p:nvGrpSpPr>
        <p:cNvPr id="1" name=""/>
        <p:cNvGrpSpPr/>
        <p:nvPr/>
      </p:nvGrpSpPr>
      <p:grpSpPr>
        <a:xfrm>
          <a:off x="0" y="0"/>
          <a:ext cx="0" cy="0"/>
          <a:chOff x="0" y="0"/>
          <a:chExt cx="0" cy="0"/>
        </a:xfrm>
      </p:grpSpPr>
      <p:grpSp>
        <p:nvGrpSpPr>
          <p:cNvPr id="17" name="Regieanweisungen"/>
          <p:cNvGrpSpPr/>
          <p:nvPr userDrawn="1"/>
        </p:nvGrpSpPr>
        <p:grpSpPr>
          <a:xfrm>
            <a:off x="-2086913" y="-467892"/>
            <a:ext cx="13647691" cy="7792196"/>
            <a:chOff x="-2088000" y="-468000"/>
            <a:chExt cx="13654799" cy="7794000"/>
          </a:xfrm>
        </p:grpSpPr>
        <p:sp>
          <p:nvSpPr>
            <p:cNvPr id="2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3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1" name="Hinweise links"/>
            <p:cNvGrpSpPr/>
            <p:nvPr userDrawn="1"/>
          </p:nvGrpSpPr>
          <p:grpSpPr>
            <a:xfrm>
              <a:off x="-2088000" y="0"/>
              <a:ext cx="1980000" cy="3528000"/>
              <a:chOff x="-2088000" y="0"/>
              <a:chExt cx="1980000" cy="3528000"/>
            </a:xfrm>
          </p:grpSpPr>
          <p:sp>
            <p:nvSpPr>
              <p:cNvPr id="3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3" name="Listenebenen"/>
              <p:cNvGrpSpPr/>
              <p:nvPr userDrawn="1"/>
            </p:nvGrpSpPr>
            <p:grpSpPr>
              <a:xfrm>
                <a:off x="-1692000" y="2232000"/>
                <a:ext cx="1548000" cy="792000"/>
                <a:chOff x="-1692000" y="2160000"/>
                <a:chExt cx="1548000" cy="792000"/>
              </a:xfrm>
            </p:grpSpPr>
            <p:sp>
              <p:nvSpPr>
                <p:cNvPr id="3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35"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36"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7"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 name="Title 1"/>
          <p:cNvSpPr>
            <a:spLocks noGrp="1"/>
          </p:cNvSpPr>
          <p:nvPr>
            <p:ph type="title" hasCustomPrompt="1"/>
          </p:nvPr>
        </p:nvSpPr>
        <p:spPr>
          <a:xfrm>
            <a:off x="629671" y="285982"/>
            <a:ext cx="10931106" cy="683842"/>
          </a:xfrm>
        </p:spPr>
        <p:txBody>
          <a:bodyPr/>
          <a:lstStyle/>
          <a:p>
            <a:r>
              <a:rPr lang="de-DE" noProof="0" dirty="0"/>
              <a:t>Headline in CorpoS (Textkörper) 35 pt.</a:t>
            </a:r>
            <a:endParaRPr lang="de-DE" dirty="0"/>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5" name="Fußzeilenplatzhalter 4"/>
          <p:cNvSpPr>
            <a:spLocks noGrp="1"/>
          </p:cNvSpPr>
          <p:nvPr>
            <p:ph type="ftr" sz="quarter" idx="14"/>
          </p:nvPr>
        </p:nvSpPr>
        <p:spPr/>
        <p:txBody>
          <a:bodyPr/>
          <a:lstStyle/>
          <a:p>
            <a:r>
              <a:rPr lang="en-US">
                <a:solidFill>
                  <a:prstClr val="black"/>
                </a:solidFill>
              </a:rPr>
              <a:t>DFS Capital Market Day</a:t>
            </a:r>
            <a:endParaRPr lang="de-DE" dirty="0">
              <a:solidFill>
                <a:prstClr val="black"/>
              </a:solidFill>
            </a:endParaRPr>
          </a:p>
        </p:txBody>
      </p:sp>
      <p:sp>
        <p:nvSpPr>
          <p:cNvPr id="6" name="Foliennummernplatzhalter 5"/>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9"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0306700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706.xml><?xml version="1.0" encoding="utf-8"?>
<p:sldLayout xmlns:a="http://schemas.openxmlformats.org/drawingml/2006/main" xmlns:r="http://schemas.openxmlformats.org/officeDocument/2006/relationships" xmlns:p="http://schemas.openxmlformats.org/presentationml/2006/main" showMasterSp="0" userDrawn="1">
  <p:cSld name="Vollbild">
    <p:bg>
      <p:bgRef idx="1001">
        <a:schemeClr val="bg1"/>
      </p:bgRef>
    </p:bg>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defTabSz="913814">
                  <a:defRPr/>
                </a:pPr>
                <a:r>
                  <a:rPr lang="de-DE" sz="1099" dirty="0">
                    <a:solidFill>
                      <a:srgbClr val="444444"/>
                    </a:solidFill>
                  </a:rPr>
                  <a:t>Start // Folien // Layout</a:t>
                </a:r>
              </a:p>
              <a:p>
                <a:pPr algn="r" defTabSz="913814">
                  <a:defRPr/>
                </a:pPr>
                <a:endParaRPr lang="de-DE" sz="1099" dirty="0">
                  <a:solidFill>
                    <a:srgbClr val="444444"/>
                  </a:solidFill>
                </a:endParaRPr>
              </a:p>
              <a:p>
                <a:pPr algn="r" defTabSz="913814">
                  <a:defRPr/>
                </a:pPr>
                <a:r>
                  <a:rPr lang="de-DE" sz="1099" dirty="0">
                    <a:solidFill>
                      <a:srgbClr val="444444"/>
                    </a:solidFill>
                  </a:rPr>
                  <a:t>Wechsel der Textebene</a:t>
                </a:r>
              </a:p>
              <a:p>
                <a:pPr algn="r" defTabSz="913814">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erhöhen</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de-DE" sz="999" dirty="0">
                      <a:solidFill>
                        <a:srgbClr val="444444"/>
                      </a:solidFill>
                    </a:rPr>
                    <a:t>Listenebene verringern</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Bild einfügen</a:t>
            </a:r>
          </a:p>
        </p:txBody>
      </p:sp>
      <p:sp>
        <p:nvSpPr>
          <p:cNvPr id="2" name="Fußzeilenplatzhalter 1"/>
          <p:cNvSpPr>
            <a:spLocks noGrp="1"/>
          </p:cNvSpPr>
          <p:nvPr>
            <p:ph type="ftr" sz="quarter" idx="14"/>
          </p:nvPr>
        </p:nvSpPr>
        <p:spPr/>
        <p:txBody>
          <a:bodyPr/>
          <a:lstStyle/>
          <a:p>
            <a:r>
              <a:rPr lang="de-DE">
                <a:solidFill>
                  <a:prstClr val="black"/>
                </a:solidFill>
              </a:rPr>
              <a:t>DFS Capital Market Day</a:t>
            </a:r>
            <a:endParaRPr lang="de-DE" dirty="0">
              <a:solidFill>
                <a:prstClr val="black"/>
              </a:solidFill>
            </a:endParaRPr>
          </a:p>
        </p:txBody>
      </p:sp>
      <p:sp>
        <p:nvSpPr>
          <p:cNvPr id="3" name="Foliennummernplatzhalter 2"/>
          <p:cNvSpPr>
            <a:spLocks noGrp="1"/>
          </p:cNvSpPr>
          <p:nvPr>
            <p:ph type="sldNum" sz="quarter" idx="15"/>
          </p:nvPr>
        </p:nvSpPr>
        <p:spPr/>
        <p:txBody>
          <a:bodyPr/>
          <a:lstStyle/>
          <a:p>
            <a:r>
              <a:rPr lang="de-DE" dirty="0">
                <a:solidFill>
                  <a:prstClr val="black"/>
                </a:solidFill>
              </a:rPr>
              <a:t>Seite </a:t>
            </a:r>
            <a:fld id="{52531704-8F80-415D-BD2B-6B9991AE822F}" type="slidenum">
              <a:rPr lang="de-DE" smtClean="0">
                <a:solidFill>
                  <a:prstClr val="black"/>
                </a:solidFill>
              </a:rPr>
              <a:pPr/>
              <a:t>‹#›</a:t>
            </a:fld>
            <a:endParaRPr lang="de-DE" dirty="0">
              <a:solidFill>
                <a:prstClr val="black"/>
              </a:solidFill>
            </a:endParaRPr>
          </a:p>
        </p:txBody>
      </p:sp>
      <p:sp>
        <p:nvSpPr>
          <p:cNvPr id="1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406218566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0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771939" y="6224373"/>
            <a:ext cx="424638" cy="329184"/>
          </a:xfrm>
        </p:spPr>
        <p:txBody>
          <a:bodyPr/>
          <a:lstStyle/>
          <a:p>
            <a:fld id="{96D389FB-5F15-6747-8C7C-A5F122A35A60}" type="slidenum">
              <a:rPr lang="en-US" smtClean="0">
                <a:solidFill>
                  <a:prstClr val="black"/>
                </a:solidFill>
              </a:rPr>
              <a:pPr/>
              <a:t>‹#›</a:t>
            </a:fld>
            <a:endParaRPr lang="en-US">
              <a:solidFill>
                <a:prstClr val="black"/>
              </a:solidFill>
            </a:endParaRPr>
          </a:p>
        </p:txBody>
      </p:sp>
      <p:sp>
        <p:nvSpPr>
          <p:cNvPr id="4" name="Title 3"/>
          <p:cNvSpPr>
            <a:spLocks noGrp="1"/>
          </p:cNvSpPr>
          <p:nvPr>
            <p:ph type="title"/>
          </p:nvPr>
        </p:nvSpPr>
        <p:spPr>
          <a:xfrm>
            <a:off x="838201" y="607274"/>
            <a:ext cx="10515600" cy="523220"/>
          </a:xfrm>
          <a:prstGeom prst="rect">
            <a:avLst/>
          </a:prstGeom>
        </p:spPr>
        <p:txBody>
          <a:bodyPr/>
          <a:lstStyle>
            <a:lvl1pPr algn="ctr">
              <a:defRPr sz="2800" b="0">
                <a:solidFill>
                  <a:srgbClr val="3F98FF"/>
                </a:solidFill>
                <a:latin typeface="Franklin Gothic Book" panose="020B0503020102020204" pitchFamily="34" charset="0"/>
              </a:defRPr>
            </a:lvl1pPr>
          </a:lstStyle>
          <a:p>
            <a:r>
              <a:rPr lang="en-US" dirty="0"/>
              <a:t>Click to edit Master title style</a:t>
            </a:r>
          </a:p>
        </p:txBody>
      </p:sp>
      <p:sp>
        <p:nvSpPr>
          <p:cNvPr id="8" name="Text Placeholder 7"/>
          <p:cNvSpPr>
            <a:spLocks noGrp="1"/>
          </p:cNvSpPr>
          <p:nvPr>
            <p:ph type="body" sz="quarter" idx="13"/>
          </p:nvPr>
        </p:nvSpPr>
        <p:spPr>
          <a:xfrm>
            <a:off x="533401" y="1854200"/>
            <a:ext cx="11070835" cy="4095750"/>
          </a:xfrm>
          <a:prstGeom prst="rect">
            <a:avLst/>
          </a:prstGeom>
        </p:spPr>
        <p:txBody>
          <a:bodyPr/>
          <a:lstStyle>
            <a:lvl1pPr>
              <a:defRPr sz="2399" b="1">
                <a:solidFill>
                  <a:schemeClr val="bg1">
                    <a:lumMod val="50000"/>
                  </a:schemeClr>
                </a:solidFill>
              </a:defRPr>
            </a:lvl1pPr>
            <a:lvl2pPr>
              <a:defRPr sz="1999">
                <a:solidFill>
                  <a:schemeClr val="bg1">
                    <a:lumMod val="50000"/>
                  </a:schemeClr>
                </a:solidFill>
              </a:defRPr>
            </a:lvl2pPr>
            <a:lvl3pPr>
              <a:defRPr sz="1999">
                <a:solidFill>
                  <a:schemeClr val="bg1">
                    <a:lumMod val="50000"/>
                  </a:schemeClr>
                </a:solidFill>
              </a:defRPr>
            </a:lvl3pPr>
            <a:lvl4pPr>
              <a:defRPr sz="1999">
                <a:solidFill>
                  <a:schemeClr val="bg1">
                    <a:lumMod val="50000"/>
                  </a:schemeClr>
                </a:solidFill>
              </a:defRPr>
            </a:lvl4pPr>
            <a:lvl5pPr>
              <a:defRPr sz="1999">
                <a:solidFill>
                  <a:schemeClr val="bg1">
                    <a:lumMod val="5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4"/>
          <p:cNvSpPr>
            <a:spLocks noGrp="1"/>
          </p:cNvSpPr>
          <p:nvPr>
            <p:ph type="body" sz="quarter" idx="14" hasCustomPrompt="1"/>
          </p:nvPr>
        </p:nvSpPr>
        <p:spPr>
          <a:xfrm>
            <a:off x="1896488" y="1215031"/>
            <a:ext cx="8460827" cy="400110"/>
          </a:xfrm>
          <a:prstGeom prst="rect">
            <a:avLst/>
          </a:prstGeom>
        </p:spPr>
        <p:txBody>
          <a:bodyPr/>
          <a:lstStyle>
            <a:lvl1pPr marL="0" indent="0" algn="ctr">
              <a:buNone/>
              <a:defRPr sz="1999" baseline="0">
                <a:solidFill>
                  <a:schemeClr val="bg1">
                    <a:lumMod val="50000"/>
                  </a:schemeClr>
                </a:solidFill>
              </a:defRPr>
            </a:lvl1pPr>
          </a:lstStyle>
          <a:p>
            <a:pPr algn="ctr"/>
            <a:r>
              <a:rPr lang="en-US" sz="1999" dirty="0">
                <a:solidFill>
                  <a:schemeClr val="tx1">
                    <a:lumMod val="50000"/>
                    <a:lumOff val="50000"/>
                  </a:schemeClr>
                </a:solidFill>
                <a:latin typeface="Calibri" charset="0"/>
                <a:ea typeface="Calibri" charset="0"/>
                <a:cs typeface="Calibri" charset="0"/>
              </a:rPr>
              <a:t>Click to edit Master subtitle style</a:t>
            </a:r>
          </a:p>
        </p:txBody>
      </p:sp>
    </p:spTree>
    <p:extLst>
      <p:ext uri="{BB962C8B-B14F-4D97-AF65-F5344CB8AC3E}">
        <p14:creationId xmlns:p14="http://schemas.microsoft.com/office/powerpoint/2010/main" val="2528848351"/>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userDrawn="1">
  <p:cSld name="Headline two line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US">
                <a:solidFill>
                  <a:prstClr val="black"/>
                </a:solidFill>
              </a:rPr>
              <a:t>CAReer - Getting Started | DFS Global Strategy | 16.11.2016 |</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10" y="1504602"/>
            <a:ext cx="10930593" cy="4983236"/>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91971009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709.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de-DE" noProof="0" dirty="0" smtClean="0"/>
              <a:t>Headline für Agenda in </a:t>
            </a:r>
            <a:r>
              <a:rPr lang="de-DE" noProof="0" dirty="0" err="1" smtClean="0"/>
              <a:t>CorpoS</a:t>
            </a:r>
            <a:r>
              <a:rPr lang="de-DE" noProof="0" dirty="0" smtClean="0"/>
              <a:t> (Textkörper) 35 pt. </a:t>
            </a:r>
            <a:br>
              <a:rPr lang="de-DE" noProof="0" dirty="0" smtClean="0"/>
            </a:br>
            <a:r>
              <a:rPr lang="de-DE" noProof="0" dirty="0" smtClean="0"/>
              <a:t>in ein oder zwei Zeilen</a:t>
            </a:r>
            <a:endParaRPr lang="de-DE" dirty="0"/>
          </a:p>
        </p:txBody>
      </p:sp>
      <p:sp>
        <p:nvSpPr>
          <p:cNvPr id="6" name="Text Placeholder 5"/>
          <p:cNvSpPr>
            <a:spLocks noGrp="1"/>
          </p:cNvSpPr>
          <p:nvPr>
            <p:ph type="body" sz="quarter" idx="12" hasCustomPrompt="1"/>
          </p:nvPr>
        </p:nvSpPr>
        <p:spPr>
          <a:xfrm>
            <a:off x="628325" y="1504603"/>
            <a:ext cx="10932180" cy="4875671"/>
          </a:xfrm>
        </p:spPr>
        <p:txBody>
          <a:bodyPr/>
          <a:lstStyle>
            <a:lvl1pPr marL="359691" indent="-359691">
              <a:buSzPct val="100000"/>
              <a:buFont typeface="+mj-lt"/>
              <a:buAutoNum type="arabicPeriod"/>
              <a:defRPr baseline="0">
                <a:solidFill>
                  <a:schemeClr val="tx1"/>
                </a:solidFill>
              </a:defRPr>
            </a:lvl1pPr>
            <a:lvl2pPr marL="359691" indent="-359691">
              <a:buFont typeface="+mj-lt"/>
              <a:buAutoNum type="arabicPeriod"/>
              <a:defRPr>
                <a:solidFill>
                  <a:schemeClr val="tx1"/>
                </a:solidFill>
              </a:defRPr>
            </a:lvl2pPr>
            <a:lvl3pPr marL="359691" indent="-359691">
              <a:buFont typeface="+mj-lt"/>
              <a:buAutoNum type="arabicPeriod"/>
              <a:defRPr>
                <a:solidFill>
                  <a:schemeClr val="tx1"/>
                </a:solidFill>
              </a:defRPr>
            </a:lvl3pPr>
            <a:lvl4pPr marL="359691" indent="-359691">
              <a:buFont typeface="+mj-lt"/>
              <a:buAutoNum type="arabicPeriod"/>
              <a:defRPr>
                <a:solidFill>
                  <a:schemeClr val="tx1"/>
                </a:solidFill>
              </a:defRPr>
            </a:lvl4pPr>
            <a:lvl5pPr marL="359691" indent="-359691">
              <a:buFont typeface="+mj-lt"/>
              <a:buAutoNum type="arabicPeriod"/>
              <a:defRPr>
                <a:solidFill>
                  <a:schemeClr val="tx1"/>
                </a:solidFill>
              </a:defRPr>
            </a:lvl5pPr>
            <a:lvl6pPr marL="359691" indent="-359691">
              <a:buFont typeface="+mj-lt"/>
              <a:buAutoNum type="arabicPeriod"/>
              <a:defRPr>
                <a:solidFill>
                  <a:schemeClr val="tx1"/>
                </a:solidFill>
              </a:defRPr>
            </a:lvl6pPr>
            <a:lvl7pPr marL="359691" indent="-359691">
              <a:buFont typeface="+mj-lt"/>
              <a:buAutoNum type="arabicPeriod"/>
              <a:defRPr>
                <a:solidFill>
                  <a:schemeClr val="tx1"/>
                </a:solidFill>
              </a:defRPr>
            </a:lvl7pPr>
            <a:lvl8pPr marL="359691" indent="-359691">
              <a:buFont typeface="+mj-lt"/>
              <a:buAutoNum type="arabicPeriod"/>
              <a:defRPr>
                <a:solidFill>
                  <a:schemeClr val="tx1"/>
                </a:solidFill>
              </a:defRPr>
            </a:lvl8pPr>
            <a:lvl9pPr marL="359691" indent="-359691">
              <a:buFont typeface="+mj-lt"/>
              <a:buAutoNum type="arabicPeriod"/>
              <a:defRPr>
                <a:solidFill>
                  <a:schemeClr val="tx1"/>
                </a:solidFill>
              </a:defRPr>
            </a:lvl9pPr>
          </a:lstStyle>
          <a:p>
            <a:pPr lvl="0"/>
            <a:r>
              <a:rPr lang="de-DE" dirty="0" smtClean="0"/>
              <a:t>Agenda Punkt einfügen</a:t>
            </a:r>
          </a:p>
          <a:p>
            <a:pPr lvl="1"/>
            <a:r>
              <a:rPr lang="de-DE" dirty="0" smtClean="0"/>
              <a:t>Zweite Ebene</a:t>
            </a:r>
          </a:p>
          <a:p>
            <a:pPr lvl="2"/>
            <a:r>
              <a:rPr lang="de-DE" dirty="0" smtClean="0"/>
              <a:t>Dritte Ebene </a:t>
            </a:r>
          </a:p>
          <a:p>
            <a:pPr lvl="3"/>
            <a:r>
              <a:rPr lang="de-DE" dirty="0" smtClean="0"/>
              <a:t>Vierte Ebene </a:t>
            </a:r>
          </a:p>
          <a:p>
            <a:pPr lvl="4"/>
            <a:r>
              <a:rPr lang="de-DE" dirty="0" smtClean="0"/>
              <a:t>Fünfte Ebene </a:t>
            </a:r>
          </a:p>
          <a:p>
            <a:pPr lvl="5"/>
            <a:r>
              <a:rPr lang="de-DE" dirty="0" smtClean="0"/>
              <a:t>Sechste Ebene </a:t>
            </a:r>
          </a:p>
          <a:p>
            <a:pPr lvl="6"/>
            <a:r>
              <a:rPr lang="de-DE" dirty="0" smtClean="0"/>
              <a:t>Siebte Ebene </a:t>
            </a:r>
          </a:p>
          <a:p>
            <a:pPr lvl="7"/>
            <a:r>
              <a:rPr lang="de-DE" dirty="0" smtClean="0"/>
              <a:t>Achte Ebene </a:t>
            </a:r>
          </a:p>
          <a:p>
            <a:pPr lvl="8"/>
            <a:r>
              <a:rPr lang="de-DE" dirty="0" smtClean="0"/>
              <a:t>Neunte Ebene </a:t>
            </a:r>
          </a:p>
        </p:txBody>
      </p:sp>
      <p:sp>
        <p:nvSpPr>
          <p:cNvPr id="8" name="Footer Placeholder 10"/>
          <p:cNvSpPr>
            <a:spLocks noGrp="1"/>
          </p:cNvSpPr>
          <p:nvPr>
            <p:ph type="ftr" sz="quarter" idx="11"/>
          </p:nvPr>
        </p:nvSpPr>
        <p:spPr>
          <a:xfrm>
            <a:off x="2878501" y="6564881"/>
            <a:ext cx="8120971" cy="215949"/>
          </a:xfrm>
        </p:spPr>
        <p:txBody>
          <a:bodyPr/>
          <a:lstStyle/>
          <a:p>
            <a:r>
              <a:rPr lang="en-US" smtClean="0">
                <a:solidFill>
                  <a:prstClr val="black"/>
                </a:solidFill>
              </a:rPr>
              <a:t>BOM - EA 2 2016 &amp; OP 17-18 Overview / FS-CC / November 8, 2016 /</a:t>
            </a:r>
            <a:endParaRPr lang="en-GB" dirty="0" smtClean="0">
              <a:solidFill>
                <a:prstClr val="black"/>
              </a:solidFill>
            </a:endParaRPr>
          </a:p>
        </p:txBody>
      </p:sp>
      <p:sp>
        <p:nvSpPr>
          <p:cNvPr id="9" name="Slide Number Placeholder 11"/>
          <p:cNvSpPr>
            <a:spLocks noGrp="1"/>
          </p:cNvSpPr>
          <p:nvPr>
            <p:ph type="sldNum" sz="quarter" idx="13"/>
          </p:nvPr>
        </p:nvSpPr>
        <p:spPr>
          <a:xfrm>
            <a:off x="11036805" y="6564881"/>
            <a:ext cx="1155196" cy="215949"/>
          </a:xfrm>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4018722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daimler blanco">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1462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8" name="Foliennummernplatzhalter 3">
            <a:extLst>
              <a:ext uri="{FF2B5EF4-FFF2-40B4-BE49-F238E27FC236}">
                <a16:creationId xmlns:a16="http://schemas.microsoft.com/office/drawing/2014/main" id="{3E15A405-AB95-44E1-98C0-C8DC619077BB}"/>
              </a:ext>
            </a:extLst>
          </p:cNvPr>
          <p:cNvSpPr txBox="1">
            <a:spLocks/>
          </p:cNvSpPr>
          <p:nvPr userDrawn="1"/>
        </p:nvSpPr>
        <p:spPr>
          <a:xfrm>
            <a:off x="11442992" y="6506836"/>
            <a:ext cx="1155196" cy="215950"/>
          </a:xfrm>
          <a:prstGeom prst="rect">
            <a:avLst/>
          </a:prstGeom>
        </p:spPr>
        <p:txBody>
          <a:bodyPr vert="horz" lIns="0" tIns="0" rIns="0" bIns="0" rtlCol="0" anchor="t" anchorCtr="0"/>
          <a:lstStyle>
            <a:defPPr>
              <a:defRPr lang="de-DE"/>
            </a:defPPr>
            <a:lvl1pPr marL="0" indent="0" algn="l" defTabSz="1088959" rtl="0" eaLnBrk="1" latinLnBrk="0" hangingPunct="1">
              <a:spcBef>
                <a:spcPts val="0"/>
              </a:spcBef>
              <a:buFont typeface="Arial" panose="020B0604020202020204" pitchFamily="34" charset="0"/>
              <a:buNone/>
              <a:defRPr sz="1200" kern="1200">
                <a:solidFill>
                  <a:schemeClr val="tx1"/>
                </a:solidFill>
                <a:latin typeface="+mn-lt"/>
                <a:ea typeface="+mn-ea"/>
                <a:cs typeface="+mn-cs"/>
              </a:defRPr>
            </a:lvl1pPr>
            <a:lvl2pPr marL="0" indent="0" algn="l" defTabSz="1088959" rtl="0" eaLnBrk="1" latinLnBrk="0" hangingPunct="1">
              <a:spcBef>
                <a:spcPts val="0"/>
              </a:spcBef>
              <a:defRPr sz="1200" kern="1200">
                <a:solidFill>
                  <a:schemeClr val="tx1"/>
                </a:solidFill>
                <a:latin typeface="+mn-lt"/>
                <a:ea typeface="+mn-ea"/>
                <a:cs typeface="+mn-cs"/>
              </a:defRPr>
            </a:lvl2pPr>
            <a:lvl3pPr marL="0" indent="0" algn="l" defTabSz="1088959" rtl="0" eaLnBrk="1" latinLnBrk="0" hangingPunct="1">
              <a:spcBef>
                <a:spcPts val="0"/>
              </a:spcBef>
              <a:defRPr sz="1200" kern="1200">
                <a:solidFill>
                  <a:schemeClr val="tx1"/>
                </a:solidFill>
                <a:latin typeface="+mn-lt"/>
                <a:ea typeface="+mn-ea"/>
                <a:cs typeface="+mn-cs"/>
              </a:defRPr>
            </a:lvl3pPr>
            <a:lvl4pPr marL="0" indent="0" algn="l" defTabSz="1088959" rtl="0" eaLnBrk="1" latinLnBrk="0" hangingPunct="1">
              <a:spcBef>
                <a:spcPts val="0"/>
              </a:spcBef>
              <a:defRPr sz="1200" kern="1200">
                <a:solidFill>
                  <a:schemeClr val="tx1"/>
                </a:solidFill>
                <a:latin typeface="+mn-lt"/>
                <a:ea typeface="+mn-ea"/>
                <a:cs typeface="+mn-cs"/>
              </a:defRPr>
            </a:lvl4pPr>
            <a:lvl5pPr marL="0" indent="0" algn="l" defTabSz="1088959" rtl="0" eaLnBrk="1" latinLnBrk="0" hangingPunct="1">
              <a:spcBef>
                <a:spcPts val="0"/>
              </a:spcBef>
              <a:defRPr sz="1200" kern="1200">
                <a:solidFill>
                  <a:schemeClr val="tx1"/>
                </a:solidFill>
                <a:latin typeface="+mn-lt"/>
                <a:ea typeface="+mn-ea"/>
                <a:cs typeface="+mn-cs"/>
              </a:defRPr>
            </a:lvl5pPr>
            <a:lvl6pPr marL="0" indent="0" algn="l" defTabSz="1088959" rtl="0" eaLnBrk="1" latinLnBrk="0" hangingPunct="1">
              <a:spcBef>
                <a:spcPts val="0"/>
              </a:spcBef>
              <a:defRPr sz="1200" kern="1200">
                <a:solidFill>
                  <a:schemeClr val="tx1"/>
                </a:solidFill>
                <a:latin typeface="+mn-lt"/>
                <a:ea typeface="+mn-ea"/>
                <a:cs typeface="+mn-cs"/>
              </a:defRPr>
            </a:lvl6pPr>
            <a:lvl7pPr marL="0" indent="0" algn="l" defTabSz="1088959" rtl="0" eaLnBrk="1" latinLnBrk="0" hangingPunct="1">
              <a:spcBef>
                <a:spcPts val="0"/>
              </a:spcBef>
              <a:defRPr sz="1200" kern="1200">
                <a:solidFill>
                  <a:schemeClr val="tx1"/>
                </a:solidFill>
                <a:latin typeface="+mn-lt"/>
                <a:ea typeface="+mn-ea"/>
                <a:cs typeface="+mn-cs"/>
              </a:defRPr>
            </a:lvl7pPr>
            <a:lvl8pPr marL="0" indent="0" algn="l" defTabSz="1088959" rtl="0" eaLnBrk="1" latinLnBrk="0" hangingPunct="1">
              <a:spcBef>
                <a:spcPts val="0"/>
              </a:spcBef>
              <a:defRPr sz="1200" kern="1200">
                <a:solidFill>
                  <a:schemeClr val="tx1"/>
                </a:solidFill>
                <a:latin typeface="+mn-lt"/>
                <a:ea typeface="+mn-ea"/>
                <a:cs typeface="+mn-cs"/>
              </a:defRPr>
            </a:lvl8pPr>
            <a:lvl9pPr marL="0" indent="0" algn="l" defTabSz="1088959" rtl="0" eaLnBrk="1" latinLnBrk="0" hangingPunct="1">
              <a:spcBef>
                <a:spcPts val="0"/>
              </a:spcBef>
              <a:defRPr sz="1200" kern="1200">
                <a:solidFill>
                  <a:schemeClr val="tx1"/>
                </a:solidFill>
                <a:latin typeface="+mn-lt"/>
                <a:ea typeface="+mn-ea"/>
                <a:cs typeface="+mn-cs"/>
              </a:defRPr>
            </a:lvl9pPr>
          </a:lstStyle>
          <a:p>
            <a:r>
              <a:rPr lang="en-GB" sz="1199" b="1" dirty="0">
                <a:solidFill>
                  <a:prstClr val="black"/>
                </a:solidFill>
              </a:rPr>
              <a:t>PAGE </a:t>
            </a:r>
            <a:fld id="{52531704-8F80-415D-BD2B-6B9991AE822F}" type="slidenum">
              <a:rPr lang="en-GB" sz="1199" b="1" smtClean="0">
                <a:solidFill>
                  <a:prstClr val="black"/>
                </a:solidFill>
              </a:rPr>
              <a:pPr/>
              <a:t>‹#›</a:t>
            </a:fld>
            <a:endParaRPr lang="en-GB" sz="1199" b="1" dirty="0">
              <a:solidFill>
                <a:prstClr val="black"/>
              </a:solidFill>
            </a:endParaRPr>
          </a:p>
        </p:txBody>
      </p:sp>
    </p:spTree>
    <p:extLst>
      <p:ext uri="{BB962C8B-B14F-4D97-AF65-F5344CB8AC3E}">
        <p14:creationId xmlns:p14="http://schemas.microsoft.com/office/powerpoint/2010/main" val="71999713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66">
          <p15:clr>
            <a:srgbClr val="FBAE40"/>
          </p15:clr>
        </p15:guide>
        <p15:guide id="3" orient="horz" pos="754">
          <p15:clr>
            <a:srgbClr val="FBAE40"/>
          </p15:clr>
        </p15:guide>
        <p15:guide id="4" orient="horz" pos="845">
          <p15:clr>
            <a:srgbClr val="FBAE40"/>
          </p15:clr>
        </p15:guide>
      </p15:sldGuideLst>
    </p:ext>
  </p:extLst>
</p:sldLayout>
</file>

<file path=ppt/slideLayouts/slideLayout710.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smtClean="0"/>
              <a:t>Titelmasterformat durch Klicken bearbeiten</a:t>
            </a:r>
            <a:endParaRPr lang="de-DE"/>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fld id="{41A8264B-2899-4116-9631-3713DE4FA6C0}" type="datetimeFigureOut">
              <a:rPr lang="de-DE" smtClean="0">
                <a:solidFill>
                  <a:prstClr val="black">
                    <a:tint val="75000"/>
                  </a:prstClr>
                </a:solidFill>
              </a:rPr>
              <a:pPr/>
              <a:t>26.04.2019</a:t>
            </a:fld>
            <a:endParaRPr lang="de-DE">
              <a:solidFill>
                <a:prstClr val="black">
                  <a:tint val="75000"/>
                </a:prstClr>
              </a:solidFill>
            </a:endParaRPr>
          </a:p>
        </p:txBody>
      </p:sp>
      <p:sp>
        <p:nvSpPr>
          <p:cNvPr id="5" name="Fußzeilenplatzhalter 4"/>
          <p:cNvSpPr>
            <a:spLocks noGrp="1"/>
          </p:cNvSpPr>
          <p:nvPr>
            <p:ph type="ftr" sz="quarter" idx="11"/>
          </p:nvPr>
        </p:nvSpPr>
        <p:spPr/>
        <p:txBody>
          <a:bodyPr/>
          <a:lstStyle/>
          <a:p>
            <a:endParaRPr lang="de-DE">
              <a:solidFill>
                <a:prstClr val="black">
                  <a:tint val="75000"/>
                </a:prstClr>
              </a:solidFill>
            </a:endParaRPr>
          </a:p>
        </p:txBody>
      </p:sp>
      <p:sp>
        <p:nvSpPr>
          <p:cNvPr id="6" name="Foliennummernplatzhalter 5"/>
          <p:cNvSpPr>
            <a:spLocks noGrp="1"/>
          </p:cNvSpPr>
          <p:nvPr>
            <p:ph type="sldNum" sz="quarter" idx="12"/>
          </p:nvPr>
        </p:nvSpPr>
        <p:spPr/>
        <p:txBody>
          <a:bodyPr/>
          <a:lstStyle/>
          <a:p>
            <a:fld id="{723564CE-F141-46E7-B58B-773B81204D48}"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249446054"/>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41A8264B-2899-4116-9631-3713DE4FA6C0}" type="datetimeFigureOut">
              <a:rPr lang="de-DE" smtClean="0">
                <a:solidFill>
                  <a:prstClr val="black">
                    <a:tint val="75000"/>
                  </a:prstClr>
                </a:solidFill>
              </a:rPr>
              <a:pPr/>
              <a:t>26.04.2019</a:t>
            </a:fld>
            <a:endParaRPr lang="de-DE">
              <a:solidFill>
                <a:prstClr val="black">
                  <a:tint val="75000"/>
                </a:prstClr>
              </a:solidFill>
            </a:endParaRPr>
          </a:p>
        </p:txBody>
      </p:sp>
      <p:sp>
        <p:nvSpPr>
          <p:cNvPr id="5" name="Fußzeilenplatzhalter 4"/>
          <p:cNvSpPr>
            <a:spLocks noGrp="1"/>
          </p:cNvSpPr>
          <p:nvPr>
            <p:ph type="ftr" sz="quarter" idx="11"/>
          </p:nvPr>
        </p:nvSpPr>
        <p:spPr/>
        <p:txBody>
          <a:bodyPr/>
          <a:lstStyle/>
          <a:p>
            <a:endParaRPr lang="de-DE">
              <a:solidFill>
                <a:prstClr val="black">
                  <a:tint val="75000"/>
                </a:prstClr>
              </a:solidFill>
            </a:endParaRPr>
          </a:p>
        </p:txBody>
      </p:sp>
      <p:sp>
        <p:nvSpPr>
          <p:cNvPr id="6" name="Foliennummernplatzhalter 5"/>
          <p:cNvSpPr>
            <a:spLocks noGrp="1"/>
          </p:cNvSpPr>
          <p:nvPr>
            <p:ph type="sldNum" sz="quarter" idx="12"/>
          </p:nvPr>
        </p:nvSpPr>
        <p:spPr/>
        <p:txBody>
          <a:bodyPr/>
          <a:lstStyle/>
          <a:p>
            <a:fld id="{723564CE-F141-46E7-B58B-773B81204D48}"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129432719"/>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de-DE" smtClean="0"/>
              <a:t>Titelmasterformat durch Klicken bearbeiten</a:t>
            </a:r>
            <a:endParaRPr lang="de-DE"/>
          </a:p>
        </p:txBody>
      </p:sp>
      <p:sp>
        <p:nvSpPr>
          <p:cNvPr id="3" name="Textplatzhalt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smtClean="0"/>
              <a:t>Textmasterformat bearbeiten</a:t>
            </a:r>
          </a:p>
        </p:txBody>
      </p:sp>
      <p:sp>
        <p:nvSpPr>
          <p:cNvPr id="4" name="Datumsplatzhalter 3"/>
          <p:cNvSpPr>
            <a:spLocks noGrp="1"/>
          </p:cNvSpPr>
          <p:nvPr>
            <p:ph type="dt" sz="half" idx="10"/>
          </p:nvPr>
        </p:nvSpPr>
        <p:spPr/>
        <p:txBody>
          <a:bodyPr/>
          <a:lstStyle/>
          <a:p>
            <a:fld id="{41A8264B-2899-4116-9631-3713DE4FA6C0}" type="datetimeFigureOut">
              <a:rPr lang="de-DE" smtClean="0">
                <a:solidFill>
                  <a:prstClr val="black">
                    <a:tint val="75000"/>
                  </a:prstClr>
                </a:solidFill>
              </a:rPr>
              <a:pPr/>
              <a:t>26.04.2019</a:t>
            </a:fld>
            <a:endParaRPr lang="de-DE">
              <a:solidFill>
                <a:prstClr val="black">
                  <a:tint val="75000"/>
                </a:prstClr>
              </a:solidFill>
            </a:endParaRPr>
          </a:p>
        </p:txBody>
      </p:sp>
      <p:sp>
        <p:nvSpPr>
          <p:cNvPr id="5" name="Fußzeilenplatzhalter 4"/>
          <p:cNvSpPr>
            <a:spLocks noGrp="1"/>
          </p:cNvSpPr>
          <p:nvPr>
            <p:ph type="ftr" sz="quarter" idx="11"/>
          </p:nvPr>
        </p:nvSpPr>
        <p:spPr/>
        <p:txBody>
          <a:bodyPr/>
          <a:lstStyle/>
          <a:p>
            <a:endParaRPr lang="de-DE">
              <a:solidFill>
                <a:prstClr val="black">
                  <a:tint val="75000"/>
                </a:prstClr>
              </a:solidFill>
            </a:endParaRPr>
          </a:p>
        </p:txBody>
      </p:sp>
      <p:sp>
        <p:nvSpPr>
          <p:cNvPr id="6" name="Foliennummernplatzhalter 5"/>
          <p:cNvSpPr>
            <a:spLocks noGrp="1"/>
          </p:cNvSpPr>
          <p:nvPr>
            <p:ph type="sldNum" sz="quarter" idx="12"/>
          </p:nvPr>
        </p:nvSpPr>
        <p:spPr/>
        <p:txBody>
          <a:bodyPr/>
          <a:lstStyle/>
          <a:p>
            <a:fld id="{723564CE-F141-46E7-B58B-773B81204D48}"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77041073"/>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838200" y="1825625"/>
            <a:ext cx="5181600" cy="4351338"/>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6172200" y="1825625"/>
            <a:ext cx="5181600" cy="4351338"/>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p>
            <a:fld id="{41A8264B-2899-4116-9631-3713DE4FA6C0}" type="datetimeFigureOut">
              <a:rPr lang="de-DE" smtClean="0">
                <a:solidFill>
                  <a:prstClr val="black">
                    <a:tint val="75000"/>
                  </a:prstClr>
                </a:solidFill>
              </a:rPr>
              <a:pPr/>
              <a:t>26.04.2019</a:t>
            </a:fld>
            <a:endParaRPr lang="de-DE">
              <a:solidFill>
                <a:prstClr val="black">
                  <a:tint val="75000"/>
                </a:prstClr>
              </a:solidFill>
            </a:endParaRPr>
          </a:p>
        </p:txBody>
      </p:sp>
      <p:sp>
        <p:nvSpPr>
          <p:cNvPr id="6" name="Fußzeilenplatzhalter 5"/>
          <p:cNvSpPr>
            <a:spLocks noGrp="1"/>
          </p:cNvSpPr>
          <p:nvPr>
            <p:ph type="ftr" sz="quarter" idx="11"/>
          </p:nvPr>
        </p:nvSpPr>
        <p:spPr/>
        <p:txBody>
          <a:bodyPr/>
          <a:lstStyle/>
          <a:p>
            <a:endParaRPr lang="de-DE">
              <a:solidFill>
                <a:prstClr val="black">
                  <a:tint val="75000"/>
                </a:prstClr>
              </a:solidFill>
            </a:endParaRPr>
          </a:p>
        </p:txBody>
      </p:sp>
      <p:sp>
        <p:nvSpPr>
          <p:cNvPr id="7" name="Foliennummernplatzhalter 6"/>
          <p:cNvSpPr>
            <a:spLocks noGrp="1"/>
          </p:cNvSpPr>
          <p:nvPr>
            <p:ph type="sldNum" sz="quarter" idx="12"/>
          </p:nvPr>
        </p:nvSpPr>
        <p:spPr/>
        <p:txBody>
          <a:bodyPr/>
          <a:lstStyle/>
          <a:p>
            <a:fld id="{723564CE-F141-46E7-B58B-773B81204D48}"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477518517"/>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de-DE" smtClean="0"/>
              <a:t>Titelmasterformat durch Klicken bearbeiten</a:t>
            </a:r>
            <a:endParaRPr lang="de-DE"/>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839788" y="2505075"/>
            <a:ext cx="5157787" cy="3684588"/>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6172200" y="2505075"/>
            <a:ext cx="5183188" cy="3684588"/>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p>
            <a:fld id="{41A8264B-2899-4116-9631-3713DE4FA6C0}" type="datetimeFigureOut">
              <a:rPr lang="de-DE" smtClean="0">
                <a:solidFill>
                  <a:prstClr val="black">
                    <a:tint val="75000"/>
                  </a:prstClr>
                </a:solidFill>
              </a:rPr>
              <a:pPr/>
              <a:t>26.04.2019</a:t>
            </a:fld>
            <a:endParaRPr lang="de-DE">
              <a:solidFill>
                <a:prstClr val="black">
                  <a:tint val="75000"/>
                </a:prstClr>
              </a:solidFill>
            </a:endParaRPr>
          </a:p>
        </p:txBody>
      </p:sp>
      <p:sp>
        <p:nvSpPr>
          <p:cNvPr id="8" name="Fußzeilenplatzhalter 7"/>
          <p:cNvSpPr>
            <a:spLocks noGrp="1"/>
          </p:cNvSpPr>
          <p:nvPr>
            <p:ph type="ftr" sz="quarter" idx="11"/>
          </p:nvPr>
        </p:nvSpPr>
        <p:spPr/>
        <p:txBody>
          <a:bodyPr/>
          <a:lstStyle/>
          <a:p>
            <a:endParaRPr lang="de-DE">
              <a:solidFill>
                <a:prstClr val="black">
                  <a:tint val="75000"/>
                </a:prstClr>
              </a:solidFill>
            </a:endParaRPr>
          </a:p>
        </p:txBody>
      </p:sp>
      <p:sp>
        <p:nvSpPr>
          <p:cNvPr id="9" name="Foliennummernplatzhalter 8"/>
          <p:cNvSpPr>
            <a:spLocks noGrp="1"/>
          </p:cNvSpPr>
          <p:nvPr>
            <p:ph type="sldNum" sz="quarter" idx="12"/>
          </p:nvPr>
        </p:nvSpPr>
        <p:spPr/>
        <p:txBody>
          <a:bodyPr/>
          <a:lstStyle/>
          <a:p>
            <a:fld id="{723564CE-F141-46E7-B58B-773B81204D48}"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2681736359"/>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41A8264B-2899-4116-9631-3713DE4FA6C0}" type="datetimeFigureOut">
              <a:rPr lang="de-DE" smtClean="0">
                <a:solidFill>
                  <a:prstClr val="black">
                    <a:tint val="75000"/>
                  </a:prstClr>
                </a:solidFill>
              </a:rPr>
              <a:pPr/>
              <a:t>26.04.2019</a:t>
            </a:fld>
            <a:endParaRPr lang="de-DE">
              <a:solidFill>
                <a:prstClr val="black">
                  <a:tint val="75000"/>
                </a:prstClr>
              </a:solidFill>
            </a:endParaRPr>
          </a:p>
        </p:txBody>
      </p:sp>
      <p:sp>
        <p:nvSpPr>
          <p:cNvPr id="4" name="Fußzeilenplatzhalter 3"/>
          <p:cNvSpPr>
            <a:spLocks noGrp="1"/>
          </p:cNvSpPr>
          <p:nvPr>
            <p:ph type="ftr" sz="quarter" idx="11"/>
          </p:nvPr>
        </p:nvSpPr>
        <p:spPr/>
        <p:txBody>
          <a:bodyPr/>
          <a:lstStyle/>
          <a:p>
            <a:endParaRPr lang="de-DE">
              <a:solidFill>
                <a:prstClr val="black">
                  <a:tint val="75000"/>
                </a:prstClr>
              </a:solidFill>
            </a:endParaRPr>
          </a:p>
        </p:txBody>
      </p:sp>
      <p:sp>
        <p:nvSpPr>
          <p:cNvPr id="5" name="Foliennummernplatzhalter 4"/>
          <p:cNvSpPr>
            <a:spLocks noGrp="1"/>
          </p:cNvSpPr>
          <p:nvPr>
            <p:ph type="sldNum" sz="quarter" idx="12"/>
          </p:nvPr>
        </p:nvSpPr>
        <p:spPr/>
        <p:txBody>
          <a:bodyPr/>
          <a:lstStyle/>
          <a:p>
            <a:fld id="{723564CE-F141-46E7-B58B-773B81204D48}"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21270820"/>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41A8264B-2899-4116-9631-3713DE4FA6C0}" type="datetimeFigureOut">
              <a:rPr lang="de-DE" smtClean="0">
                <a:solidFill>
                  <a:prstClr val="black">
                    <a:tint val="75000"/>
                  </a:prstClr>
                </a:solidFill>
              </a:rPr>
              <a:pPr/>
              <a:t>26.04.2019</a:t>
            </a:fld>
            <a:endParaRPr lang="de-DE">
              <a:solidFill>
                <a:prstClr val="black">
                  <a:tint val="75000"/>
                </a:prstClr>
              </a:solidFill>
            </a:endParaRPr>
          </a:p>
        </p:txBody>
      </p:sp>
      <p:sp>
        <p:nvSpPr>
          <p:cNvPr id="3" name="Fußzeilenplatzhalter 2"/>
          <p:cNvSpPr>
            <a:spLocks noGrp="1"/>
          </p:cNvSpPr>
          <p:nvPr>
            <p:ph type="ftr" sz="quarter" idx="11"/>
          </p:nvPr>
        </p:nvSpPr>
        <p:spPr/>
        <p:txBody>
          <a:bodyPr/>
          <a:lstStyle/>
          <a:p>
            <a:endParaRPr lang="de-DE">
              <a:solidFill>
                <a:prstClr val="black">
                  <a:tint val="75000"/>
                </a:prstClr>
              </a:solidFill>
            </a:endParaRPr>
          </a:p>
        </p:txBody>
      </p:sp>
      <p:sp>
        <p:nvSpPr>
          <p:cNvPr id="4" name="Foliennummernplatzhalter 3"/>
          <p:cNvSpPr>
            <a:spLocks noGrp="1"/>
          </p:cNvSpPr>
          <p:nvPr>
            <p:ph type="sldNum" sz="quarter" idx="12"/>
          </p:nvPr>
        </p:nvSpPr>
        <p:spPr/>
        <p:txBody>
          <a:bodyPr/>
          <a:lstStyle/>
          <a:p>
            <a:fld id="{723564CE-F141-46E7-B58B-773B81204D48}"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417193170"/>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smtClean="0"/>
              <a:t>Titelmasterformat durch Klicken bearbeiten</a:t>
            </a:r>
            <a:endParaRPr lang="de-DE"/>
          </a:p>
        </p:txBody>
      </p:sp>
      <p:sp>
        <p:nvSpPr>
          <p:cNvPr id="3" name="Inhaltsplatzhalt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smtClean="0"/>
              <a:t>Textmasterformat bearbeiten</a:t>
            </a:r>
          </a:p>
        </p:txBody>
      </p:sp>
      <p:sp>
        <p:nvSpPr>
          <p:cNvPr id="5" name="Datumsplatzhalter 4"/>
          <p:cNvSpPr>
            <a:spLocks noGrp="1"/>
          </p:cNvSpPr>
          <p:nvPr>
            <p:ph type="dt" sz="half" idx="10"/>
          </p:nvPr>
        </p:nvSpPr>
        <p:spPr/>
        <p:txBody>
          <a:bodyPr/>
          <a:lstStyle/>
          <a:p>
            <a:fld id="{41A8264B-2899-4116-9631-3713DE4FA6C0}" type="datetimeFigureOut">
              <a:rPr lang="de-DE" smtClean="0">
                <a:solidFill>
                  <a:prstClr val="black">
                    <a:tint val="75000"/>
                  </a:prstClr>
                </a:solidFill>
              </a:rPr>
              <a:pPr/>
              <a:t>26.04.2019</a:t>
            </a:fld>
            <a:endParaRPr lang="de-DE">
              <a:solidFill>
                <a:prstClr val="black">
                  <a:tint val="75000"/>
                </a:prstClr>
              </a:solidFill>
            </a:endParaRPr>
          </a:p>
        </p:txBody>
      </p:sp>
      <p:sp>
        <p:nvSpPr>
          <p:cNvPr id="6" name="Fußzeilenplatzhalter 5"/>
          <p:cNvSpPr>
            <a:spLocks noGrp="1"/>
          </p:cNvSpPr>
          <p:nvPr>
            <p:ph type="ftr" sz="quarter" idx="11"/>
          </p:nvPr>
        </p:nvSpPr>
        <p:spPr/>
        <p:txBody>
          <a:bodyPr/>
          <a:lstStyle/>
          <a:p>
            <a:endParaRPr lang="de-DE">
              <a:solidFill>
                <a:prstClr val="black">
                  <a:tint val="75000"/>
                </a:prstClr>
              </a:solidFill>
            </a:endParaRPr>
          </a:p>
        </p:txBody>
      </p:sp>
      <p:sp>
        <p:nvSpPr>
          <p:cNvPr id="7" name="Foliennummernplatzhalter 6"/>
          <p:cNvSpPr>
            <a:spLocks noGrp="1"/>
          </p:cNvSpPr>
          <p:nvPr>
            <p:ph type="sldNum" sz="quarter" idx="12"/>
          </p:nvPr>
        </p:nvSpPr>
        <p:spPr/>
        <p:txBody>
          <a:bodyPr/>
          <a:lstStyle/>
          <a:p>
            <a:fld id="{723564CE-F141-46E7-B58B-773B81204D48}"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209054775"/>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smtClean="0"/>
              <a:t>Titelmasterformat durch Klicken bearbeiten</a:t>
            </a:r>
            <a:endParaRPr lang="de-DE"/>
          </a:p>
        </p:txBody>
      </p:sp>
      <p:sp>
        <p:nvSpPr>
          <p:cNvPr id="3" name="Bildplatzhalt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smtClean="0"/>
              <a:t>Textmasterformat bearbeiten</a:t>
            </a:r>
          </a:p>
        </p:txBody>
      </p:sp>
      <p:sp>
        <p:nvSpPr>
          <p:cNvPr id="5" name="Datumsplatzhalter 4"/>
          <p:cNvSpPr>
            <a:spLocks noGrp="1"/>
          </p:cNvSpPr>
          <p:nvPr>
            <p:ph type="dt" sz="half" idx="10"/>
          </p:nvPr>
        </p:nvSpPr>
        <p:spPr/>
        <p:txBody>
          <a:bodyPr/>
          <a:lstStyle/>
          <a:p>
            <a:fld id="{41A8264B-2899-4116-9631-3713DE4FA6C0}" type="datetimeFigureOut">
              <a:rPr lang="de-DE" smtClean="0">
                <a:solidFill>
                  <a:prstClr val="black">
                    <a:tint val="75000"/>
                  </a:prstClr>
                </a:solidFill>
              </a:rPr>
              <a:pPr/>
              <a:t>26.04.2019</a:t>
            </a:fld>
            <a:endParaRPr lang="de-DE">
              <a:solidFill>
                <a:prstClr val="black">
                  <a:tint val="75000"/>
                </a:prstClr>
              </a:solidFill>
            </a:endParaRPr>
          </a:p>
        </p:txBody>
      </p:sp>
      <p:sp>
        <p:nvSpPr>
          <p:cNvPr id="6" name="Fußzeilenplatzhalter 5"/>
          <p:cNvSpPr>
            <a:spLocks noGrp="1"/>
          </p:cNvSpPr>
          <p:nvPr>
            <p:ph type="ftr" sz="quarter" idx="11"/>
          </p:nvPr>
        </p:nvSpPr>
        <p:spPr/>
        <p:txBody>
          <a:bodyPr/>
          <a:lstStyle/>
          <a:p>
            <a:endParaRPr lang="de-DE">
              <a:solidFill>
                <a:prstClr val="black">
                  <a:tint val="75000"/>
                </a:prstClr>
              </a:solidFill>
            </a:endParaRPr>
          </a:p>
        </p:txBody>
      </p:sp>
      <p:sp>
        <p:nvSpPr>
          <p:cNvPr id="7" name="Foliennummernplatzhalter 6"/>
          <p:cNvSpPr>
            <a:spLocks noGrp="1"/>
          </p:cNvSpPr>
          <p:nvPr>
            <p:ph type="sldNum" sz="quarter" idx="12"/>
          </p:nvPr>
        </p:nvSpPr>
        <p:spPr/>
        <p:txBody>
          <a:bodyPr/>
          <a:lstStyle/>
          <a:p>
            <a:fld id="{723564CE-F141-46E7-B58B-773B81204D48}"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642884611"/>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41A8264B-2899-4116-9631-3713DE4FA6C0}" type="datetimeFigureOut">
              <a:rPr lang="de-DE" smtClean="0">
                <a:solidFill>
                  <a:prstClr val="black">
                    <a:tint val="75000"/>
                  </a:prstClr>
                </a:solidFill>
              </a:rPr>
              <a:pPr/>
              <a:t>26.04.2019</a:t>
            </a:fld>
            <a:endParaRPr lang="de-DE">
              <a:solidFill>
                <a:prstClr val="black">
                  <a:tint val="75000"/>
                </a:prstClr>
              </a:solidFill>
            </a:endParaRPr>
          </a:p>
        </p:txBody>
      </p:sp>
      <p:sp>
        <p:nvSpPr>
          <p:cNvPr id="5" name="Fußzeilenplatzhalter 4"/>
          <p:cNvSpPr>
            <a:spLocks noGrp="1"/>
          </p:cNvSpPr>
          <p:nvPr>
            <p:ph type="ftr" sz="quarter" idx="11"/>
          </p:nvPr>
        </p:nvSpPr>
        <p:spPr/>
        <p:txBody>
          <a:bodyPr/>
          <a:lstStyle/>
          <a:p>
            <a:endParaRPr lang="de-DE">
              <a:solidFill>
                <a:prstClr val="black">
                  <a:tint val="75000"/>
                </a:prstClr>
              </a:solidFill>
            </a:endParaRPr>
          </a:p>
        </p:txBody>
      </p:sp>
      <p:sp>
        <p:nvSpPr>
          <p:cNvPr id="6" name="Foliennummernplatzhalter 5"/>
          <p:cNvSpPr>
            <a:spLocks noGrp="1"/>
          </p:cNvSpPr>
          <p:nvPr>
            <p:ph type="sldNum" sz="quarter" idx="12"/>
          </p:nvPr>
        </p:nvSpPr>
        <p:spPr/>
        <p:txBody>
          <a:bodyPr/>
          <a:lstStyle/>
          <a:p>
            <a:fld id="{723564CE-F141-46E7-B58B-773B81204D48}"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17815797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088415"/>
            <a:fld id="{896ACB37-748C-4671-8EE1-05B98108112A}" type="datetimeFigureOut">
              <a:rPr lang="en-US" sz="2099" smtClean="0">
                <a:solidFill>
                  <a:prstClr val="black"/>
                </a:solidFill>
              </a:rPr>
              <a:pPr defTabSz="1088415"/>
              <a:t>4/26/2019</a:t>
            </a:fld>
            <a:endParaRPr lang="en-US" sz="2099">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DA579563-9695-402D-AD0C-D8B123AFC4F2}"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133906478"/>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8900" cy="5811838"/>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838200" y="365125"/>
            <a:ext cx="7734300" cy="5811838"/>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41A8264B-2899-4116-9631-3713DE4FA6C0}" type="datetimeFigureOut">
              <a:rPr lang="de-DE" smtClean="0">
                <a:solidFill>
                  <a:prstClr val="black">
                    <a:tint val="75000"/>
                  </a:prstClr>
                </a:solidFill>
              </a:rPr>
              <a:pPr/>
              <a:t>26.04.2019</a:t>
            </a:fld>
            <a:endParaRPr lang="de-DE">
              <a:solidFill>
                <a:prstClr val="black">
                  <a:tint val="75000"/>
                </a:prstClr>
              </a:solidFill>
            </a:endParaRPr>
          </a:p>
        </p:txBody>
      </p:sp>
      <p:sp>
        <p:nvSpPr>
          <p:cNvPr id="5" name="Fußzeilenplatzhalter 4"/>
          <p:cNvSpPr>
            <a:spLocks noGrp="1"/>
          </p:cNvSpPr>
          <p:nvPr>
            <p:ph type="ftr" sz="quarter" idx="11"/>
          </p:nvPr>
        </p:nvSpPr>
        <p:spPr/>
        <p:txBody>
          <a:bodyPr/>
          <a:lstStyle/>
          <a:p>
            <a:endParaRPr lang="de-DE">
              <a:solidFill>
                <a:prstClr val="black">
                  <a:tint val="75000"/>
                </a:prstClr>
              </a:solidFill>
            </a:endParaRPr>
          </a:p>
        </p:txBody>
      </p:sp>
      <p:sp>
        <p:nvSpPr>
          <p:cNvPr id="6" name="Foliennummernplatzhalter 5"/>
          <p:cNvSpPr>
            <a:spLocks noGrp="1"/>
          </p:cNvSpPr>
          <p:nvPr>
            <p:ph type="sldNum" sz="quarter" idx="12"/>
          </p:nvPr>
        </p:nvSpPr>
        <p:spPr/>
        <p:txBody>
          <a:bodyPr/>
          <a:lstStyle/>
          <a:p>
            <a:fld id="{723564CE-F141-46E7-B58B-773B81204D48}"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116914305"/>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showMasterSp="0" preserve="1" userDrawn="1">
  <p:cSld name="Title 3/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 </a:t>
            </a:r>
            <a:r>
              <a:rPr lang="de-DE" dirty="0" err="1"/>
              <a:t>Presentation</a:t>
            </a:r>
            <a:r>
              <a:rPr lang="de-DE" dirty="0"/>
              <a:t> title</a:t>
            </a:r>
            <a:br>
              <a:rPr lang="de-DE" dirty="0"/>
            </a:br>
            <a:r>
              <a:rPr lang="de-DE" dirty="0"/>
              <a:t>in </a:t>
            </a:r>
            <a:r>
              <a:rPr lang="de-DE" dirty="0" err="1"/>
              <a:t>two</a:t>
            </a:r>
            <a:r>
              <a:rPr lang="de-DE" dirty="0"/>
              <a:t> </a:t>
            </a: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3168562576"/>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722.xml><?xml version="1.0" encoding="utf-8"?>
<p:sldLayout xmlns:a="http://schemas.openxmlformats.org/drawingml/2006/main" xmlns:r="http://schemas.openxmlformats.org/officeDocument/2006/relationships" xmlns:p="http://schemas.openxmlformats.org/presentationml/2006/main" showMasterSp="0" preserve="1" userDrawn="1">
  <p:cSld name="Title 2/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 </a:t>
            </a:r>
            <a:r>
              <a:rPr lang="de-DE" dirty="0" err="1"/>
              <a:t>Presentation</a:t>
            </a:r>
            <a:r>
              <a:rPr lang="de-DE" dirty="0"/>
              <a:t> title</a:t>
            </a:r>
            <a:br>
              <a:rPr lang="de-DE" dirty="0"/>
            </a:br>
            <a:r>
              <a:rPr lang="de-DE" dirty="0"/>
              <a:t>in </a:t>
            </a:r>
            <a:r>
              <a:rPr lang="de-DE" dirty="0" err="1"/>
              <a:t>two</a:t>
            </a:r>
            <a:r>
              <a:rPr lang="de-DE" dirty="0"/>
              <a:t> </a:t>
            </a:r>
            <a:r>
              <a:rPr lang="de-DE" dirty="0" err="1"/>
              <a:t>or</a:t>
            </a:r>
            <a:r>
              <a:rPr lang="de-DE" dirty="0"/>
              <a:t> </a:t>
            </a:r>
            <a:r>
              <a:rPr lang="de-DE" dirty="0" err="1"/>
              <a:t>more</a:t>
            </a:r>
            <a:r>
              <a:rPr lang="de-DE" dirty="0"/>
              <a:t> </a:t>
            </a: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87483509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723.xml><?xml version="1.0" encoding="utf-8"?>
<p:sldLayout xmlns:a="http://schemas.openxmlformats.org/drawingml/2006/main" xmlns:r="http://schemas.openxmlformats.org/officeDocument/2006/relationships" xmlns:p="http://schemas.openxmlformats.org/presentationml/2006/main" showMasterSp="0" preserve="1" userDrawn="1">
  <p:cSld name="Title 1/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4608438"/>
            <a:ext cx="10930832" cy="1538527"/>
          </a:xfrm>
        </p:spPr>
        <p:txBody>
          <a:bodyPr wrap="square" anchor="b" anchorCtr="0">
            <a:spAutoFit/>
          </a:bodyPr>
          <a:lstStyle>
            <a:lvl1pPr>
              <a:defRPr baseline="0"/>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a:t>
            </a:r>
            <a:br>
              <a:rPr lang="de-DE" dirty="0"/>
            </a:br>
            <a:r>
              <a:rPr lang="de-DE" dirty="0" err="1"/>
              <a:t>Presentation</a:t>
            </a:r>
            <a:r>
              <a:rPr lang="de-DE" dirty="0"/>
              <a:t> title in </a:t>
            </a:r>
            <a:r>
              <a:rPr lang="de-DE" dirty="0" err="1"/>
              <a:t>two</a:t>
            </a:r>
            <a:r>
              <a:rPr lang="de-DE" dirty="0"/>
              <a:t> </a:t>
            </a:r>
            <a:r>
              <a:rPr lang="de-DE" dirty="0" err="1"/>
              <a:t>lines</a:t>
            </a:r>
            <a:r>
              <a:rPr lang="de-DE" dirty="0"/>
              <a:t> </a:t>
            </a:r>
            <a:r>
              <a:rPr lang="de-DE" dirty="0" err="1"/>
              <a:t>or</a:t>
            </a:r>
            <a:r>
              <a:rPr lang="de-DE" dirty="0"/>
              <a:t> </a:t>
            </a:r>
            <a:br>
              <a:rPr lang="de-DE" dirty="0"/>
            </a:br>
            <a:r>
              <a:rPr lang="de-DE" dirty="0" err="1"/>
              <a:t>more</a:t>
            </a:r>
            <a:r>
              <a:rPr lang="de-DE" dirty="0"/>
              <a:t> </a:t>
            </a: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05622172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724.xml><?xml version="1.0" encoding="utf-8"?>
<p:sldLayout xmlns:a="http://schemas.openxmlformats.org/drawingml/2006/main" xmlns:r="http://schemas.openxmlformats.org/officeDocument/2006/relationships" xmlns:p="http://schemas.openxmlformats.org/presentationml/2006/main" showMasterSp="0" preserve="1" userDrawn="1">
  <p:cSld name="Title 3/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 name="Titel 1"/>
          <p:cNvSpPr>
            <a:spLocks noGrp="1"/>
          </p:cNvSpPr>
          <p:nvPr>
            <p:ph type="ctrTitle" hasCustomPrompt="1"/>
          </p:nvPr>
        </p:nvSpPr>
        <p:spPr>
          <a:xfrm>
            <a:off x="628323" y="2045814"/>
            <a:ext cx="10932181" cy="1763324"/>
          </a:xfrm>
        </p:spPr>
        <p:txBody>
          <a:bodyPr wrap="square" anchor="t" anchorCtr="0">
            <a:noAutofit/>
          </a:bodyPr>
          <a:lstStyle>
            <a:lvl1pPr>
              <a:defRPr baseline="0">
                <a:solidFill>
                  <a:schemeClr val="bg1"/>
                </a:solidFill>
              </a:defRPr>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a:t>
            </a:r>
            <a:br>
              <a:rPr lang="de-DE" dirty="0"/>
            </a:br>
            <a:r>
              <a:rPr lang="de-DE" dirty="0" err="1"/>
              <a:t>Presentation</a:t>
            </a:r>
            <a:r>
              <a:rPr lang="de-DE" dirty="0"/>
              <a:t> title in </a:t>
            </a:r>
            <a:r>
              <a:rPr lang="de-DE" dirty="0" err="1"/>
              <a:t>two</a:t>
            </a:r>
            <a:r>
              <a:rPr lang="de-DE" dirty="0"/>
              <a:t> </a:t>
            </a:r>
            <a:r>
              <a:rPr lang="de-DE" dirty="0" err="1"/>
              <a:t>or</a:t>
            </a:r>
            <a:r>
              <a:rPr lang="de-DE" dirty="0"/>
              <a:t> </a:t>
            </a:r>
            <a:r>
              <a:rPr lang="de-DE" dirty="0" err="1"/>
              <a:t>three</a:t>
            </a:r>
            <a:r>
              <a:rPr lang="de-DE" dirty="0"/>
              <a:t> </a:t>
            </a:r>
            <a:br>
              <a:rPr lang="de-DE" dirty="0"/>
            </a:b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7813837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725.xml><?xml version="1.0" encoding="utf-8"?>
<p:sldLayout xmlns:a="http://schemas.openxmlformats.org/drawingml/2006/main" xmlns:r="http://schemas.openxmlformats.org/officeDocument/2006/relationships" xmlns:p="http://schemas.openxmlformats.org/presentationml/2006/main" showMasterSp="0" preserve="1" userDrawn="1">
  <p:cSld name="Title 2/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 name="Titel 1"/>
          <p:cNvSpPr>
            <a:spLocks noGrp="1"/>
          </p:cNvSpPr>
          <p:nvPr>
            <p:ph type="ctrTitle" hasCustomPrompt="1"/>
          </p:nvPr>
        </p:nvSpPr>
        <p:spPr>
          <a:xfrm>
            <a:off x="628323" y="2044433"/>
            <a:ext cx="10932181" cy="648964"/>
          </a:xfrm>
        </p:spPr>
        <p:txBody>
          <a:bodyPr wrap="square" anchor="t" anchorCtr="0">
            <a:noAutofit/>
          </a:bodyPr>
          <a:lstStyle>
            <a:lvl1pPr>
              <a:defRPr>
                <a:solidFill>
                  <a:schemeClr val="bg1"/>
                </a:solidFill>
              </a:defRPr>
            </a:lvl1pPr>
          </a:lstStyle>
          <a:p>
            <a:r>
              <a:rPr lang="de-DE" dirty="0"/>
              <a:t>Headline </a:t>
            </a:r>
            <a:r>
              <a:rPr lang="de-DE" dirty="0" err="1"/>
              <a:t>for</a:t>
            </a:r>
            <a:r>
              <a:rPr lang="de-DE" dirty="0"/>
              <a:t> </a:t>
            </a:r>
            <a:r>
              <a:rPr lang="de-DE" dirty="0" err="1"/>
              <a:t>presentation</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66100034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726.xml><?xml version="1.0" encoding="utf-8"?>
<p:sldLayout xmlns:a="http://schemas.openxmlformats.org/drawingml/2006/main" xmlns:r="http://schemas.openxmlformats.org/officeDocument/2006/relationships" xmlns:p="http://schemas.openxmlformats.org/presentationml/2006/main" showMasterSp="0" preserve="1" userDrawn="1">
  <p:cSld name="Image-chart 3/4 brushed ">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1"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3" name="Title 2"/>
          <p:cNvSpPr>
            <a:spLocks noGrp="1"/>
          </p:cNvSpPr>
          <p:nvPr>
            <p:ph type="title" hasCustomPrompt="1"/>
          </p:nvPr>
        </p:nvSpPr>
        <p:spPr>
          <a:xfrm>
            <a:off x="628323" y="288859"/>
            <a:ext cx="10932455" cy="1025684"/>
          </a:xfrm>
        </p:spPr>
        <p:txBody>
          <a:bodyPr wrap="square">
            <a:spAutoFit/>
          </a:bodyPr>
          <a:lstStyle>
            <a:lvl1pPr>
              <a:defRPr>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or</a:t>
            </a:r>
            <a:r>
              <a:rPr lang="de-DE" dirty="0"/>
              <a:t> </a:t>
            </a:r>
            <a:r>
              <a:rPr lang="de-DE" dirty="0" err="1"/>
              <a:t>more</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19037559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727.xml><?xml version="1.0" encoding="utf-8"?>
<p:sldLayout xmlns:a="http://schemas.openxmlformats.org/drawingml/2006/main" xmlns:r="http://schemas.openxmlformats.org/officeDocument/2006/relationships" xmlns:p="http://schemas.openxmlformats.org/presentationml/2006/main" showMasterSp="0" preserve="1" userDrawn="1">
  <p:cSld name="Image-chart 1/4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1"/>
            <a:ext cx="12190451" cy="6487839"/>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3" name="Title 2"/>
          <p:cNvSpPr>
            <a:spLocks noGrp="1"/>
          </p:cNvSpPr>
          <p:nvPr>
            <p:ph type="title" hasCustomPrompt="1"/>
          </p:nvPr>
        </p:nvSpPr>
        <p:spPr>
          <a:xfrm>
            <a:off x="630116" y="288857"/>
            <a:ext cx="10930662" cy="1151733"/>
          </a:xfrm>
        </p:spPr>
        <p:txBody>
          <a:bodyPr/>
          <a:lstStyle>
            <a:lvl1pPr>
              <a:defRPr baseline="0">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119222691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728.xml><?xml version="1.0" encoding="utf-8"?>
<p:sldLayout xmlns:a="http://schemas.openxmlformats.org/drawingml/2006/main" xmlns:r="http://schemas.openxmlformats.org/officeDocument/2006/relationships" xmlns:p="http://schemas.openxmlformats.org/presentationml/2006/main" showMasterSp="0" preserve="1" userDrawn="1">
  <p:cSld name="Agenda 1/3 brushed">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a:xfrm>
            <a:off x="628323" y="288859"/>
            <a:ext cx="10932455" cy="1148857"/>
          </a:xfrm>
        </p:spPr>
        <p:txBody>
          <a:bodyPr/>
          <a:lstStyle>
            <a:lvl1pPr>
              <a:defRPr/>
            </a:lvl1pPr>
          </a:lstStyle>
          <a:p>
            <a:r>
              <a:rPr lang="de-DE" noProof="0" dirty="0"/>
              <a:t>Headline </a:t>
            </a:r>
            <a:r>
              <a:rPr lang="de-DE" noProof="0" dirty="0" err="1"/>
              <a:t>for</a:t>
            </a:r>
            <a:r>
              <a:rPr lang="de-DE" noProof="0" dirty="0"/>
              <a:t> Agenda in </a:t>
            </a:r>
            <a:r>
              <a:rPr lang="de-DE" noProof="0" dirty="0" err="1"/>
              <a:t>CorpoS</a:t>
            </a:r>
            <a:r>
              <a:rPr lang="de-DE" noProof="0" dirty="0"/>
              <a:t> (Body) 35 </a:t>
            </a:r>
            <a:r>
              <a:rPr lang="de-DE" noProof="0" dirty="0" err="1"/>
              <a:t>pt</a:t>
            </a:r>
            <a:r>
              <a:rPr lang="de-DE" noProof="0" dirty="0"/>
              <a:t>. </a:t>
            </a:r>
            <a:br>
              <a:rPr lang="de-DE" noProof="0" dirty="0"/>
            </a:br>
            <a:r>
              <a:rPr lang="de-DE" noProof="0" dirty="0" err="1"/>
              <a:t>one</a:t>
            </a:r>
            <a:r>
              <a:rPr lang="de-DE" noProof="0" dirty="0"/>
              <a:t> </a:t>
            </a:r>
            <a:r>
              <a:rPr lang="de-DE" noProof="0" dirty="0" err="1"/>
              <a:t>or</a:t>
            </a:r>
            <a:r>
              <a:rPr lang="de-DE" noProof="0" dirty="0"/>
              <a:t>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Text Placeholder 5"/>
          <p:cNvSpPr>
            <a:spLocks noGrp="1"/>
          </p:cNvSpPr>
          <p:nvPr>
            <p:ph type="body" sz="quarter" idx="12" hasCustomPrompt="1"/>
          </p:nvPr>
        </p:nvSpPr>
        <p:spPr>
          <a:xfrm>
            <a:off x="630116" y="1504603"/>
            <a:ext cx="10930388" cy="3759916"/>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Insert Agenda </a:t>
            </a:r>
            <a:r>
              <a:rPr lang="de-DE" dirty="0" err="1"/>
              <a:t>point</a:t>
            </a:r>
            <a:endParaRPr lang="de-DE" dirty="0"/>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111089183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1284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e-DE" noProof="0" dirty="0"/>
              <a:t>Headline </a:t>
            </a:r>
            <a:r>
              <a:rPr lang="de-DE" noProof="0" dirty="0" err="1"/>
              <a:t>for</a:t>
            </a:r>
            <a:r>
              <a:rPr lang="de-DE" noProof="0" dirty="0"/>
              <a:t> Agenda in </a:t>
            </a:r>
            <a:r>
              <a:rPr lang="de-DE" noProof="0" dirty="0" err="1"/>
              <a:t>CorpoS</a:t>
            </a:r>
            <a:r>
              <a:rPr lang="de-DE" noProof="0" dirty="0"/>
              <a:t> (Body) 35 </a:t>
            </a:r>
            <a:r>
              <a:rPr lang="de-DE" noProof="0" dirty="0" err="1"/>
              <a:t>pt</a:t>
            </a:r>
            <a:r>
              <a:rPr lang="de-DE" noProof="0" dirty="0"/>
              <a:t>. </a:t>
            </a:r>
            <a:br>
              <a:rPr lang="de-DE" noProof="0" dirty="0"/>
            </a:br>
            <a:r>
              <a:rPr lang="de-DE" noProof="0" dirty="0" err="1"/>
              <a:t>one</a:t>
            </a:r>
            <a:r>
              <a:rPr lang="de-DE" noProof="0" dirty="0"/>
              <a:t> </a:t>
            </a:r>
            <a:r>
              <a:rPr lang="de-DE" noProof="0" dirty="0" err="1"/>
              <a:t>or</a:t>
            </a:r>
            <a:r>
              <a:rPr lang="de-DE" noProof="0" dirty="0"/>
              <a:t>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Insert Agenda </a:t>
            </a:r>
            <a:r>
              <a:rPr lang="de-DE" dirty="0" err="1"/>
              <a:t>point</a:t>
            </a:r>
            <a:endParaRPr lang="de-DE" dirty="0"/>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152856777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3/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en-GB" dirty="0"/>
              <a:t>Referent’s name: </a:t>
            </a:r>
            <a:r>
              <a:rPr lang="en-GB" noProof="0" dirty="0" err="1"/>
              <a:t>CorpoS</a:t>
            </a:r>
            <a:r>
              <a:rPr lang="en-GB" noProof="0" dirty="0"/>
              <a:t> </a:t>
            </a:r>
            <a:r>
              <a:rPr lang="en-GB" dirty="0"/>
              <a:t>(Body) 35 pt. Presentation title</a:t>
            </a:r>
            <a:br>
              <a:rPr lang="en-GB" dirty="0"/>
            </a:br>
            <a:r>
              <a:rPr lang="en-GB" dirty="0"/>
              <a:t>in two lines of text, dd. </a:t>
            </a:r>
            <a:r>
              <a:rPr lang="en-GB" dirty="0" err="1"/>
              <a:t>mmmm</a:t>
            </a:r>
            <a:r>
              <a:rPr lang="en-GB" dirty="0"/>
              <a:t> </a:t>
            </a:r>
            <a:r>
              <a:rPr lang="en-GB" dirty="0" err="1"/>
              <a:t>yyyy</a:t>
            </a:r>
            <a:endParaRPr lang="en-GB"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651055755"/>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Headline two lines // Conten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13868"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Tree>
    <p:extLst>
      <p:ext uri="{BB962C8B-B14F-4D97-AF65-F5344CB8AC3E}">
        <p14:creationId xmlns:p14="http://schemas.microsoft.com/office/powerpoint/2010/main" val="109520781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731.xml><?xml version="1.0" encoding="utf-8"?>
<p:sldLayout xmlns:a="http://schemas.openxmlformats.org/drawingml/2006/main" xmlns:r="http://schemas.openxmlformats.org/officeDocument/2006/relationships" xmlns:p="http://schemas.openxmlformats.org/presentationml/2006/main" showMasterSp="0" preserve="1" userDrawn="1">
  <p:cSld name="Headline two lines // Image">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a:t>
            </a:r>
            <a:r>
              <a:rPr lang="de-DE" noProof="0" dirty="0"/>
              <a:t> S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255352678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Headlin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Tree>
    <p:extLst>
      <p:ext uri="{BB962C8B-B14F-4D97-AF65-F5344CB8AC3E}">
        <p14:creationId xmlns:p14="http://schemas.microsoft.com/office/powerpoint/2010/main" val="226692650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733.xml><?xml version="1.0" encoding="utf-8"?>
<p:sldLayout xmlns:a="http://schemas.openxmlformats.org/drawingml/2006/main" xmlns:r="http://schemas.openxmlformats.org/officeDocument/2006/relationships" xmlns:p="http://schemas.openxmlformats.org/presentationml/2006/main" showMasterSp="0" preserve="1" userDrawn="1">
  <p:cSld name="Headline // Image">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240303959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734.xml><?xml version="1.0" encoding="utf-8"?>
<p:sldLayout xmlns:a="http://schemas.openxmlformats.org/drawingml/2006/main" xmlns:r="http://schemas.openxmlformats.org/officeDocument/2006/relationships" xmlns:p="http://schemas.openxmlformats.org/presentationml/2006/main" showMasterSp="0" preserve="1" userDrawn="1">
  <p:cSld name="2 Images-chart 2/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or</a:t>
            </a:r>
            <a:r>
              <a:rPr lang="de-DE" dirty="0"/>
              <a:t> </a:t>
            </a:r>
            <a:r>
              <a:rPr lang="de-DE" dirty="0" err="1"/>
              <a:t>more</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229086221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735.xml><?xml version="1.0" encoding="utf-8"?>
<p:sldLayout xmlns:a="http://schemas.openxmlformats.org/drawingml/2006/main" xmlns:r="http://schemas.openxmlformats.org/officeDocument/2006/relationships" xmlns:p="http://schemas.openxmlformats.org/presentationml/2006/main" showMasterSp="0" preserve="1" userDrawn="1">
  <p:cSld name="2 Images-chart 1/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 name="Title 2"/>
          <p:cNvSpPr>
            <a:spLocks noGrp="1"/>
          </p:cNvSpPr>
          <p:nvPr>
            <p:ph type="title" hasCustomPrompt="1"/>
          </p:nvPr>
        </p:nvSpPr>
        <p:spPr>
          <a:xfrm>
            <a:off x="630116" y="288859"/>
            <a:ext cx="10930662" cy="1148857"/>
          </a:xfrm>
        </p:spPr>
        <p:txBody>
          <a:bodyPr/>
          <a:lstStyle>
            <a:lvl1pPr>
              <a:defRPr>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85764218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736.xml><?xml version="1.0" encoding="utf-8"?>
<p:sldLayout xmlns:a="http://schemas.openxmlformats.org/drawingml/2006/main" xmlns:r="http://schemas.openxmlformats.org/officeDocument/2006/relationships" xmlns:p="http://schemas.openxmlformats.org/presentationml/2006/main" showMasterSp="0" preserve="1" userDrawn="1">
  <p:cSld name="2 Images-chart 1/3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205553123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737.xml><?xml version="1.0" encoding="utf-8"?>
<p:sldLayout xmlns:a="http://schemas.openxmlformats.org/drawingml/2006/main" xmlns:r="http://schemas.openxmlformats.org/officeDocument/2006/relationships" xmlns:p="http://schemas.openxmlformats.org/presentationml/2006/main" showMasterSp="0" preserve="1" userDrawn="1">
  <p:cSld name="2 Images-chart 2/3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Body </a:t>
            </a:r>
            <a:r>
              <a:rPr lang="de-DE" dirty="0" err="1"/>
              <a:t>text</a:t>
            </a:r>
            <a:r>
              <a:rPr lang="de-DE" dirty="0"/>
              <a:t>: Home // Paragraph// </a:t>
            </a:r>
            <a:r>
              <a:rPr lang="de-DE" dirty="0" err="1"/>
              <a:t>Increase</a:t>
            </a:r>
            <a:r>
              <a:rPr lang="de-DE" dirty="0"/>
              <a:t> List Level</a:t>
            </a:r>
          </a:p>
          <a:p>
            <a:pPr lvl="1"/>
            <a:r>
              <a:rPr lang="de-DE" dirty="0"/>
              <a:t>Second </a:t>
            </a:r>
            <a:r>
              <a:rPr lang="de-DE" dirty="0" err="1"/>
              <a:t>level</a:t>
            </a:r>
            <a:r>
              <a:rPr lang="de-DE" dirty="0"/>
              <a:t> (Body </a:t>
            </a:r>
            <a:r>
              <a:rPr lang="de-DE" dirty="0" err="1"/>
              <a:t>text</a:t>
            </a:r>
            <a:r>
              <a:rPr lang="de-DE" dirty="0"/>
              <a:t>)</a:t>
            </a:r>
          </a:p>
        </p:txBody>
      </p:sp>
    </p:spTree>
    <p:extLst>
      <p:ext uri="{BB962C8B-B14F-4D97-AF65-F5344CB8AC3E}">
        <p14:creationId xmlns:p14="http://schemas.microsoft.com/office/powerpoint/2010/main" val="176059514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738.xml><?xml version="1.0" encoding="utf-8"?>
<p:sldLayout xmlns:a="http://schemas.openxmlformats.org/drawingml/2006/main" xmlns:r="http://schemas.openxmlformats.org/officeDocument/2006/relationships" xmlns:p="http://schemas.openxmlformats.org/presentationml/2006/main" showMasterSp="0" preserve="1" userDrawn="1">
  <p:cSld name="2 Images-chart 3/3 brushed">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3"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Body </a:t>
            </a:r>
            <a:r>
              <a:rPr lang="de-DE" dirty="0" err="1"/>
              <a:t>text</a:t>
            </a:r>
            <a:r>
              <a:rPr lang="de-DE" dirty="0"/>
              <a:t>: Home // Paragraph// </a:t>
            </a:r>
            <a:r>
              <a:rPr lang="de-DE" dirty="0" err="1"/>
              <a:t>Increase</a:t>
            </a:r>
            <a:r>
              <a:rPr lang="de-DE" dirty="0"/>
              <a:t> List Level</a:t>
            </a:r>
          </a:p>
          <a:p>
            <a:pPr lvl="1"/>
            <a:r>
              <a:rPr lang="de-DE" dirty="0"/>
              <a:t>Second </a:t>
            </a:r>
            <a:r>
              <a:rPr lang="de-DE" dirty="0" err="1"/>
              <a:t>level</a:t>
            </a:r>
            <a:r>
              <a:rPr lang="de-DE" dirty="0"/>
              <a:t> (Body </a:t>
            </a:r>
            <a:r>
              <a:rPr lang="de-DE" dirty="0" err="1"/>
              <a:t>tex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64032280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739.xml><?xml version="1.0" encoding="utf-8"?>
<p:sldLayout xmlns:a="http://schemas.openxmlformats.org/drawingml/2006/main" xmlns:r="http://schemas.openxmlformats.org/officeDocument/2006/relationships" xmlns:p="http://schemas.openxmlformats.org/presentationml/2006/main" showMasterSp="0" preserve="1" userDrawn="1">
  <p:cSld name="Fullpage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1821769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2/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a:lvl1pPr>
          </a:lstStyle>
          <a:p>
            <a:r>
              <a:rPr lang="en-GB" dirty="0"/>
              <a:t>Referent’s name: </a:t>
            </a:r>
            <a:r>
              <a:rPr lang="en-GB" noProof="0" dirty="0" err="1"/>
              <a:t>CorpoS</a:t>
            </a:r>
            <a:r>
              <a:rPr lang="en-GB" noProof="0" dirty="0"/>
              <a:t> </a:t>
            </a:r>
            <a:r>
              <a:rPr lang="en-GB" dirty="0"/>
              <a:t>(Body) 35 pt. Presentation title</a:t>
            </a:r>
            <a:br>
              <a:rPr lang="en-GB" dirty="0"/>
            </a:br>
            <a:r>
              <a:rPr lang="en-GB" dirty="0"/>
              <a:t>in two or more lines of text, dd. </a:t>
            </a:r>
            <a:r>
              <a:rPr lang="en-GB" dirty="0" err="1"/>
              <a:t>mmmm</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398270748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740.xml><?xml version="1.0" encoding="utf-8"?>
<p:sldLayout xmlns:a="http://schemas.openxmlformats.org/drawingml/2006/main" xmlns:r="http://schemas.openxmlformats.org/officeDocument/2006/relationships" xmlns:p="http://schemas.openxmlformats.org/presentationml/2006/main" showMasterSp="0" preserve="1" userDrawn="1">
  <p:cSld name="Fullpage 3 image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6" name="Picture Placeholder 3"/>
          <p:cNvSpPr>
            <a:spLocks noGrp="1"/>
          </p:cNvSpPr>
          <p:nvPr>
            <p:ph type="pic" sz="quarter" idx="14" hasCustomPrompt="1"/>
          </p:nvPr>
        </p:nvSpPr>
        <p:spPr bwMode="gray">
          <a:xfrm>
            <a:off x="3911151" y="0"/>
            <a:ext cx="4199925"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292458821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Two 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a:t>
            </a:r>
            <a:r>
              <a:rPr lang="de-DE" noProof="0" dirty="0"/>
              <a:t> S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de-DE" dirty="0"/>
              <a:t>Insert </a:t>
            </a:r>
            <a:r>
              <a:rPr lang="de-DE" dirty="0" err="1"/>
              <a:t>text</a:t>
            </a:r>
            <a:r>
              <a:rPr lang="de-DE" dirty="0"/>
              <a:t> </a:t>
            </a:r>
            <a:r>
              <a:rPr lang="de-DE" noProof="0" dirty="0"/>
              <a:t>(Mark-</a:t>
            </a:r>
            <a:r>
              <a:rPr lang="de-DE" noProof="0" dirty="0" err="1"/>
              <a:t>ups</a:t>
            </a:r>
            <a:r>
              <a:rPr lang="de-DE" noProof="0" dirty="0"/>
              <a:t> in </a:t>
            </a:r>
            <a:r>
              <a:rPr lang="de-DE" noProof="0" dirty="0" err="1"/>
              <a:t>Bold</a:t>
            </a:r>
            <a:r>
              <a:rPr lang="de-DE" noProof="0" dirty="0"/>
              <a:t>) </a:t>
            </a:r>
            <a:r>
              <a:rPr lang="de-DE" dirty="0"/>
              <a:t>// </a:t>
            </a:r>
            <a:r>
              <a:rPr lang="de-DE" dirty="0" err="1"/>
              <a:t>conclusion</a:t>
            </a:r>
            <a:r>
              <a:rPr lang="de-DE" dirty="0"/>
              <a:t> etc.: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de-DE" dirty="0"/>
              <a:t>Insert </a:t>
            </a:r>
            <a:r>
              <a:rPr lang="de-DE" dirty="0" err="1"/>
              <a:t>text</a:t>
            </a:r>
            <a:r>
              <a:rPr lang="de-DE" dirty="0"/>
              <a:t> </a:t>
            </a:r>
            <a:r>
              <a:rPr lang="de-DE" noProof="0" dirty="0"/>
              <a:t>(Mark-</a:t>
            </a:r>
            <a:r>
              <a:rPr lang="de-DE" noProof="0" dirty="0" err="1"/>
              <a:t>ups</a:t>
            </a:r>
            <a:r>
              <a:rPr lang="de-DE" noProof="0" dirty="0"/>
              <a:t> in </a:t>
            </a:r>
            <a:r>
              <a:rPr lang="de-DE" noProof="0" dirty="0" err="1"/>
              <a:t>Bold</a:t>
            </a:r>
            <a:r>
              <a:rPr lang="de-DE" noProof="0" dirty="0"/>
              <a:t>) </a:t>
            </a:r>
            <a:r>
              <a:rPr lang="de-DE" dirty="0"/>
              <a:t>// </a:t>
            </a:r>
            <a:r>
              <a:rPr lang="de-DE" dirty="0" err="1"/>
              <a:t>conclusion</a:t>
            </a:r>
            <a:r>
              <a:rPr lang="de-DE" dirty="0"/>
              <a:t> etc.: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etc.)</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73512656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29664023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Text small // Image">
    <p:spTree>
      <p:nvGrpSpPr>
        <p:cNvPr id="1" name=""/>
        <p:cNvGrpSpPr/>
        <p:nvPr/>
      </p:nvGrpSpPr>
      <p:grpSpPr>
        <a:xfrm>
          <a:off x="0" y="0"/>
          <a:ext cx="0" cy="0"/>
          <a:chOff x="0" y="0"/>
          <a:chExt cx="0" cy="0"/>
        </a:xfrm>
      </p:grpSpPr>
      <p:sp>
        <p:nvSpPr>
          <p:cNvPr id="10" name="Picture Placeholder 3"/>
          <p:cNvSpPr>
            <a:spLocks noGrp="1"/>
          </p:cNvSpPr>
          <p:nvPr>
            <p:ph type="pic" sz="quarter" idx="14" hasCustomPrompt="1"/>
          </p:nvPr>
        </p:nvSpPr>
        <p:spPr bwMode="gray">
          <a:xfrm>
            <a:off x="4848875" y="1504604"/>
            <a:ext cx="6711903" cy="4875669"/>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8" name="Text Placeholder 7"/>
          <p:cNvSpPr>
            <a:spLocks noGrp="1"/>
          </p:cNvSpPr>
          <p:nvPr>
            <p:ph type="body" sz="quarter" idx="12" hasCustomPrompt="1"/>
          </p:nvPr>
        </p:nvSpPr>
        <p:spPr>
          <a:xfrm>
            <a:off x="629672" y="1504603"/>
            <a:ext cx="3857441" cy="4876681"/>
          </a:xfrm>
        </p:spPr>
        <p:txBody>
          <a:bodyPr>
            <a:normAutofit/>
          </a:bodyPr>
          <a:lstStyle>
            <a:lvl1pPr>
              <a:lnSpc>
                <a:spcPts val="2399"/>
              </a:lnSpc>
              <a:defRPr sz="1899" baseline="0"/>
            </a:lvl1pPr>
            <a:lvl2pPr>
              <a:lnSpc>
                <a:spcPts val="2399"/>
              </a:lnSpc>
              <a:defRPr sz="1899"/>
            </a:lvl2pPr>
            <a:lvl3pPr>
              <a:lnSpc>
                <a:spcPts val="2399"/>
              </a:lnSpc>
              <a:defRPr sz="1899"/>
            </a:lvl3pPr>
            <a:lvl4pPr>
              <a:lnSpc>
                <a:spcPts val="2399"/>
              </a:lnSpc>
              <a:defRPr sz="1899"/>
            </a:lvl4pPr>
            <a:lvl5pPr>
              <a:lnSpc>
                <a:spcPts val="2399"/>
              </a:lnSpc>
              <a:defRPr sz="1899"/>
            </a:lvl5pPr>
            <a:lvl6pPr>
              <a:lnSpc>
                <a:spcPts val="2399"/>
              </a:lnSpc>
              <a:defRPr sz="1899"/>
            </a:lvl6pPr>
            <a:lvl7pPr>
              <a:lnSpc>
                <a:spcPts val="2399"/>
              </a:lnSpc>
              <a:defRPr sz="1899"/>
            </a:lvl7pPr>
            <a:lvl8pPr>
              <a:lnSpc>
                <a:spcPts val="2399"/>
              </a:lnSpc>
              <a:defRPr sz="1899"/>
            </a:lvl8pPr>
            <a:lvl9pPr>
              <a:lnSpc>
                <a:spcPts val="2399"/>
              </a:lnSpc>
              <a:defRPr sz="1899"/>
            </a:lvl9pPr>
          </a:lstStyle>
          <a:p>
            <a:pPr lvl="0"/>
            <a:r>
              <a:rPr lang="de-DE" dirty="0"/>
              <a:t>Insert </a:t>
            </a:r>
            <a:r>
              <a:rPr lang="de-DE" dirty="0" err="1"/>
              <a:t>text</a:t>
            </a:r>
            <a:r>
              <a:rPr lang="de-DE" dirty="0"/>
              <a:t> in </a:t>
            </a:r>
            <a:r>
              <a:rPr lang="de-DE" noProof="0" dirty="0" err="1"/>
              <a:t>CorpoS</a:t>
            </a:r>
            <a:r>
              <a:rPr lang="de-DE" noProof="0" dirty="0"/>
              <a:t> (Body) 19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5" name="Title 4"/>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 </a:t>
            </a:r>
            <a:r>
              <a:rPr lang="de-DE" noProof="0" dirty="0" err="1"/>
              <a:t>for</a:t>
            </a:r>
            <a:r>
              <a:rPr lang="de-DE" noProof="0" dirty="0"/>
              <a:t> </a:t>
            </a:r>
            <a:r>
              <a:rPr lang="de-DE" noProof="0" dirty="0" err="1"/>
              <a:t>standard</a:t>
            </a:r>
            <a:r>
              <a:rPr lang="de-DE" noProof="0" dirty="0"/>
              <a:t> </a:t>
            </a:r>
            <a:br>
              <a:rPr lang="de-DE" noProof="0" dirty="0"/>
            </a:br>
            <a:r>
              <a:rPr lang="de-DE" noProof="0" dirty="0"/>
              <a:t>text-chart in </a:t>
            </a:r>
            <a:r>
              <a:rPr lang="de-DE" noProof="0" dirty="0" err="1"/>
              <a:t>two</a:t>
            </a:r>
            <a:r>
              <a:rPr lang="de-DE" noProof="0" dirty="0"/>
              <a:t> </a:t>
            </a:r>
            <a:r>
              <a:rPr lang="de-DE" noProof="0" dirty="0" err="1"/>
              <a:t>lines</a:t>
            </a:r>
            <a:endParaRPr lang="de-DE" dirty="0"/>
          </a:p>
        </p:txBody>
      </p:sp>
    </p:spTree>
    <p:extLst>
      <p:ext uri="{BB962C8B-B14F-4D97-AF65-F5344CB8AC3E}">
        <p14:creationId xmlns:p14="http://schemas.microsoft.com/office/powerpoint/2010/main" val="591588570"/>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948">
          <p15:clr>
            <a:srgbClr val="FBAE40"/>
          </p15:clr>
        </p15:guide>
        <p15:guide id="3" orient="horz" pos="182">
          <p15:clr>
            <a:srgbClr val="FBAE40"/>
          </p15:clr>
        </p15:guide>
        <p15:guide id="4" pos="3056">
          <p15:clr>
            <a:srgbClr val="FBAE40"/>
          </p15:clr>
        </p15:guide>
        <p15:guide id="5" pos="2828">
          <p15:clr>
            <a:srgbClr val="FBAE40"/>
          </p15:clr>
        </p15:guide>
      </p15:sldGuideLst>
    </p:ext>
  </p:extLst>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Two contents with head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de-DE" dirty="0"/>
              <a:t>Insert </a:t>
            </a:r>
            <a:r>
              <a:rPr lang="de-DE" dirty="0" err="1"/>
              <a:t>content</a:t>
            </a:r>
            <a:r>
              <a:rPr lang="de-DE" dirty="0"/>
              <a:t> </a:t>
            </a:r>
            <a:r>
              <a:rPr lang="de-DE" dirty="0" err="1"/>
              <a:t>or</a:t>
            </a:r>
            <a:r>
              <a:rPr lang="de-DE" dirty="0"/>
              <a: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a:t>Insert </a:t>
            </a:r>
            <a:r>
              <a:rPr lang="de-DE" dirty="0" err="1"/>
              <a:t>headline</a:t>
            </a:r>
            <a:endParaRPr lang="de-DE" dirty="0"/>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a:t>Insert </a:t>
            </a:r>
            <a:r>
              <a:rPr lang="de-DE" dirty="0" err="1"/>
              <a:t>headline</a:t>
            </a:r>
            <a:endParaRPr lang="de-DE" dirty="0"/>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de-DE" dirty="0"/>
              <a:t>Insert </a:t>
            </a:r>
            <a:r>
              <a:rPr lang="de-DE" dirty="0" err="1"/>
              <a:t>content</a:t>
            </a:r>
            <a:r>
              <a:rPr lang="de-DE" dirty="0"/>
              <a:t> </a:t>
            </a:r>
            <a:r>
              <a:rPr lang="de-DE" dirty="0" err="1"/>
              <a:t>or</a:t>
            </a:r>
            <a:r>
              <a:rPr lang="de-DE" dirty="0"/>
              <a:t> </a:t>
            </a:r>
            <a:r>
              <a:rPr lang="de-DE" dirty="0" err="1"/>
              <a:t>text</a:t>
            </a:r>
            <a:r>
              <a:rPr lang="de-DE" dirty="0"/>
              <a:t> in </a:t>
            </a:r>
            <a:r>
              <a:rPr lang="de-DE" noProof="0" dirty="0" err="1"/>
              <a:t>Corpo</a:t>
            </a:r>
            <a:r>
              <a:rPr lang="de-DE" noProof="0" dirty="0"/>
              <a:t> S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p:txBody>
      </p:sp>
    </p:spTree>
    <p:extLst>
      <p:ext uri="{BB962C8B-B14F-4D97-AF65-F5344CB8AC3E}">
        <p14:creationId xmlns:p14="http://schemas.microsoft.com/office/powerpoint/2010/main" val="4096333597"/>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4 product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47"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Tree>
    <p:extLst>
      <p:ext uri="{BB962C8B-B14F-4D97-AF65-F5344CB8AC3E}">
        <p14:creationId xmlns:p14="http://schemas.microsoft.com/office/powerpoint/2010/main" val="289548970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Headline two lines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04738166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Headline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627179002"/>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748.xml><?xml version="1.0" encoding="utf-8"?>
<p:sldLayout xmlns:a="http://schemas.openxmlformats.org/drawingml/2006/main" xmlns:r="http://schemas.openxmlformats.org/officeDocument/2006/relationships" xmlns:p="http://schemas.openxmlformats.org/presentationml/2006/main" userDrawn="1">
  <p:cSld name="Agenda without brushi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14892"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e-DE" noProof="0" dirty="0"/>
              <a:t>Headline </a:t>
            </a:r>
            <a:r>
              <a:rPr lang="de-DE" noProof="0" dirty="0" err="1"/>
              <a:t>for</a:t>
            </a:r>
            <a:r>
              <a:rPr lang="de-DE" noProof="0" dirty="0"/>
              <a:t> Agenda in </a:t>
            </a:r>
            <a:r>
              <a:rPr lang="de-DE" noProof="0" dirty="0" err="1"/>
              <a:t>CorpoS</a:t>
            </a:r>
            <a:r>
              <a:rPr lang="de-DE" noProof="0" dirty="0"/>
              <a:t> (Body) 35 </a:t>
            </a:r>
            <a:r>
              <a:rPr lang="de-DE" noProof="0" dirty="0" err="1"/>
              <a:t>pt</a:t>
            </a:r>
            <a:r>
              <a:rPr lang="de-DE" noProof="0" dirty="0"/>
              <a:t>. </a:t>
            </a:r>
            <a:br>
              <a:rPr lang="de-DE" noProof="0" dirty="0"/>
            </a:br>
            <a:r>
              <a:rPr lang="de-DE" noProof="0" dirty="0" err="1"/>
              <a:t>one</a:t>
            </a:r>
            <a:r>
              <a:rPr lang="de-DE" noProof="0" dirty="0"/>
              <a:t> </a:t>
            </a:r>
            <a:r>
              <a:rPr lang="de-DE" noProof="0" dirty="0" err="1"/>
              <a:t>or</a:t>
            </a:r>
            <a:r>
              <a:rPr lang="de-DE" noProof="0" dirty="0"/>
              <a:t>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Insert Agenda </a:t>
            </a:r>
            <a:r>
              <a:rPr lang="de-DE" dirty="0" err="1"/>
              <a:t>point</a:t>
            </a:r>
            <a:endParaRPr lang="de-DE" dirty="0"/>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34514037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749.xml><?xml version="1.0" encoding="utf-8"?>
<p:sldLayout xmlns:a="http://schemas.openxmlformats.org/drawingml/2006/main" xmlns:r="http://schemas.openxmlformats.org/officeDocument/2006/relationships" xmlns:p="http://schemas.openxmlformats.org/presentationml/2006/main" showMasterSp="0" preserve="1" userDrawn="1">
  <p:cSld name="1_daimler blanco">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11591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8" name="Foliennummernplatzhalter 3">
            <a:extLst>
              <a:ext uri="{FF2B5EF4-FFF2-40B4-BE49-F238E27FC236}">
                <a16:creationId xmlns:a16="http://schemas.microsoft.com/office/drawing/2014/main" id="{3E15A405-AB95-44E1-98C0-C8DC619077BB}"/>
              </a:ext>
            </a:extLst>
          </p:cNvPr>
          <p:cNvSpPr txBox="1">
            <a:spLocks/>
          </p:cNvSpPr>
          <p:nvPr userDrawn="1"/>
        </p:nvSpPr>
        <p:spPr>
          <a:xfrm>
            <a:off x="11442992" y="6506836"/>
            <a:ext cx="1155196" cy="215950"/>
          </a:xfrm>
          <a:prstGeom prst="rect">
            <a:avLst/>
          </a:prstGeom>
        </p:spPr>
        <p:txBody>
          <a:bodyPr vert="horz" lIns="0" tIns="0" rIns="0" bIns="0" rtlCol="0" anchor="t" anchorCtr="0"/>
          <a:lstStyle>
            <a:defPPr>
              <a:defRPr lang="de-DE"/>
            </a:defPPr>
            <a:lvl1pPr marL="0" indent="0" algn="l" defTabSz="1088959" rtl="0" eaLnBrk="1" latinLnBrk="0" hangingPunct="1">
              <a:spcBef>
                <a:spcPts val="0"/>
              </a:spcBef>
              <a:buFont typeface="Arial" panose="020B0604020202020204" pitchFamily="34" charset="0"/>
              <a:buNone/>
              <a:defRPr sz="1200" kern="1200">
                <a:solidFill>
                  <a:schemeClr val="tx1"/>
                </a:solidFill>
                <a:latin typeface="+mn-lt"/>
                <a:ea typeface="+mn-ea"/>
                <a:cs typeface="+mn-cs"/>
              </a:defRPr>
            </a:lvl1pPr>
            <a:lvl2pPr marL="0" indent="0" algn="l" defTabSz="1088959" rtl="0" eaLnBrk="1" latinLnBrk="0" hangingPunct="1">
              <a:spcBef>
                <a:spcPts val="0"/>
              </a:spcBef>
              <a:defRPr sz="1200" kern="1200">
                <a:solidFill>
                  <a:schemeClr val="tx1"/>
                </a:solidFill>
                <a:latin typeface="+mn-lt"/>
                <a:ea typeface="+mn-ea"/>
                <a:cs typeface="+mn-cs"/>
              </a:defRPr>
            </a:lvl2pPr>
            <a:lvl3pPr marL="0" indent="0" algn="l" defTabSz="1088959" rtl="0" eaLnBrk="1" latinLnBrk="0" hangingPunct="1">
              <a:spcBef>
                <a:spcPts val="0"/>
              </a:spcBef>
              <a:defRPr sz="1200" kern="1200">
                <a:solidFill>
                  <a:schemeClr val="tx1"/>
                </a:solidFill>
                <a:latin typeface="+mn-lt"/>
                <a:ea typeface="+mn-ea"/>
                <a:cs typeface="+mn-cs"/>
              </a:defRPr>
            </a:lvl3pPr>
            <a:lvl4pPr marL="0" indent="0" algn="l" defTabSz="1088959" rtl="0" eaLnBrk="1" latinLnBrk="0" hangingPunct="1">
              <a:spcBef>
                <a:spcPts val="0"/>
              </a:spcBef>
              <a:defRPr sz="1200" kern="1200">
                <a:solidFill>
                  <a:schemeClr val="tx1"/>
                </a:solidFill>
                <a:latin typeface="+mn-lt"/>
                <a:ea typeface="+mn-ea"/>
                <a:cs typeface="+mn-cs"/>
              </a:defRPr>
            </a:lvl4pPr>
            <a:lvl5pPr marL="0" indent="0" algn="l" defTabSz="1088959" rtl="0" eaLnBrk="1" latinLnBrk="0" hangingPunct="1">
              <a:spcBef>
                <a:spcPts val="0"/>
              </a:spcBef>
              <a:defRPr sz="1200" kern="1200">
                <a:solidFill>
                  <a:schemeClr val="tx1"/>
                </a:solidFill>
                <a:latin typeface="+mn-lt"/>
                <a:ea typeface="+mn-ea"/>
                <a:cs typeface="+mn-cs"/>
              </a:defRPr>
            </a:lvl5pPr>
            <a:lvl6pPr marL="0" indent="0" algn="l" defTabSz="1088959" rtl="0" eaLnBrk="1" latinLnBrk="0" hangingPunct="1">
              <a:spcBef>
                <a:spcPts val="0"/>
              </a:spcBef>
              <a:defRPr sz="1200" kern="1200">
                <a:solidFill>
                  <a:schemeClr val="tx1"/>
                </a:solidFill>
                <a:latin typeface="+mn-lt"/>
                <a:ea typeface="+mn-ea"/>
                <a:cs typeface="+mn-cs"/>
              </a:defRPr>
            </a:lvl6pPr>
            <a:lvl7pPr marL="0" indent="0" algn="l" defTabSz="1088959" rtl="0" eaLnBrk="1" latinLnBrk="0" hangingPunct="1">
              <a:spcBef>
                <a:spcPts val="0"/>
              </a:spcBef>
              <a:defRPr sz="1200" kern="1200">
                <a:solidFill>
                  <a:schemeClr val="tx1"/>
                </a:solidFill>
                <a:latin typeface="+mn-lt"/>
                <a:ea typeface="+mn-ea"/>
                <a:cs typeface="+mn-cs"/>
              </a:defRPr>
            </a:lvl7pPr>
            <a:lvl8pPr marL="0" indent="0" algn="l" defTabSz="1088959" rtl="0" eaLnBrk="1" latinLnBrk="0" hangingPunct="1">
              <a:spcBef>
                <a:spcPts val="0"/>
              </a:spcBef>
              <a:defRPr sz="1200" kern="1200">
                <a:solidFill>
                  <a:schemeClr val="tx1"/>
                </a:solidFill>
                <a:latin typeface="+mn-lt"/>
                <a:ea typeface="+mn-ea"/>
                <a:cs typeface="+mn-cs"/>
              </a:defRPr>
            </a:lvl8pPr>
            <a:lvl9pPr marL="0" indent="0" algn="l" defTabSz="1088959" rtl="0" eaLnBrk="1" latinLnBrk="0" hangingPunct="1">
              <a:spcBef>
                <a:spcPts val="0"/>
              </a:spcBef>
              <a:defRPr sz="1200" kern="1200">
                <a:solidFill>
                  <a:schemeClr val="tx1"/>
                </a:solidFill>
                <a:latin typeface="+mn-lt"/>
                <a:ea typeface="+mn-ea"/>
                <a:cs typeface="+mn-cs"/>
              </a:defRPr>
            </a:lvl9pPr>
          </a:lstStyle>
          <a:p>
            <a:r>
              <a:rPr lang="de-DE" sz="1199" b="1" dirty="0">
                <a:solidFill>
                  <a:prstClr val="black"/>
                </a:solidFill>
              </a:rPr>
              <a:t>PAGE </a:t>
            </a:r>
            <a:fld id="{52531704-8F80-415D-BD2B-6B9991AE822F}" type="slidenum">
              <a:rPr lang="de-DE" sz="1199" b="1" smtClean="0">
                <a:solidFill>
                  <a:prstClr val="black"/>
                </a:solidFill>
              </a:rPr>
              <a:pPr/>
              <a:t>‹#›</a:t>
            </a:fld>
            <a:endParaRPr lang="de-DE" sz="1199" b="1" dirty="0">
              <a:solidFill>
                <a:prstClr val="black"/>
              </a:solidFill>
            </a:endParaRPr>
          </a:p>
        </p:txBody>
      </p:sp>
    </p:spTree>
    <p:extLst>
      <p:ext uri="{BB962C8B-B14F-4D97-AF65-F5344CB8AC3E}">
        <p14:creationId xmlns:p14="http://schemas.microsoft.com/office/powerpoint/2010/main" val="192804226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66">
          <p15:clr>
            <a:srgbClr val="FBAE40"/>
          </p15:clr>
        </p15:guide>
        <p15:guide id="3" orient="horz" pos="754">
          <p15:clr>
            <a:srgbClr val="FBAE40"/>
          </p15:clr>
        </p15:guide>
        <p15:guide id="4" orient="horz" pos="845">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1/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4608438"/>
            <a:ext cx="10930832" cy="1538527"/>
          </a:xfrm>
        </p:spPr>
        <p:txBody>
          <a:bodyPr wrap="square" anchor="b" anchorCtr="0">
            <a:spAutoFit/>
          </a:bodyPr>
          <a:lstStyle>
            <a:lvl1pPr>
              <a:defRPr baseline="0"/>
            </a:lvl1pPr>
          </a:lstStyle>
          <a:p>
            <a:r>
              <a:rPr lang="en-GB" dirty="0"/>
              <a:t>Referent’s name: </a:t>
            </a:r>
            <a:r>
              <a:rPr lang="en-GB" noProof="0" dirty="0" err="1"/>
              <a:t>CorpoS</a:t>
            </a:r>
            <a:r>
              <a:rPr lang="en-GB" noProof="0" dirty="0"/>
              <a:t> </a:t>
            </a:r>
            <a:r>
              <a:rPr lang="en-GB" dirty="0"/>
              <a:t>(Body) 35 pt.</a:t>
            </a:r>
            <a:br>
              <a:rPr lang="en-GB" dirty="0"/>
            </a:br>
            <a:r>
              <a:rPr lang="en-GB" dirty="0"/>
              <a:t>Presentation title in two lines or </a:t>
            </a:r>
            <a:br>
              <a:rPr lang="en-GB" dirty="0"/>
            </a:br>
            <a:r>
              <a:rPr lang="en-GB" dirty="0"/>
              <a:t>more lines of text, dd. </a:t>
            </a:r>
            <a:r>
              <a:rPr lang="en-GB" dirty="0" err="1"/>
              <a:t>mmmm</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786195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750.xml><?xml version="1.0" encoding="utf-8"?>
<p:sldLayout xmlns:a="http://schemas.openxmlformats.org/drawingml/2006/main" xmlns:r="http://schemas.openxmlformats.org/officeDocument/2006/relationships" xmlns:p="http://schemas.openxmlformats.org/presentationml/2006/main" showMasterSp="0" userDrawn="1">
  <p:cSld name="Full image">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17964"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5" name="Listenebene erhöhen"/>
                <p:cNvPicPr>
                  <a:picLocks noChangeAspect="1"/>
                </p:cNvPicPr>
                <p:nvPr userDrawn="1"/>
              </p:nvPicPr>
              <p:blipFill>
                <a:blip r:embed="rId6"/>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7"/>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7501197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51.xml><?xml version="1.0" encoding="utf-8"?>
<p:sldLayout xmlns:a="http://schemas.openxmlformats.org/drawingml/2006/main" xmlns:r="http://schemas.openxmlformats.org/officeDocument/2006/relationships" xmlns:p="http://schemas.openxmlformats.org/presentationml/2006/main" showMasterSp="0"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a:t>
            </a:r>
            <a:br>
              <a:rPr lang="de-DE" dirty="0"/>
            </a:br>
            <a:r>
              <a:rPr lang="de-DE" dirty="0" err="1"/>
              <a:t>Presentation</a:t>
            </a:r>
            <a:r>
              <a:rPr lang="de-DE" dirty="0"/>
              <a:t> title in </a:t>
            </a:r>
            <a:r>
              <a:rPr lang="de-DE" dirty="0" err="1"/>
              <a:t>two</a:t>
            </a:r>
            <a:r>
              <a:rPr lang="de-DE" dirty="0"/>
              <a:t> </a:t>
            </a:r>
            <a:r>
              <a:rPr lang="de-DE" dirty="0" err="1"/>
              <a:t>or</a:t>
            </a:r>
            <a:r>
              <a:rPr lang="de-DE" dirty="0"/>
              <a:t> </a:t>
            </a:r>
            <a:r>
              <a:rPr lang="de-DE" dirty="0" err="1"/>
              <a:t>three</a:t>
            </a:r>
            <a:r>
              <a:rPr lang="de-DE" dirty="0"/>
              <a:t> </a:t>
            </a:r>
            <a:br>
              <a:rPr lang="de-DE" dirty="0"/>
            </a:b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8411230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752.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18988"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Datumsplatzhalter 1"/>
          <p:cNvSpPr>
            <a:spLocks noGrp="1"/>
          </p:cNvSpPr>
          <p:nvPr>
            <p:ph type="dt" sz="half" idx="10"/>
          </p:nvPr>
        </p:nvSpPr>
        <p:spPr>
          <a:xfrm>
            <a:off x="838200" y="6356350"/>
            <a:ext cx="2743200" cy="365125"/>
          </a:xfrm>
          <a:prstGeom prst="rect">
            <a:avLst/>
          </a:prstGeom>
        </p:spPr>
        <p:txBody>
          <a:bodyPr/>
          <a:lstStyle/>
          <a:p>
            <a:pPr defTabSz="914126"/>
            <a:fld id="{9D8AD672-C06F-435A-873C-D96653C817C2}" type="datetimeFigureOut">
              <a:rPr lang="de-DE" smtClean="0">
                <a:solidFill>
                  <a:prstClr val="black"/>
                </a:solidFill>
              </a:rPr>
              <a:pPr defTabSz="914126"/>
              <a:t>26.04.2019</a:t>
            </a:fld>
            <a:endParaRPr lang="de-DE" dirty="0">
              <a:solidFill>
                <a:prstClr val="black"/>
              </a:solidFill>
            </a:endParaRPr>
          </a:p>
        </p:txBody>
      </p:sp>
      <p:sp>
        <p:nvSpPr>
          <p:cNvPr id="3" name="Fußzeilenplatzhalter 2"/>
          <p:cNvSpPr>
            <a:spLocks noGrp="1"/>
          </p:cNvSpPr>
          <p:nvPr>
            <p:ph type="ftr" sz="quarter" idx="11"/>
          </p:nvPr>
        </p:nvSpPr>
        <p:spPr/>
        <p:txBody>
          <a:bodyPr/>
          <a:lstStyle>
            <a:lvl1pPr eaLnBrk="1">
              <a:defRPr/>
            </a:lvl1pPr>
          </a:lstStyle>
          <a:p>
            <a:endParaRPr lang="de-DE" dirty="0">
              <a:solidFill>
                <a:prstClr val="black"/>
              </a:solidFill>
            </a:endParaRPr>
          </a:p>
        </p:txBody>
      </p:sp>
      <p:sp>
        <p:nvSpPr>
          <p:cNvPr id="4" name="Foliennummernplatzhalter 3"/>
          <p:cNvSpPr>
            <a:spLocks noGrp="1"/>
          </p:cNvSpPr>
          <p:nvPr>
            <p:ph type="sldNum" sz="quarter" idx="12"/>
          </p:nvPr>
        </p:nvSpPr>
        <p:spPr/>
        <p:txBody>
          <a:bodyPr/>
          <a:lstStyle/>
          <a:p>
            <a:fld id="{A2229452-8F2B-4626-918F-01887DB5935C}"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4108006653"/>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showMasterSp="0" userDrawn="1">
  <p:cSld name="1_4. Brushing/ image 2 columns">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2001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14" name="Picture Placeholder 3"/>
          <p:cNvSpPr>
            <a:spLocks noGrp="1"/>
          </p:cNvSpPr>
          <p:nvPr>
            <p:ph type="pic" sz="quarter" idx="13" hasCustomPrompt="1"/>
          </p:nvPr>
        </p:nvSpPr>
        <p:spPr bwMode="gray">
          <a:xfrm>
            <a:off x="-19040" y="0"/>
            <a:ext cx="12211833" cy="5588740"/>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 name="connsiteX0" fmla="*/ 0 w 12218193"/>
              <a:gd name="connsiteY0" fmla="*/ 9525 h 4086000"/>
              <a:gd name="connsiteX1" fmla="*/ 12217399 w 12218193"/>
              <a:gd name="connsiteY1" fmla="*/ 0 h 4086000"/>
              <a:gd name="connsiteX2" fmla="*/ 12218193 w 12218193"/>
              <a:gd name="connsiteY2" fmla="*/ 3455194 h 4086000"/>
              <a:gd name="connsiteX3" fmla="*/ 5038725 w 12218193"/>
              <a:gd name="connsiteY3" fmla="*/ 4086000 h 4086000"/>
              <a:gd name="connsiteX4" fmla="*/ 0 w 12218193"/>
              <a:gd name="connsiteY4" fmla="*/ 9525 h 4086000"/>
              <a:gd name="connsiteX0" fmla="*/ 0 w 12218193"/>
              <a:gd name="connsiteY0" fmla="*/ 9525 h 4533675"/>
              <a:gd name="connsiteX1" fmla="*/ 12217399 w 12218193"/>
              <a:gd name="connsiteY1" fmla="*/ 0 h 4533675"/>
              <a:gd name="connsiteX2" fmla="*/ 12218193 w 12218193"/>
              <a:gd name="connsiteY2" fmla="*/ 3455194 h 4533675"/>
              <a:gd name="connsiteX3" fmla="*/ 28575 w 12218193"/>
              <a:gd name="connsiteY3" fmla="*/ 4533675 h 4533675"/>
              <a:gd name="connsiteX4" fmla="*/ 0 w 12218193"/>
              <a:gd name="connsiteY4" fmla="*/ 9525 h 4533675"/>
              <a:gd name="connsiteX0" fmla="*/ 0 w 12218193"/>
              <a:gd name="connsiteY0" fmla="*/ 9525 h 4543200"/>
              <a:gd name="connsiteX1" fmla="*/ 12217399 w 12218193"/>
              <a:gd name="connsiteY1" fmla="*/ 0 h 4543200"/>
              <a:gd name="connsiteX2" fmla="*/ 12218193 w 12218193"/>
              <a:gd name="connsiteY2" fmla="*/ 3455194 h 4543200"/>
              <a:gd name="connsiteX3" fmla="*/ 19050 w 12218193"/>
              <a:gd name="connsiteY3" fmla="*/ 4543200 h 4543200"/>
              <a:gd name="connsiteX4" fmla="*/ 0 w 12218193"/>
              <a:gd name="connsiteY4" fmla="*/ 9525 h 4543200"/>
              <a:gd name="connsiteX0" fmla="*/ 0 w 12218193"/>
              <a:gd name="connsiteY0" fmla="*/ 9525 h 3817485"/>
              <a:gd name="connsiteX1" fmla="*/ 12217399 w 12218193"/>
              <a:gd name="connsiteY1" fmla="*/ 0 h 3817485"/>
              <a:gd name="connsiteX2" fmla="*/ 12218193 w 12218193"/>
              <a:gd name="connsiteY2" fmla="*/ 3455194 h 3817485"/>
              <a:gd name="connsiteX3" fmla="*/ 4536 w 12218193"/>
              <a:gd name="connsiteY3" fmla="*/ 3817485 h 3817485"/>
              <a:gd name="connsiteX4" fmla="*/ 0 w 12218193"/>
              <a:gd name="connsiteY4" fmla="*/ 9525 h 3817485"/>
              <a:gd name="connsiteX0" fmla="*/ 0 w 12218193"/>
              <a:gd name="connsiteY0" fmla="*/ 9525 h 3875543"/>
              <a:gd name="connsiteX1" fmla="*/ 12217399 w 12218193"/>
              <a:gd name="connsiteY1" fmla="*/ 0 h 3875543"/>
              <a:gd name="connsiteX2" fmla="*/ 12218193 w 12218193"/>
              <a:gd name="connsiteY2" fmla="*/ 3455194 h 3875543"/>
              <a:gd name="connsiteX3" fmla="*/ 19050 w 12218193"/>
              <a:gd name="connsiteY3" fmla="*/ 3875543 h 3875543"/>
              <a:gd name="connsiteX4" fmla="*/ 0 w 12218193"/>
              <a:gd name="connsiteY4" fmla="*/ 9525 h 3875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8193" h="3875543">
                <a:moveTo>
                  <a:pt x="0" y="9525"/>
                </a:moveTo>
                <a:lnTo>
                  <a:pt x="12217399" y="0"/>
                </a:lnTo>
                <a:cubicBezTo>
                  <a:pt x="12217664" y="1151731"/>
                  <a:pt x="12217928" y="2303463"/>
                  <a:pt x="12218193" y="3455194"/>
                </a:cubicBezTo>
                <a:lnTo>
                  <a:pt x="19050" y="3875543"/>
                </a:lnTo>
                <a:lnTo>
                  <a:pt x="0" y="9525"/>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3" name="Freihandform 12"/>
          <p:cNvSpPr/>
          <p:nvPr userDrawn="1"/>
        </p:nvSpPr>
        <p:spPr>
          <a:xfrm>
            <a:off x="-9519" y="4940818"/>
            <a:ext cx="12214213" cy="1917182"/>
          </a:xfrm>
          <a:custGeom>
            <a:avLst/>
            <a:gdLst>
              <a:gd name="connsiteX0" fmla="*/ 0 w 12220575"/>
              <a:gd name="connsiteY0" fmla="*/ 1066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0 w 12220575"/>
              <a:gd name="connsiteY4" fmla="*/ 1066800 h 3019425"/>
              <a:gd name="connsiteX0" fmla="*/ 19050 w 12220575"/>
              <a:gd name="connsiteY0" fmla="*/ 304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19050 w 12220575"/>
              <a:gd name="connsiteY4" fmla="*/ 304800 h 3019425"/>
              <a:gd name="connsiteX0" fmla="*/ 0 w 12220575"/>
              <a:gd name="connsiteY0" fmla="*/ 304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0 w 12220575"/>
              <a:gd name="connsiteY4" fmla="*/ 304800 h 3019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20575" h="3019425">
                <a:moveTo>
                  <a:pt x="0" y="304800"/>
                </a:moveTo>
                <a:lnTo>
                  <a:pt x="0" y="3019425"/>
                </a:lnTo>
                <a:lnTo>
                  <a:pt x="12220575" y="3019425"/>
                </a:lnTo>
                <a:lnTo>
                  <a:pt x="12220575" y="0"/>
                </a:lnTo>
                <a:lnTo>
                  <a:pt x="0" y="30480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15"/>
            <a:endParaRPr lang="de-DE" sz="2099" dirty="0">
              <a:solidFill>
                <a:prstClr val="white"/>
              </a:solidFill>
            </a:endParaRPr>
          </a:p>
        </p:txBody>
      </p:sp>
    </p:spTree>
    <p:extLst>
      <p:ext uri="{BB962C8B-B14F-4D97-AF65-F5344CB8AC3E}">
        <p14:creationId xmlns:p14="http://schemas.microsoft.com/office/powerpoint/2010/main" val="68596685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754.xml><?xml version="1.0" encoding="utf-8"?>
<p:sldLayout xmlns:a="http://schemas.openxmlformats.org/drawingml/2006/main" xmlns:r="http://schemas.openxmlformats.org/officeDocument/2006/relationships" xmlns:p="http://schemas.openxmlformats.org/presentationml/2006/main" userDrawn="1">
  <p:cSld name="Einleitungstext, dark grey">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21036"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el 1"/>
          <p:cNvSpPr>
            <a:spLocks noGrp="1"/>
          </p:cNvSpPr>
          <p:nvPr>
            <p:ph type="title"/>
          </p:nvPr>
        </p:nvSpPr>
        <p:spPr>
          <a:xfrm>
            <a:off x="714200" y="590401"/>
            <a:ext cx="8405989" cy="1325563"/>
          </a:xfrm>
        </p:spPr>
        <p:txBody>
          <a:bodyPr/>
          <a:lstStyle>
            <a:lvl1pPr>
              <a:defRPr sz="3580">
                <a:solidFill>
                  <a:schemeClr val="tx2"/>
                </a:solidFill>
              </a:defRPr>
            </a:lvl1pPr>
          </a:lstStyle>
          <a:p>
            <a:r>
              <a:rPr lang="de-DE" dirty="0"/>
              <a:t>Mastertitelformat bearbeiten</a:t>
            </a:r>
          </a:p>
        </p:txBody>
      </p:sp>
      <p:sp>
        <p:nvSpPr>
          <p:cNvPr id="3" name="Foliennummernplatzhalter 5"/>
          <p:cNvSpPr>
            <a:spLocks noGrp="1"/>
          </p:cNvSpPr>
          <p:nvPr>
            <p:ph type="sldNum" sz="quarter" idx="12"/>
          </p:nvPr>
        </p:nvSpPr>
        <p:spPr>
          <a:xfrm>
            <a:off x="10911840" y="6219191"/>
            <a:ext cx="579120" cy="303531"/>
          </a:xfrm>
        </p:spPr>
        <p:txBody>
          <a:bodyPr/>
          <a:lstStyle>
            <a:lvl1pPr>
              <a:defRPr>
                <a:solidFill>
                  <a:schemeClr val="tx2"/>
                </a:solidFill>
              </a:defRPr>
            </a:lvl1pPr>
          </a:lstStyle>
          <a:p>
            <a:fld id="{BDFFC951-C3BB-40CC-A730-0B992127FC44}" type="slidenum">
              <a:rPr lang="de-DE" smtClean="0">
                <a:solidFill>
                  <a:srgbClr val="E6E6E6"/>
                </a:solidFill>
              </a:rPr>
              <a:pPr/>
              <a:t>‹#›</a:t>
            </a:fld>
            <a:endParaRPr lang="de-DE" dirty="0">
              <a:solidFill>
                <a:srgbClr val="E6E6E6"/>
              </a:solidFill>
            </a:endParaRPr>
          </a:p>
        </p:txBody>
      </p:sp>
    </p:spTree>
    <p:extLst>
      <p:ext uri="{BB962C8B-B14F-4D97-AF65-F5344CB8AC3E}">
        <p14:creationId xmlns:p14="http://schemas.microsoft.com/office/powerpoint/2010/main" val="972661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5.xml><?xml version="1.0" encoding="utf-8"?>
<p:sldLayout xmlns:a="http://schemas.openxmlformats.org/drawingml/2006/main" xmlns:r="http://schemas.openxmlformats.org/officeDocument/2006/relationships" xmlns:p="http://schemas.openxmlformats.org/presentationml/2006/main" type="tx">
  <p:cSld name="Dark Background">
    <p:spTree>
      <p:nvGrpSpPr>
        <p:cNvPr id="1" name=""/>
        <p:cNvGrpSpPr/>
        <p:nvPr/>
      </p:nvGrpSpPr>
      <p:grpSpPr>
        <a:xfrm>
          <a:off x="0" y="0"/>
          <a:ext cx="0" cy="0"/>
          <a:chOff x="0" y="0"/>
          <a:chExt cx="0" cy="0"/>
        </a:xfrm>
      </p:grpSpPr>
      <p:sp>
        <p:nvSpPr>
          <p:cNvPr id="18" name="Rechteck"/>
          <p:cNvSpPr/>
          <p:nvPr/>
        </p:nvSpPr>
        <p:spPr>
          <a:xfrm>
            <a:off x="0" y="0"/>
            <a:ext cx="12192000" cy="6858000"/>
          </a:xfrm>
          <a:prstGeom prst="rect">
            <a:avLst/>
          </a:prstGeom>
          <a:solidFill>
            <a:srgbClr val="2C2B31"/>
          </a:solidFill>
          <a:ln w="12700">
            <a:miter lim="400000"/>
          </a:ln>
        </p:spPr>
        <p:txBody>
          <a:bodyPr lIns="29065" tIns="29065" rIns="29065" bIns="29065" anchor="ctr"/>
          <a:lstStyle/>
          <a:p>
            <a:pPr defTabSz="744062">
              <a:defRPr sz="2400"/>
            </a:pPr>
            <a:endParaRPr lang="de-DE" sz="1362" dirty="0">
              <a:solidFill>
                <a:prstClr val="black"/>
              </a:solidFill>
            </a:endParaRPr>
          </a:p>
        </p:txBody>
      </p:sp>
      <p:sp>
        <p:nvSpPr>
          <p:cNvPr id="19" name="Foliennummer"/>
          <p:cNvSpPr txBox="1">
            <a:spLocks noGrp="1"/>
          </p:cNvSpPr>
          <p:nvPr>
            <p:ph type="sldNum" sz="quarter" idx="2"/>
          </p:nvPr>
        </p:nvSpPr>
        <p:spPr>
          <a:xfrm>
            <a:off x="5932244" y="6505278"/>
            <a:ext cx="316541" cy="266369"/>
          </a:xfrm>
          <a:prstGeom prst="rect">
            <a:avLst/>
          </a:prstGeom>
        </p:spPr>
        <p:txBody>
          <a:bodyPr lIns="51196" tIns="51196" rIns="51196" bIns="51196"/>
          <a:lstStyle>
            <a:lvl1pPr algn="ctr" defTabSz="334259">
              <a:defRPr sz="1021">
                <a:solidFill>
                  <a:srgbClr val="000000"/>
                </a:solidFill>
                <a:latin typeface="+mn-lt"/>
                <a:ea typeface="+mn-ea"/>
                <a:cs typeface="+mn-cs"/>
                <a:sym typeface="Helvetica Light"/>
              </a:defRPr>
            </a:lvl1pPr>
          </a:lstStyle>
          <a:p>
            <a:fld id="{86CB4B4D-7CA3-9044-876B-883B54F8677D}" type="slidenum">
              <a:rPr lang="de-DE" smtClean="0"/>
              <a:pPr/>
              <a:t>‹#›</a:t>
            </a:fld>
            <a:endParaRPr lang="de-DE" dirty="0"/>
          </a:p>
        </p:txBody>
      </p:sp>
    </p:spTree>
    <p:extLst>
      <p:ext uri="{BB962C8B-B14F-4D97-AF65-F5344CB8AC3E}">
        <p14:creationId xmlns:p14="http://schemas.microsoft.com/office/powerpoint/2010/main" val="1103844093"/>
      </p:ext>
    </p:extLst>
  </p:cSld>
  <p:clrMapOvr>
    <a:masterClrMapping/>
  </p:clrMapOvr>
  <p:transition spd="med"/>
</p:sldLayout>
</file>

<file path=ppt/slideLayouts/slideLayout756.xml><?xml version="1.0" encoding="utf-8"?>
<p:sldLayout xmlns:a="http://schemas.openxmlformats.org/drawingml/2006/main" xmlns:r="http://schemas.openxmlformats.org/officeDocument/2006/relationships" xmlns:p="http://schemas.openxmlformats.org/presentationml/2006/main" userDrawn="1">
  <p:cSld name="Blank/ Headline 2 line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122060"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71" y="285982"/>
            <a:ext cx="10931106" cy="683842"/>
          </a:xfrm>
        </p:spPr>
        <p:txBody>
          <a:bodyPr/>
          <a:lstStyle/>
          <a:p>
            <a:r>
              <a:rPr lang="en-US" noProof="0" dirty="0"/>
              <a:t>Headline in </a:t>
            </a:r>
            <a:r>
              <a:rPr lang="en-US" noProof="0" dirty="0" err="1"/>
              <a:t>CorpoS</a:t>
            </a:r>
            <a:r>
              <a:rPr lang="en-US" noProof="0" dirty="0"/>
              <a:t> (Body) 35 pt.</a:t>
            </a:r>
            <a:endParaRPr lang="en-US" dirty="0"/>
          </a:p>
        </p:txBody>
      </p:sp>
      <p:sp>
        <p:nvSpPr>
          <p:cNvPr id="3" name="Footer Placeholder 2"/>
          <p:cNvSpPr>
            <a:spLocks noGrp="1"/>
          </p:cNvSpPr>
          <p:nvPr>
            <p:ph type="ftr" sz="quarter" idx="10"/>
          </p:nvPr>
        </p:nvSpPr>
        <p:spPr/>
        <p:txBody>
          <a:bodyPr/>
          <a:lstStyle/>
          <a:p>
            <a:r>
              <a:rPr lang="en-US" dirty="0">
                <a:solidFill>
                  <a:prstClr val="black"/>
                </a:solidFill>
              </a:rPr>
              <a:t>DFS Capital Market Day</a:t>
            </a:r>
          </a:p>
        </p:txBody>
      </p:sp>
      <p:sp>
        <p:nvSpPr>
          <p:cNvPr id="4" name="Slide Number Placeholder 3"/>
          <p:cNvSpPr>
            <a:spLocks noGrp="1"/>
          </p:cNvSpPr>
          <p:nvPr>
            <p:ph type="sldNum" sz="quarter" idx="11"/>
          </p:nvPr>
        </p:nvSpPr>
        <p:spPr/>
        <p:txBody>
          <a:bodyPr/>
          <a:lstStyle/>
          <a:p>
            <a:r>
              <a:rPr lang="en-US" dirty="0">
                <a:solidFill>
                  <a:prstClr val="black"/>
                </a:solidFill>
              </a:rPr>
              <a:t>Page </a:t>
            </a:r>
            <a:fld id="{52531704-8F80-415D-BD2B-6B9991AE822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37412385"/>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757.xml><?xml version="1.0" encoding="utf-8"?>
<p:sldLayout xmlns:a="http://schemas.openxmlformats.org/drawingml/2006/main" xmlns:r="http://schemas.openxmlformats.org/officeDocument/2006/relationships" xmlns:p="http://schemas.openxmlformats.org/presentationml/2006/main" showMasterSp="0" preserve="1" userDrawn="1">
  <p:cSld name="Title 3/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 </a:t>
            </a:r>
            <a:r>
              <a:rPr lang="de-DE" dirty="0" err="1"/>
              <a:t>Presentation</a:t>
            </a:r>
            <a:r>
              <a:rPr lang="de-DE" dirty="0"/>
              <a:t> title</a:t>
            </a:r>
            <a:br>
              <a:rPr lang="de-DE" dirty="0"/>
            </a:br>
            <a:r>
              <a:rPr lang="de-DE" dirty="0"/>
              <a:t>in </a:t>
            </a:r>
            <a:r>
              <a:rPr lang="de-DE" dirty="0" err="1"/>
              <a:t>two</a:t>
            </a:r>
            <a:r>
              <a:rPr lang="de-DE" dirty="0"/>
              <a:t> </a:t>
            </a: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759034290"/>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758.xml><?xml version="1.0" encoding="utf-8"?>
<p:sldLayout xmlns:a="http://schemas.openxmlformats.org/drawingml/2006/main" xmlns:r="http://schemas.openxmlformats.org/officeDocument/2006/relationships" xmlns:p="http://schemas.openxmlformats.org/presentationml/2006/main" showMasterSp="0" preserve="1" userDrawn="1">
  <p:cSld name="Title 2/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 </a:t>
            </a:r>
            <a:r>
              <a:rPr lang="de-DE" dirty="0" err="1"/>
              <a:t>Presentation</a:t>
            </a:r>
            <a:r>
              <a:rPr lang="de-DE" dirty="0"/>
              <a:t> title</a:t>
            </a:r>
            <a:br>
              <a:rPr lang="de-DE" dirty="0"/>
            </a:br>
            <a:r>
              <a:rPr lang="de-DE" dirty="0"/>
              <a:t>in </a:t>
            </a:r>
            <a:r>
              <a:rPr lang="de-DE" dirty="0" err="1"/>
              <a:t>two</a:t>
            </a:r>
            <a:r>
              <a:rPr lang="de-DE" dirty="0"/>
              <a:t> </a:t>
            </a:r>
            <a:r>
              <a:rPr lang="de-DE" dirty="0" err="1"/>
              <a:t>or</a:t>
            </a:r>
            <a:r>
              <a:rPr lang="de-DE" dirty="0"/>
              <a:t> </a:t>
            </a:r>
            <a:r>
              <a:rPr lang="de-DE" dirty="0" err="1"/>
              <a:t>more</a:t>
            </a:r>
            <a:r>
              <a:rPr lang="de-DE" dirty="0"/>
              <a:t> </a:t>
            </a: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5997177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759.xml><?xml version="1.0" encoding="utf-8"?>
<p:sldLayout xmlns:a="http://schemas.openxmlformats.org/drawingml/2006/main" xmlns:r="http://schemas.openxmlformats.org/officeDocument/2006/relationships" xmlns:p="http://schemas.openxmlformats.org/presentationml/2006/main" showMasterSp="0" preserve="1" userDrawn="1">
  <p:cSld name="Title 1/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4608438"/>
            <a:ext cx="10930832" cy="1538527"/>
          </a:xfrm>
        </p:spPr>
        <p:txBody>
          <a:bodyPr wrap="square" anchor="b" anchorCtr="0">
            <a:spAutoFit/>
          </a:bodyPr>
          <a:lstStyle>
            <a:lvl1pPr>
              <a:defRPr baseline="0"/>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a:t>
            </a:r>
            <a:br>
              <a:rPr lang="de-DE" dirty="0"/>
            </a:br>
            <a:r>
              <a:rPr lang="de-DE" dirty="0" err="1"/>
              <a:t>Presentation</a:t>
            </a:r>
            <a:r>
              <a:rPr lang="de-DE" dirty="0"/>
              <a:t> title in </a:t>
            </a:r>
            <a:r>
              <a:rPr lang="de-DE" dirty="0" err="1"/>
              <a:t>two</a:t>
            </a:r>
            <a:r>
              <a:rPr lang="de-DE" dirty="0"/>
              <a:t> </a:t>
            </a:r>
            <a:r>
              <a:rPr lang="de-DE" dirty="0" err="1"/>
              <a:t>lines</a:t>
            </a:r>
            <a:r>
              <a:rPr lang="de-DE" dirty="0"/>
              <a:t> </a:t>
            </a:r>
            <a:r>
              <a:rPr lang="de-DE" dirty="0" err="1"/>
              <a:t>or</a:t>
            </a:r>
            <a:r>
              <a:rPr lang="de-DE" dirty="0"/>
              <a:t> </a:t>
            </a:r>
            <a:br>
              <a:rPr lang="de-DE" dirty="0"/>
            </a:br>
            <a:r>
              <a:rPr lang="de-DE" dirty="0" err="1"/>
              <a:t>more</a:t>
            </a:r>
            <a:r>
              <a:rPr lang="de-DE" dirty="0"/>
              <a:t> </a:t>
            </a: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85201094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3/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763324"/>
          </a:xfrm>
        </p:spPr>
        <p:txBody>
          <a:bodyPr wrap="square" anchor="t" anchorCtr="0">
            <a:noAutofit/>
          </a:bodyPr>
          <a:lstStyle>
            <a:lvl1pPr>
              <a:defRPr baseline="0">
                <a:solidFill>
                  <a:schemeClr val="bg1"/>
                </a:solidFill>
              </a:defRPr>
            </a:lvl1pPr>
          </a:lstStyle>
          <a:p>
            <a:r>
              <a:rPr lang="en-GB" dirty="0"/>
              <a:t>Referent’s name: </a:t>
            </a:r>
            <a:r>
              <a:rPr lang="en-GB" noProof="0" dirty="0" err="1"/>
              <a:t>CorpoS</a:t>
            </a:r>
            <a:r>
              <a:rPr lang="en-GB" noProof="0" dirty="0"/>
              <a:t>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386976711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760.xml><?xml version="1.0" encoding="utf-8"?>
<p:sldLayout xmlns:a="http://schemas.openxmlformats.org/drawingml/2006/main" xmlns:r="http://schemas.openxmlformats.org/officeDocument/2006/relationships" xmlns:p="http://schemas.openxmlformats.org/presentationml/2006/main" showMasterSp="0" preserve="1" userDrawn="1">
  <p:cSld name="Title 3/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 name="Titel 1"/>
          <p:cNvSpPr>
            <a:spLocks noGrp="1"/>
          </p:cNvSpPr>
          <p:nvPr>
            <p:ph type="ctrTitle" hasCustomPrompt="1"/>
          </p:nvPr>
        </p:nvSpPr>
        <p:spPr>
          <a:xfrm>
            <a:off x="628323" y="2045814"/>
            <a:ext cx="10932181" cy="1763324"/>
          </a:xfrm>
        </p:spPr>
        <p:txBody>
          <a:bodyPr wrap="square" anchor="t" anchorCtr="0">
            <a:noAutofit/>
          </a:bodyPr>
          <a:lstStyle>
            <a:lvl1pPr>
              <a:defRPr baseline="0">
                <a:solidFill>
                  <a:schemeClr val="bg1"/>
                </a:solidFill>
              </a:defRPr>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a:t>
            </a:r>
            <a:br>
              <a:rPr lang="de-DE" dirty="0"/>
            </a:br>
            <a:r>
              <a:rPr lang="de-DE" dirty="0" err="1"/>
              <a:t>Presentation</a:t>
            </a:r>
            <a:r>
              <a:rPr lang="de-DE" dirty="0"/>
              <a:t> title in </a:t>
            </a:r>
            <a:r>
              <a:rPr lang="de-DE" dirty="0" err="1"/>
              <a:t>two</a:t>
            </a:r>
            <a:r>
              <a:rPr lang="de-DE" dirty="0"/>
              <a:t> </a:t>
            </a:r>
            <a:r>
              <a:rPr lang="de-DE" dirty="0" err="1"/>
              <a:t>or</a:t>
            </a:r>
            <a:r>
              <a:rPr lang="de-DE" dirty="0"/>
              <a:t> </a:t>
            </a:r>
            <a:r>
              <a:rPr lang="de-DE" dirty="0" err="1"/>
              <a:t>three</a:t>
            </a:r>
            <a:r>
              <a:rPr lang="de-DE" dirty="0"/>
              <a:t> </a:t>
            </a:r>
            <a:br>
              <a:rPr lang="de-DE" dirty="0"/>
            </a:b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54817370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761.xml><?xml version="1.0" encoding="utf-8"?>
<p:sldLayout xmlns:a="http://schemas.openxmlformats.org/drawingml/2006/main" xmlns:r="http://schemas.openxmlformats.org/officeDocument/2006/relationships" xmlns:p="http://schemas.openxmlformats.org/presentationml/2006/main" showMasterSp="0" preserve="1" userDrawn="1">
  <p:cSld name="Title 2/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 name="Titel 1"/>
          <p:cNvSpPr>
            <a:spLocks noGrp="1"/>
          </p:cNvSpPr>
          <p:nvPr>
            <p:ph type="ctrTitle" hasCustomPrompt="1"/>
          </p:nvPr>
        </p:nvSpPr>
        <p:spPr>
          <a:xfrm>
            <a:off x="628323" y="2044433"/>
            <a:ext cx="10932181" cy="648964"/>
          </a:xfrm>
        </p:spPr>
        <p:txBody>
          <a:bodyPr wrap="square" anchor="t" anchorCtr="0">
            <a:noAutofit/>
          </a:bodyPr>
          <a:lstStyle>
            <a:lvl1pPr>
              <a:defRPr>
                <a:solidFill>
                  <a:schemeClr val="bg1"/>
                </a:solidFill>
              </a:defRPr>
            </a:lvl1pPr>
          </a:lstStyle>
          <a:p>
            <a:r>
              <a:rPr lang="de-DE" dirty="0"/>
              <a:t>Headline </a:t>
            </a:r>
            <a:r>
              <a:rPr lang="de-DE" dirty="0" err="1"/>
              <a:t>for</a:t>
            </a:r>
            <a:r>
              <a:rPr lang="de-DE" dirty="0"/>
              <a:t> </a:t>
            </a:r>
            <a:r>
              <a:rPr lang="de-DE" dirty="0" err="1"/>
              <a:t>presentation</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318172544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762.xml><?xml version="1.0" encoding="utf-8"?>
<p:sldLayout xmlns:a="http://schemas.openxmlformats.org/drawingml/2006/main" xmlns:r="http://schemas.openxmlformats.org/officeDocument/2006/relationships" xmlns:p="http://schemas.openxmlformats.org/presentationml/2006/main" showMasterSp="0" preserve="1" userDrawn="1">
  <p:cSld name="Image-chart 3/4 brushed ">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1"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3" name="Title 2"/>
          <p:cNvSpPr>
            <a:spLocks noGrp="1"/>
          </p:cNvSpPr>
          <p:nvPr>
            <p:ph type="title" hasCustomPrompt="1"/>
          </p:nvPr>
        </p:nvSpPr>
        <p:spPr>
          <a:xfrm>
            <a:off x="628323" y="288859"/>
            <a:ext cx="10932455" cy="1025684"/>
          </a:xfrm>
        </p:spPr>
        <p:txBody>
          <a:bodyPr wrap="square">
            <a:spAutoFit/>
          </a:bodyPr>
          <a:lstStyle>
            <a:lvl1pPr>
              <a:defRPr>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or</a:t>
            </a:r>
            <a:r>
              <a:rPr lang="de-DE" dirty="0"/>
              <a:t> </a:t>
            </a:r>
            <a:r>
              <a:rPr lang="de-DE" dirty="0" err="1"/>
              <a:t>more</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89129670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763.xml><?xml version="1.0" encoding="utf-8"?>
<p:sldLayout xmlns:a="http://schemas.openxmlformats.org/drawingml/2006/main" xmlns:r="http://schemas.openxmlformats.org/officeDocument/2006/relationships" xmlns:p="http://schemas.openxmlformats.org/presentationml/2006/main" showMasterSp="0" preserve="1" userDrawn="1">
  <p:cSld name="Image-chart 1/4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1"/>
            <a:ext cx="12190451" cy="6487839"/>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3" name="Title 2"/>
          <p:cNvSpPr>
            <a:spLocks noGrp="1"/>
          </p:cNvSpPr>
          <p:nvPr>
            <p:ph type="title" hasCustomPrompt="1"/>
          </p:nvPr>
        </p:nvSpPr>
        <p:spPr>
          <a:xfrm>
            <a:off x="630116" y="288857"/>
            <a:ext cx="10930662" cy="1151733"/>
          </a:xfrm>
        </p:spPr>
        <p:txBody>
          <a:bodyPr/>
          <a:lstStyle>
            <a:lvl1pPr>
              <a:defRPr baseline="0">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11381973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764.xml><?xml version="1.0" encoding="utf-8"?>
<p:sldLayout xmlns:a="http://schemas.openxmlformats.org/drawingml/2006/main" xmlns:r="http://schemas.openxmlformats.org/officeDocument/2006/relationships" xmlns:p="http://schemas.openxmlformats.org/presentationml/2006/main" showMasterSp="0" preserve="1" userDrawn="1">
  <p:cSld name="Agenda 1/3 brushed">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a:xfrm>
            <a:off x="628323" y="288859"/>
            <a:ext cx="10932455" cy="1148857"/>
          </a:xfrm>
        </p:spPr>
        <p:txBody>
          <a:bodyPr/>
          <a:lstStyle>
            <a:lvl1pPr>
              <a:defRPr/>
            </a:lvl1pPr>
          </a:lstStyle>
          <a:p>
            <a:r>
              <a:rPr lang="de-DE" noProof="0" dirty="0"/>
              <a:t>Headline </a:t>
            </a:r>
            <a:r>
              <a:rPr lang="de-DE" noProof="0" dirty="0" err="1"/>
              <a:t>for</a:t>
            </a:r>
            <a:r>
              <a:rPr lang="de-DE" noProof="0" dirty="0"/>
              <a:t> Agenda in </a:t>
            </a:r>
            <a:r>
              <a:rPr lang="de-DE" noProof="0" dirty="0" err="1"/>
              <a:t>CorpoS</a:t>
            </a:r>
            <a:r>
              <a:rPr lang="de-DE" noProof="0" dirty="0"/>
              <a:t> (Body) 35 </a:t>
            </a:r>
            <a:r>
              <a:rPr lang="de-DE" noProof="0" dirty="0" err="1"/>
              <a:t>pt</a:t>
            </a:r>
            <a:r>
              <a:rPr lang="de-DE" noProof="0" dirty="0"/>
              <a:t>. </a:t>
            </a:r>
            <a:br>
              <a:rPr lang="de-DE" noProof="0" dirty="0"/>
            </a:br>
            <a:r>
              <a:rPr lang="de-DE" noProof="0" dirty="0" err="1"/>
              <a:t>one</a:t>
            </a:r>
            <a:r>
              <a:rPr lang="de-DE" noProof="0" dirty="0"/>
              <a:t> </a:t>
            </a:r>
            <a:r>
              <a:rPr lang="de-DE" noProof="0" dirty="0" err="1"/>
              <a:t>or</a:t>
            </a:r>
            <a:r>
              <a:rPr lang="de-DE" noProof="0" dirty="0"/>
              <a:t>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Text Placeholder 5"/>
          <p:cNvSpPr>
            <a:spLocks noGrp="1"/>
          </p:cNvSpPr>
          <p:nvPr>
            <p:ph type="body" sz="quarter" idx="12" hasCustomPrompt="1"/>
          </p:nvPr>
        </p:nvSpPr>
        <p:spPr>
          <a:xfrm>
            <a:off x="630116" y="1504603"/>
            <a:ext cx="10930388" cy="3759916"/>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Insert Agenda </a:t>
            </a:r>
            <a:r>
              <a:rPr lang="de-DE" dirty="0" err="1"/>
              <a:t>point</a:t>
            </a:r>
            <a:endParaRPr lang="de-DE" dirty="0"/>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331607161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2409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e-DE" noProof="0" dirty="0"/>
              <a:t>Headline </a:t>
            </a:r>
            <a:r>
              <a:rPr lang="de-DE" noProof="0" dirty="0" err="1"/>
              <a:t>for</a:t>
            </a:r>
            <a:r>
              <a:rPr lang="de-DE" noProof="0" dirty="0"/>
              <a:t> Agenda in </a:t>
            </a:r>
            <a:r>
              <a:rPr lang="de-DE" noProof="0" dirty="0" err="1"/>
              <a:t>CorpoS</a:t>
            </a:r>
            <a:r>
              <a:rPr lang="de-DE" noProof="0" dirty="0"/>
              <a:t> (Body) 35 </a:t>
            </a:r>
            <a:r>
              <a:rPr lang="de-DE" noProof="0" dirty="0" err="1"/>
              <a:t>pt</a:t>
            </a:r>
            <a:r>
              <a:rPr lang="de-DE" noProof="0" dirty="0"/>
              <a:t>. </a:t>
            </a:r>
            <a:br>
              <a:rPr lang="de-DE" noProof="0" dirty="0"/>
            </a:br>
            <a:r>
              <a:rPr lang="de-DE" noProof="0" dirty="0" err="1"/>
              <a:t>one</a:t>
            </a:r>
            <a:r>
              <a:rPr lang="de-DE" noProof="0" dirty="0"/>
              <a:t> </a:t>
            </a:r>
            <a:r>
              <a:rPr lang="de-DE" noProof="0" dirty="0" err="1"/>
              <a:t>or</a:t>
            </a:r>
            <a:r>
              <a:rPr lang="de-DE" noProof="0" dirty="0"/>
              <a:t>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Insert Agenda </a:t>
            </a:r>
            <a:r>
              <a:rPr lang="de-DE" dirty="0" err="1"/>
              <a:t>point</a:t>
            </a:r>
            <a:endParaRPr lang="de-DE" dirty="0"/>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16846519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Headline two lines // Conten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25123"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Tree>
    <p:extLst>
      <p:ext uri="{BB962C8B-B14F-4D97-AF65-F5344CB8AC3E}">
        <p14:creationId xmlns:p14="http://schemas.microsoft.com/office/powerpoint/2010/main" val="131616468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767.xml><?xml version="1.0" encoding="utf-8"?>
<p:sldLayout xmlns:a="http://schemas.openxmlformats.org/drawingml/2006/main" xmlns:r="http://schemas.openxmlformats.org/officeDocument/2006/relationships" xmlns:p="http://schemas.openxmlformats.org/presentationml/2006/main" showMasterSp="0" preserve="1" userDrawn="1">
  <p:cSld name="Headline two lines // Image">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a:t>
            </a:r>
            <a:r>
              <a:rPr lang="de-DE" noProof="0" dirty="0"/>
              <a:t> S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213370590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Headlin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Tree>
    <p:extLst>
      <p:ext uri="{BB962C8B-B14F-4D97-AF65-F5344CB8AC3E}">
        <p14:creationId xmlns:p14="http://schemas.microsoft.com/office/powerpoint/2010/main" val="320611133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769.xml><?xml version="1.0" encoding="utf-8"?>
<p:sldLayout xmlns:a="http://schemas.openxmlformats.org/drawingml/2006/main" xmlns:r="http://schemas.openxmlformats.org/officeDocument/2006/relationships" xmlns:p="http://schemas.openxmlformats.org/presentationml/2006/main" showMasterSp="0" preserve="1" userDrawn="1">
  <p:cSld name="Headline // Image">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74683425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2/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4433"/>
            <a:ext cx="10932181" cy="648964"/>
          </a:xfrm>
        </p:spPr>
        <p:txBody>
          <a:bodyPr wrap="square" anchor="t" anchorCtr="0">
            <a:noAutofit/>
          </a:bodyPr>
          <a:lstStyle>
            <a:lvl1pPr>
              <a:defRPr>
                <a:solidFill>
                  <a:schemeClr val="bg1"/>
                </a:solidFill>
              </a:defRPr>
            </a:lvl1pPr>
          </a:lstStyle>
          <a:p>
            <a:r>
              <a:rPr lang="en-GB" dirty="0"/>
              <a:t>Headline for presentation</a:t>
            </a:r>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04889818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770.xml><?xml version="1.0" encoding="utf-8"?>
<p:sldLayout xmlns:a="http://schemas.openxmlformats.org/drawingml/2006/main" xmlns:r="http://schemas.openxmlformats.org/officeDocument/2006/relationships" xmlns:p="http://schemas.openxmlformats.org/presentationml/2006/main" showMasterSp="0" preserve="1" userDrawn="1">
  <p:cSld name="2 Images-chart 2/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or</a:t>
            </a:r>
            <a:r>
              <a:rPr lang="de-DE" dirty="0"/>
              <a:t> </a:t>
            </a:r>
            <a:r>
              <a:rPr lang="de-DE" dirty="0" err="1"/>
              <a:t>more</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8000813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771.xml><?xml version="1.0" encoding="utf-8"?>
<p:sldLayout xmlns:a="http://schemas.openxmlformats.org/drawingml/2006/main" xmlns:r="http://schemas.openxmlformats.org/officeDocument/2006/relationships" xmlns:p="http://schemas.openxmlformats.org/presentationml/2006/main" showMasterSp="0" preserve="1" userDrawn="1">
  <p:cSld name="2 Images-chart 1/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 name="Title 2"/>
          <p:cNvSpPr>
            <a:spLocks noGrp="1"/>
          </p:cNvSpPr>
          <p:nvPr>
            <p:ph type="title" hasCustomPrompt="1"/>
          </p:nvPr>
        </p:nvSpPr>
        <p:spPr>
          <a:xfrm>
            <a:off x="630116" y="288859"/>
            <a:ext cx="10930662" cy="1148857"/>
          </a:xfrm>
        </p:spPr>
        <p:txBody>
          <a:bodyPr/>
          <a:lstStyle>
            <a:lvl1pPr>
              <a:defRPr>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172001038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772.xml><?xml version="1.0" encoding="utf-8"?>
<p:sldLayout xmlns:a="http://schemas.openxmlformats.org/drawingml/2006/main" xmlns:r="http://schemas.openxmlformats.org/officeDocument/2006/relationships" xmlns:p="http://schemas.openxmlformats.org/presentationml/2006/main" showMasterSp="0" preserve="1" userDrawn="1">
  <p:cSld name="2 Images-chart 1/3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17366103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773.xml><?xml version="1.0" encoding="utf-8"?>
<p:sldLayout xmlns:a="http://schemas.openxmlformats.org/drawingml/2006/main" xmlns:r="http://schemas.openxmlformats.org/officeDocument/2006/relationships" xmlns:p="http://schemas.openxmlformats.org/presentationml/2006/main" showMasterSp="0" preserve="1" userDrawn="1">
  <p:cSld name="2 Images-chart 2/3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Body </a:t>
            </a:r>
            <a:r>
              <a:rPr lang="de-DE" dirty="0" err="1"/>
              <a:t>text</a:t>
            </a:r>
            <a:r>
              <a:rPr lang="de-DE" dirty="0"/>
              <a:t>: Home // Paragraph// </a:t>
            </a:r>
            <a:r>
              <a:rPr lang="de-DE" dirty="0" err="1"/>
              <a:t>Increase</a:t>
            </a:r>
            <a:r>
              <a:rPr lang="de-DE" dirty="0"/>
              <a:t> List Level</a:t>
            </a:r>
          </a:p>
          <a:p>
            <a:pPr lvl="1"/>
            <a:r>
              <a:rPr lang="de-DE" dirty="0"/>
              <a:t>Second </a:t>
            </a:r>
            <a:r>
              <a:rPr lang="de-DE" dirty="0" err="1"/>
              <a:t>level</a:t>
            </a:r>
            <a:r>
              <a:rPr lang="de-DE" dirty="0"/>
              <a:t> (Body </a:t>
            </a:r>
            <a:r>
              <a:rPr lang="de-DE" dirty="0" err="1"/>
              <a:t>text</a:t>
            </a:r>
            <a:r>
              <a:rPr lang="de-DE" dirty="0"/>
              <a:t>)</a:t>
            </a:r>
          </a:p>
        </p:txBody>
      </p:sp>
    </p:spTree>
    <p:extLst>
      <p:ext uri="{BB962C8B-B14F-4D97-AF65-F5344CB8AC3E}">
        <p14:creationId xmlns:p14="http://schemas.microsoft.com/office/powerpoint/2010/main" val="241291957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774.xml><?xml version="1.0" encoding="utf-8"?>
<p:sldLayout xmlns:a="http://schemas.openxmlformats.org/drawingml/2006/main" xmlns:r="http://schemas.openxmlformats.org/officeDocument/2006/relationships" xmlns:p="http://schemas.openxmlformats.org/presentationml/2006/main" showMasterSp="0" preserve="1" userDrawn="1">
  <p:cSld name="2 Images-chart 3/3 brushed">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3"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Body </a:t>
            </a:r>
            <a:r>
              <a:rPr lang="de-DE" dirty="0" err="1"/>
              <a:t>text</a:t>
            </a:r>
            <a:r>
              <a:rPr lang="de-DE" dirty="0"/>
              <a:t>: Home // Paragraph// </a:t>
            </a:r>
            <a:r>
              <a:rPr lang="de-DE" dirty="0" err="1"/>
              <a:t>Increase</a:t>
            </a:r>
            <a:r>
              <a:rPr lang="de-DE" dirty="0"/>
              <a:t> List Level</a:t>
            </a:r>
          </a:p>
          <a:p>
            <a:pPr lvl="1"/>
            <a:r>
              <a:rPr lang="de-DE" dirty="0"/>
              <a:t>Second </a:t>
            </a:r>
            <a:r>
              <a:rPr lang="de-DE" dirty="0" err="1"/>
              <a:t>level</a:t>
            </a:r>
            <a:r>
              <a:rPr lang="de-DE" dirty="0"/>
              <a:t> (Body </a:t>
            </a:r>
            <a:r>
              <a:rPr lang="de-DE" dirty="0" err="1"/>
              <a:t>tex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271586991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775.xml><?xml version="1.0" encoding="utf-8"?>
<p:sldLayout xmlns:a="http://schemas.openxmlformats.org/drawingml/2006/main" xmlns:r="http://schemas.openxmlformats.org/officeDocument/2006/relationships" xmlns:p="http://schemas.openxmlformats.org/presentationml/2006/main" showMasterSp="0" preserve="1" userDrawn="1">
  <p:cSld name="Fullpage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415393043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76.xml><?xml version="1.0" encoding="utf-8"?>
<p:sldLayout xmlns:a="http://schemas.openxmlformats.org/drawingml/2006/main" xmlns:r="http://schemas.openxmlformats.org/officeDocument/2006/relationships" xmlns:p="http://schemas.openxmlformats.org/presentationml/2006/main" showMasterSp="0" preserve="1" userDrawn="1">
  <p:cSld name="Fullpage 3 image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6" name="Picture Placeholder 3"/>
          <p:cNvSpPr>
            <a:spLocks noGrp="1"/>
          </p:cNvSpPr>
          <p:nvPr>
            <p:ph type="pic" sz="quarter" idx="14" hasCustomPrompt="1"/>
          </p:nvPr>
        </p:nvSpPr>
        <p:spPr bwMode="gray">
          <a:xfrm>
            <a:off x="3911151" y="0"/>
            <a:ext cx="4199925"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60287043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Two 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a:t>
            </a:r>
            <a:r>
              <a:rPr lang="de-DE" noProof="0" dirty="0"/>
              <a:t> S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de-DE" dirty="0"/>
              <a:t>Insert </a:t>
            </a:r>
            <a:r>
              <a:rPr lang="de-DE" dirty="0" err="1"/>
              <a:t>text</a:t>
            </a:r>
            <a:r>
              <a:rPr lang="de-DE" dirty="0"/>
              <a:t> </a:t>
            </a:r>
            <a:r>
              <a:rPr lang="de-DE" noProof="0" dirty="0"/>
              <a:t>(Mark-</a:t>
            </a:r>
            <a:r>
              <a:rPr lang="de-DE" noProof="0" dirty="0" err="1"/>
              <a:t>ups</a:t>
            </a:r>
            <a:r>
              <a:rPr lang="de-DE" noProof="0" dirty="0"/>
              <a:t> in </a:t>
            </a:r>
            <a:r>
              <a:rPr lang="de-DE" noProof="0" dirty="0" err="1"/>
              <a:t>Bold</a:t>
            </a:r>
            <a:r>
              <a:rPr lang="de-DE" noProof="0" dirty="0"/>
              <a:t>) </a:t>
            </a:r>
            <a:r>
              <a:rPr lang="de-DE" dirty="0"/>
              <a:t>// </a:t>
            </a:r>
            <a:r>
              <a:rPr lang="de-DE" dirty="0" err="1"/>
              <a:t>conclusion</a:t>
            </a:r>
            <a:r>
              <a:rPr lang="de-DE" dirty="0"/>
              <a:t> etc.: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de-DE" dirty="0"/>
              <a:t>Insert </a:t>
            </a:r>
            <a:r>
              <a:rPr lang="de-DE" dirty="0" err="1"/>
              <a:t>text</a:t>
            </a:r>
            <a:r>
              <a:rPr lang="de-DE" dirty="0"/>
              <a:t> </a:t>
            </a:r>
            <a:r>
              <a:rPr lang="de-DE" noProof="0" dirty="0"/>
              <a:t>(Mark-</a:t>
            </a:r>
            <a:r>
              <a:rPr lang="de-DE" noProof="0" dirty="0" err="1"/>
              <a:t>ups</a:t>
            </a:r>
            <a:r>
              <a:rPr lang="de-DE" noProof="0" dirty="0"/>
              <a:t> in </a:t>
            </a:r>
            <a:r>
              <a:rPr lang="de-DE" noProof="0" dirty="0" err="1"/>
              <a:t>Bold</a:t>
            </a:r>
            <a:r>
              <a:rPr lang="de-DE" noProof="0" dirty="0"/>
              <a:t>) </a:t>
            </a:r>
            <a:r>
              <a:rPr lang="de-DE" dirty="0"/>
              <a:t>// </a:t>
            </a:r>
            <a:r>
              <a:rPr lang="de-DE" dirty="0" err="1"/>
              <a:t>conclusion</a:t>
            </a:r>
            <a:r>
              <a:rPr lang="de-DE" dirty="0"/>
              <a:t> etc.: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etc.)</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299443012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412684696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Text small // Image">
    <p:spTree>
      <p:nvGrpSpPr>
        <p:cNvPr id="1" name=""/>
        <p:cNvGrpSpPr/>
        <p:nvPr/>
      </p:nvGrpSpPr>
      <p:grpSpPr>
        <a:xfrm>
          <a:off x="0" y="0"/>
          <a:ext cx="0" cy="0"/>
          <a:chOff x="0" y="0"/>
          <a:chExt cx="0" cy="0"/>
        </a:xfrm>
      </p:grpSpPr>
      <p:sp>
        <p:nvSpPr>
          <p:cNvPr id="10" name="Picture Placeholder 3"/>
          <p:cNvSpPr>
            <a:spLocks noGrp="1"/>
          </p:cNvSpPr>
          <p:nvPr>
            <p:ph type="pic" sz="quarter" idx="14" hasCustomPrompt="1"/>
          </p:nvPr>
        </p:nvSpPr>
        <p:spPr bwMode="gray">
          <a:xfrm>
            <a:off x="4848875" y="1504604"/>
            <a:ext cx="6711903" cy="4875669"/>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8" name="Text Placeholder 7"/>
          <p:cNvSpPr>
            <a:spLocks noGrp="1"/>
          </p:cNvSpPr>
          <p:nvPr>
            <p:ph type="body" sz="quarter" idx="12" hasCustomPrompt="1"/>
          </p:nvPr>
        </p:nvSpPr>
        <p:spPr>
          <a:xfrm>
            <a:off x="629672" y="1504603"/>
            <a:ext cx="3857441" cy="4876681"/>
          </a:xfrm>
        </p:spPr>
        <p:txBody>
          <a:bodyPr>
            <a:normAutofit/>
          </a:bodyPr>
          <a:lstStyle>
            <a:lvl1pPr>
              <a:lnSpc>
                <a:spcPts val="2399"/>
              </a:lnSpc>
              <a:defRPr sz="1899" baseline="0"/>
            </a:lvl1pPr>
            <a:lvl2pPr>
              <a:lnSpc>
                <a:spcPts val="2399"/>
              </a:lnSpc>
              <a:defRPr sz="1899"/>
            </a:lvl2pPr>
            <a:lvl3pPr>
              <a:lnSpc>
                <a:spcPts val="2399"/>
              </a:lnSpc>
              <a:defRPr sz="1899"/>
            </a:lvl3pPr>
            <a:lvl4pPr>
              <a:lnSpc>
                <a:spcPts val="2399"/>
              </a:lnSpc>
              <a:defRPr sz="1899"/>
            </a:lvl4pPr>
            <a:lvl5pPr>
              <a:lnSpc>
                <a:spcPts val="2399"/>
              </a:lnSpc>
              <a:defRPr sz="1899"/>
            </a:lvl5pPr>
            <a:lvl6pPr>
              <a:lnSpc>
                <a:spcPts val="2399"/>
              </a:lnSpc>
              <a:defRPr sz="1899"/>
            </a:lvl6pPr>
            <a:lvl7pPr>
              <a:lnSpc>
                <a:spcPts val="2399"/>
              </a:lnSpc>
              <a:defRPr sz="1899"/>
            </a:lvl7pPr>
            <a:lvl8pPr>
              <a:lnSpc>
                <a:spcPts val="2399"/>
              </a:lnSpc>
              <a:defRPr sz="1899"/>
            </a:lvl8pPr>
            <a:lvl9pPr>
              <a:lnSpc>
                <a:spcPts val="2399"/>
              </a:lnSpc>
              <a:defRPr sz="1899"/>
            </a:lvl9pPr>
          </a:lstStyle>
          <a:p>
            <a:pPr lvl="0"/>
            <a:r>
              <a:rPr lang="de-DE" dirty="0"/>
              <a:t>Insert </a:t>
            </a:r>
            <a:r>
              <a:rPr lang="de-DE" dirty="0" err="1"/>
              <a:t>text</a:t>
            </a:r>
            <a:r>
              <a:rPr lang="de-DE" dirty="0"/>
              <a:t> in </a:t>
            </a:r>
            <a:r>
              <a:rPr lang="de-DE" noProof="0" dirty="0" err="1"/>
              <a:t>CorpoS</a:t>
            </a:r>
            <a:r>
              <a:rPr lang="de-DE" noProof="0" dirty="0"/>
              <a:t> (Body) 19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5" name="Title 4"/>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 </a:t>
            </a:r>
            <a:r>
              <a:rPr lang="de-DE" noProof="0" dirty="0" err="1"/>
              <a:t>for</a:t>
            </a:r>
            <a:r>
              <a:rPr lang="de-DE" noProof="0" dirty="0"/>
              <a:t> </a:t>
            </a:r>
            <a:r>
              <a:rPr lang="de-DE" noProof="0" dirty="0" err="1"/>
              <a:t>standard</a:t>
            </a:r>
            <a:r>
              <a:rPr lang="de-DE" noProof="0" dirty="0"/>
              <a:t> </a:t>
            </a:r>
            <a:br>
              <a:rPr lang="de-DE" noProof="0" dirty="0"/>
            </a:br>
            <a:r>
              <a:rPr lang="de-DE" noProof="0" dirty="0"/>
              <a:t>text-chart in </a:t>
            </a:r>
            <a:r>
              <a:rPr lang="de-DE" noProof="0" dirty="0" err="1"/>
              <a:t>two</a:t>
            </a:r>
            <a:r>
              <a:rPr lang="de-DE" noProof="0" dirty="0"/>
              <a:t> </a:t>
            </a:r>
            <a:r>
              <a:rPr lang="de-DE" noProof="0" dirty="0" err="1"/>
              <a:t>lines</a:t>
            </a:r>
            <a:endParaRPr lang="de-DE" dirty="0"/>
          </a:p>
        </p:txBody>
      </p:sp>
    </p:spTree>
    <p:extLst>
      <p:ext uri="{BB962C8B-B14F-4D97-AF65-F5344CB8AC3E}">
        <p14:creationId xmlns:p14="http://schemas.microsoft.com/office/powerpoint/2010/main" val="214667687"/>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948">
          <p15:clr>
            <a:srgbClr val="FBAE40"/>
          </p15:clr>
        </p15:guide>
        <p15:guide id="3" orient="horz" pos="182">
          <p15:clr>
            <a:srgbClr val="FBAE40"/>
          </p15:clr>
        </p15:guide>
        <p15:guide id="4" pos="3056">
          <p15:clr>
            <a:srgbClr val="FBAE40"/>
          </p15:clr>
        </p15:guide>
        <p15:guide id="5" pos="2828">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Image-chart 3/4 brushed ">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1"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3" name="Title 2"/>
          <p:cNvSpPr>
            <a:spLocks noGrp="1"/>
          </p:cNvSpPr>
          <p:nvPr>
            <p:ph type="title" hasCustomPrompt="1"/>
          </p:nvPr>
        </p:nvSpPr>
        <p:spPr>
          <a:xfrm>
            <a:off x="628323" y="288859"/>
            <a:ext cx="10932455" cy="1025684"/>
          </a:xfrm>
        </p:spPr>
        <p:txBody>
          <a:bodyPr wrap="square">
            <a:spAutoFit/>
          </a:bodyPr>
          <a:lstStyle>
            <a:lvl1pPr>
              <a:defRPr>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40368110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Two contents with head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de-DE" dirty="0"/>
              <a:t>Insert </a:t>
            </a:r>
            <a:r>
              <a:rPr lang="de-DE" dirty="0" err="1"/>
              <a:t>content</a:t>
            </a:r>
            <a:r>
              <a:rPr lang="de-DE" dirty="0"/>
              <a:t> </a:t>
            </a:r>
            <a:r>
              <a:rPr lang="de-DE" dirty="0" err="1"/>
              <a:t>or</a:t>
            </a:r>
            <a:r>
              <a:rPr lang="de-DE" dirty="0"/>
              <a: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a:t>Insert </a:t>
            </a:r>
            <a:r>
              <a:rPr lang="de-DE" dirty="0" err="1"/>
              <a:t>headline</a:t>
            </a:r>
            <a:endParaRPr lang="de-DE" dirty="0"/>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a:t>Insert </a:t>
            </a:r>
            <a:r>
              <a:rPr lang="de-DE" dirty="0" err="1"/>
              <a:t>headline</a:t>
            </a:r>
            <a:endParaRPr lang="de-DE" dirty="0"/>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de-DE" dirty="0"/>
              <a:t>Insert </a:t>
            </a:r>
            <a:r>
              <a:rPr lang="de-DE" dirty="0" err="1"/>
              <a:t>content</a:t>
            </a:r>
            <a:r>
              <a:rPr lang="de-DE" dirty="0"/>
              <a:t> </a:t>
            </a:r>
            <a:r>
              <a:rPr lang="de-DE" dirty="0" err="1"/>
              <a:t>or</a:t>
            </a:r>
            <a:r>
              <a:rPr lang="de-DE" dirty="0"/>
              <a:t> </a:t>
            </a:r>
            <a:r>
              <a:rPr lang="de-DE" dirty="0" err="1"/>
              <a:t>text</a:t>
            </a:r>
            <a:r>
              <a:rPr lang="de-DE" dirty="0"/>
              <a:t> in </a:t>
            </a:r>
            <a:r>
              <a:rPr lang="de-DE" noProof="0" dirty="0" err="1"/>
              <a:t>Corpo</a:t>
            </a:r>
            <a:r>
              <a:rPr lang="de-DE" noProof="0" dirty="0"/>
              <a:t> S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p:txBody>
      </p:sp>
    </p:spTree>
    <p:extLst>
      <p:ext uri="{BB962C8B-B14F-4D97-AF65-F5344CB8AC3E}">
        <p14:creationId xmlns:p14="http://schemas.microsoft.com/office/powerpoint/2010/main" val="2960438870"/>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4 product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47"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Tree>
    <p:extLst>
      <p:ext uri="{BB962C8B-B14F-4D97-AF65-F5344CB8AC3E}">
        <p14:creationId xmlns:p14="http://schemas.microsoft.com/office/powerpoint/2010/main" val="256929756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Headline two lines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02408506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Headline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673834861"/>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784.xml><?xml version="1.0" encoding="utf-8"?>
<p:sldLayout xmlns:a="http://schemas.openxmlformats.org/drawingml/2006/main" xmlns:r="http://schemas.openxmlformats.org/officeDocument/2006/relationships" xmlns:p="http://schemas.openxmlformats.org/presentationml/2006/main" showMasterSp="0" preserve="1" userDrawn="1">
  <p:cSld name="1_daimler blanco">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12717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8" name="Foliennummernplatzhalter 3">
            <a:extLst>
              <a:ext uri="{FF2B5EF4-FFF2-40B4-BE49-F238E27FC236}">
                <a16:creationId xmlns:a16="http://schemas.microsoft.com/office/drawing/2014/main" id="{3E15A405-AB95-44E1-98C0-C8DC619077BB}"/>
              </a:ext>
            </a:extLst>
          </p:cNvPr>
          <p:cNvSpPr txBox="1">
            <a:spLocks/>
          </p:cNvSpPr>
          <p:nvPr userDrawn="1"/>
        </p:nvSpPr>
        <p:spPr>
          <a:xfrm>
            <a:off x="11442992" y="6506836"/>
            <a:ext cx="1155196" cy="215950"/>
          </a:xfrm>
          <a:prstGeom prst="rect">
            <a:avLst/>
          </a:prstGeom>
        </p:spPr>
        <p:txBody>
          <a:bodyPr vert="horz" lIns="0" tIns="0" rIns="0" bIns="0" rtlCol="0" anchor="t" anchorCtr="0"/>
          <a:lstStyle>
            <a:defPPr>
              <a:defRPr lang="de-DE"/>
            </a:defPPr>
            <a:lvl1pPr marL="0" indent="0" algn="l" defTabSz="1088959" rtl="0" eaLnBrk="1" latinLnBrk="0" hangingPunct="1">
              <a:spcBef>
                <a:spcPts val="0"/>
              </a:spcBef>
              <a:buFont typeface="Arial" panose="020B0604020202020204" pitchFamily="34" charset="0"/>
              <a:buNone/>
              <a:defRPr sz="1200" kern="1200">
                <a:solidFill>
                  <a:schemeClr val="tx1"/>
                </a:solidFill>
                <a:latin typeface="+mn-lt"/>
                <a:ea typeface="+mn-ea"/>
                <a:cs typeface="+mn-cs"/>
              </a:defRPr>
            </a:lvl1pPr>
            <a:lvl2pPr marL="0" indent="0" algn="l" defTabSz="1088959" rtl="0" eaLnBrk="1" latinLnBrk="0" hangingPunct="1">
              <a:spcBef>
                <a:spcPts val="0"/>
              </a:spcBef>
              <a:defRPr sz="1200" kern="1200">
                <a:solidFill>
                  <a:schemeClr val="tx1"/>
                </a:solidFill>
                <a:latin typeface="+mn-lt"/>
                <a:ea typeface="+mn-ea"/>
                <a:cs typeface="+mn-cs"/>
              </a:defRPr>
            </a:lvl2pPr>
            <a:lvl3pPr marL="0" indent="0" algn="l" defTabSz="1088959" rtl="0" eaLnBrk="1" latinLnBrk="0" hangingPunct="1">
              <a:spcBef>
                <a:spcPts val="0"/>
              </a:spcBef>
              <a:defRPr sz="1200" kern="1200">
                <a:solidFill>
                  <a:schemeClr val="tx1"/>
                </a:solidFill>
                <a:latin typeface="+mn-lt"/>
                <a:ea typeface="+mn-ea"/>
                <a:cs typeface="+mn-cs"/>
              </a:defRPr>
            </a:lvl3pPr>
            <a:lvl4pPr marL="0" indent="0" algn="l" defTabSz="1088959" rtl="0" eaLnBrk="1" latinLnBrk="0" hangingPunct="1">
              <a:spcBef>
                <a:spcPts val="0"/>
              </a:spcBef>
              <a:defRPr sz="1200" kern="1200">
                <a:solidFill>
                  <a:schemeClr val="tx1"/>
                </a:solidFill>
                <a:latin typeface="+mn-lt"/>
                <a:ea typeface="+mn-ea"/>
                <a:cs typeface="+mn-cs"/>
              </a:defRPr>
            </a:lvl4pPr>
            <a:lvl5pPr marL="0" indent="0" algn="l" defTabSz="1088959" rtl="0" eaLnBrk="1" latinLnBrk="0" hangingPunct="1">
              <a:spcBef>
                <a:spcPts val="0"/>
              </a:spcBef>
              <a:defRPr sz="1200" kern="1200">
                <a:solidFill>
                  <a:schemeClr val="tx1"/>
                </a:solidFill>
                <a:latin typeface="+mn-lt"/>
                <a:ea typeface="+mn-ea"/>
                <a:cs typeface="+mn-cs"/>
              </a:defRPr>
            </a:lvl5pPr>
            <a:lvl6pPr marL="0" indent="0" algn="l" defTabSz="1088959" rtl="0" eaLnBrk="1" latinLnBrk="0" hangingPunct="1">
              <a:spcBef>
                <a:spcPts val="0"/>
              </a:spcBef>
              <a:defRPr sz="1200" kern="1200">
                <a:solidFill>
                  <a:schemeClr val="tx1"/>
                </a:solidFill>
                <a:latin typeface="+mn-lt"/>
                <a:ea typeface="+mn-ea"/>
                <a:cs typeface="+mn-cs"/>
              </a:defRPr>
            </a:lvl6pPr>
            <a:lvl7pPr marL="0" indent="0" algn="l" defTabSz="1088959" rtl="0" eaLnBrk="1" latinLnBrk="0" hangingPunct="1">
              <a:spcBef>
                <a:spcPts val="0"/>
              </a:spcBef>
              <a:defRPr sz="1200" kern="1200">
                <a:solidFill>
                  <a:schemeClr val="tx1"/>
                </a:solidFill>
                <a:latin typeface="+mn-lt"/>
                <a:ea typeface="+mn-ea"/>
                <a:cs typeface="+mn-cs"/>
              </a:defRPr>
            </a:lvl7pPr>
            <a:lvl8pPr marL="0" indent="0" algn="l" defTabSz="1088959" rtl="0" eaLnBrk="1" latinLnBrk="0" hangingPunct="1">
              <a:spcBef>
                <a:spcPts val="0"/>
              </a:spcBef>
              <a:defRPr sz="1200" kern="1200">
                <a:solidFill>
                  <a:schemeClr val="tx1"/>
                </a:solidFill>
                <a:latin typeface="+mn-lt"/>
                <a:ea typeface="+mn-ea"/>
                <a:cs typeface="+mn-cs"/>
              </a:defRPr>
            </a:lvl8pPr>
            <a:lvl9pPr marL="0" indent="0" algn="l" defTabSz="1088959" rtl="0" eaLnBrk="1" latinLnBrk="0" hangingPunct="1">
              <a:spcBef>
                <a:spcPts val="0"/>
              </a:spcBef>
              <a:defRPr sz="1200" kern="1200">
                <a:solidFill>
                  <a:schemeClr val="tx1"/>
                </a:solidFill>
                <a:latin typeface="+mn-lt"/>
                <a:ea typeface="+mn-ea"/>
                <a:cs typeface="+mn-cs"/>
              </a:defRPr>
            </a:lvl9pPr>
          </a:lstStyle>
          <a:p>
            <a:r>
              <a:rPr lang="de-DE" sz="1199" b="1" dirty="0">
                <a:solidFill>
                  <a:prstClr val="black"/>
                </a:solidFill>
              </a:rPr>
              <a:t>PAGE </a:t>
            </a:r>
            <a:fld id="{52531704-8F80-415D-BD2B-6B9991AE822F}" type="slidenum">
              <a:rPr lang="de-DE" sz="1199" b="1" smtClean="0">
                <a:solidFill>
                  <a:prstClr val="black"/>
                </a:solidFill>
              </a:rPr>
              <a:pPr/>
              <a:t>‹#›</a:t>
            </a:fld>
            <a:endParaRPr lang="de-DE" sz="1199" b="1" dirty="0">
              <a:solidFill>
                <a:prstClr val="black"/>
              </a:solidFill>
            </a:endParaRPr>
          </a:p>
        </p:txBody>
      </p:sp>
    </p:spTree>
    <p:extLst>
      <p:ext uri="{BB962C8B-B14F-4D97-AF65-F5344CB8AC3E}">
        <p14:creationId xmlns:p14="http://schemas.microsoft.com/office/powerpoint/2010/main" val="251491903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66">
          <p15:clr>
            <a:srgbClr val="FBAE40"/>
          </p15:clr>
        </p15:guide>
        <p15:guide id="3" orient="horz" pos="754">
          <p15:clr>
            <a:srgbClr val="FBAE40"/>
          </p15:clr>
        </p15:guide>
        <p15:guide id="4" orient="horz" pos="845">
          <p15:clr>
            <a:srgbClr val="FBAE40"/>
          </p15:clr>
        </p15:guide>
      </p15:sldGuideLst>
    </p:ext>
  </p:extLst>
</p:sldLayout>
</file>

<file path=ppt/slideLayouts/slideLayout785.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28195"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406986652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786.xml><?xml version="1.0" encoding="utf-8"?>
<p:sldLayout xmlns:a="http://schemas.openxmlformats.org/drawingml/2006/main" xmlns:r="http://schemas.openxmlformats.org/officeDocument/2006/relationships" xmlns:p="http://schemas.openxmlformats.org/presentationml/2006/main" showMasterSp="0" userDrawn="1">
  <p:cSld name="Full image">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29219"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5" name="Listenebene erhöhen"/>
                <p:cNvPicPr>
                  <a:picLocks noChangeAspect="1"/>
                </p:cNvPicPr>
                <p:nvPr userDrawn="1"/>
              </p:nvPicPr>
              <p:blipFill>
                <a:blip r:embed="rId6"/>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7"/>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51164516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87.xml><?xml version="1.0" encoding="utf-8"?>
<p:sldLayout xmlns:a="http://schemas.openxmlformats.org/drawingml/2006/main" xmlns:r="http://schemas.openxmlformats.org/officeDocument/2006/relationships" xmlns:p="http://schemas.openxmlformats.org/presentationml/2006/main" showMasterSp="0"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a:t>
            </a:r>
            <a:br>
              <a:rPr lang="de-DE" dirty="0"/>
            </a:br>
            <a:r>
              <a:rPr lang="de-DE" dirty="0" err="1"/>
              <a:t>Presentation</a:t>
            </a:r>
            <a:r>
              <a:rPr lang="de-DE" dirty="0"/>
              <a:t> title in </a:t>
            </a:r>
            <a:r>
              <a:rPr lang="de-DE" dirty="0" err="1"/>
              <a:t>two</a:t>
            </a:r>
            <a:r>
              <a:rPr lang="de-DE" dirty="0"/>
              <a:t> </a:t>
            </a:r>
            <a:r>
              <a:rPr lang="de-DE" dirty="0" err="1"/>
              <a:t>or</a:t>
            </a:r>
            <a:r>
              <a:rPr lang="de-DE" dirty="0"/>
              <a:t> </a:t>
            </a:r>
            <a:r>
              <a:rPr lang="de-DE" dirty="0" err="1"/>
              <a:t>three</a:t>
            </a:r>
            <a:r>
              <a:rPr lang="de-DE" dirty="0"/>
              <a:t> </a:t>
            </a:r>
            <a:br>
              <a:rPr lang="de-DE" dirty="0"/>
            </a:b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302255159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788.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30243"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Datumsplatzhalter 1"/>
          <p:cNvSpPr>
            <a:spLocks noGrp="1"/>
          </p:cNvSpPr>
          <p:nvPr>
            <p:ph type="dt" sz="half" idx="10"/>
          </p:nvPr>
        </p:nvSpPr>
        <p:spPr>
          <a:xfrm>
            <a:off x="838200" y="6356350"/>
            <a:ext cx="2743200" cy="365125"/>
          </a:xfrm>
          <a:prstGeom prst="rect">
            <a:avLst/>
          </a:prstGeom>
        </p:spPr>
        <p:txBody>
          <a:bodyPr/>
          <a:lstStyle/>
          <a:p>
            <a:pPr defTabSz="914126"/>
            <a:fld id="{9D8AD672-C06F-435A-873C-D96653C817C2}" type="datetimeFigureOut">
              <a:rPr lang="de-DE" smtClean="0">
                <a:solidFill>
                  <a:prstClr val="black"/>
                </a:solidFill>
              </a:rPr>
              <a:pPr defTabSz="914126"/>
              <a:t>26.04.2019</a:t>
            </a:fld>
            <a:endParaRPr lang="de-DE" dirty="0">
              <a:solidFill>
                <a:prstClr val="black"/>
              </a:solidFill>
            </a:endParaRPr>
          </a:p>
        </p:txBody>
      </p:sp>
      <p:sp>
        <p:nvSpPr>
          <p:cNvPr id="3" name="Fußzeilenplatzhalter 2"/>
          <p:cNvSpPr>
            <a:spLocks noGrp="1"/>
          </p:cNvSpPr>
          <p:nvPr>
            <p:ph type="ftr" sz="quarter" idx="11"/>
          </p:nvPr>
        </p:nvSpPr>
        <p:spPr/>
        <p:txBody>
          <a:bodyPr/>
          <a:lstStyle>
            <a:lvl1pPr eaLnBrk="1">
              <a:defRPr/>
            </a:lvl1pPr>
          </a:lstStyle>
          <a:p>
            <a:endParaRPr lang="de-DE" dirty="0">
              <a:solidFill>
                <a:prstClr val="black"/>
              </a:solidFill>
            </a:endParaRPr>
          </a:p>
        </p:txBody>
      </p:sp>
      <p:sp>
        <p:nvSpPr>
          <p:cNvPr id="4" name="Foliennummernplatzhalter 3"/>
          <p:cNvSpPr>
            <a:spLocks noGrp="1"/>
          </p:cNvSpPr>
          <p:nvPr>
            <p:ph type="sldNum" sz="quarter" idx="12"/>
          </p:nvPr>
        </p:nvSpPr>
        <p:spPr/>
        <p:txBody>
          <a:bodyPr/>
          <a:lstStyle/>
          <a:p>
            <a:fld id="{A2229452-8F2B-4626-918F-01887DB5935C}"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438773101"/>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showMasterSp="0" userDrawn="1">
  <p:cSld name="1_4. Brushing/ image 2 columns">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3126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14" name="Picture Placeholder 3"/>
          <p:cNvSpPr>
            <a:spLocks noGrp="1"/>
          </p:cNvSpPr>
          <p:nvPr>
            <p:ph type="pic" sz="quarter" idx="13" hasCustomPrompt="1"/>
          </p:nvPr>
        </p:nvSpPr>
        <p:spPr bwMode="gray">
          <a:xfrm>
            <a:off x="-19040" y="0"/>
            <a:ext cx="12211833" cy="5588740"/>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 name="connsiteX0" fmla="*/ 0 w 12218193"/>
              <a:gd name="connsiteY0" fmla="*/ 9525 h 4086000"/>
              <a:gd name="connsiteX1" fmla="*/ 12217399 w 12218193"/>
              <a:gd name="connsiteY1" fmla="*/ 0 h 4086000"/>
              <a:gd name="connsiteX2" fmla="*/ 12218193 w 12218193"/>
              <a:gd name="connsiteY2" fmla="*/ 3455194 h 4086000"/>
              <a:gd name="connsiteX3" fmla="*/ 5038725 w 12218193"/>
              <a:gd name="connsiteY3" fmla="*/ 4086000 h 4086000"/>
              <a:gd name="connsiteX4" fmla="*/ 0 w 12218193"/>
              <a:gd name="connsiteY4" fmla="*/ 9525 h 4086000"/>
              <a:gd name="connsiteX0" fmla="*/ 0 w 12218193"/>
              <a:gd name="connsiteY0" fmla="*/ 9525 h 4533675"/>
              <a:gd name="connsiteX1" fmla="*/ 12217399 w 12218193"/>
              <a:gd name="connsiteY1" fmla="*/ 0 h 4533675"/>
              <a:gd name="connsiteX2" fmla="*/ 12218193 w 12218193"/>
              <a:gd name="connsiteY2" fmla="*/ 3455194 h 4533675"/>
              <a:gd name="connsiteX3" fmla="*/ 28575 w 12218193"/>
              <a:gd name="connsiteY3" fmla="*/ 4533675 h 4533675"/>
              <a:gd name="connsiteX4" fmla="*/ 0 w 12218193"/>
              <a:gd name="connsiteY4" fmla="*/ 9525 h 4533675"/>
              <a:gd name="connsiteX0" fmla="*/ 0 w 12218193"/>
              <a:gd name="connsiteY0" fmla="*/ 9525 h 4543200"/>
              <a:gd name="connsiteX1" fmla="*/ 12217399 w 12218193"/>
              <a:gd name="connsiteY1" fmla="*/ 0 h 4543200"/>
              <a:gd name="connsiteX2" fmla="*/ 12218193 w 12218193"/>
              <a:gd name="connsiteY2" fmla="*/ 3455194 h 4543200"/>
              <a:gd name="connsiteX3" fmla="*/ 19050 w 12218193"/>
              <a:gd name="connsiteY3" fmla="*/ 4543200 h 4543200"/>
              <a:gd name="connsiteX4" fmla="*/ 0 w 12218193"/>
              <a:gd name="connsiteY4" fmla="*/ 9525 h 4543200"/>
              <a:gd name="connsiteX0" fmla="*/ 0 w 12218193"/>
              <a:gd name="connsiteY0" fmla="*/ 9525 h 3817485"/>
              <a:gd name="connsiteX1" fmla="*/ 12217399 w 12218193"/>
              <a:gd name="connsiteY1" fmla="*/ 0 h 3817485"/>
              <a:gd name="connsiteX2" fmla="*/ 12218193 w 12218193"/>
              <a:gd name="connsiteY2" fmla="*/ 3455194 h 3817485"/>
              <a:gd name="connsiteX3" fmla="*/ 4536 w 12218193"/>
              <a:gd name="connsiteY3" fmla="*/ 3817485 h 3817485"/>
              <a:gd name="connsiteX4" fmla="*/ 0 w 12218193"/>
              <a:gd name="connsiteY4" fmla="*/ 9525 h 3817485"/>
              <a:gd name="connsiteX0" fmla="*/ 0 w 12218193"/>
              <a:gd name="connsiteY0" fmla="*/ 9525 h 3875543"/>
              <a:gd name="connsiteX1" fmla="*/ 12217399 w 12218193"/>
              <a:gd name="connsiteY1" fmla="*/ 0 h 3875543"/>
              <a:gd name="connsiteX2" fmla="*/ 12218193 w 12218193"/>
              <a:gd name="connsiteY2" fmla="*/ 3455194 h 3875543"/>
              <a:gd name="connsiteX3" fmla="*/ 19050 w 12218193"/>
              <a:gd name="connsiteY3" fmla="*/ 3875543 h 3875543"/>
              <a:gd name="connsiteX4" fmla="*/ 0 w 12218193"/>
              <a:gd name="connsiteY4" fmla="*/ 9525 h 3875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8193" h="3875543">
                <a:moveTo>
                  <a:pt x="0" y="9525"/>
                </a:moveTo>
                <a:lnTo>
                  <a:pt x="12217399" y="0"/>
                </a:lnTo>
                <a:cubicBezTo>
                  <a:pt x="12217664" y="1151731"/>
                  <a:pt x="12217928" y="2303463"/>
                  <a:pt x="12218193" y="3455194"/>
                </a:cubicBezTo>
                <a:lnTo>
                  <a:pt x="19050" y="3875543"/>
                </a:lnTo>
                <a:lnTo>
                  <a:pt x="0" y="9525"/>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3" name="Freihandform 12"/>
          <p:cNvSpPr/>
          <p:nvPr userDrawn="1"/>
        </p:nvSpPr>
        <p:spPr>
          <a:xfrm>
            <a:off x="-9519" y="4940818"/>
            <a:ext cx="12214213" cy="1917182"/>
          </a:xfrm>
          <a:custGeom>
            <a:avLst/>
            <a:gdLst>
              <a:gd name="connsiteX0" fmla="*/ 0 w 12220575"/>
              <a:gd name="connsiteY0" fmla="*/ 1066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0 w 12220575"/>
              <a:gd name="connsiteY4" fmla="*/ 1066800 h 3019425"/>
              <a:gd name="connsiteX0" fmla="*/ 19050 w 12220575"/>
              <a:gd name="connsiteY0" fmla="*/ 304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19050 w 12220575"/>
              <a:gd name="connsiteY4" fmla="*/ 304800 h 3019425"/>
              <a:gd name="connsiteX0" fmla="*/ 0 w 12220575"/>
              <a:gd name="connsiteY0" fmla="*/ 304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0 w 12220575"/>
              <a:gd name="connsiteY4" fmla="*/ 304800 h 3019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20575" h="3019425">
                <a:moveTo>
                  <a:pt x="0" y="304800"/>
                </a:moveTo>
                <a:lnTo>
                  <a:pt x="0" y="3019425"/>
                </a:lnTo>
                <a:lnTo>
                  <a:pt x="12220575" y="3019425"/>
                </a:lnTo>
                <a:lnTo>
                  <a:pt x="12220575" y="0"/>
                </a:lnTo>
                <a:lnTo>
                  <a:pt x="0" y="30480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15"/>
            <a:endParaRPr lang="de-DE" sz="2099" dirty="0">
              <a:solidFill>
                <a:prstClr val="white"/>
              </a:solidFill>
            </a:endParaRPr>
          </a:p>
        </p:txBody>
      </p:sp>
    </p:spTree>
    <p:extLst>
      <p:ext uri="{BB962C8B-B14F-4D97-AF65-F5344CB8AC3E}">
        <p14:creationId xmlns:p14="http://schemas.microsoft.com/office/powerpoint/2010/main" val="333105917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Image-chart 1/4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a:extLst>
              <a:ext uri="{28A0092B-C50C-407E-A947-70E740481C1C}">
                <a14:useLocalDpi xmlns:a14="http://schemas.microsoft.com/office/drawing/2010/main" val="0"/>
              </a:ext>
            </a:extLst>
          </a:blip>
          <a:srcRect b="5375"/>
          <a:stretch/>
        </p:blipFill>
        <p:spPr bwMode="white">
          <a:xfrm>
            <a:off x="0" y="-1"/>
            <a:ext cx="12190451" cy="6487839"/>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3" name="Title 2"/>
          <p:cNvSpPr>
            <a:spLocks noGrp="1"/>
          </p:cNvSpPr>
          <p:nvPr>
            <p:ph type="title" hasCustomPrompt="1"/>
          </p:nvPr>
        </p:nvSpPr>
        <p:spPr>
          <a:xfrm>
            <a:off x="630116" y="288857"/>
            <a:ext cx="10930662" cy="1151733"/>
          </a:xfrm>
        </p:spPr>
        <p:txBody>
          <a:bodyPr/>
          <a:lstStyle>
            <a:lvl1pPr>
              <a:defRPr baseline="0">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54419668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790.xml><?xml version="1.0" encoding="utf-8"?>
<p:sldLayout xmlns:a="http://schemas.openxmlformats.org/drawingml/2006/main" xmlns:r="http://schemas.openxmlformats.org/officeDocument/2006/relationships" xmlns:p="http://schemas.openxmlformats.org/presentationml/2006/main" userDrawn="1">
  <p:cSld name="Einleitungstext, dark grey">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32291"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el 1"/>
          <p:cNvSpPr>
            <a:spLocks noGrp="1"/>
          </p:cNvSpPr>
          <p:nvPr>
            <p:ph type="title"/>
          </p:nvPr>
        </p:nvSpPr>
        <p:spPr>
          <a:xfrm>
            <a:off x="714200" y="590401"/>
            <a:ext cx="8405989" cy="1325563"/>
          </a:xfrm>
        </p:spPr>
        <p:txBody>
          <a:bodyPr/>
          <a:lstStyle>
            <a:lvl1pPr>
              <a:defRPr sz="3580">
                <a:solidFill>
                  <a:schemeClr val="tx2"/>
                </a:solidFill>
              </a:defRPr>
            </a:lvl1pPr>
          </a:lstStyle>
          <a:p>
            <a:r>
              <a:rPr lang="de-DE" dirty="0"/>
              <a:t>Mastertitelformat bearbeiten</a:t>
            </a:r>
          </a:p>
        </p:txBody>
      </p:sp>
      <p:sp>
        <p:nvSpPr>
          <p:cNvPr id="3" name="Foliennummernplatzhalter 5"/>
          <p:cNvSpPr>
            <a:spLocks noGrp="1"/>
          </p:cNvSpPr>
          <p:nvPr>
            <p:ph type="sldNum" sz="quarter" idx="12"/>
          </p:nvPr>
        </p:nvSpPr>
        <p:spPr>
          <a:xfrm>
            <a:off x="10911840" y="6219191"/>
            <a:ext cx="579120" cy="303531"/>
          </a:xfrm>
        </p:spPr>
        <p:txBody>
          <a:bodyPr/>
          <a:lstStyle>
            <a:lvl1pPr>
              <a:defRPr>
                <a:solidFill>
                  <a:schemeClr val="tx2"/>
                </a:solidFill>
              </a:defRPr>
            </a:lvl1pPr>
          </a:lstStyle>
          <a:p>
            <a:fld id="{BDFFC951-C3BB-40CC-A730-0B992127FC44}" type="slidenum">
              <a:rPr lang="de-DE" smtClean="0">
                <a:solidFill>
                  <a:srgbClr val="E6E6E6"/>
                </a:solidFill>
              </a:rPr>
              <a:pPr/>
              <a:t>‹#›</a:t>
            </a:fld>
            <a:endParaRPr lang="de-DE" dirty="0">
              <a:solidFill>
                <a:srgbClr val="E6E6E6"/>
              </a:solidFill>
            </a:endParaRPr>
          </a:p>
        </p:txBody>
      </p:sp>
    </p:spTree>
    <p:extLst>
      <p:ext uri="{BB962C8B-B14F-4D97-AF65-F5344CB8AC3E}">
        <p14:creationId xmlns:p14="http://schemas.microsoft.com/office/powerpoint/2010/main" val="2216587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1.xml><?xml version="1.0" encoding="utf-8"?>
<p:sldLayout xmlns:a="http://schemas.openxmlformats.org/drawingml/2006/main" xmlns:r="http://schemas.openxmlformats.org/officeDocument/2006/relationships" xmlns:p="http://schemas.openxmlformats.org/presentationml/2006/main" type="tx">
  <p:cSld name="Dark Background">
    <p:spTree>
      <p:nvGrpSpPr>
        <p:cNvPr id="1" name=""/>
        <p:cNvGrpSpPr/>
        <p:nvPr/>
      </p:nvGrpSpPr>
      <p:grpSpPr>
        <a:xfrm>
          <a:off x="0" y="0"/>
          <a:ext cx="0" cy="0"/>
          <a:chOff x="0" y="0"/>
          <a:chExt cx="0" cy="0"/>
        </a:xfrm>
      </p:grpSpPr>
      <p:sp>
        <p:nvSpPr>
          <p:cNvPr id="18" name="Rechteck"/>
          <p:cNvSpPr/>
          <p:nvPr/>
        </p:nvSpPr>
        <p:spPr>
          <a:xfrm>
            <a:off x="0" y="0"/>
            <a:ext cx="12192000" cy="6858000"/>
          </a:xfrm>
          <a:prstGeom prst="rect">
            <a:avLst/>
          </a:prstGeom>
          <a:solidFill>
            <a:srgbClr val="2C2B31"/>
          </a:solidFill>
          <a:ln w="12700">
            <a:miter lim="400000"/>
          </a:ln>
        </p:spPr>
        <p:txBody>
          <a:bodyPr lIns="29065" tIns="29065" rIns="29065" bIns="29065" anchor="ctr"/>
          <a:lstStyle/>
          <a:p>
            <a:pPr defTabSz="744062">
              <a:defRPr sz="2400"/>
            </a:pPr>
            <a:endParaRPr lang="de-DE" sz="1362" dirty="0">
              <a:solidFill>
                <a:prstClr val="black"/>
              </a:solidFill>
            </a:endParaRPr>
          </a:p>
        </p:txBody>
      </p:sp>
      <p:sp>
        <p:nvSpPr>
          <p:cNvPr id="19" name="Foliennummer"/>
          <p:cNvSpPr txBox="1">
            <a:spLocks noGrp="1"/>
          </p:cNvSpPr>
          <p:nvPr>
            <p:ph type="sldNum" sz="quarter" idx="2"/>
          </p:nvPr>
        </p:nvSpPr>
        <p:spPr>
          <a:xfrm>
            <a:off x="5932244" y="6505278"/>
            <a:ext cx="316541" cy="266369"/>
          </a:xfrm>
          <a:prstGeom prst="rect">
            <a:avLst/>
          </a:prstGeom>
        </p:spPr>
        <p:txBody>
          <a:bodyPr lIns="51196" tIns="51196" rIns="51196" bIns="51196"/>
          <a:lstStyle>
            <a:lvl1pPr algn="ctr" defTabSz="334259">
              <a:defRPr sz="1021">
                <a:solidFill>
                  <a:srgbClr val="000000"/>
                </a:solidFill>
                <a:latin typeface="+mn-lt"/>
                <a:ea typeface="+mn-ea"/>
                <a:cs typeface="+mn-cs"/>
                <a:sym typeface="Helvetica Light"/>
              </a:defRPr>
            </a:lvl1pPr>
          </a:lstStyle>
          <a:p>
            <a:fld id="{86CB4B4D-7CA3-9044-876B-883B54F8677D}" type="slidenum">
              <a:rPr lang="de-DE" smtClean="0"/>
              <a:pPr/>
              <a:t>‹#›</a:t>
            </a:fld>
            <a:endParaRPr lang="de-DE" dirty="0"/>
          </a:p>
        </p:txBody>
      </p:sp>
    </p:spTree>
    <p:extLst>
      <p:ext uri="{BB962C8B-B14F-4D97-AF65-F5344CB8AC3E}">
        <p14:creationId xmlns:p14="http://schemas.microsoft.com/office/powerpoint/2010/main" val="1572342891"/>
      </p:ext>
    </p:extLst>
  </p:cSld>
  <p:clrMapOvr>
    <a:masterClrMapping/>
  </p:clrMapOvr>
  <p:transition spd="med"/>
</p:sldLayout>
</file>

<file path=ppt/slideLayouts/slideLayout792.xml><?xml version="1.0" encoding="utf-8"?>
<p:sldLayout xmlns:a="http://schemas.openxmlformats.org/drawingml/2006/main" xmlns:r="http://schemas.openxmlformats.org/officeDocument/2006/relationships" xmlns:p="http://schemas.openxmlformats.org/presentationml/2006/main" userDrawn="1">
  <p:cSld name="Text/ content/ Headline 2 lines">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33315"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Tree>
    <p:extLst>
      <p:ext uri="{BB962C8B-B14F-4D97-AF65-F5344CB8AC3E}">
        <p14:creationId xmlns:p14="http://schemas.microsoft.com/office/powerpoint/2010/main" val="382965141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793.xml><?xml version="1.0" encoding="utf-8"?>
<p:sldLayout xmlns:a="http://schemas.openxmlformats.org/drawingml/2006/main" xmlns:r="http://schemas.openxmlformats.org/officeDocument/2006/relationships" xmlns:p="http://schemas.openxmlformats.org/presentationml/2006/main" userDrawn="1">
  <p:cSld name="Blank/ Headline 2 line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134339"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71" y="285982"/>
            <a:ext cx="10931106" cy="683842"/>
          </a:xfrm>
        </p:spPr>
        <p:txBody>
          <a:bodyPr/>
          <a:lstStyle/>
          <a:p>
            <a:r>
              <a:rPr lang="en-US" noProof="0" dirty="0"/>
              <a:t>Headline in </a:t>
            </a:r>
            <a:r>
              <a:rPr lang="en-US" noProof="0" dirty="0" err="1"/>
              <a:t>CorpoS</a:t>
            </a:r>
            <a:r>
              <a:rPr lang="en-US" noProof="0" dirty="0"/>
              <a:t> (Body) 35 pt.</a:t>
            </a:r>
            <a:endParaRPr lang="en-US" dirty="0"/>
          </a:p>
        </p:txBody>
      </p:sp>
      <p:sp>
        <p:nvSpPr>
          <p:cNvPr id="3" name="Footer Placeholder 2"/>
          <p:cNvSpPr>
            <a:spLocks noGrp="1"/>
          </p:cNvSpPr>
          <p:nvPr>
            <p:ph type="ftr" sz="quarter" idx="10"/>
          </p:nvPr>
        </p:nvSpPr>
        <p:spPr/>
        <p:txBody>
          <a:bodyPr/>
          <a:lstStyle/>
          <a:p>
            <a:r>
              <a:rPr lang="en-US" dirty="0">
                <a:solidFill>
                  <a:prstClr val="black"/>
                </a:solidFill>
              </a:rPr>
              <a:t>DFS Capital Market Day</a:t>
            </a:r>
          </a:p>
        </p:txBody>
      </p:sp>
      <p:sp>
        <p:nvSpPr>
          <p:cNvPr id="4" name="Slide Number Placeholder 3"/>
          <p:cNvSpPr>
            <a:spLocks noGrp="1"/>
          </p:cNvSpPr>
          <p:nvPr>
            <p:ph type="sldNum" sz="quarter" idx="11"/>
          </p:nvPr>
        </p:nvSpPr>
        <p:spPr/>
        <p:txBody>
          <a:bodyPr/>
          <a:lstStyle/>
          <a:p>
            <a:r>
              <a:rPr lang="en-US" dirty="0">
                <a:solidFill>
                  <a:prstClr val="black"/>
                </a:solidFill>
              </a:rPr>
              <a:t>Page </a:t>
            </a:r>
            <a:fld id="{52531704-8F80-415D-BD2B-6B9991AE822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194846811"/>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794.xml><?xml version="1.0" encoding="utf-8"?>
<p:sldLayout xmlns:a="http://schemas.openxmlformats.org/drawingml/2006/main" xmlns:r="http://schemas.openxmlformats.org/officeDocument/2006/relationships" xmlns:p="http://schemas.openxmlformats.org/presentationml/2006/main" showMasterSp="0" preserve="1" userDrawn="1">
  <p:cSld name="Title 3/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 </a:t>
            </a:r>
            <a:r>
              <a:rPr lang="de-DE" dirty="0" err="1"/>
              <a:t>Presentation</a:t>
            </a:r>
            <a:r>
              <a:rPr lang="de-DE" dirty="0"/>
              <a:t> title</a:t>
            </a:r>
            <a:br>
              <a:rPr lang="de-DE" dirty="0"/>
            </a:br>
            <a:r>
              <a:rPr lang="de-DE" dirty="0"/>
              <a:t>in </a:t>
            </a:r>
            <a:r>
              <a:rPr lang="de-DE" dirty="0" err="1"/>
              <a:t>two</a:t>
            </a:r>
            <a:r>
              <a:rPr lang="de-DE" dirty="0"/>
              <a:t> </a:t>
            </a: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3506721485"/>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795.xml><?xml version="1.0" encoding="utf-8"?>
<p:sldLayout xmlns:a="http://schemas.openxmlformats.org/drawingml/2006/main" xmlns:r="http://schemas.openxmlformats.org/officeDocument/2006/relationships" xmlns:p="http://schemas.openxmlformats.org/presentationml/2006/main" showMasterSp="0" preserve="1" userDrawn="1">
  <p:cSld name="Title 2/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 </a:t>
            </a:r>
            <a:r>
              <a:rPr lang="de-DE" dirty="0" err="1"/>
              <a:t>Presentation</a:t>
            </a:r>
            <a:r>
              <a:rPr lang="de-DE" dirty="0"/>
              <a:t> title</a:t>
            </a:r>
            <a:br>
              <a:rPr lang="de-DE" dirty="0"/>
            </a:br>
            <a:r>
              <a:rPr lang="de-DE" dirty="0"/>
              <a:t>in </a:t>
            </a:r>
            <a:r>
              <a:rPr lang="de-DE" dirty="0" err="1"/>
              <a:t>two</a:t>
            </a:r>
            <a:r>
              <a:rPr lang="de-DE" dirty="0"/>
              <a:t> </a:t>
            </a:r>
            <a:r>
              <a:rPr lang="de-DE" dirty="0" err="1"/>
              <a:t>or</a:t>
            </a:r>
            <a:r>
              <a:rPr lang="de-DE" dirty="0"/>
              <a:t> </a:t>
            </a:r>
            <a:r>
              <a:rPr lang="de-DE" dirty="0" err="1"/>
              <a:t>more</a:t>
            </a:r>
            <a:r>
              <a:rPr lang="de-DE" dirty="0"/>
              <a:t> </a:t>
            </a: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78102490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796.xml><?xml version="1.0" encoding="utf-8"?>
<p:sldLayout xmlns:a="http://schemas.openxmlformats.org/drawingml/2006/main" xmlns:r="http://schemas.openxmlformats.org/officeDocument/2006/relationships" xmlns:p="http://schemas.openxmlformats.org/presentationml/2006/main" showMasterSp="0" preserve="1" userDrawn="1">
  <p:cSld name="Title 1/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4608438"/>
            <a:ext cx="10930832" cy="1538527"/>
          </a:xfrm>
        </p:spPr>
        <p:txBody>
          <a:bodyPr wrap="square" anchor="b" anchorCtr="0">
            <a:spAutoFit/>
          </a:bodyPr>
          <a:lstStyle>
            <a:lvl1pPr>
              <a:defRPr baseline="0"/>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a:t>
            </a:r>
            <a:br>
              <a:rPr lang="de-DE" dirty="0"/>
            </a:br>
            <a:r>
              <a:rPr lang="de-DE" dirty="0" err="1"/>
              <a:t>Presentation</a:t>
            </a:r>
            <a:r>
              <a:rPr lang="de-DE" dirty="0"/>
              <a:t> title in </a:t>
            </a:r>
            <a:r>
              <a:rPr lang="de-DE" dirty="0" err="1"/>
              <a:t>two</a:t>
            </a:r>
            <a:r>
              <a:rPr lang="de-DE" dirty="0"/>
              <a:t> </a:t>
            </a:r>
            <a:r>
              <a:rPr lang="de-DE" dirty="0" err="1"/>
              <a:t>lines</a:t>
            </a:r>
            <a:r>
              <a:rPr lang="de-DE" dirty="0"/>
              <a:t> </a:t>
            </a:r>
            <a:r>
              <a:rPr lang="de-DE" dirty="0" err="1"/>
              <a:t>or</a:t>
            </a:r>
            <a:r>
              <a:rPr lang="de-DE" dirty="0"/>
              <a:t> </a:t>
            </a:r>
            <a:br>
              <a:rPr lang="de-DE" dirty="0"/>
            </a:br>
            <a:r>
              <a:rPr lang="de-DE" dirty="0" err="1"/>
              <a:t>more</a:t>
            </a:r>
            <a:r>
              <a:rPr lang="de-DE" dirty="0"/>
              <a:t> </a:t>
            </a: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2655161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797.xml><?xml version="1.0" encoding="utf-8"?>
<p:sldLayout xmlns:a="http://schemas.openxmlformats.org/drawingml/2006/main" xmlns:r="http://schemas.openxmlformats.org/officeDocument/2006/relationships" xmlns:p="http://schemas.openxmlformats.org/presentationml/2006/main" showMasterSp="0" preserve="1" userDrawn="1">
  <p:cSld name="Title 3/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 name="Titel 1"/>
          <p:cNvSpPr>
            <a:spLocks noGrp="1"/>
          </p:cNvSpPr>
          <p:nvPr>
            <p:ph type="ctrTitle" hasCustomPrompt="1"/>
          </p:nvPr>
        </p:nvSpPr>
        <p:spPr>
          <a:xfrm>
            <a:off x="628323" y="2045814"/>
            <a:ext cx="10932181" cy="1763324"/>
          </a:xfrm>
        </p:spPr>
        <p:txBody>
          <a:bodyPr wrap="square" anchor="t" anchorCtr="0">
            <a:noAutofit/>
          </a:bodyPr>
          <a:lstStyle>
            <a:lvl1pPr>
              <a:defRPr baseline="0">
                <a:solidFill>
                  <a:schemeClr val="bg1"/>
                </a:solidFill>
              </a:defRPr>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a:t>
            </a:r>
            <a:br>
              <a:rPr lang="de-DE" dirty="0"/>
            </a:br>
            <a:r>
              <a:rPr lang="de-DE" dirty="0" err="1"/>
              <a:t>Presentation</a:t>
            </a:r>
            <a:r>
              <a:rPr lang="de-DE" dirty="0"/>
              <a:t> title in </a:t>
            </a:r>
            <a:r>
              <a:rPr lang="de-DE" dirty="0" err="1"/>
              <a:t>two</a:t>
            </a:r>
            <a:r>
              <a:rPr lang="de-DE" dirty="0"/>
              <a:t> </a:t>
            </a:r>
            <a:r>
              <a:rPr lang="de-DE" dirty="0" err="1"/>
              <a:t>or</a:t>
            </a:r>
            <a:r>
              <a:rPr lang="de-DE" dirty="0"/>
              <a:t> </a:t>
            </a:r>
            <a:r>
              <a:rPr lang="de-DE" dirty="0" err="1"/>
              <a:t>three</a:t>
            </a:r>
            <a:r>
              <a:rPr lang="de-DE" dirty="0"/>
              <a:t> </a:t>
            </a:r>
            <a:br>
              <a:rPr lang="de-DE" dirty="0"/>
            </a:b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323877092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798.xml><?xml version="1.0" encoding="utf-8"?>
<p:sldLayout xmlns:a="http://schemas.openxmlformats.org/drawingml/2006/main" xmlns:r="http://schemas.openxmlformats.org/officeDocument/2006/relationships" xmlns:p="http://schemas.openxmlformats.org/presentationml/2006/main" showMasterSp="0" preserve="1" userDrawn="1">
  <p:cSld name="Title 2/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 name="Titel 1"/>
          <p:cNvSpPr>
            <a:spLocks noGrp="1"/>
          </p:cNvSpPr>
          <p:nvPr>
            <p:ph type="ctrTitle" hasCustomPrompt="1"/>
          </p:nvPr>
        </p:nvSpPr>
        <p:spPr>
          <a:xfrm>
            <a:off x="628323" y="2044433"/>
            <a:ext cx="10932181" cy="648964"/>
          </a:xfrm>
        </p:spPr>
        <p:txBody>
          <a:bodyPr wrap="square" anchor="t" anchorCtr="0">
            <a:noAutofit/>
          </a:bodyPr>
          <a:lstStyle>
            <a:lvl1pPr>
              <a:defRPr>
                <a:solidFill>
                  <a:schemeClr val="bg1"/>
                </a:solidFill>
              </a:defRPr>
            </a:lvl1pPr>
          </a:lstStyle>
          <a:p>
            <a:r>
              <a:rPr lang="de-DE" dirty="0"/>
              <a:t>Headline </a:t>
            </a:r>
            <a:r>
              <a:rPr lang="de-DE" dirty="0" err="1"/>
              <a:t>for</a:t>
            </a:r>
            <a:r>
              <a:rPr lang="de-DE" dirty="0"/>
              <a:t> </a:t>
            </a:r>
            <a:r>
              <a:rPr lang="de-DE" dirty="0" err="1"/>
              <a:t>presentation</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63374279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799.xml><?xml version="1.0" encoding="utf-8"?>
<p:sldLayout xmlns:a="http://schemas.openxmlformats.org/drawingml/2006/main" xmlns:r="http://schemas.openxmlformats.org/officeDocument/2006/relationships" xmlns:p="http://schemas.openxmlformats.org/presentationml/2006/main" showMasterSp="0" preserve="1" userDrawn="1">
  <p:cSld name="Image-chart 3/4 brushed ">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1"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3" name="Title 2"/>
          <p:cNvSpPr>
            <a:spLocks noGrp="1"/>
          </p:cNvSpPr>
          <p:nvPr>
            <p:ph type="title" hasCustomPrompt="1"/>
          </p:nvPr>
        </p:nvSpPr>
        <p:spPr>
          <a:xfrm>
            <a:off x="628323" y="288859"/>
            <a:ext cx="10932455" cy="1025684"/>
          </a:xfrm>
        </p:spPr>
        <p:txBody>
          <a:bodyPr wrap="square">
            <a:spAutoFit/>
          </a:bodyPr>
          <a:lstStyle>
            <a:lvl1pPr>
              <a:defRPr>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or</a:t>
            </a:r>
            <a:r>
              <a:rPr lang="de-DE" dirty="0"/>
              <a:t> </a:t>
            </a:r>
            <a:r>
              <a:rPr lang="de-DE" dirty="0" err="1"/>
              <a:t>more</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427995724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1/3 brushed">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2" name="Title 1"/>
          <p:cNvSpPr>
            <a:spLocks noGrp="1"/>
          </p:cNvSpPr>
          <p:nvPr>
            <p:ph type="title" hasCustomPrompt="1"/>
          </p:nvPr>
        </p:nvSpPr>
        <p:spPr>
          <a:xfrm>
            <a:off x="628323" y="288859"/>
            <a:ext cx="10932455" cy="1148857"/>
          </a:xfrm>
        </p:spPr>
        <p:txBody>
          <a:bodyPr/>
          <a:lstStyle>
            <a:lvl1pPr>
              <a:defRPr/>
            </a:lvl1pPr>
          </a:lstStyle>
          <a:p>
            <a:r>
              <a:rPr lang="en-GB" noProof="0" dirty="0"/>
              <a:t>Headline for Agenda in </a:t>
            </a:r>
            <a:r>
              <a:rPr lang="en-GB" noProof="0" dirty="0" err="1"/>
              <a:t>CorpoS</a:t>
            </a:r>
            <a:r>
              <a:rPr lang="en-GB" noProof="0" dirty="0"/>
              <a:t>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6" y="1504603"/>
            <a:ext cx="10930388" cy="3759916"/>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13882551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genda 1/3 brushed">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2" name="Title 1"/>
          <p:cNvSpPr>
            <a:spLocks noGrp="1"/>
          </p:cNvSpPr>
          <p:nvPr>
            <p:ph type="title" hasCustomPrompt="1"/>
          </p:nvPr>
        </p:nvSpPr>
        <p:spPr>
          <a:xfrm>
            <a:off x="628323" y="288859"/>
            <a:ext cx="10932455" cy="1148857"/>
          </a:xfrm>
        </p:spPr>
        <p:txBody>
          <a:bodyPr/>
          <a:lstStyle>
            <a:lvl1pPr>
              <a:defRPr/>
            </a:lvl1pPr>
          </a:lstStyle>
          <a:p>
            <a:r>
              <a:rPr lang="en-GB" noProof="0" dirty="0"/>
              <a:t>Headline for Agenda in </a:t>
            </a:r>
            <a:r>
              <a:rPr lang="en-GB" noProof="0" dirty="0" err="1"/>
              <a:t>CorpoS</a:t>
            </a:r>
            <a:r>
              <a:rPr lang="en-GB" noProof="0" dirty="0"/>
              <a:t>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30116" y="1504603"/>
            <a:ext cx="10930388" cy="3759916"/>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413178426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800.xml><?xml version="1.0" encoding="utf-8"?>
<p:sldLayout xmlns:a="http://schemas.openxmlformats.org/drawingml/2006/main" xmlns:r="http://schemas.openxmlformats.org/officeDocument/2006/relationships" xmlns:p="http://schemas.openxmlformats.org/presentationml/2006/main" showMasterSp="0" preserve="1" userDrawn="1">
  <p:cSld name="Image-chart 1/4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1"/>
            <a:ext cx="12190451" cy="6487839"/>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3" name="Title 2"/>
          <p:cNvSpPr>
            <a:spLocks noGrp="1"/>
          </p:cNvSpPr>
          <p:nvPr>
            <p:ph type="title" hasCustomPrompt="1"/>
          </p:nvPr>
        </p:nvSpPr>
        <p:spPr>
          <a:xfrm>
            <a:off x="630116" y="288857"/>
            <a:ext cx="10930662" cy="1151733"/>
          </a:xfrm>
        </p:spPr>
        <p:txBody>
          <a:bodyPr/>
          <a:lstStyle>
            <a:lvl1pPr>
              <a:defRPr baseline="0">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152004871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801.xml><?xml version="1.0" encoding="utf-8"?>
<p:sldLayout xmlns:a="http://schemas.openxmlformats.org/drawingml/2006/main" xmlns:r="http://schemas.openxmlformats.org/officeDocument/2006/relationships" xmlns:p="http://schemas.openxmlformats.org/presentationml/2006/main" showMasterSp="0" preserve="1" userDrawn="1">
  <p:cSld name="Agenda 1/3 brushed">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a:xfrm>
            <a:off x="628323" y="288859"/>
            <a:ext cx="10932455" cy="1148857"/>
          </a:xfrm>
        </p:spPr>
        <p:txBody>
          <a:bodyPr/>
          <a:lstStyle>
            <a:lvl1pPr>
              <a:defRPr/>
            </a:lvl1pPr>
          </a:lstStyle>
          <a:p>
            <a:r>
              <a:rPr lang="de-DE" noProof="0" dirty="0"/>
              <a:t>Headline </a:t>
            </a:r>
            <a:r>
              <a:rPr lang="de-DE" noProof="0" dirty="0" err="1"/>
              <a:t>for</a:t>
            </a:r>
            <a:r>
              <a:rPr lang="de-DE" noProof="0" dirty="0"/>
              <a:t> Agenda in </a:t>
            </a:r>
            <a:r>
              <a:rPr lang="de-DE" noProof="0" dirty="0" err="1"/>
              <a:t>CorpoS</a:t>
            </a:r>
            <a:r>
              <a:rPr lang="de-DE" noProof="0" dirty="0"/>
              <a:t> (Body) 35 </a:t>
            </a:r>
            <a:r>
              <a:rPr lang="de-DE" noProof="0" dirty="0" err="1"/>
              <a:t>pt</a:t>
            </a:r>
            <a:r>
              <a:rPr lang="de-DE" noProof="0" dirty="0"/>
              <a:t>. </a:t>
            </a:r>
            <a:br>
              <a:rPr lang="de-DE" noProof="0" dirty="0"/>
            </a:br>
            <a:r>
              <a:rPr lang="de-DE" noProof="0" dirty="0" err="1"/>
              <a:t>one</a:t>
            </a:r>
            <a:r>
              <a:rPr lang="de-DE" noProof="0" dirty="0"/>
              <a:t> </a:t>
            </a:r>
            <a:r>
              <a:rPr lang="de-DE" noProof="0" dirty="0" err="1"/>
              <a:t>or</a:t>
            </a:r>
            <a:r>
              <a:rPr lang="de-DE" noProof="0" dirty="0"/>
              <a:t>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Text Placeholder 5"/>
          <p:cNvSpPr>
            <a:spLocks noGrp="1"/>
          </p:cNvSpPr>
          <p:nvPr>
            <p:ph type="body" sz="quarter" idx="12" hasCustomPrompt="1"/>
          </p:nvPr>
        </p:nvSpPr>
        <p:spPr>
          <a:xfrm>
            <a:off x="630116" y="1504603"/>
            <a:ext cx="10930388" cy="3759916"/>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Insert Agenda </a:t>
            </a:r>
            <a:r>
              <a:rPr lang="de-DE" dirty="0" err="1"/>
              <a:t>point</a:t>
            </a:r>
            <a:endParaRPr lang="de-DE" dirty="0"/>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124085774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3638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e-DE" noProof="0" dirty="0"/>
              <a:t>Headline </a:t>
            </a:r>
            <a:r>
              <a:rPr lang="de-DE" noProof="0" dirty="0" err="1"/>
              <a:t>for</a:t>
            </a:r>
            <a:r>
              <a:rPr lang="de-DE" noProof="0" dirty="0"/>
              <a:t> Agenda in </a:t>
            </a:r>
            <a:r>
              <a:rPr lang="de-DE" noProof="0" dirty="0" err="1"/>
              <a:t>CorpoS</a:t>
            </a:r>
            <a:r>
              <a:rPr lang="de-DE" noProof="0" dirty="0"/>
              <a:t> (Body) 35 </a:t>
            </a:r>
            <a:r>
              <a:rPr lang="de-DE" noProof="0" dirty="0" err="1"/>
              <a:t>pt</a:t>
            </a:r>
            <a:r>
              <a:rPr lang="de-DE" noProof="0" dirty="0"/>
              <a:t>. </a:t>
            </a:r>
            <a:br>
              <a:rPr lang="de-DE" noProof="0" dirty="0"/>
            </a:br>
            <a:r>
              <a:rPr lang="de-DE" noProof="0" dirty="0" err="1"/>
              <a:t>one</a:t>
            </a:r>
            <a:r>
              <a:rPr lang="de-DE" noProof="0" dirty="0"/>
              <a:t> </a:t>
            </a:r>
            <a:r>
              <a:rPr lang="de-DE" noProof="0" dirty="0" err="1"/>
              <a:t>or</a:t>
            </a:r>
            <a:r>
              <a:rPr lang="de-DE" noProof="0" dirty="0"/>
              <a:t>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Insert Agenda </a:t>
            </a:r>
            <a:r>
              <a:rPr lang="de-DE" dirty="0" err="1"/>
              <a:t>point</a:t>
            </a:r>
            <a:endParaRPr lang="de-DE" dirty="0"/>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14106310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Headline two lines // Conten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37411"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Tree>
    <p:extLst>
      <p:ext uri="{BB962C8B-B14F-4D97-AF65-F5344CB8AC3E}">
        <p14:creationId xmlns:p14="http://schemas.microsoft.com/office/powerpoint/2010/main" val="419478493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804.xml><?xml version="1.0" encoding="utf-8"?>
<p:sldLayout xmlns:a="http://schemas.openxmlformats.org/drawingml/2006/main" xmlns:r="http://schemas.openxmlformats.org/officeDocument/2006/relationships" xmlns:p="http://schemas.openxmlformats.org/presentationml/2006/main" showMasterSp="0" preserve="1" userDrawn="1">
  <p:cSld name="Headline two lines // Image">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a:t>
            </a:r>
            <a:r>
              <a:rPr lang="de-DE" noProof="0" dirty="0"/>
              <a:t> S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281881331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Headlin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Tree>
    <p:extLst>
      <p:ext uri="{BB962C8B-B14F-4D97-AF65-F5344CB8AC3E}">
        <p14:creationId xmlns:p14="http://schemas.microsoft.com/office/powerpoint/2010/main" val="66727097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806.xml><?xml version="1.0" encoding="utf-8"?>
<p:sldLayout xmlns:a="http://schemas.openxmlformats.org/drawingml/2006/main" xmlns:r="http://schemas.openxmlformats.org/officeDocument/2006/relationships" xmlns:p="http://schemas.openxmlformats.org/presentationml/2006/main" showMasterSp="0" preserve="1" userDrawn="1">
  <p:cSld name="Headline // Image">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41954816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807.xml><?xml version="1.0" encoding="utf-8"?>
<p:sldLayout xmlns:a="http://schemas.openxmlformats.org/drawingml/2006/main" xmlns:r="http://schemas.openxmlformats.org/officeDocument/2006/relationships" xmlns:p="http://schemas.openxmlformats.org/presentationml/2006/main" showMasterSp="0" preserve="1" userDrawn="1">
  <p:cSld name="2 Images-chart 2/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or</a:t>
            </a:r>
            <a:r>
              <a:rPr lang="de-DE" dirty="0"/>
              <a:t> </a:t>
            </a:r>
            <a:r>
              <a:rPr lang="de-DE" dirty="0" err="1"/>
              <a:t>more</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218951865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808.xml><?xml version="1.0" encoding="utf-8"?>
<p:sldLayout xmlns:a="http://schemas.openxmlformats.org/drawingml/2006/main" xmlns:r="http://schemas.openxmlformats.org/officeDocument/2006/relationships" xmlns:p="http://schemas.openxmlformats.org/presentationml/2006/main" showMasterSp="0" preserve="1" userDrawn="1">
  <p:cSld name="2 Images-chart 1/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 name="Title 2"/>
          <p:cNvSpPr>
            <a:spLocks noGrp="1"/>
          </p:cNvSpPr>
          <p:nvPr>
            <p:ph type="title" hasCustomPrompt="1"/>
          </p:nvPr>
        </p:nvSpPr>
        <p:spPr>
          <a:xfrm>
            <a:off x="630116" y="288859"/>
            <a:ext cx="10930662" cy="1148857"/>
          </a:xfrm>
        </p:spPr>
        <p:txBody>
          <a:bodyPr/>
          <a:lstStyle>
            <a:lvl1pPr>
              <a:defRPr>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4732882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809.xml><?xml version="1.0" encoding="utf-8"?>
<p:sldLayout xmlns:a="http://schemas.openxmlformats.org/drawingml/2006/main" xmlns:r="http://schemas.openxmlformats.org/officeDocument/2006/relationships" xmlns:p="http://schemas.openxmlformats.org/presentationml/2006/main" showMasterSp="0" preserve="1" userDrawn="1">
  <p:cSld name="2 Images-chart 1/3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201253608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for Agenda in </a:t>
            </a:r>
            <a:r>
              <a:rPr lang="en-GB" noProof="0" dirty="0" err="1"/>
              <a:t>CorpoS</a:t>
            </a:r>
            <a:r>
              <a:rPr lang="en-GB" noProof="0" dirty="0"/>
              <a:t>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149812320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810.xml><?xml version="1.0" encoding="utf-8"?>
<p:sldLayout xmlns:a="http://schemas.openxmlformats.org/drawingml/2006/main" xmlns:r="http://schemas.openxmlformats.org/officeDocument/2006/relationships" xmlns:p="http://schemas.openxmlformats.org/presentationml/2006/main" showMasterSp="0" preserve="1" userDrawn="1">
  <p:cSld name="2 Images-chart 2/3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Body </a:t>
            </a:r>
            <a:r>
              <a:rPr lang="de-DE" dirty="0" err="1"/>
              <a:t>text</a:t>
            </a:r>
            <a:r>
              <a:rPr lang="de-DE" dirty="0"/>
              <a:t>: Home // Paragraph// </a:t>
            </a:r>
            <a:r>
              <a:rPr lang="de-DE" dirty="0" err="1"/>
              <a:t>Increase</a:t>
            </a:r>
            <a:r>
              <a:rPr lang="de-DE" dirty="0"/>
              <a:t> List Level</a:t>
            </a:r>
          </a:p>
          <a:p>
            <a:pPr lvl="1"/>
            <a:r>
              <a:rPr lang="de-DE" dirty="0"/>
              <a:t>Second </a:t>
            </a:r>
            <a:r>
              <a:rPr lang="de-DE" dirty="0" err="1"/>
              <a:t>level</a:t>
            </a:r>
            <a:r>
              <a:rPr lang="de-DE" dirty="0"/>
              <a:t> (Body </a:t>
            </a:r>
            <a:r>
              <a:rPr lang="de-DE" dirty="0" err="1"/>
              <a:t>text</a:t>
            </a:r>
            <a:r>
              <a:rPr lang="de-DE" dirty="0"/>
              <a:t>)</a:t>
            </a:r>
          </a:p>
        </p:txBody>
      </p:sp>
    </p:spTree>
    <p:extLst>
      <p:ext uri="{BB962C8B-B14F-4D97-AF65-F5344CB8AC3E}">
        <p14:creationId xmlns:p14="http://schemas.microsoft.com/office/powerpoint/2010/main" val="425545266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811.xml><?xml version="1.0" encoding="utf-8"?>
<p:sldLayout xmlns:a="http://schemas.openxmlformats.org/drawingml/2006/main" xmlns:r="http://schemas.openxmlformats.org/officeDocument/2006/relationships" xmlns:p="http://schemas.openxmlformats.org/presentationml/2006/main" showMasterSp="0" preserve="1" userDrawn="1">
  <p:cSld name="2 Images-chart 3/3 brushed">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3"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Body </a:t>
            </a:r>
            <a:r>
              <a:rPr lang="de-DE" dirty="0" err="1"/>
              <a:t>text</a:t>
            </a:r>
            <a:r>
              <a:rPr lang="de-DE" dirty="0"/>
              <a:t>: Home // Paragraph// </a:t>
            </a:r>
            <a:r>
              <a:rPr lang="de-DE" dirty="0" err="1"/>
              <a:t>Increase</a:t>
            </a:r>
            <a:r>
              <a:rPr lang="de-DE" dirty="0"/>
              <a:t> List Level</a:t>
            </a:r>
          </a:p>
          <a:p>
            <a:pPr lvl="1"/>
            <a:r>
              <a:rPr lang="de-DE" dirty="0"/>
              <a:t>Second </a:t>
            </a:r>
            <a:r>
              <a:rPr lang="de-DE" dirty="0" err="1"/>
              <a:t>level</a:t>
            </a:r>
            <a:r>
              <a:rPr lang="de-DE" dirty="0"/>
              <a:t> (Body </a:t>
            </a:r>
            <a:r>
              <a:rPr lang="de-DE" dirty="0" err="1"/>
              <a:t>tex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397397630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812.xml><?xml version="1.0" encoding="utf-8"?>
<p:sldLayout xmlns:a="http://schemas.openxmlformats.org/drawingml/2006/main" xmlns:r="http://schemas.openxmlformats.org/officeDocument/2006/relationships" xmlns:p="http://schemas.openxmlformats.org/presentationml/2006/main" showMasterSp="0" preserve="1" userDrawn="1">
  <p:cSld name="Fullpage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402817466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813.xml><?xml version="1.0" encoding="utf-8"?>
<p:sldLayout xmlns:a="http://schemas.openxmlformats.org/drawingml/2006/main" xmlns:r="http://schemas.openxmlformats.org/officeDocument/2006/relationships" xmlns:p="http://schemas.openxmlformats.org/presentationml/2006/main" showMasterSp="0" preserve="1" userDrawn="1">
  <p:cSld name="Fullpage 3 image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6" name="Picture Placeholder 3"/>
          <p:cNvSpPr>
            <a:spLocks noGrp="1"/>
          </p:cNvSpPr>
          <p:nvPr>
            <p:ph type="pic" sz="quarter" idx="14" hasCustomPrompt="1"/>
          </p:nvPr>
        </p:nvSpPr>
        <p:spPr bwMode="gray">
          <a:xfrm>
            <a:off x="3911151" y="0"/>
            <a:ext cx="4199925"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246671486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Two 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a:t>
            </a:r>
            <a:r>
              <a:rPr lang="de-DE" noProof="0" dirty="0"/>
              <a:t> S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de-DE" dirty="0"/>
              <a:t>Insert </a:t>
            </a:r>
            <a:r>
              <a:rPr lang="de-DE" dirty="0" err="1"/>
              <a:t>text</a:t>
            </a:r>
            <a:r>
              <a:rPr lang="de-DE" dirty="0"/>
              <a:t> </a:t>
            </a:r>
            <a:r>
              <a:rPr lang="de-DE" noProof="0" dirty="0"/>
              <a:t>(Mark-</a:t>
            </a:r>
            <a:r>
              <a:rPr lang="de-DE" noProof="0" dirty="0" err="1"/>
              <a:t>ups</a:t>
            </a:r>
            <a:r>
              <a:rPr lang="de-DE" noProof="0" dirty="0"/>
              <a:t> in </a:t>
            </a:r>
            <a:r>
              <a:rPr lang="de-DE" noProof="0" dirty="0" err="1"/>
              <a:t>Bold</a:t>
            </a:r>
            <a:r>
              <a:rPr lang="de-DE" noProof="0" dirty="0"/>
              <a:t>) </a:t>
            </a:r>
            <a:r>
              <a:rPr lang="de-DE" dirty="0"/>
              <a:t>// </a:t>
            </a:r>
            <a:r>
              <a:rPr lang="de-DE" dirty="0" err="1"/>
              <a:t>conclusion</a:t>
            </a:r>
            <a:r>
              <a:rPr lang="de-DE" dirty="0"/>
              <a:t> etc.: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de-DE" dirty="0"/>
              <a:t>Insert </a:t>
            </a:r>
            <a:r>
              <a:rPr lang="de-DE" dirty="0" err="1"/>
              <a:t>text</a:t>
            </a:r>
            <a:r>
              <a:rPr lang="de-DE" dirty="0"/>
              <a:t> </a:t>
            </a:r>
            <a:r>
              <a:rPr lang="de-DE" noProof="0" dirty="0"/>
              <a:t>(Mark-</a:t>
            </a:r>
            <a:r>
              <a:rPr lang="de-DE" noProof="0" dirty="0" err="1"/>
              <a:t>ups</a:t>
            </a:r>
            <a:r>
              <a:rPr lang="de-DE" noProof="0" dirty="0"/>
              <a:t> in </a:t>
            </a:r>
            <a:r>
              <a:rPr lang="de-DE" noProof="0" dirty="0" err="1"/>
              <a:t>Bold</a:t>
            </a:r>
            <a:r>
              <a:rPr lang="de-DE" noProof="0" dirty="0"/>
              <a:t>) </a:t>
            </a:r>
            <a:r>
              <a:rPr lang="de-DE" dirty="0"/>
              <a:t>// </a:t>
            </a:r>
            <a:r>
              <a:rPr lang="de-DE" dirty="0" err="1"/>
              <a:t>conclusion</a:t>
            </a:r>
            <a:r>
              <a:rPr lang="de-DE" dirty="0"/>
              <a:t> etc.: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etc.)</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269489270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220279796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Text small // Image">
    <p:spTree>
      <p:nvGrpSpPr>
        <p:cNvPr id="1" name=""/>
        <p:cNvGrpSpPr/>
        <p:nvPr/>
      </p:nvGrpSpPr>
      <p:grpSpPr>
        <a:xfrm>
          <a:off x="0" y="0"/>
          <a:ext cx="0" cy="0"/>
          <a:chOff x="0" y="0"/>
          <a:chExt cx="0" cy="0"/>
        </a:xfrm>
      </p:grpSpPr>
      <p:sp>
        <p:nvSpPr>
          <p:cNvPr id="10" name="Picture Placeholder 3"/>
          <p:cNvSpPr>
            <a:spLocks noGrp="1"/>
          </p:cNvSpPr>
          <p:nvPr>
            <p:ph type="pic" sz="quarter" idx="14" hasCustomPrompt="1"/>
          </p:nvPr>
        </p:nvSpPr>
        <p:spPr bwMode="gray">
          <a:xfrm>
            <a:off x="4848875" y="1504604"/>
            <a:ext cx="6711903" cy="4875669"/>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8" name="Text Placeholder 7"/>
          <p:cNvSpPr>
            <a:spLocks noGrp="1"/>
          </p:cNvSpPr>
          <p:nvPr>
            <p:ph type="body" sz="quarter" idx="12" hasCustomPrompt="1"/>
          </p:nvPr>
        </p:nvSpPr>
        <p:spPr>
          <a:xfrm>
            <a:off x="629672" y="1504603"/>
            <a:ext cx="3857441" cy="4876681"/>
          </a:xfrm>
        </p:spPr>
        <p:txBody>
          <a:bodyPr>
            <a:normAutofit/>
          </a:bodyPr>
          <a:lstStyle>
            <a:lvl1pPr>
              <a:lnSpc>
                <a:spcPts val="2399"/>
              </a:lnSpc>
              <a:defRPr sz="1899" baseline="0"/>
            </a:lvl1pPr>
            <a:lvl2pPr>
              <a:lnSpc>
                <a:spcPts val="2399"/>
              </a:lnSpc>
              <a:defRPr sz="1899"/>
            </a:lvl2pPr>
            <a:lvl3pPr>
              <a:lnSpc>
                <a:spcPts val="2399"/>
              </a:lnSpc>
              <a:defRPr sz="1899"/>
            </a:lvl3pPr>
            <a:lvl4pPr>
              <a:lnSpc>
                <a:spcPts val="2399"/>
              </a:lnSpc>
              <a:defRPr sz="1899"/>
            </a:lvl4pPr>
            <a:lvl5pPr>
              <a:lnSpc>
                <a:spcPts val="2399"/>
              </a:lnSpc>
              <a:defRPr sz="1899"/>
            </a:lvl5pPr>
            <a:lvl6pPr>
              <a:lnSpc>
                <a:spcPts val="2399"/>
              </a:lnSpc>
              <a:defRPr sz="1899"/>
            </a:lvl6pPr>
            <a:lvl7pPr>
              <a:lnSpc>
                <a:spcPts val="2399"/>
              </a:lnSpc>
              <a:defRPr sz="1899"/>
            </a:lvl7pPr>
            <a:lvl8pPr>
              <a:lnSpc>
                <a:spcPts val="2399"/>
              </a:lnSpc>
              <a:defRPr sz="1899"/>
            </a:lvl8pPr>
            <a:lvl9pPr>
              <a:lnSpc>
                <a:spcPts val="2399"/>
              </a:lnSpc>
              <a:defRPr sz="1899"/>
            </a:lvl9pPr>
          </a:lstStyle>
          <a:p>
            <a:pPr lvl="0"/>
            <a:r>
              <a:rPr lang="de-DE" dirty="0"/>
              <a:t>Insert </a:t>
            </a:r>
            <a:r>
              <a:rPr lang="de-DE" dirty="0" err="1"/>
              <a:t>text</a:t>
            </a:r>
            <a:r>
              <a:rPr lang="de-DE" dirty="0"/>
              <a:t> in </a:t>
            </a:r>
            <a:r>
              <a:rPr lang="de-DE" noProof="0" dirty="0" err="1"/>
              <a:t>CorpoS</a:t>
            </a:r>
            <a:r>
              <a:rPr lang="de-DE" noProof="0" dirty="0"/>
              <a:t> (Body) 19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5" name="Title 4"/>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 </a:t>
            </a:r>
            <a:r>
              <a:rPr lang="de-DE" noProof="0" dirty="0" err="1"/>
              <a:t>for</a:t>
            </a:r>
            <a:r>
              <a:rPr lang="de-DE" noProof="0" dirty="0"/>
              <a:t> </a:t>
            </a:r>
            <a:r>
              <a:rPr lang="de-DE" noProof="0" dirty="0" err="1"/>
              <a:t>standard</a:t>
            </a:r>
            <a:r>
              <a:rPr lang="de-DE" noProof="0" dirty="0"/>
              <a:t> </a:t>
            </a:r>
            <a:br>
              <a:rPr lang="de-DE" noProof="0" dirty="0"/>
            </a:br>
            <a:r>
              <a:rPr lang="de-DE" noProof="0" dirty="0"/>
              <a:t>text-chart in </a:t>
            </a:r>
            <a:r>
              <a:rPr lang="de-DE" noProof="0" dirty="0" err="1"/>
              <a:t>two</a:t>
            </a:r>
            <a:r>
              <a:rPr lang="de-DE" noProof="0" dirty="0"/>
              <a:t> </a:t>
            </a:r>
            <a:r>
              <a:rPr lang="de-DE" noProof="0" dirty="0" err="1"/>
              <a:t>lines</a:t>
            </a:r>
            <a:endParaRPr lang="de-DE" dirty="0"/>
          </a:p>
        </p:txBody>
      </p:sp>
    </p:spTree>
    <p:extLst>
      <p:ext uri="{BB962C8B-B14F-4D97-AF65-F5344CB8AC3E}">
        <p14:creationId xmlns:p14="http://schemas.microsoft.com/office/powerpoint/2010/main" val="4076737019"/>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948">
          <p15:clr>
            <a:srgbClr val="FBAE40"/>
          </p15:clr>
        </p15:guide>
        <p15:guide id="3" orient="horz" pos="182">
          <p15:clr>
            <a:srgbClr val="FBAE40"/>
          </p15:clr>
        </p15:guide>
        <p15:guide id="4" pos="3056">
          <p15:clr>
            <a:srgbClr val="FBAE40"/>
          </p15:clr>
        </p15:guide>
        <p15:guide id="5" pos="2828">
          <p15:clr>
            <a:srgbClr val="FBAE40"/>
          </p15:clr>
        </p15:guide>
      </p15:sldGuideLst>
    </p:ext>
  </p:extLst>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Two contents with head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de-DE" dirty="0"/>
              <a:t>Insert </a:t>
            </a:r>
            <a:r>
              <a:rPr lang="de-DE" dirty="0" err="1"/>
              <a:t>content</a:t>
            </a:r>
            <a:r>
              <a:rPr lang="de-DE" dirty="0"/>
              <a:t> </a:t>
            </a:r>
            <a:r>
              <a:rPr lang="de-DE" dirty="0" err="1"/>
              <a:t>or</a:t>
            </a:r>
            <a:r>
              <a:rPr lang="de-DE" dirty="0"/>
              <a: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a:t>Insert </a:t>
            </a:r>
            <a:r>
              <a:rPr lang="de-DE" dirty="0" err="1"/>
              <a:t>headline</a:t>
            </a:r>
            <a:endParaRPr lang="de-DE" dirty="0"/>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a:t>Insert </a:t>
            </a:r>
            <a:r>
              <a:rPr lang="de-DE" dirty="0" err="1"/>
              <a:t>headline</a:t>
            </a:r>
            <a:endParaRPr lang="de-DE" dirty="0"/>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de-DE" dirty="0"/>
              <a:t>Insert </a:t>
            </a:r>
            <a:r>
              <a:rPr lang="de-DE" dirty="0" err="1"/>
              <a:t>content</a:t>
            </a:r>
            <a:r>
              <a:rPr lang="de-DE" dirty="0"/>
              <a:t> </a:t>
            </a:r>
            <a:r>
              <a:rPr lang="de-DE" dirty="0" err="1"/>
              <a:t>or</a:t>
            </a:r>
            <a:r>
              <a:rPr lang="de-DE" dirty="0"/>
              <a:t> </a:t>
            </a:r>
            <a:r>
              <a:rPr lang="de-DE" dirty="0" err="1"/>
              <a:t>text</a:t>
            </a:r>
            <a:r>
              <a:rPr lang="de-DE" dirty="0"/>
              <a:t> in </a:t>
            </a:r>
            <a:r>
              <a:rPr lang="de-DE" noProof="0" dirty="0" err="1"/>
              <a:t>Corpo</a:t>
            </a:r>
            <a:r>
              <a:rPr lang="de-DE" noProof="0" dirty="0"/>
              <a:t> S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p:txBody>
      </p:sp>
    </p:spTree>
    <p:extLst>
      <p:ext uri="{BB962C8B-B14F-4D97-AF65-F5344CB8AC3E}">
        <p14:creationId xmlns:p14="http://schemas.microsoft.com/office/powerpoint/2010/main" val="2317355728"/>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4 product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47"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Tree>
    <p:extLst>
      <p:ext uri="{BB962C8B-B14F-4D97-AF65-F5344CB8AC3E}">
        <p14:creationId xmlns:p14="http://schemas.microsoft.com/office/powerpoint/2010/main" val="180134271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Headline two lines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40500439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eadline two line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272392918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Headline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740842521"/>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821.xml><?xml version="1.0" encoding="utf-8"?>
<p:sldLayout xmlns:a="http://schemas.openxmlformats.org/drawingml/2006/main" xmlns:r="http://schemas.openxmlformats.org/officeDocument/2006/relationships" xmlns:p="http://schemas.openxmlformats.org/presentationml/2006/main" userDrawn="1">
  <p:cSld name="Agenda without brushi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38435"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e-DE" noProof="0" dirty="0"/>
              <a:t>Headline </a:t>
            </a:r>
            <a:r>
              <a:rPr lang="de-DE" noProof="0" dirty="0" err="1"/>
              <a:t>for</a:t>
            </a:r>
            <a:r>
              <a:rPr lang="de-DE" noProof="0" dirty="0"/>
              <a:t> Agenda in </a:t>
            </a:r>
            <a:r>
              <a:rPr lang="de-DE" noProof="0" dirty="0" err="1"/>
              <a:t>CorpoS</a:t>
            </a:r>
            <a:r>
              <a:rPr lang="de-DE" noProof="0" dirty="0"/>
              <a:t> (Body) 35 </a:t>
            </a:r>
            <a:r>
              <a:rPr lang="de-DE" noProof="0" dirty="0" err="1"/>
              <a:t>pt</a:t>
            </a:r>
            <a:r>
              <a:rPr lang="de-DE" noProof="0" dirty="0"/>
              <a:t>. </a:t>
            </a:r>
            <a:br>
              <a:rPr lang="de-DE" noProof="0" dirty="0"/>
            </a:br>
            <a:r>
              <a:rPr lang="de-DE" noProof="0" dirty="0" err="1"/>
              <a:t>one</a:t>
            </a:r>
            <a:r>
              <a:rPr lang="de-DE" noProof="0" dirty="0"/>
              <a:t> </a:t>
            </a:r>
            <a:r>
              <a:rPr lang="de-DE" noProof="0" dirty="0" err="1"/>
              <a:t>or</a:t>
            </a:r>
            <a:r>
              <a:rPr lang="de-DE" noProof="0" dirty="0"/>
              <a:t>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Insert Agenda </a:t>
            </a:r>
            <a:r>
              <a:rPr lang="de-DE" dirty="0" err="1"/>
              <a:t>point</a:t>
            </a:r>
            <a:endParaRPr lang="de-DE" dirty="0"/>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97540109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822.xml><?xml version="1.0" encoding="utf-8"?>
<p:sldLayout xmlns:a="http://schemas.openxmlformats.org/drawingml/2006/main" xmlns:r="http://schemas.openxmlformats.org/officeDocument/2006/relationships" xmlns:p="http://schemas.openxmlformats.org/presentationml/2006/main" showMasterSp="0" preserve="1" userDrawn="1">
  <p:cSld name="1_daimler blanco">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13945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8" name="Foliennummernplatzhalter 3">
            <a:extLst>
              <a:ext uri="{FF2B5EF4-FFF2-40B4-BE49-F238E27FC236}">
                <a16:creationId xmlns:a16="http://schemas.microsoft.com/office/drawing/2014/main" id="{3E15A405-AB95-44E1-98C0-C8DC619077BB}"/>
              </a:ext>
            </a:extLst>
          </p:cNvPr>
          <p:cNvSpPr txBox="1">
            <a:spLocks/>
          </p:cNvSpPr>
          <p:nvPr userDrawn="1"/>
        </p:nvSpPr>
        <p:spPr>
          <a:xfrm>
            <a:off x="11442992" y="6506836"/>
            <a:ext cx="1155196" cy="215950"/>
          </a:xfrm>
          <a:prstGeom prst="rect">
            <a:avLst/>
          </a:prstGeom>
        </p:spPr>
        <p:txBody>
          <a:bodyPr vert="horz" lIns="0" tIns="0" rIns="0" bIns="0" rtlCol="0" anchor="t" anchorCtr="0"/>
          <a:lstStyle>
            <a:defPPr>
              <a:defRPr lang="de-DE"/>
            </a:defPPr>
            <a:lvl1pPr marL="0" indent="0" algn="l" defTabSz="1088959" rtl="0" eaLnBrk="1" latinLnBrk="0" hangingPunct="1">
              <a:spcBef>
                <a:spcPts val="0"/>
              </a:spcBef>
              <a:buFont typeface="Arial" panose="020B0604020202020204" pitchFamily="34" charset="0"/>
              <a:buNone/>
              <a:defRPr sz="1200" kern="1200">
                <a:solidFill>
                  <a:schemeClr val="tx1"/>
                </a:solidFill>
                <a:latin typeface="+mn-lt"/>
                <a:ea typeface="+mn-ea"/>
                <a:cs typeface="+mn-cs"/>
              </a:defRPr>
            </a:lvl1pPr>
            <a:lvl2pPr marL="0" indent="0" algn="l" defTabSz="1088959" rtl="0" eaLnBrk="1" latinLnBrk="0" hangingPunct="1">
              <a:spcBef>
                <a:spcPts val="0"/>
              </a:spcBef>
              <a:defRPr sz="1200" kern="1200">
                <a:solidFill>
                  <a:schemeClr val="tx1"/>
                </a:solidFill>
                <a:latin typeface="+mn-lt"/>
                <a:ea typeface="+mn-ea"/>
                <a:cs typeface="+mn-cs"/>
              </a:defRPr>
            </a:lvl2pPr>
            <a:lvl3pPr marL="0" indent="0" algn="l" defTabSz="1088959" rtl="0" eaLnBrk="1" latinLnBrk="0" hangingPunct="1">
              <a:spcBef>
                <a:spcPts val="0"/>
              </a:spcBef>
              <a:defRPr sz="1200" kern="1200">
                <a:solidFill>
                  <a:schemeClr val="tx1"/>
                </a:solidFill>
                <a:latin typeface="+mn-lt"/>
                <a:ea typeface="+mn-ea"/>
                <a:cs typeface="+mn-cs"/>
              </a:defRPr>
            </a:lvl3pPr>
            <a:lvl4pPr marL="0" indent="0" algn="l" defTabSz="1088959" rtl="0" eaLnBrk="1" latinLnBrk="0" hangingPunct="1">
              <a:spcBef>
                <a:spcPts val="0"/>
              </a:spcBef>
              <a:defRPr sz="1200" kern="1200">
                <a:solidFill>
                  <a:schemeClr val="tx1"/>
                </a:solidFill>
                <a:latin typeface="+mn-lt"/>
                <a:ea typeface="+mn-ea"/>
                <a:cs typeface="+mn-cs"/>
              </a:defRPr>
            </a:lvl4pPr>
            <a:lvl5pPr marL="0" indent="0" algn="l" defTabSz="1088959" rtl="0" eaLnBrk="1" latinLnBrk="0" hangingPunct="1">
              <a:spcBef>
                <a:spcPts val="0"/>
              </a:spcBef>
              <a:defRPr sz="1200" kern="1200">
                <a:solidFill>
                  <a:schemeClr val="tx1"/>
                </a:solidFill>
                <a:latin typeface="+mn-lt"/>
                <a:ea typeface="+mn-ea"/>
                <a:cs typeface="+mn-cs"/>
              </a:defRPr>
            </a:lvl5pPr>
            <a:lvl6pPr marL="0" indent="0" algn="l" defTabSz="1088959" rtl="0" eaLnBrk="1" latinLnBrk="0" hangingPunct="1">
              <a:spcBef>
                <a:spcPts val="0"/>
              </a:spcBef>
              <a:defRPr sz="1200" kern="1200">
                <a:solidFill>
                  <a:schemeClr val="tx1"/>
                </a:solidFill>
                <a:latin typeface="+mn-lt"/>
                <a:ea typeface="+mn-ea"/>
                <a:cs typeface="+mn-cs"/>
              </a:defRPr>
            </a:lvl6pPr>
            <a:lvl7pPr marL="0" indent="0" algn="l" defTabSz="1088959" rtl="0" eaLnBrk="1" latinLnBrk="0" hangingPunct="1">
              <a:spcBef>
                <a:spcPts val="0"/>
              </a:spcBef>
              <a:defRPr sz="1200" kern="1200">
                <a:solidFill>
                  <a:schemeClr val="tx1"/>
                </a:solidFill>
                <a:latin typeface="+mn-lt"/>
                <a:ea typeface="+mn-ea"/>
                <a:cs typeface="+mn-cs"/>
              </a:defRPr>
            </a:lvl7pPr>
            <a:lvl8pPr marL="0" indent="0" algn="l" defTabSz="1088959" rtl="0" eaLnBrk="1" latinLnBrk="0" hangingPunct="1">
              <a:spcBef>
                <a:spcPts val="0"/>
              </a:spcBef>
              <a:defRPr sz="1200" kern="1200">
                <a:solidFill>
                  <a:schemeClr val="tx1"/>
                </a:solidFill>
                <a:latin typeface="+mn-lt"/>
                <a:ea typeface="+mn-ea"/>
                <a:cs typeface="+mn-cs"/>
              </a:defRPr>
            </a:lvl8pPr>
            <a:lvl9pPr marL="0" indent="0" algn="l" defTabSz="1088959" rtl="0" eaLnBrk="1" latinLnBrk="0" hangingPunct="1">
              <a:spcBef>
                <a:spcPts val="0"/>
              </a:spcBef>
              <a:defRPr sz="1200" kern="1200">
                <a:solidFill>
                  <a:schemeClr val="tx1"/>
                </a:solidFill>
                <a:latin typeface="+mn-lt"/>
                <a:ea typeface="+mn-ea"/>
                <a:cs typeface="+mn-cs"/>
              </a:defRPr>
            </a:lvl9pPr>
          </a:lstStyle>
          <a:p>
            <a:r>
              <a:rPr lang="de-DE" sz="1199" b="1" dirty="0">
                <a:solidFill>
                  <a:prstClr val="black"/>
                </a:solidFill>
              </a:rPr>
              <a:t>PAGE </a:t>
            </a:r>
            <a:fld id="{52531704-8F80-415D-BD2B-6B9991AE822F}" type="slidenum">
              <a:rPr lang="de-DE" sz="1199" b="1" smtClean="0">
                <a:solidFill>
                  <a:prstClr val="black"/>
                </a:solidFill>
              </a:rPr>
              <a:pPr/>
              <a:t>‹#›</a:t>
            </a:fld>
            <a:endParaRPr lang="de-DE" sz="1199" b="1" dirty="0">
              <a:solidFill>
                <a:prstClr val="black"/>
              </a:solidFill>
            </a:endParaRPr>
          </a:p>
        </p:txBody>
      </p:sp>
    </p:spTree>
    <p:extLst>
      <p:ext uri="{BB962C8B-B14F-4D97-AF65-F5344CB8AC3E}">
        <p14:creationId xmlns:p14="http://schemas.microsoft.com/office/powerpoint/2010/main" val="316534009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66">
          <p15:clr>
            <a:srgbClr val="FBAE40"/>
          </p15:clr>
        </p15:guide>
        <p15:guide id="3" orient="horz" pos="754">
          <p15:clr>
            <a:srgbClr val="FBAE40"/>
          </p15:clr>
        </p15:guide>
        <p15:guide id="4" orient="horz" pos="845">
          <p15:clr>
            <a:srgbClr val="FBAE40"/>
          </p15:clr>
        </p15:guide>
      </p15:sldGuideLst>
    </p:ext>
  </p:extLst>
</p:sldLayout>
</file>

<file path=ppt/slideLayouts/slideLayout823.xml><?xml version="1.0" encoding="utf-8"?>
<p:sldLayout xmlns:a="http://schemas.openxmlformats.org/drawingml/2006/main" xmlns:r="http://schemas.openxmlformats.org/officeDocument/2006/relationships" xmlns:p="http://schemas.openxmlformats.org/presentationml/2006/main" showMasterSp="0" userDrawn="1">
  <p:cSld name="Full image">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41507"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5" name="Listenebene erhöhen"/>
                <p:cNvPicPr>
                  <a:picLocks noChangeAspect="1"/>
                </p:cNvPicPr>
                <p:nvPr userDrawn="1"/>
              </p:nvPicPr>
              <p:blipFill>
                <a:blip r:embed="rId6"/>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7"/>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72140292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824.xml><?xml version="1.0" encoding="utf-8"?>
<p:sldLayout xmlns:a="http://schemas.openxmlformats.org/drawingml/2006/main" xmlns:r="http://schemas.openxmlformats.org/officeDocument/2006/relationships" xmlns:p="http://schemas.openxmlformats.org/presentationml/2006/main" showMasterSp="0"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a:t>
            </a:r>
            <a:br>
              <a:rPr lang="de-DE" dirty="0"/>
            </a:br>
            <a:r>
              <a:rPr lang="de-DE" dirty="0" err="1"/>
              <a:t>Presentation</a:t>
            </a:r>
            <a:r>
              <a:rPr lang="de-DE" dirty="0"/>
              <a:t> title in </a:t>
            </a:r>
            <a:r>
              <a:rPr lang="de-DE" dirty="0" err="1"/>
              <a:t>two</a:t>
            </a:r>
            <a:r>
              <a:rPr lang="de-DE" dirty="0"/>
              <a:t> </a:t>
            </a:r>
            <a:r>
              <a:rPr lang="de-DE" dirty="0" err="1"/>
              <a:t>or</a:t>
            </a:r>
            <a:r>
              <a:rPr lang="de-DE" dirty="0"/>
              <a:t> </a:t>
            </a:r>
            <a:r>
              <a:rPr lang="de-DE" dirty="0" err="1"/>
              <a:t>three</a:t>
            </a:r>
            <a:r>
              <a:rPr lang="de-DE" dirty="0"/>
              <a:t> </a:t>
            </a:r>
            <a:br>
              <a:rPr lang="de-DE" dirty="0"/>
            </a:b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304938939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825.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42530"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Datumsplatzhalter 1"/>
          <p:cNvSpPr>
            <a:spLocks noGrp="1"/>
          </p:cNvSpPr>
          <p:nvPr>
            <p:ph type="dt" sz="half" idx="10"/>
          </p:nvPr>
        </p:nvSpPr>
        <p:spPr>
          <a:xfrm>
            <a:off x="838200" y="6356350"/>
            <a:ext cx="2743200" cy="365125"/>
          </a:xfrm>
          <a:prstGeom prst="rect">
            <a:avLst/>
          </a:prstGeom>
        </p:spPr>
        <p:txBody>
          <a:bodyPr/>
          <a:lstStyle/>
          <a:p>
            <a:pPr defTabSz="914126"/>
            <a:fld id="{9D8AD672-C06F-435A-873C-D96653C817C2}" type="datetimeFigureOut">
              <a:rPr lang="de-DE" smtClean="0">
                <a:solidFill>
                  <a:prstClr val="black"/>
                </a:solidFill>
              </a:rPr>
              <a:pPr defTabSz="914126"/>
              <a:t>26.04.2019</a:t>
            </a:fld>
            <a:endParaRPr lang="de-DE" dirty="0">
              <a:solidFill>
                <a:prstClr val="black"/>
              </a:solidFill>
            </a:endParaRPr>
          </a:p>
        </p:txBody>
      </p:sp>
      <p:sp>
        <p:nvSpPr>
          <p:cNvPr id="3" name="Fußzeilenplatzhalter 2"/>
          <p:cNvSpPr>
            <a:spLocks noGrp="1"/>
          </p:cNvSpPr>
          <p:nvPr>
            <p:ph type="ftr" sz="quarter" idx="11"/>
          </p:nvPr>
        </p:nvSpPr>
        <p:spPr/>
        <p:txBody>
          <a:bodyPr/>
          <a:lstStyle>
            <a:lvl1pPr eaLnBrk="1">
              <a:defRPr/>
            </a:lvl1pPr>
          </a:lstStyle>
          <a:p>
            <a:endParaRPr lang="de-DE" dirty="0">
              <a:solidFill>
                <a:prstClr val="black"/>
              </a:solidFill>
            </a:endParaRPr>
          </a:p>
        </p:txBody>
      </p:sp>
      <p:sp>
        <p:nvSpPr>
          <p:cNvPr id="4" name="Foliennummernplatzhalter 3"/>
          <p:cNvSpPr>
            <a:spLocks noGrp="1"/>
          </p:cNvSpPr>
          <p:nvPr>
            <p:ph type="sldNum" sz="quarter" idx="12"/>
          </p:nvPr>
        </p:nvSpPr>
        <p:spPr/>
        <p:txBody>
          <a:bodyPr/>
          <a:lstStyle/>
          <a:p>
            <a:fld id="{A2229452-8F2B-4626-918F-01887DB5935C}"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450959239"/>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showMasterSp="0" userDrawn="1">
  <p:cSld name="1_4. Brushing/ image 2 columns">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4355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14" name="Picture Placeholder 3"/>
          <p:cNvSpPr>
            <a:spLocks noGrp="1"/>
          </p:cNvSpPr>
          <p:nvPr>
            <p:ph type="pic" sz="quarter" idx="13" hasCustomPrompt="1"/>
          </p:nvPr>
        </p:nvSpPr>
        <p:spPr bwMode="gray">
          <a:xfrm>
            <a:off x="-19040" y="0"/>
            <a:ext cx="12211833" cy="5588740"/>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 name="connsiteX0" fmla="*/ 0 w 12218193"/>
              <a:gd name="connsiteY0" fmla="*/ 9525 h 4086000"/>
              <a:gd name="connsiteX1" fmla="*/ 12217399 w 12218193"/>
              <a:gd name="connsiteY1" fmla="*/ 0 h 4086000"/>
              <a:gd name="connsiteX2" fmla="*/ 12218193 w 12218193"/>
              <a:gd name="connsiteY2" fmla="*/ 3455194 h 4086000"/>
              <a:gd name="connsiteX3" fmla="*/ 5038725 w 12218193"/>
              <a:gd name="connsiteY3" fmla="*/ 4086000 h 4086000"/>
              <a:gd name="connsiteX4" fmla="*/ 0 w 12218193"/>
              <a:gd name="connsiteY4" fmla="*/ 9525 h 4086000"/>
              <a:gd name="connsiteX0" fmla="*/ 0 w 12218193"/>
              <a:gd name="connsiteY0" fmla="*/ 9525 h 4533675"/>
              <a:gd name="connsiteX1" fmla="*/ 12217399 w 12218193"/>
              <a:gd name="connsiteY1" fmla="*/ 0 h 4533675"/>
              <a:gd name="connsiteX2" fmla="*/ 12218193 w 12218193"/>
              <a:gd name="connsiteY2" fmla="*/ 3455194 h 4533675"/>
              <a:gd name="connsiteX3" fmla="*/ 28575 w 12218193"/>
              <a:gd name="connsiteY3" fmla="*/ 4533675 h 4533675"/>
              <a:gd name="connsiteX4" fmla="*/ 0 w 12218193"/>
              <a:gd name="connsiteY4" fmla="*/ 9525 h 4533675"/>
              <a:gd name="connsiteX0" fmla="*/ 0 w 12218193"/>
              <a:gd name="connsiteY0" fmla="*/ 9525 h 4543200"/>
              <a:gd name="connsiteX1" fmla="*/ 12217399 w 12218193"/>
              <a:gd name="connsiteY1" fmla="*/ 0 h 4543200"/>
              <a:gd name="connsiteX2" fmla="*/ 12218193 w 12218193"/>
              <a:gd name="connsiteY2" fmla="*/ 3455194 h 4543200"/>
              <a:gd name="connsiteX3" fmla="*/ 19050 w 12218193"/>
              <a:gd name="connsiteY3" fmla="*/ 4543200 h 4543200"/>
              <a:gd name="connsiteX4" fmla="*/ 0 w 12218193"/>
              <a:gd name="connsiteY4" fmla="*/ 9525 h 4543200"/>
              <a:gd name="connsiteX0" fmla="*/ 0 w 12218193"/>
              <a:gd name="connsiteY0" fmla="*/ 9525 h 3817485"/>
              <a:gd name="connsiteX1" fmla="*/ 12217399 w 12218193"/>
              <a:gd name="connsiteY1" fmla="*/ 0 h 3817485"/>
              <a:gd name="connsiteX2" fmla="*/ 12218193 w 12218193"/>
              <a:gd name="connsiteY2" fmla="*/ 3455194 h 3817485"/>
              <a:gd name="connsiteX3" fmla="*/ 4536 w 12218193"/>
              <a:gd name="connsiteY3" fmla="*/ 3817485 h 3817485"/>
              <a:gd name="connsiteX4" fmla="*/ 0 w 12218193"/>
              <a:gd name="connsiteY4" fmla="*/ 9525 h 3817485"/>
              <a:gd name="connsiteX0" fmla="*/ 0 w 12218193"/>
              <a:gd name="connsiteY0" fmla="*/ 9525 h 3875543"/>
              <a:gd name="connsiteX1" fmla="*/ 12217399 w 12218193"/>
              <a:gd name="connsiteY1" fmla="*/ 0 h 3875543"/>
              <a:gd name="connsiteX2" fmla="*/ 12218193 w 12218193"/>
              <a:gd name="connsiteY2" fmla="*/ 3455194 h 3875543"/>
              <a:gd name="connsiteX3" fmla="*/ 19050 w 12218193"/>
              <a:gd name="connsiteY3" fmla="*/ 3875543 h 3875543"/>
              <a:gd name="connsiteX4" fmla="*/ 0 w 12218193"/>
              <a:gd name="connsiteY4" fmla="*/ 9525 h 3875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8193" h="3875543">
                <a:moveTo>
                  <a:pt x="0" y="9525"/>
                </a:moveTo>
                <a:lnTo>
                  <a:pt x="12217399" y="0"/>
                </a:lnTo>
                <a:cubicBezTo>
                  <a:pt x="12217664" y="1151731"/>
                  <a:pt x="12217928" y="2303463"/>
                  <a:pt x="12218193" y="3455194"/>
                </a:cubicBezTo>
                <a:lnTo>
                  <a:pt x="19050" y="3875543"/>
                </a:lnTo>
                <a:lnTo>
                  <a:pt x="0" y="9525"/>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3" name="Freihandform 12"/>
          <p:cNvSpPr/>
          <p:nvPr userDrawn="1"/>
        </p:nvSpPr>
        <p:spPr>
          <a:xfrm>
            <a:off x="-9519" y="4940818"/>
            <a:ext cx="12214213" cy="1917182"/>
          </a:xfrm>
          <a:custGeom>
            <a:avLst/>
            <a:gdLst>
              <a:gd name="connsiteX0" fmla="*/ 0 w 12220575"/>
              <a:gd name="connsiteY0" fmla="*/ 1066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0 w 12220575"/>
              <a:gd name="connsiteY4" fmla="*/ 1066800 h 3019425"/>
              <a:gd name="connsiteX0" fmla="*/ 19050 w 12220575"/>
              <a:gd name="connsiteY0" fmla="*/ 304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19050 w 12220575"/>
              <a:gd name="connsiteY4" fmla="*/ 304800 h 3019425"/>
              <a:gd name="connsiteX0" fmla="*/ 0 w 12220575"/>
              <a:gd name="connsiteY0" fmla="*/ 304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0 w 12220575"/>
              <a:gd name="connsiteY4" fmla="*/ 304800 h 3019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20575" h="3019425">
                <a:moveTo>
                  <a:pt x="0" y="304800"/>
                </a:moveTo>
                <a:lnTo>
                  <a:pt x="0" y="3019425"/>
                </a:lnTo>
                <a:lnTo>
                  <a:pt x="12220575" y="3019425"/>
                </a:lnTo>
                <a:lnTo>
                  <a:pt x="12220575" y="0"/>
                </a:lnTo>
                <a:lnTo>
                  <a:pt x="0" y="30480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15"/>
            <a:endParaRPr lang="de-DE" sz="2099" dirty="0">
              <a:solidFill>
                <a:prstClr val="white"/>
              </a:solidFill>
            </a:endParaRPr>
          </a:p>
        </p:txBody>
      </p:sp>
    </p:spTree>
    <p:extLst>
      <p:ext uri="{BB962C8B-B14F-4D97-AF65-F5344CB8AC3E}">
        <p14:creationId xmlns:p14="http://schemas.microsoft.com/office/powerpoint/2010/main" val="228085930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827.xml><?xml version="1.0" encoding="utf-8"?>
<p:sldLayout xmlns:a="http://schemas.openxmlformats.org/drawingml/2006/main" xmlns:r="http://schemas.openxmlformats.org/officeDocument/2006/relationships" xmlns:p="http://schemas.openxmlformats.org/presentationml/2006/main" userDrawn="1">
  <p:cSld name="Einleitungstext, dark grey">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44578"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el 1"/>
          <p:cNvSpPr>
            <a:spLocks noGrp="1"/>
          </p:cNvSpPr>
          <p:nvPr>
            <p:ph type="title"/>
          </p:nvPr>
        </p:nvSpPr>
        <p:spPr>
          <a:xfrm>
            <a:off x="714200" y="590401"/>
            <a:ext cx="8405989" cy="1325563"/>
          </a:xfrm>
        </p:spPr>
        <p:txBody>
          <a:bodyPr/>
          <a:lstStyle>
            <a:lvl1pPr>
              <a:defRPr sz="3580">
                <a:solidFill>
                  <a:schemeClr val="tx2"/>
                </a:solidFill>
              </a:defRPr>
            </a:lvl1pPr>
          </a:lstStyle>
          <a:p>
            <a:r>
              <a:rPr lang="de-DE" dirty="0"/>
              <a:t>Mastertitelformat bearbeiten</a:t>
            </a:r>
          </a:p>
        </p:txBody>
      </p:sp>
      <p:sp>
        <p:nvSpPr>
          <p:cNvPr id="3" name="Foliennummernplatzhalter 5"/>
          <p:cNvSpPr>
            <a:spLocks noGrp="1"/>
          </p:cNvSpPr>
          <p:nvPr>
            <p:ph type="sldNum" sz="quarter" idx="12"/>
          </p:nvPr>
        </p:nvSpPr>
        <p:spPr>
          <a:xfrm>
            <a:off x="10911840" y="6219191"/>
            <a:ext cx="579120" cy="303531"/>
          </a:xfrm>
        </p:spPr>
        <p:txBody>
          <a:bodyPr/>
          <a:lstStyle>
            <a:lvl1pPr>
              <a:defRPr>
                <a:solidFill>
                  <a:schemeClr val="tx2"/>
                </a:solidFill>
              </a:defRPr>
            </a:lvl1pPr>
          </a:lstStyle>
          <a:p>
            <a:fld id="{BDFFC951-C3BB-40CC-A730-0B992127FC44}" type="slidenum">
              <a:rPr lang="de-DE" smtClean="0">
                <a:solidFill>
                  <a:srgbClr val="E6E6E6"/>
                </a:solidFill>
              </a:rPr>
              <a:pPr/>
              <a:t>‹#›</a:t>
            </a:fld>
            <a:endParaRPr lang="de-DE" dirty="0">
              <a:solidFill>
                <a:srgbClr val="E6E6E6"/>
              </a:solidFill>
            </a:endParaRPr>
          </a:p>
        </p:txBody>
      </p:sp>
    </p:spTree>
    <p:extLst>
      <p:ext uri="{BB962C8B-B14F-4D97-AF65-F5344CB8AC3E}">
        <p14:creationId xmlns:p14="http://schemas.microsoft.com/office/powerpoint/2010/main" val="3732833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8.xml><?xml version="1.0" encoding="utf-8"?>
<p:sldLayout xmlns:a="http://schemas.openxmlformats.org/drawingml/2006/main" xmlns:r="http://schemas.openxmlformats.org/officeDocument/2006/relationships" xmlns:p="http://schemas.openxmlformats.org/presentationml/2006/main" type="tx">
  <p:cSld name="Dark Background">
    <p:spTree>
      <p:nvGrpSpPr>
        <p:cNvPr id="1" name=""/>
        <p:cNvGrpSpPr/>
        <p:nvPr/>
      </p:nvGrpSpPr>
      <p:grpSpPr>
        <a:xfrm>
          <a:off x="0" y="0"/>
          <a:ext cx="0" cy="0"/>
          <a:chOff x="0" y="0"/>
          <a:chExt cx="0" cy="0"/>
        </a:xfrm>
      </p:grpSpPr>
      <p:sp>
        <p:nvSpPr>
          <p:cNvPr id="18" name="Rechteck"/>
          <p:cNvSpPr/>
          <p:nvPr/>
        </p:nvSpPr>
        <p:spPr>
          <a:xfrm>
            <a:off x="0" y="0"/>
            <a:ext cx="12192000" cy="6858000"/>
          </a:xfrm>
          <a:prstGeom prst="rect">
            <a:avLst/>
          </a:prstGeom>
          <a:solidFill>
            <a:srgbClr val="2C2B31"/>
          </a:solidFill>
          <a:ln w="12700">
            <a:miter lim="400000"/>
          </a:ln>
        </p:spPr>
        <p:txBody>
          <a:bodyPr lIns="29065" tIns="29065" rIns="29065" bIns="29065" anchor="ctr"/>
          <a:lstStyle/>
          <a:p>
            <a:pPr defTabSz="744062">
              <a:defRPr sz="2400"/>
            </a:pPr>
            <a:endParaRPr lang="de-DE" sz="1362" dirty="0">
              <a:solidFill>
                <a:prstClr val="black"/>
              </a:solidFill>
            </a:endParaRPr>
          </a:p>
        </p:txBody>
      </p:sp>
      <p:sp>
        <p:nvSpPr>
          <p:cNvPr id="19" name="Foliennummer"/>
          <p:cNvSpPr txBox="1">
            <a:spLocks noGrp="1"/>
          </p:cNvSpPr>
          <p:nvPr>
            <p:ph type="sldNum" sz="quarter" idx="2"/>
          </p:nvPr>
        </p:nvSpPr>
        <p:spPr>
          <a:xfrm>
            <a:off x="5932244" y="6505278"/>
            <a:ext cx="316541" cy="266369"/>
          </a:xfrm>
          <a:prstGeom prst="rect">
            <a:avLst/>
          </a:prstGeom>
        </p:spPr>
        <p:txBody>
          <a:bodyPr lIns="51196" tIns="51196" rIns="51196" bIns="51196"/>
          <a:lstStyle>
            <a:lvl1pPr algn="ctr" defTabSz="334259">
              <a:defRPr sz="1021">
                <a:solidFill>
                  <a:srgbClr val="000000"/>
                </a:solidFill>
                <a:latin typeface="+mn-lt"/>
                <a:ea typeface="+mn-ea"/>
                <a:cs typeface="+mn-cs"/>
                <a:sym typeface="Helvetica Light"/>
              </a:defRPr>
            </a:lvl1pPr>
          </a:lstStyle>
          <a:p>
            <a:fld id="{86CB4B4D-7CA3-9044-876B-883B54F8677D}" type="slidenum">
              <a:rPr lang="de-DE" smtClean="0"/>
              <a:pPr/>
              <a:t>‹#›</a:t>
            </a:fld>
            <a:endParaRPr lang="de-DE" dirty="0"/>
          </a:p>
        </p:txBody>
      </p:sp>
    </p:spTree>
    <p:extLst>
      <p:ext uri="{BB962C8B-B14F-4D97-AF65-F5344CB8AC3E}">
        <p14:creationId xmlns:p14="http://schemas.microsoft.com/office/powerpoint/2010/main" val="3652377474"/>
      </p:ext>
    </p:extLst>
  </p:cSld>
  <p:clrMapOvr>
    <a:masterClrMapping/>
  </p:clrMapOvr>
  <p:transition spd="med"/>
</p:sldLayout>
</file>

<file path=ppt/slideLayouts/slideLayout829.xml><?xml version="1.0" encoding="utf-8"?>
<p:sldLayout xmlns:a="http://schemas.openxmlformats.org/drawingml/2006/main" xmlns:r="http://schemas.openxmlformats.org/officeDocument/2006/relationships" xmlns:p="http://schemas.openxmlformats.org/presentationml/2006/main" userDrawn="1">
  <p:cSld name="Text/ content/ Headline 2 lines">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45602"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Tree>
    <p:extLst>
      <p:ext uri="{BB962C8B-B14F-4D97-AF65-F5344CB8AC3E}">
        <p14:creationId xmlns:p14="http://schemas.microsoft.com/office/powerpoint/2010/main" val="119537427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Headline two lines // Image">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a:t>
            </a:r>
            <a:r>
              <a:rPr lang="en-GB" noProof="0" dirty="0"/>
              <a:t> S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46017943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830.xml><?xml version="1.0" encoding="utf-8"?>
<p:sldLayout xmlns:a="http://schemas.openxmlformats.org/drawingml/2006/main" xmlns:r="http://schemas.openxmlformats.org/officeDocument/2006/relationships" xmlns:p="http://schemas.openxmlformats.org/presentationml/2006/main" userDrawn="1">
  <p:cSld name="Blank/ Headline 2 line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146626"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71" y="285982"/>
            <a:ext cx="10931106" cy="683842"/>
          </a:xfrm>
        </p:spPr>
        <p:txBody>
          <a:bodyPr/>
          <a:lstStyle/>
          <a:p>
            <a:r>
              <a:rPr lang="en-US" noProof="0" dirty="0"/>
              <a:t>Headline in </a:t>
            </a:r>
            <a:r>
              <a:rPr lang="en-US" noProof="0" dirty="0" err="1"/>
              <a:t>CorpoS</a:t>
            </a:r>
            <a:r>
              <a:rPr lang="en-US" noProof="0" dirty="0"/>
              <a:t> (Body) 35 pt.</a:t>
            </a:r>
            <a:endParaRPr lang="en-US" dirty="0"/>
          </a:p>
        </p:txBody>
      </p:sp>
      <p:sp>
        <p:nvSpPr>
          <p:cNvPr id="3" name="Footer Placeholder 2"/>
          <p:cNvSpPr>
            <a:spLocks noGrp="1"/>
          </p:cNvSpPr>
          <p:nvPr>
            <p:ph type="ftr" sz="quarter" idx="10"/>
          </p:nvPr>
        </p:nvSpPr>
        <p:spPr/>
        <p:txBody>
          <a:bodyPr/>
          <a:lstStyle/>
          <a:p>
            <a:r>
              <a:rPr lang="en-US" dirty="0">
                <a:solidFill>
                  <a:prstClr val="black"/>
                </a:solidFill>
              </a:rPr>
              <a:t>DFS Capital Market Day</a:t>
            </a:r>
          </a:p>
        </p:txBody>
      </p:sp>
      <p:sp>
        <p:nvSpPr>
          <p:cNvPr id="4" name="Slide Number Placeholder 3"/>
          <p:cNvSpPr>
            <a:spLocks noGrp="1"/>
          </p:cNvSpPr>
          <p:nvPr>
            <p:ph type="sldNum" sz="quarter" idx="11"/>
          </p:nvPr>
        </p:nvSpPr>
        <p:spPr/>
        <p:txBody>
          <a:bodyPr/>
          <a:lstStyle/>
          <a:p>
            <a:r>
              <a:rPr lang="en-US" dirty="0">
                <a:solidFill>
                  <a:prstClr val="black"/>
                </a:solidFill>
              </a:rPr>
              <a:t>Page </a:t>
            </a:r>
            <a:fld id="{52531704-8F80-415D-BD2B-6B9991AE822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651425745"/>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831.xml><?xml version="1.0" encoding="utf-8"?>
<p:sldLayout xmlns:a="http://schemas.openxmlformats.org/drawingml/2006/main" xmlns:r="http://schemas.openxmlformats.org/officeDocument/2006/relationships" xmlns:p="http://schemas.openxmlformats.org/presentationml/2006/main" showMasterSp="0" preserve="1" userDrawn="1">
  <p:cSld name="Title 3/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 </a:t>
            </a:r>
            <a:r>
              <a:rPr lang="de-DE" dirty="0" err="1"/>
              <a:t>Presentation</a:t>
            </a:r>
            <a:r>
              <a:rPr lang="de-DE" dirty="0"/>
              <a:t> title</a:t>
            </a:r>
            <a:br>
              <a:rPr lang="de-DE" dirty="0"/>
            </a:br>
            <a:r>
              <a:rPr lang="de-DE" dirty="0"/>
              <a:t>in </a:t>
            </a:r>
            <a:r>
              <a:rPr lang="de-DE" dirty="0" err="1"/>
              <a:t>two</a:t>
            </a:r>
            <a:r>
              <a:rPr lang="de-DE" dirty="0"/>
              <a:t> </a:t>
            </a: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540382322"/>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832.xml><?xml version="1.0" encoding="utf-8"?>
<p:sldLayout xmlns:a="http://schemas.openxmlformats.org/drawingml/2006/main" xmlns:r="http://schemas.openxmlformats.org/officeDocument/2006/relationships" xmlns:p="http://schemas.openxmlformats.org/presentationml/2006/main" showMasterSp="0" preserve="1" userDrawn="1">
  <p:cSld name="Title 2/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 </a:t>
            </a:r>
            <a:r>
              <a:rPr lang="de-DE" dirty="0" err="1"/>
              <a:t>Presentation</a:t>
            </a:r>
            <a:r>
              <a:rPr lang="de-DE" dirty="0"/>
              <a:t> title</a:t>
            </a:r>
            <a:br>
              <a:rPr lang="de-DE" dirty="0"/>
            </a:br>
            <a:r>
              <a:rPr lang="de-DE" dirty="0"/>
              <a:t>in </a:t>
            </a:r>
            <a:r>
              <a:rPr lang="de-DE" dirty="0" err="1"/>
              <a:t>two</a:t>
            </a:r>
            <a:r>
              <a:rPr lang="de-DE" dirty="0"/>
              <a:t> </a:t>
            </a:r>
            <a:r>
              <a:rPr lang="de-DE" dirty="0" err="1"/>
              <a:t>or</a:t>
            </a:r>
            <a:r>
              <a:rPr lang="de-DE" dirty="0"/>
              <a:t> </a:t>
            </a:r>
            <a:r>
              <a:rPr lang="de-DE" dirty="0" err="1"/>
              <a:t>more</a:t>
            </a:r>
            <a:r>
              <a:rPr lang="de-DE" dirty="0"/>
              <a:t> </a:t>
            </a: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01327938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833.xml><?xml version="1.0" encoding="utf-8"?>
<p:sldLayout xmlns:a="http://schemas.openxmlformats.org/drawingml/2006/main" xmlns:r="http://schemas.openxmlformats.org/officeDocument/2006/relationships" xmlns:p="http://schemas.openxmlformats.org/presentationml/2006/main" showMasterSp="0" preserve="1" userDrawn="1">
  <p:cSld name="Title 1/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4608438"/>
            <a:ext cx="10930832" cy="1538527"/>
          </a:xfrm>
        </p:spPr>
        <p:txBody>
          <a:bodyPr wrap="square" anchor="b" anchorCtr="0">
            <a:spAutoFit/>
          </a:bodyPr>
          <a:lstStyle>
            <a:lvl1pPr>
              <a:defRPr baseline="0"/>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a:t>
            </a:r>
            <a:br>
              <a:rPr lang="de-DE" dirty="0"/>
            </a:br>
            <a:r>
              <a:rPr lang="de-DE" dirty="0" err="1"/>
              <a:t>Presentation</a:t>
            </a:r>
            <a:r>
              <a:rPr lang="de-DE" dirty="0"/>
              <a:t> title in </a:t>
            </a:r>
            <a:r>
              <a:rPr lang="de-DE" dirty="0" err="1"/>
              <a:t>two</a:t>
            </a:r>
            <a:r>
              <a:rPr lang="de-DE" dirty="0"/>
              <a:t> </a:t>
            </a:r>
            <a:r>
              <a:rPr lang="de-DE" dirty="0" err="1"/>
              <a:t>lines</a:t>
            </a:r>
            <a:r>
              <a:rPr lang="de-DE" dirty="0"/>
              <a:t> </a:t>
            </a:r>
            <a:r>
              <a:rPr lang="de-DE" dirty="0" err="1"/>
              <a:t>or</a:t>
            </a:r>
            <a:r>
              <a:rPr lang="de-DE" dirty="0"/>
              <a:t> </a:t>
            </a:r>
            <a:br>
              <a:rPr lang="de-DE" dirty="0"/>
            </a:br>
            <a:r>
              <a:rPr lang="de-DE" dirty="0" err="1"/>
              <a:t>more</a:t>
            </a:r>
            <a:r>
              <a:rPr lang="de-DE" dirty="0"/>
              <a:t> </a:t>
            </a: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414382549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834.xml><?xml version="1.0" encoding="utf-8"?>
<p:sldLayout xmlns:a="http://schemas.openxmlformats.org/drawingml/2006/main" xmlns:r="http://schemas.openxmlformats.org/officeDocument/2006/relationships" xmlns:p="http://schemas.openxmlformats.org/presentationml/2006/main" showMasterSp="0" preserve="1" userDrawn="1">
  <p:cSld name="Title 3/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 name="Titel 1"/>
          <p:cNvSpPr>
            <a:spLocks noGrp="1"/>
          </p:cNvSpPr>
          <p:nvPr>
            <p:ph type="ctrTitle" hasCustomPrompt="1"/>
          </p:nvPr>
        </p:nvSpPr>
        <p:spPr>
          <a:xfrm>
            <a:off x="628323" y="2045814"/>
            <a:ext cx="10932181" cy="1763324"/>
          </a:xfrm>
        </p:spPr>
        <p:txBody>
          <a:bodyPr wrap="square" anchor="t" anchorCtr="0">
            <a:noAutofit/>
          </a:bodyPr>
          <a:lstStyle>
            <a:lvl1pPr>
              <a:defRPr baseline="0">
                <a:solidFill>
                  <a:schemeClr val="bg1"/>
                </a:solidFill>
              </a:defRPr>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a:t>
            </a:r>
            <a:br>
              <a:rPr lang="de-DE" dirty="0"/>
            </a:br>
            <a:r>
              <a:rPr lang="de-DE" dirty="0" err="1"/>
              <a:t>Presentation</a:t>
            </a:r>
            <a:r>
              <a:rPr lang="de-DE" dirty="0"/>
              <a:t> title in </a:t>
            </a:r>
            <a:r>
              <a:rPr lang="de-DE" dirty="0" err="1"/>
              <a:t>two</a:t>
            </a:r>
            <a:r>
              <a:rPr lang="de-DE" dirty="0"/>
              <a:t> </a:t>
            </a:r>
            <a:r>
              <a:rPr lang="de-DE" dirty="0" err="1"/>
              <a:t>or</a:t>
            </a:r>
            <a:r>
              <a:rPr lang="de-DE" dirty="0"/>
              <a:t> </a:t>
            </a:r>
            <a:r>
              <a:rPr lang="de-DE" dirty="0" err="1"/>
              <a:t>three</a:t>
            </a:r>
            <a:r>
              <a:rPr lang="de-DE" dirty="0"/>
              <a:t> </a:t>
            </a:r>
            <a:br>
              <a:rPr lang="de-DE" dirty="0"/>
            </a:b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1056319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835.xml><?xml version="1.0" encoding="utf-8"?>
<p:sldLayout xmlns:a="http://schemas.openxmlformats.org/drawingml/2006/main" xmlns:r="http://schemas.openxmlformats.org/officeDocument/2006/relationships" xmlns:p="http://schemas.openxmlformats.org/presentationml/2006/main" showMasterSp="0" preserve="1" userDrawn="1">
  <p:cSld name="Title 2/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 name="Titel 1"/>
          <p:cNvSpPr>
            <a:spLocks noGrp="1"/>
          </p:cNvSpPr>
          <p:nvPr>
            <p:ph type="ctrTitle" hasCustomPrompt="1"/>
          </p:nvPr>
        </p:nvSpPr>
        <p:spPr>
          <a:xfrm>
            <a:off x="628323" y="2044433"/>
            <a:ext cx="10932181" cy="648964"/>
          </a:xfrm>
        </p:spPr>
        <p:txBody>
          <a:bodyPr wrap="square" anchor="t" anchorCtr="0">
            <a:noAutofit/>
          </a:bodyPr>
          <a:lstStyle>
            <a:lvl1pPr>
              <a:defRPr>
                <a:solidFill>
                  <a:schemeClr val="bg1"/>
                </a:solidFill>
              </a:defRPr>
            </a:lvl1pPr>
          </a:lstStyle>
          <a:p>
            <a:r>
              <a:rPr lang="de-DE" dirty="0"/>
              <a:t>Headline </a:t>
            </a:r>
            <a:r>
              <a:rPr lang="de-DE" dirty="0" err="1"/>
              <a:t>for</a:t>
            </a:r>
            <a:r>
              <a:rPr lang="de-DE" dirty="0"/>
              <a:t> </a:t>
            </a:r>
            <a:r>
              <a:rPr lang="de-DE" dirty="0" err="1"/>
              <a:t>presentation</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1000619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836.xml><?xml version="1.0" encoding="utf-8"?>
<p:sldLayout xmlns:a="http://schemas.openxmlformats.org/drawingml/2006/main" xmlns:r="http://schemas.openxmlformats.org/officeDocument/2006/relationships" xmlns:p="http://schemas.openxmlformats.org/presentationml/2006/main" showMasterSp="0" preserve="1" userDrawn="1">
  <p:cSld name="Image-chart 3/4 brushed ">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1"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3" name="Title 2"/>
          <p:cNvSpPr>
            <a:spLocks noGrp="1"/>
          </p:cNvSpPr>
          <p:nvPr>
            <p:ph type="title" hasCustomPrompt="1"/>
          </p:nvPr>
        </p:nvSpPr>
        <p:spPr>
          <a:xfrm>
            <a:off x="628323" y="288859"/>
            <a:ext cx="10932455" cy="1025684"/>
          </a:xfrm>
        </p:spPr>
        <p:txBody>
          <a:bodyPr wrap="square">
            <a:spAutoFit/>
          </a:bodyPr>
          <a:lstStyle>
            <a:lvl1pPr>
              <a:defRPr>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or</a:t>
            </a:r>
            <a:r>
              <a:rPr lang="de-DE" dirty="0"/>
              <a:t> </a:t>
            </a:r>
            <a:r>
              <a:rPr lang="de-DE" dirty="0" err="1"/>
              <a:t>more</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413504274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837.xml><?xml version="1.0" encoding="utf-8"?>
<p:sldLayout xmlns:a="http://schemas.openxmlformats.org/drawingml/2006/main" xmlns:r="http://schemas.openxmlformats.org/officeDocument/2006/relationships" xmlns:p="http://schemas.openxmlformats.org/presentationml/2006/main" showMasterSp="0" preserve="1" userDrawn="1">
  <p:cSld name="Image-chart 1/4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1"/>
            <a:ext cx="12190451" cy="6487839"/>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3" name="Title 2"/>
          <p:cNvSpPr>
            <a:spLocks noGrp="1"/>
          </p:cNvSpPr>
          <p:nvPr>
            <p:ph type="title" hasCustomPrompt="1"/>
          </p:nvPr>
        </p:nvSpPr>
        <p:spPr>
          <a:xfrm>
            <a:off x="630116" y="288857"/>
            <a:ext cx="10930662" cy="1151733"/>
          </a:xfrm>
        </p:spPr>
        <p:txBody>
          <a:bodyPr/>
          <a:lstStyle>
            <a:lvl1pPr>
              <a:defRPr baseline="0">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81208858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838.xml><?xml version="1.0" encoding="utf-8"?>
<p:sldLayout xmlns:a="http://schemas.openxmlformats.org/drawingml/2006/main" xmlns:r="http://schemas.openxmlformats.org/officeDocument/2006/relationships" xmlns:p="http://schemas.openxmlformats.org/presentationml/2006/main" showMasterSp="0" preserve="1" userDrawn="1">
  <p:cSld name="Agenda 1/3 brushed">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a:xfrm>
            <a:off x="628323" y="288859"/>
            <a:ext cx="10932455" cy="1148857"/>
          </a:xfrm>
        </p:spPr>
        <p:txBody>
          <a:bodyPr/>
          <a:lstStyle>
            <a:lvl1pPr>
              <a:defRPr/>
            </a:lvl1pPr>
          </a:lstStyle>
          <a:p>
            <a:r>
              <a:rPr lang="de-DE" noProof="0" dirty="0"/>
              <a:t>Headline </a:t>
            </a:r>
            <a:r>
              <a:rPr lang="de-DE" noProof="0" dirty="0" err="1"/>
              <a:t>for</a:t>
            </a:r>
            <a:r>
              <a:rPr lang="de-DE" noProof="0" dirty="0"/>
              <a:t> Agenda in </a:t>
            </a:r>
            <a:r>
              <a:rPr lang="de-DE" noProof="0" dirty="0" err="1"/>
              <a:t>CorpoS</a:t>
            </a:r>
            <a:r>
              <a:rPr lang="de-DE" noProof="0" dirty="0"/>
              <a:t> (Body) 35 </a:t>
            </a:r>
            <a:r>
              <a:rPr lang="de-DE" noProof="0" dirty="0" err="1"/>
              <a:t>pt</a:t>
            </a:r>
            <a:r>
              <a:rPr lang="de-DE" noProof="0" dirty="0"/>
              <a:t>. </a:t>
            </a:r>
            <a:br>
              <a:rPr lang="de-DE" noProof="0" dirty="0"/>
            </a:br>
            <a:r>
              <a:rPr lang="de-DE" noProof="0" dirty="0" err="1"/>
              <a:t>one</a:t>
            </a:r>
            <a:r>
              <a:rPr lang="de-DE" noProof="0" dirty="0"/>
              <a:t> </a:t>
            </a:r>
            <a:r>
              <a:rPr lang="de-DE" noProof="0" dirty="0" err="1"/>
              <a:t>or</a:t>
            </a:r>
            <a:r>
              <a:rPr lang="de-DE" noProof="0" dirty="0"/>
              <a:t>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Text Placeholder 5"/>
          <p:cNvSpPr>
            <a:spLocks noGrp="1"/>
          </p:cNvSpPr>
          <p:nvPr>
            <p:ph type="body" sz="quarter" idx="12" hasCustomPrompt="1"/>
          </p:nvPr>
        </p:nvSpPr>
        <p:spPr>
          <a:xfrm>
            <a:off x="630116" y="1504603"/>
            <a:ext cx="10930388" cy="3759916"/>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Insert Agenda </a:t>
            </a:r>
            <a:r>
              <a:rPr lang="de-DE" dirty="0" err="1"/>
              <a:t>point</a:t>
            </a:r>
            <a:endParaRPr lang="de-DE" dirty="0"/>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90043456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5072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e-DE" noProof="0" dirty="0"/>
              <a:t>Headline </a:t>
            </a:r>
            <a:r>
              <a:rPr lang="de-DE" noProof="0" dirty="0" err="1"/>
              <a:t>for</a:t>
            </a:r>
            <a:r>
              <a:rPr lang="de-DE" noProof="0" dirty="0"/>
              <a:t> Agenda in </a:t>
            </a:r>
            <a:r>
              <a:rPr lang="de-DE" noProof="0" dirty="0" err="1"/>
              <a:t>CorpoS</a:t>
            </a:r>
            <a:r>
              <a:rPr lang="de-DE" noProof="0" dirty="0"/>
              <a:t> (Body) 35 </a:t>
            </a:r>
            <a:r>
              <a:rPr lang="de-DE" noProof="0" dirty="0" err="1"/>
              <a:t>pt</a:t>
            </a:r>
            <a:r>
              <a:rPr lang="de-DE" noProof="0" dirty="0"/>
              <a:t>. </a:t>
            </a:r>
            <a:br>
              <a:rPr lang="de-DE" noProof="0" dirty="0"/>
            </a:br>
            <a:r>
              <a:rPr lang="de-DE" noProof="0" dirty="0" err="1"/>
              <a:t>one</a:t>
            </a:r>
            <a:r>
              <a:rPr lang="de-DE" noProof="0" dirty="0"/>
              <a:t> </a:t>
            </a:r>
            <a:r>
              <a:rPr lang="de-DE" noProof="0" dirty="0" err="1"/>
              <a:t>or</a:t>
            </a:r>
            <a:r>
              <a:rPr lang="de-DE" noProof="0" dirty="0"/>
              <a:t>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Insert Agenda </a:t>
            </a:r>
            <a:r>
              <a:rPr lang="de-DE" dirty="0" err="1"/>
              <a:t>point</a:t>
            </a:r>
            <a:endParaRPr lang="de-DE" dirty="0"/>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378185143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adlin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53831039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Headline two lines // Conten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51745"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Tree>
    <p:extLst>
      <p:ext uri="{BB962C8B-B14F-4D97-AF65-F5344CB8AC3E}">
        <p14:creationId xmlns:p14="http://schemas.microsoft.com/office/powerpoint/2010/main" val="308494464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841.xml><?xml version="1.0" encoding="utf-8"?>
<p:sldLayout xmlns:a="http://schemas.openxmlformats.org/drawingml/2006/main" xmlns:r="http://schemas.openxmlformats.org/officeDocument/2006/relationships" xmlns:p="http://schemas.openxmlformats.org/presentationml/2006/main" showMasterSp="0" preserve="1" userDrawn="1">
  <p:cSld name="Headline two lines // Image">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a:t>
            </a:r>
            <a:r>
              <a:rPr lang="de-DE" noProof="0" dirty="0"/>
              <a:t> S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0310455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Headlin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Tree>
    <p:extLst>
      <p:ext uri="{BB962C8B-B14F-4D97-AF65-F5344CB8AC3E}">
        <p14:creationId xmlns:p14="http://schemas.microsoft.com/office/powerpoint/2010/main" val="253010677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843.xml><?xml version="1.0" encoding="utf-8"?>
<p:sldLayout xmlns:a="http://schemas.openxmlformats.org/drawingml/2006/main" xmlns:r="http://schemas.openxmlformats.org/officeDocument/2006/relationships" xmlns:p="http://schemas.openxmlformats.org/presentationml/2006/main" showMasterSp="0" preserve="1" userDrawn="1">
  <p:cSld name="Headline // Image">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168380347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844.xml><?xml version="1.0" encoding="utf-8"?>
<p:sldLayout xmlns:a="http://schemas.openxmlformats.org/drawingml/2006/main" xmlns:r="http://schemas.openxmlformats.org/officeDocument/2006/relationships" xmlns:p="http://schemas.openxmlformats.org/presentationml/2006/main" showMasterSp="0" preserve="1" userDrawn="1">
  <p:cSld name="2 Images-chart 2/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or</a:t>
            </a:r>
            <a:r>
              <a:rPr lang="de-DE" dirty="0"/>
              <a:t> </a:t>
            </a:r>
            <a:r>
              <a:rPr lang="de-DE" dirty="0" err="1"/>
              <a:t>more</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88697608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845.xml><?xml version="1.0" encoding="utf-8"?>
<p:sldLayout xmlns:a="http://schemas.openxmlformats.org/drawingml/2006/main" xmlns:r="http://schemas.openxmlformats.org/officeDocument/2006/relationships" xmlns:p="http://schemas.openxmlformats.org/presentationml/2006/main" showMasterSp="0" preserve="1" userDrawn="1">
  <p:cSld name="2 Images-chart 1/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 name="Title 2"/>
          <p:cNvSpPr>
            <a:spLocks noGrp="1"/>
          </p:cNvSpPr>
          <p:nvPr>
            <p:ph type="title" hasCustomPrompt="1"/>
          </p:nvPr>
        </p:nvSpPr>
        <p:spPr>
          <a:xfrm>
            <a:off x="630116" y="288859"/>
            <a:ext cx="10930662" cy="1148857"/>
          </a:xfrm>
        </p:spPr>
        <p:txBody>
          <a:bodyPr/>
          <a:lstStyle>
            <a:lvl1pPr>
              <a:defRPr>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61576293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846.xml><?xml version="1.0" encoding="utf-8"?>
<p:sldLayout xmlns:a="http://schemas.openxmlformats.org/drawingml/2006/main" xmlns:r="http://schemas.openxmlformats.org/officeDocument/2006/relationships" xmlns:p="http://schemas.openxmlformats.org/presentationml/2006/main" showMasterSp="0" preserve="1" userDrawn="1">
  <p:cSld name="2 Images-chart 1/3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196304678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847.xml><?xml version="1.0" encoding="utf-8"?>
<p:sldLayout xmlns:a="http://schemas.openxmlformats.org/drawingml/2006/main" xmlns:r="http://schemas.openxmlformats.org/officeDocument/2006/relationships" xmlns:p="http://schemas.openxmlformats.org/presentationml/2006/main" showMasterSp="0" preserve="1" userDrawn="1">
  <p:cSld name="2 Images-chart 2/3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Body </a:t>
            </a:r>
            <a:r>
              <a:rPr lang="de-DE" dirty="0" err="1"/>
              <a:t>text</a:t>
            </a:r>
            <a:r>
              <a:rPr lang="de-DE" dirty="0"/>
              <a:t>: Home // Paragraph// </a:t>
            </a:r>
            <a:r>
              <a:rPr lang="de-DE" dirty="0" err="1"/>
              <a:t>Increase</a:t>
            </a:r>
            <a:r>
              <a:rPr lang="de-DE" dirty="0"/>
              <a:t> List Level</a:t>
            </a:r>
          </a:p>
          <a:p>
            <a:pPr lvl="1"/>
            <a:r>
              <a:rPr lang="de-DE" dirty="0"/>
              <a:t>Second </a:t>
            </a:r>
            <a:r>
              <a:rPr lang="de-DE" dirty="0" err="1"/>
              <a:t>level</a:t>
            </a:r>
            <a:r>
              <a:rPr lang="de-DE" dirty="0"/>
              <a:t> (Body </a:t>
            </a:r>
            <a:r>
              <a:rPr lang="de-DE" dirty="0" err="1"/>
              <a:t>text</a:t>
            </a:r>
            <a:r>
              <a:rPr lang="de-DE" dirty="0"/>
              <a:t>)</a:t>
            </a:r>
          </a:p>
        </p:txBody>
      </p:sp>
    </p:spTree>
    <p:extLst>
      <p:ext uri="{BB962C8B-B14F-4D97-AF65-F5344CB8AC3E}">
        <p14:creationId xmlns:p14="http://schemas.microsoft.com/office/powerpoint/2010/main" val="428538407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848.xml><?xml version="1.0" encoding="utf-8"?>
<p:sldLayout xmlns:a="http://schemas.openxmlformats.org/drawingml/2006/main" xmlns:r="http://schemas.openxmlformats.org/officeDocument/2006/relationships" xmlns:p="http://schemas.openxmlformats.org/presentationml/2006/main" showMasterSp="0" preserve="1" userDrawn="1">
  <p:cSld name="2 Images-chart 3/3 brushed">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3"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Body </a:t>
            </a:r>
            <a:r>
              <a:rPr lang="de-DE" dirty="0" err="1"/>
              <a:t>text</a:t>
            </a:r>
            <a:r>
              <a:rPr lang="de-DE" dirty="0"/>
              <a:t>: Home // Paragraph// </a:t>
            </a:r>
            <a:r>
              <a:rPr lang="de-DE" dirty="0" err="1"/>
              <a:t>Increase</a:t>
            </a:r>
            <a:r>
              <a:rPr lang="de-DE" dirty="0"/>
              <a:t> List Level</a:t>
            </a:r>
          </a:p>
          <a:p>
            <a:pPr lvl="1"/>
            <a:r>
              <a:rPr lang="de-DE" dirty="0"/>
              <a:t>Second </a:t>
            </a:r>
            <a:r>
              <a:rPr lang="de-DE" dirty="0" err="1"/>
              <a:t>level</a:t>
            </a:r>
            <a:r>
              <a:rPr lang="de-DE" dirty="0"/>
              <a:t> (Body </a:t>
            </a:r>
            <a:r>
              <a:rPr lang="de-DE" dirty="0" err="1"/>
              <a:t>tex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3293529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849.xml><?xml version="1.0" encoding="utf-8"?>
<p:sldLayout xmlns:a="http://schemas.openxmlformats.org/drawingml/2006/main" xmlns:r="http://schemas.openxmlformats.org/officeDocument/2006/relationships" xmlns:p="http://schemas.openxmlformats.org/presentationml/2006/main" showMasterSp="0" preserve="1" userDrawn="1">
  <p:cSld name="Fullpage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88367804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Headline // Image">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228913957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850.xml><?xml version="1.0" encoding="utf-8"?>
<p:sldLayout xmlns:a="http://schemas.openxmlformats.org/drawingml/2006/main" xmlns:r="http://schemas.openxmlformats.org/officeDocument/2006/relationships" xmlns:p="http://schemas.openxmlformats.org/presentationml/2006/main" showMasterSp="0" preserve="1" userDrawn="1">
  <p:cSld name="Fullpage 3 image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6" name="Picture Placeholder 3"/>
          <p:cNvSpPr>
            <a:spLocks noGrp="1"/>
          </p:cNvSpPr>
          <p:nvPr>
            <p:ph type="pic" sz="quarter" idx="14" hasCustomPrompt="1"/>
          </p:nvPr>
        </p:nvSpPr>
        <p:spPr bwMode="gray">
          <a:xfrm>
            <a:off x="3911151" y="0"/>
            <a:ext cx="4199925"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106203770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Two 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a:t>
            </a:r>
            <a:r>
              <a:rPr lang="de-DE" noProof="0" dirty="0"/>
              <a:t> S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de-DE" dirty="0"/>
              <a:t>Insert </a:t>
            </a:r>
            <a:r>
              <a:rPr lang="de-DE" dirty="0" err="1"/>
              <a:t>text</a:t>
            </a:r>
            <a:r>
              <a:rPr lang="de-DE" dirty="0"/>
              <a:t> </a:t>
            </a:r>
            <a:r>
              <a:rPr lang="de-DE" noProof="0" dirty="0"/>
              <a:t>(Mark-</a:t>
            </a:r>
            <a:r>
              <a:rPr lang="de-DE" noProof="0" dirty="0" err="1"/>
              <a:t>ups</a:t>
            </a:r>
            <a:r>
              <a:rPr lang="de-DE" noProof="0" dirty="0"/>
              <a:t> in </a:t>
            </a:r>
            <a:r>
              <a:rPr lang="de-DE" noProof="0" dirty="0" err="1"/>
              <a:t>Bold</a:t>
            </a:r>
            <a:r>
              <a:rPr lang="de-DE" noProof="0" dirty="0"/>
              <a:t>) </a:t>
            </a:r>
            <a:r>
              <a:rPr lang="de-DE" dirty="0"/>
              <a:t>// </a:t>
            </a:r>
            <a:r>
              <a:rPr lang="de-DE" dirty="0" err="1"/>
              <a:t>conclusion</a:t>
            </a:r>
            <a:r>
              <a:rPr lang="de-DE" dirty="0"/>
              <a:t> etc.: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de-DE" dirty="0"/>
              <a:t>Insert </a:t>
            </a:r>
            <a:r>
              <a:rPr lang="de-DE" dirty="0" err="1"/>
              <a:t>text</a:t>
            </a:r>
            <a:r>
              <a:rPr lang="de-DE" dirty="0"/>
              <a:t> </a:t>
            </a:r>
            <a:r>
              <a:rPr lang="de-DE" noProof="0" dirty="0"/>
              <a:t>(Mark-</a:t>
            </a:r>
            <a:r>
              <a:rPr lang="de-DE" noProof="0" dirty="0" err="1"/>
              <a:t>ups</a:t>
            </a:r>
            <a:r>
              <a:rPr lang="de-DE" noProof="0" dirty="0"/>
              <a:t> in </a:t>
            </a:r>
            <a:r>
              <a:rPr lang="de-DE" noProof="0" dirty="0" err="1"/>
              <a:t>Bold</a:t>
            </a:r>
            <a:r>
              <a:rPr lang="de-DE" noProof="0" dirty="0"/>
              <a:t>) </a:t>
            </a:r>
            <a:r>
              <a:rPr lang="de-DE" dirty="0"/>
              <a:t>// </a:t>
            </a:r>
            <a:r>
              <a:rPr lang="de-DE" dirty="0" err="1"/>
              <a:t>conclusion</a:t>
            </a:r>
            <a:r>
              <a:rPr lang="de-DE" dirty="0"/>
              <a:t> etc.: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etc.)</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73342805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userDrawn="1">
  <p:cSld name="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226793867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userDrawn="1">
  <p:cSld name="Text small // Image">
    <p:spTree>
      <p:nvGrpSpPr>
        <p:cNvPr id="1" name=""/>
        <p:cNvGrpSpPr/>
        <p:nvPr/>
      </p:nvGrpSpPr>
      <p:grpSpPr>
        <a:xfrm>
          <a:off x="0" y="0"/>
          <a:ext cx="0" cy="0"/>
          <a:chOff x="0" y="0"/>
          <a:chExt cx="0" cy="0"/>
        </a:xfrm>
      </p:grpSpPr>
      <p:sp>
        <p:nvSpPr>
          <p:cNvPr id="10" name="Picture Placeholder 3"/>
          <p:cNvSpPr>
            <a:spLocks noGrp="1"/>
          </p:cNvSpPr>
          <p:nvPr>
            <p:ph type="pic" sz="quarter" idx="14" hasCustomPrompt="1"/>
          </p:nvPr>
        </p:nvSpPr>
        <p:spPr bwMode="gray">
          <a:xfrm>
            <a:off x="4848875" y="1504604"/>
            <a:ext cx="6711903" cy="4875669"/>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8" name="Text Placeholder 7"/>
          <p:cNvSpPr>
            <a:spLocks noGrp="1"/>
          </p:cNvSpPr>
          <p:nvPr>
            <p:ph type="body" sz="quarter" idx="12" hasCustomPrompt="1"/>
          </p:nvPr>
        </p:nvSpPr>
        <p:spPr>
          <a:xfrm>
            <a:off x="629672" y="1504603"/>
            <a:ext cx="3857441" cy="4876681"/>
          </a:xfrm>
        </p:spPr>
        <p:txBody>
          <a:bodyPr>
            <a:normAutofit/>
          </a:bodyPr>
          <a:lstStyle>
            <a:lvl1pPr>
              <a:lnSpc>
                <a:spcPts val="2399"/>
              </a:lnSpc>
              <a:defRPr sz="1899" baseline="0"/>
            </a:lvl1pPr>
            <a:lvl2pPr>
              <a:lnSpc>
                <a:spcPts val="2399"/>
              </a:lnSpc>
              <a:defRPr sz="1899"/>
            </a:lvl2pPr>
            <a:lvl3pPr>
              <a:lnSpc>
                <a:spcPts val="2399"/>
              </a:lnSpc>
              <a:defRPr sz="1899"/>
            </a:lvl3pPr>
            <a:lvl4pPr>
              <a:lnSpc>
                <a:spcPts val="2399"/>
              </a:lnSpc>
              <a:defRPr sz="1899"/>
            </a:lvl4pPr>
            <a:lvl5pPr>
              <a:lnSpc>
                <a:spcPts val="2399"/>
              </a:lnSpc>
              <a:defRPr sz="1899"/>
            </a:lvl5pPr>
            <a:lvl6pPr>
              <a:lnSpc>
                <a:spcPts val="2399"/>
              </a:lnSpc>
              <a:defRPr sz="1899"/>
            </a:lvl6pPr>
            <a:lvl7pPr>
              <a:lnSpc>
                <a:spcPts val="2399"/>
              </a:lnSpc>
              <a:defRPr sz="1899"/>
            </a:lvl7pPr>
            <a:lvl8pPr>
              <a:lnSpc>
                <a:spcPts val="2399"/>
              </a:lnSpc>
              <a:defRPr sz="1899"/>
            </a:lvl8pPr>
            <a:lvl9pPr>
              <a:lnSpc>
                <a:spcPts val="2399"/>
              </a:lnSpc>
              <a:defRPr sz="1899"/>
            </a:lvl9pPr>
          </a:lstStyle>
          <a:p>
            <a:pPr lvl="0"/>
            <a:r>
              <a:rPr lang="de-DE" dirty="0"/>
              <a:t>Insert </a:t>
            </a:r>
            <a:r>
              <a:rPr lang="de-DE" dirty="0" err="1"/>
              <a:t>text</a:t>
            </a:r>
            <a:r>
              <a:rPr lang="de-DE" dirty="0"/>
              <a:t> in </a:t>
            </a:r>
            <a:r>
              <a:rPr lang="de-DE" noProof="0" dirty="0" err="1"/>
              <a:t>CorpoS</a:t>
            </a:r>
            <a:r>
              <a:rPr lang="de-DE" noProof="0" dirty="0"/>
              <a:t> (Body) 19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5" name="Title 4"/>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 </a:t>
            </a:r>
            <a:r>
              <a:rPr lang="de-DE" noProof="0" dirty="0" err="1"/>
              <a:t>for</a:t>
            </a:r>
            <a:r>
              <a:rPr lang="de-DE" noProof="0" dirty="0"/>
              <a:t> </a:t>
            </a:r>
            <a:r>
              <a:rPr lang="de-DE" noProof="0" dirty="0" err="1"/>
              <a:t>standard</a:t>
            </a:r>
            <a:r>
              <a:rPr lang="de-DE" noProof="0" dirty="0"/>
              <a:t> </a:t>
            </a:r>
            <a:br>
              <a:rPr lang="de-DE" noProof="0" dirty="0"/>
            </a:br>
            <a:r>
              <a:rPr lang="de-DE" noProof="0" dirty="0"/>
              <a:t>text-chart in </a:t>
            </a:r>
            <a:r>
              <a:rPr lang="de-DE" noProof="0" dirty="0" err="1"/>
              <a:t>two</a:t>
            </a:r>
            <a:r>
              <a:rPr lang="de-DE" noProof="0" dirty="0"/>
              <a:t> </a:t>
            </a:r>
            <a:r>
              <a:rPr lang="de-DE" noProof="0" dirty="0" err="1"/>
              <a:t>lines</a:t>
            </a:r>
            <a:endParaRPr lang="de-DE" dirty="0"/>
          </a:p>
        </p:txBody>
      </p:sp>
    </p:spTree>
    <p:extLst>
      <p:ext uri="{BB962C8B-B14F-4D97-AF65-F5344CB8AC3E}">
        <p14:creationId xmlns:p14="http://schemas.microsoft.com/office/powerpoint/2010/main" val="3251309514"/>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948">
          <p15:clr>
            <a:srgbClr val="FBAE40"/>
          </p15:clr>
        </p15:guide>
        <p15:guide id="3" orient="horz" pos="182">
          <p15:clr>
            <a:srgbClr val="FBAE40"/>
          </p15:clr>
        </p15:guide>
        <p15:guide id="4" pos="3056">
          <p15:clr>
            <a:srgbClr val="FBAE40"/>
          </p15:clr>
        </p15:guide>
        <p15:guide id="5" pos="2828">
          <p15:clr>
            <a:srgbClr val="FBAE40"/>
          </p15:clr>
        </p15:guide>
      </p15:sldGuideLst>
    </p:ext>
  </p:extLst>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Two contents with head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de-DE" dirty="0"/>
              <a:t>Insert </a:t>
            </a:r>
            <a:r>
              <a:rPr lang="de-DE" dirty="0" err="1"/>
              <a:t>content</a:t>
            </a:r>
            <a:r>
              <a:rPr lang="de-DE" dirty="0"/>
              <a:t> </a:t>
            </a:r>
            <a:r>
              <a:rPr lang="de-DE" dirty="0" err="1"/>
              <a:t>or</a:t>
            </a:r>
            <a:r>
              <a:rPr lang="de-DE" dirty="0"/>
              <a: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a:t>Insert </a:t>
            </a:r>
            <a:r>
              <a:rPr lang="de-DE" dirty="0" err="1"/>
              <a:t>headline</a:t>
            </a:r>
            <a:endParaRPr lang="de-DE" dirty="0"/>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a:t>Insert </a:t>
            </a:r>
            <a:r>
              <a:rPr lang="de-DE" dirty="0" err="1"/>
              <a:t>headline</a:t>
            </a:r>
            <a:endParaRPr lang="de-DE" dirty="0"/>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de-DE" dirty="0"/>
              <a:t>Insert </a:t>
            </a:r>
            <a:r>
              <a:rPr lang="de-DE" dirty="0" err="1"/>
              <a:t>content</a:t>
            </a:r>
            <a:r>
              <a:rPr lang="de-DE" dirty="0"/>
              <a:t> </a:t>
            </a:r>
            <a:r>
              <a:rPr lang="de-DE" dirty="0" err="1"/>
              <a:t>or</a:t>
            </a:r>
            <a:r>
              <a:rPr lang="de-DE" dirty="0"/>
              <a:t> </a:t>
            </a:r>
            <a:r>
              <a:rPr lang="de-DE" dirty="0" err="1"/>
              <a:t>text</a:t>
            </a:r>
            <a:r>
              <a:rPr lang="de-DE" dirty="0"/>
              <a:t> in </a:t>
            </a:r>
            <a:r>
              <a:rPr lang="de-DE" noProof="0" dirty="0" err="1"/>
              <a:t>Corpo</a:t>
            </a:r>
            <a:r>
              <a:rPr lang="de-DE" noProof="0" dirty="0"/>
              <a:t> S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p:txBody>
      </p:sp>
    </p:spTree>
    <p:extLst>
      <p:ext uri="{BB962C8B-B14F-4D97-AF65-F5344CB8AC3E}">
        <p14:creationId xmlns:p14="http://schemas.microsoft.com/office/powerpoint/2010/main" val="2316477397"/>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4 product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47"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Tree>
    <p:extLst>
      <p:ext uri="{BB962C8B-B14F-4D97-AF65-F5344CB8AC3E}">
        <p14:creationId xmlns:p14="http://schemas.microsoft.com/office/powerpoint/2010/main" val="159112245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userDrawn="1">
  <p:cSld name="Headline two lines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70880754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userDrawn="1">
  <p:cSld name="Headline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057746576"/>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858.xml><?xml version="1.0" encoding="utf-8"?>
<p:sldLayout xmlns:a="http://schemas.openxmlformats.org/drawingml/2006/main" xmlns:r="http://schemas.openxmlformats.org/officeDocument/2006/relationships" xmlns:p="http://schemas.openxmlformats.org/presentationml/2006/main" userDrawn="1">
  <p:cSld name="Agenda without brushi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52769"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e-DE" noProof="0" dirty="0"/>
              <a:t>Headline </a:t>
            </a:r>
            <a:r>
              <a:rPr lang="de-DE" noProof="0" dirty="0" err="1"/>
              <a:t>for</a:t>
            </a:r>
            <a:r>
              <a:rPr lang="de-DE" noProof="0" dirty="0"/>
              <a:t> Agenda in </a:t>
            </a:r>
            <a:r>
              <a:rPr lang="de-DE" noProof="0" dirty="0" err="1"/>
              <a:t>CorpoS</a:t>
            </a:r>
            <a:r>
              <a:rPr lang="de-DE" noProof="0" dirty="0"/>
              <a:t> (Body) 35 </a:t>
            </a:r>
            <a:r>
              <a:rPr lang="de-DE" noProof="0" dirty="0" err="1"/>
              <a:t>pt</a:t>
            </a:r>
            <a:r>
              <a:rPr lang="de-DE" noProof="0" dirty="0"/>
              <a:t>. </a:t>
            </a:r>
            <a:br>
              <a:rPr lang="de-DE" noProof="0" dirty="0"/>
            </a:br>
            <a:r>
              <a:rPr lang="de-DE" noProof="0" dirty="0" err="1"/>
              <a:t>one</a:t>
            </a:r>
            <a:r>
              <a:rPr lang="de-DE" noProof="0" dirty="0"/>
              <a:t> </a:t>
            </a:r>
            <a:r>
              <a:rPr lang="de-DE" noProof="0" dirty="0" err="1"/>
              <a:t>or</a:t>
            </a:r>
            <a:r>
              <a:rPr lang="de-DE" noProof="0" dirty="0"/>
              <a:t>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Insert Agenda </a:t>
            </a:r>
            <a:r>
              <a:rPr lang="de-DE" dirty="0" err="1"/>
              <a:t>point</a:t>
            </a:r>
            <a:endParaRPr lang="de-DE" dirty="0"/>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133364405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859.xml><?xml version="1.0" encoding="utf-8"?>
<p:sldLayout xmlns:a="http://schemas.openxmlformats.org/drawingml/2006/main" xmlns:r="http://schemas.openxmlformats.org/officeDocument/2006/relationships" xmlns:p="http://schemas.openxmlformats.org/presentationml/2006/main" showMasterSp="0" preserve="1" userDrawn="1">
  <p:cSld name="1_daimler blanco">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15379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8" name="Foliennummernplatzhalter 3">
            <a:extLst>
              <a:ext uri="{FF2B5EF4-FFF2-40B4-BE49-F238E27FC236}">
                <a16:creationId xmlns:a16="http://schemas.microsoft.com/office/drawing/2014/main" id="{3E15A405-AB95-44E1-98C0-C8DC619077BB}"/>
              </a:ext>
            </a:extLst>
          </p:cNvPr>
          <p:cNvSpPr txBox="1">
            <a:spLocks/>
          </p:cNvSpPr>
          <p:nvPr userDrawn="1"/>
        </p:nvSpPr>
        <p:spPr>
          <a:xfrm>
            <a:off x="11442992" y="6506836"/>
            <a:ext cx="1155196" cy="215950"/>
          </a:xfrm>
          <a:prstGeom prst="rect">
            <a:avLst/>
          </a:prstGeom>
        </p:spPr>
        <p:txBody>
          <a:bodyPr vert="horz" lIns="0" tIns="0" rIns="0" bIns="0" rtlCol="0" anchor="t" anchorCtr="0"/>
          <a:lstStyle>
            <a:defPPr>
              <a:defRPr lang="de-DE"/>
            </a:defPPr>
            <a:lvl1pPr marL="0" indent="0" algn="l" defTabSz="1088959" rtl="0" eaLnBrk="1" latinLnBrk="0" hangingPunct="1">
              <a:spcBef>
                <a:spcPts val="0"/>
              </a:spcBef>
              <a:buFont typeface="Arial" panose="020B0604020202020204" pitchFamily="34" charset="0"/>
              <a:buNone/>
              <a:defRPr sz="1200" kern="1200">
                <a:solidFill>
                  <a:schemeClr val="tx1"/>
                </a:solidFill>
                <a:latin typeface="+mn-lt"/>
                <a:ea typeface="+mn-ea"/>
                <a:cs typeface="+mn-cs"/>
              </a:defRPr>
            </a:lvl1pPr>
            <a:lvl2pPr marL="0" indent="0" algn="l" defTabSz="1088959" rtl="0" eaLnBrk="1" latinLnBrk="0" hangingPunct="1">
              <a:spcBef>
                <a:spcPts val="0"/>
              </a:spcBef>
              <a:defRPr sz="1200" kern="1200">
                <a:solidFill>
                  <a:schemeClr val="tx1"/>
                </a:solidFill>
                <a:latin typeface="+mn-lt"/>
                <a:ea typeface="+mn-ea"/>
                <a:cs typeface="+mn-cs"/>
              </a:defRPr>
            </a:lvl2pPr>
            <a:lvl3pPr marL="0" indent="0" algn="l" defTabSz="1088959" rtl="0" eaLnBrk="1" latinLnBrk="0" hangingPunct="1">
              <a:spcBef>
                <a:spcPts val="0"/>
              </a:spcBef>
              <a:defRPr sz="1200" kern="1200">
                <a:solidFill>
                  <a:schemeClr val="tx1"/>
                </a:solidFill>
                <a:latin typeface="+mn-lt"/>
                <a:ea typeface="+mn-ea"/>
                <a:cs typeface="+mn-cs"/>
              </a:defRPr>
            </a:lvl3pPr>
            <a:lvl4pPr marL="0" indent="0" algn="l" defTabSz="1088959" rtl="0" eaLnBrk="1" latinLnBrk="0" hangingPunct="1">
              <a:spcBef>
                <a:spcPts val="0"/>
              </a:spcBef>
              <a:defRPr sz="1200" kern="1200">
                <a:solidFill>
                  <a:schemeClr val="tx1"/>
                </a:solidFill>
                <a:latin typeface="+mn-lt"/>
                <a:ea typeface="+mn-ea"/>
                <a:cs typeface="+mn-cs"/>
              </a:defRPr>
            </a:lvl4pPr>
            <a:lvl5pPr marL="0" indent="0" algn="l" defTabSz="1088959" rtl="0" eaLnBrk="1" latinLnBrk="0" hangingPunct="1">
              <a:spcBef>
                <a:spcPts val="0"/>
              </a:spcBef>
              <a:defRPr sz="1200" kern="1200">
                <a:solidFill>
                  <a:schemeClr val="tx1"/>
                </a:solidFill>
                <a:latin typeface="+mn-lt"/>
                <a:ea typeface="+mn-ea"/>
                <a:cs typeface="+mn-cs"/>
              </a:defRPr>
            </a:lvl5pPr>
            <a:lvl6pPr marL="0" indent="0" algn="l" defTabSz="1088959" rtl="0" eaLnBrk="1" latinLnBrk="0" hangingPunct="1">
              <a:spcBef>
                <a:spcPts val="0"/>
              </a:spcBef>
              <a:defRPr sz="1200" kern="1200">
                <a:solidFill>
                  <a:schemeClr val="tx1"/>
                </a:solidFill>
                <a:latin typeface="+mn-lt"/>
                <a:ea typeface="+mn-ea"/>
                <a:cs typeface="+mn-cs"/>
              </a:defRPr>
            </a:lvl6pPr>
            <a:lvl7pPr marL="0" indent="0" algn="l" defTabSz="1088959" rtl="0" eaLnBrk="1" latinLnBrk="0" hangingPunct="1">
              <a:spcBef>
                <a:spcPts val="0"/>
              </a:spcBef>
              <a:defRPr sz="1200" kern="1200">
                <a:solidFill>
                  <a:schemeClr val="tx1"/>
                </a:solidFill>
                <a:latin typeface="+mn-lt"/>
                <a:ea typeface="+mn-ea"/>
                <a:cs typeface="+mn-cs"/>
              </a:defRPr>
            </a:lvl7pPr>
            <a:lvl8pPr marL="0" indent="0" algn="l" defTabSz="1088959" rtl="0" eaLnBrk="1" latinLnBrk="0" hangingPunct="1">
              <a:spcBef>
                <a:spcPts val="0"/>
              </a:spcBef>
              <a:defRPr sz="1200" kern="1200">
                <a:solidFill>
                  <a:schemeClr val="tx1"/>
                </a:solidFill>
                <a:latin typeface="+mn-lt"/>
                <a:ea typeface="+mn-ea"/>
                <a:cs typeface="+mn-cs"/>
              </a:defRPr>
            </a:lvl8pPr>
            <a:lvl9pPr marL="0" indent="0" algn="l" defTabSz="1088959" rtl="0" eaLnBrk="1" latinLnBrk="0" hangingPunct="1">
              <a:spcBef>
                <a:spcPts val="0"/>
              </a:spcBef>
              <a:defRPr sz="1200" kern="1200">
                <a:solidFill>
                  <a:schemeClr val="tx1"/>
                </a:solidFill>
                <a:latin typeface="+mn-lt"/>
                <a:ea typeface="+mn-ea"/>
                <a:cs typeface="+mn-cs"/>
              </a:defRPr>
            </a:lvl9pPr>
          </a:lstStyle>
          <a:p>
            <a:r>
              <a:rPr lang="de-DE" sz="1199" b="1" dirty="0">
                <a:solidFill>
                  <a:prstClr val="black"/>
                </a:solidFill>
              </a:rPr>
              <a:t>PAGE </a:t>
            </a:r>
            <a:fld id="{52531704-8F80-415D-BD2B-6B9991AE822F}" type="slidenum">
              <a:rPr lang="de-DE" sz="1199" b="1" smtClean="0">
                <a:solidFill>
                  <a:prstClr val="black"/>
                </a:solidFill>
              </a:rPr>
              <a:pPr/>
              <a:t>‹#›</a:t>
            </a:fld>
            <a:endParaRPr lang="de-DE" sz="1199" b="1" dirty="0">
              <a:solidFill>
                <a:prstClr val="black"/>
              </a:solidFill>
            </a:endParaRPr>
          </a:p>
        </p:txBody>
      </p:sp>
    </p:spTree>
    <p:extLst>
      <p:ext uri="{BB962C8B-B14F-4D97-AF65-F5344CB8AC3E}">
        <p14:creationId xmlns:p14="http://schemas.microsoft.com/office/powerpoint/2010/main" val="196379180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66">
          <p15:clr>
            <a:srgbClr val="FBAE40"/>
          </p15:clr>
        </p15:guide>
        <p15:guide id="3" orient="horz" pos="754">
          <p15:clr>
            <a:srgbClr val="FBAE40"/>
          </p15:clr>
        </p15:guide>
        <p15:guide id="4" orient="horz" pos="845">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 Images-chart 2/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or more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202497049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860.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54817"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428762902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861.xml><?xml version="1.0" encoding="utf-8"?>
<p:sldLayout xmlns:a="http://schemas.openxmlformats.org/drawingml/2006/main" xmlns:r="http://schemas.openxmlformats.org/officeDocument/2006/relationships" xmlns:p="http://schemas.openxmlformats.org/presentationml/2006/main" showMasterSp="0"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a:t>
            </a:r>
            <a:br>
              <a:rPr lang="de-DE" dirty="0"/>
            </a:br>
            <a:r>
              <a:rPr lang="de-DE" dirty="0" err="1"/>
              <a:t>Presentation</a:t>
            </a:r>
            <a:r>
              <a:rPr lang="de-DE" dirty="0"/>
              <a:t> title in </a:t>
            </a:r>
            <a:r>
              <a:rPr lang="de-DE" dirty="0" err="1"/>
              <a:t>two</a:t>
            </a:r>
            <a:r>
              <a:rPr lang="de-DE" dirty="0"/>
              <a:t> </a:t>
            </a:r>
            <a:r>
              <a:rPr lang="de-DE" dirty="0" err="1"/>
              <a:t>or</a:t>
            </a:r>
            <a:r>
              <a:rPr lang="de-DE" dirty="0"/>
              <a:t> </a:t>
            </a:r>
            <a:r>
              <a:rPr lang="de-DE" dirty="0" err="1"/>
              <a:t>three</a:t>
            </a:r>
            <a:r>
              <a:rPr lang="de-DE" dirty="0"/>
              <a:t> </a:t>
            </a:r>
            <a:br>
              <a:rPr lang="de-DE" dirty="0"/>
            </a:b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58249871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862.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56865"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Datumsplatzhalter 1"/>
          <p:cNvSpPr>
            <a:spLocks noGrp="1"/>
          </p:cNvSpPr>
          <p:nvPr>
            <p:ph type="dt" sz="half" idx="10"/>
          </p:nvPr>
        </p:nvSpPr>
        <p:spPr>
          <a:xfrm>
            <a:off x="838200" y="6356350"/>
            <a:ext cx="2743200" cy="365125"/>
          </a:xfrm>
          <a:prstGeom prst="rect">
            <a:avLst/>
          </a:prstGeom>
        </p:spPr>
        <p:txBody>
          <a:bodyPr/>
          <a:lstStyle/>
          <a:p>
            <a:pPr defTabSz="914126"/>
            <a:fld id="{9D8AD672-C06F-435A-873C-D96653C817C2}" type="datetimeFigureOut">
              <a:rPr lang="de-DE" smtClean="0">
                <a:solidFill>
                  <a:prstClr val="black"/>
                </a:solidFill>
              </a:rPr>
              <a:pPr defTabSz="914126"/>
              <a:t>26.04.2019</a:t>
            </a:fld>
            <a:endParaRPr lang="de-DE" dirty="0">
              <a:solidFill>
                <a:prstClr val="black"/>
              </a:solidFill>
            </a:endParaRPr>
          </a:p>
        </p:txBody>
      </p:sp>
      <p:sp>
        <p:nvSpPr>
          <p:cNvPr id="3" name="Fußzeilenplatzhalter 2"/>
          <p:cNvSpPr>
            <a:spLocks noGrp="1"/>
          </p:cNvSpPr>
          <p:nvPr>
            <p:ph type="ftr" sz="quarter" idx="11"/>
          </p:nvPr>
        </p:nvSpPr>
        <p:spPr/>
        <p:txBody>
          <a:bodyPr/>
          <a:lstStyle>
            <a:lvl1pPr eaLnBrk="1">
              <a:defRPr/>
            </a:lvl1pPr>
          </a:lstStyle>
          <a:p>
            <a:endParaRPr lang="de-DE" dirty="0">
              <a:solidFill>
                <a:prstClr val="black"/>
              </a:solidFill>
            </a:endParaRPr>
          </a:p>
        </p:txBody>
      </p:sp>
      <p:sp>
        <p:nvSpPr>
          <p:cNvPr id="4" name="Foliennummernplatzhalter 3"/>
          <p:cNvSpPr>
            <a:spLocks noGrp="1"/>
          </p:cNvSpPr>
          <p:nvPr>
            <p:ph type="sldNum" sz="quarter" idx="12"/>
          </p:nvPr>
        </p:nvSpPr>
        <p:spPr/>
        <p:txBody>
          <a:bodyPr/>
          <a:lstStyle/>
          <a:p>
            <a:fld id="{A2229452-8F2B-4626-918F-01887DB5935C}"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325868775"/>
      </p:ext>
    </p:extLst>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showMasterSp="0" userDrawn="1">
  <p:cSld name="1_4. Brushing/ image 2 columns">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5788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14" name="Picture Placeholder 3"/>
          <p:cNvSpPr>
            <a:spLocks noGrp="1"/>
          </p:cNvSpPr>
          <p:nvPr>
            <p:ph type="pic" sz="quarter" idx="13" hasCustomPrompt="1"/>
          </p:nvPr>
        </p:nvSpPr>
        <p:spPr bwMode="gray">
          <a:xfrm>
            <a:off x="-19040" y="0"/>
            <a:ext cx="12211833" cy="5588740"/>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 name="connsiteX0" fmla="*/ 0 w 12218193"/>
              <a:gd name="connsiteY0" fmla="*/ 9525 h 4086000"/>
              <a:gd name="connsiteX1" fmla="*/ 12217399 w 12218193"/>
              <a:gd name="connsiteY1" fmla="*/ 0 h 4086000"/>
              <a:gd name="connsiteX2" fmla="*/ 12218193 w 12218193"/>
              <a:gd name="connsiteY2" fmla="*/ 3455194 h 4086000"/>
              <a:gd name="connsiteX3" fmla="*/ 5038725 w 12218193"/>
              <a:gd name="connsiteY3" fmla="*/ 4086000 h 4086000"/>
              <a:gd name="connsiteX4" fmla="*/ 0 w 12218193"/>
              <a:gd name="connsiteY4" fmla="*/ 9525 h 4086000"/>
              <a:gd name="connsiteX0" fmla="*/ 0 w 12218193"/>
              <a:gd name="connsiteY0" fmla="*/ 9525 h 4533675"/>
              <a:gd name="connsiteX1" fmla="*/ 12217399 w 12218193"/>
              <a:gd name="connsiteY1" fmla="*/ 0 h 4533675"/>
              <a:gd name="connsiteX2" fmla="*/ 12218193 w 12218193"/>
              <a:gd name="connsiteY2" fmla="*/ 3455194 h 4533675"/>
              <a:gd name="connsiteX3" fmla="*/ 28575 w 12218193"/>
              <a:gd name="connsiteY3" fmla="*/ 4533675 h 4533675"/>
              <a:gd name="connsiteX4" fmla="*/ 0 w 12218193"/>
              <a:gd name="connsiteY4" fmla="*/ 9525 h 4533675"/>
              <a:gd name="connsiteX0" fmla="*/ 0 w 12218193"/>
              <a:gd name="connsiteY0" fmla="*/ 9525 h 4543200"/>
              <a:gd name="connsiteX1" fmla="*/ 12217399 w 12218193"/>
              <a:gd name="connsiteY1" fmla="*/ 0 h 4543200"/>
              <a:gd name="connsiteX2" fmla="*/ 12218193 w 12218193"/>
              <a:gd name="connsiteY2" fmla="*/ 3455194 h 4543200"/>
              <a:gd name="connsiteX3" fmla="*/ 19050 w 12218193"/>
              <a:gd name="connsiteY3" fmla="*/ 4543200 h 4543200"/>
              <a:gd name="connsiteX4" fmla="*/ 0 w 12218193"/>
              <a:gd name="connsiteY4" fmla="*/ 9525 h 4543200"/>
              <a:gd name="connsiteX0" fmla="*/ 0 w 12218193"/>
              <a:gd name="connsiteY0" fmla="*/ 9525 h 3817485"/>
              <a:gd name="connsiteX1" fmla="*/ 12217399 w 12218193"/>
              <a:gd name="connsiteY1" fmla="*/ 0 h 3817485"/>
              <a:gd name="connsiteX2" fmla="*/ 12218193 w 12218193"/>
              <a:gd name="connsiteY2" fmla="*/ 3455194 h 3817485"/>
              <a:gd name="connsiteX3" fmla="*/ 4536 w 12218193"/>
              <a:gd name="connsiteY3" fmla="*/ 3817485 h 3817485"/>
              <a:gd name="connsiteX4" fmla="*/ 0 w 12218193"/>
              <a:gd name="connsiteY4" fmla="*/ 9525 h 3817485"/>
              <a:gd name="connsiteX0" fmla="*/ 0 w 12218193"/>
              <a:gd name="connsiteY0" fmla="*/ 9525 h 3875543"/>
              <a:gd name="connsiteX1" fmla="*/ 12217399 w 12218193"/>
              <a:gd name="connsiteY1" fmla="*/ 0 h 3875543"/>
              <a:gd name="connsiteX2" fmla="*/ 12218193 w 12218193"/>
              <a:gd name="connsiteY2" fmla="*/ 3455194 h 3875543"/>
              <a:gd name="connsiteX3" fmla="*/ 19050 w 12218193"/>
              <a:gd name="connsiteY3" fmla="*/ 3875543 h 3875543"/>
              <a:gd name="connsiteX4" fmla="*/ 0 w 12218193"/>
              <a:gd name="connsiteY4" fmla="*/ 9525 h 3875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8193" h="3875543">
                <a:moveTo>
                  <a:pt x="0" y="9525"/>
                </a:moveTo>
                <a:lnTo>
                  <a:pt x="12217399" y="0"/>
                </a:lnTo>
                <a:cubicBezTo>
                  <a:pt x="12217664" y="1151731"/>
                  <a:pt x="12217928" y="2303463"/>
                  <a:pt x="12218193" y="3455194"/>
                </a:cubicBezTo>
                <a:lnTo>
                  <a:pt x="19050" y="3875543"/>
                </a:lnTo>
                <a:lnTo>
                  <a:pt x="0" y="9525"/>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3" name="Freihandform 12"/>
          <p:cNvSpPr/>
          <p:nvPr userDrawn="1"/>
        </p:nvSpPr>
        <p:spPr>
          <a:xfrm>
            <a:off x="-9519" y="4940818"/>
            <a:ext cx="12214213" cy="1917182"/>
          </a:xfrm>
          <a:custGeom>
            <a:avLst/>
            <a:gdLst>
              <a:gd name="connsiteX0" fmla="*/ 0 w 12220575"/>
              <a:gd name="connsiteY0" fmla="*/ 1066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0 w 12220575"/>
              <a:gd name="connsiteY4" fmla="*/ 1066800 h 3019425"/>
              <a:gd name="connsiteX0" fmla="*/ 19050 w 12220575"/>
              <a:gd name="connsiteY0" fmla="*/ 304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19050 w 12220575"/>
              <a:gd name="connsiteY4" fmla="*/ 304800 h 3019425"/>
              <a:gd name="connsiteX0" fmla="*/ 0 w 12220575"/>
              <a:gd name="connsiteY0" fmla="*/ 304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0 w 12220575"/>
              <a:gd name="connsiteY4" fmla="*/ 304800 h 3019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20575" h="3019425">
                <a:moveTo>
                  <a:pt x="0" y="304800"/>
                </a:moveTo>
                <a:lnTo>
                  <a:pt x="0" y="3019425"/>
                </a:lnTo>
                <a:lnTo>
                  <a:pt x="12220575" y="3019425"/>
                </a:lnTo>
                <a:lnTo>
                  <a:pt x="12220575" y="0"/>
                </a:lnTo>
                <a:lnTo>
                  <a:pt x="0" y="30480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15"/>
            <a:endParaRPr lang="de-DE" sz="2099" dirty="0">
              <a:solidFill>
                <a:prstClr val="white"/>
              </a:solidFill>
            </a:endParaRPr>
          </a:p>
        </p:txBody>
      </p:sp>
    </p:spTree>
    <p:extLst>
      <p:ext uri="{BB962C8B-B14F-4D97-AF65-F5344CB8AC3E}">
        <p14:creationId xmlns:p14="http://schemas.microsoft.com/office/powerpoint/2010/main" val="12143120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864.xml><?xml version="1.0" encoding="utf-8"?>
<p:sldLayout xmlns:a="http://schemas.openxmlformats.org/drawingml/2006/main" xmlns:r="http://schemas.openxmlformats.org/officeDocument/2006/relationships" xmlns:p="http://schemas.openxmlformats.org/presentationml/2006/main" userDrawn="1">
  <p:cSld name="Einleitungstext, dark grey">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58913"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el 1"/>
          <p:cNvSpPr>
            <a:spLocks noGrp="1"/>
          </p:cNvSpPr>
          <p:nvPr>
            <p:ph type="title"/>
          </p:nvPr>
        </p:nvSpPr>
        <p:spPr>
          <a:xfrm>
            <a:off x="714200" y="590401"/>
            <a:ext cx="8405989" cy="1325563"/>
          </a:xfrm>
        </p:spPr>
        <p:txBody>
          <a:bodyPr/>
          <a:lstStyle>
            <a:lvl1pPr>
              <a:defRPr sz="3580">
                <a:solidFill>
                  <a:schemeClr val="tx2"/>
                </a:solidFill>
              </a:defRPr>
            </a:lvl1pPr>
          </a:lstStyle>
          <a:p>
            <a:r>
              <a:rPr lang="de-DE" dirty="0"/>
              <a:t>Mastertitelformat bearbeiten</a:t>
            </a:r>
          </a:p>
        </p:txBody>
      </p:sp>
      <p:sp>
        <p:nvSpPr>
          <p:cNvPr id="3" name="Foliennummernplatzhalter 5"/>
          <p:cNvSpPr>
            <a:spLocks noGrp="1"/>
          </p:cNvSpPr>
          <p:nvPr>
            <p:ph type="sldNum" sz="quarter" idx="12"/>
          </p:nvPr>
        </p:nvSpPr>
        <p:spPr>
          <a:xfrm>
            <a:off x="10911840" y="6219191"/>
            <a:ext cx="579120" cy="303531"/>
          </a:xfrm>
        </p:spPr>
        <p:txBody>
          <a:bodyPr/>
          <a:lstStyle>
            <a:lvl1pPr>
              <a:defRPr>
                <a:solidFill>
                  <a:schemeClr val="tx2"/>
                </a:solidFill>
              </a:defRPr>
            </a:lvl1pPr>
          </a:lstStyle>
          <a:p>
            <a:fld id="{BDFFC951-C3BB-40CC-A730-0B992127FC44}" type="slidenum">
              <a:rPr lang="de-DE" smtClean="0">
                <a:solidFill>
                  <a:srgbClr val="E6E6E6"/>
                </a:solidFill>
              </a:rPr>
              <a:pPr/>
              <a:t>‹#›</a:t>
            </a:fld>
            <a:endParaRPr lang="de-DE" dirty="0">
              <a:solidFill>
                <a:srgbClr val="E6E6E6"/>
              </a:solidFill>
            </a:endParaRPr>
          </a:p>
        </p:txBody>
      </p:sp>
    </p:spTree>
    <p:extLst>
      <p:ext uri="{BB962C8B-B14F-4D97-AF65-F5344CB8AC3E}">
        <p14:creationId xmlns:p14="http://schemas.microsoft.com/office/powerpoint/2010/main" val="3972840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5.xml><?xml version="1.0" encoding="utf-8"?>
<p:sldLayout xmlns:a="http://schemas.openxmlformats.org/drawingml/2006/main" xmlns:r="http://schemas.openxmlformats.org/officeDocument/2006/relationships" xmlns:p="http://schemas.openxmlformats.org/presentationml/2006/main" type="tx">
  <p:cSld name="Dark Background">
    <p:spTree>
      <p:nvGrpSpPr>
        <p:cNvPr id="1" name=""/>
        <p:cNvGrpSpPr/>
        <p:nvPr/>
      </p:nvGrpSpPr>
      <p:grpSpPr>
        <a:xfrm>
          <a:off x="0" y="0"/>
          <a:ext cx="0" cy="0"/>
          <a:chOff x="0" y="0"/>
          <a:chExt cx="0" cy="0"/>
        </a:xfrm>
      </p:grpSpPr>
      <p:sp>
        <p:nvSpPr>
          <p:cNvPr id="18" name="Rechteck"/>
          <p:cNvSpPr/>
          <p:nvPr/>
        </p:nvSpPr>
        <p:spPr>
          <a:xfrm>
            <a:off x="0" y="0"/>
            <a:ext cx="12192000" cy="6858000"/>
          </a:xfrm>
          <a:prstGeom prst="rect">
            <a:avLst/>
          </a:prstGeom>
          <a:solidFill>
            <a:srgbClr val="2C2B31"/>
          </a:solidFill>
          <a:ln w="12700">
            <a:miter lim="400000"/>
          </a:ln>
        </p:spPr>
        <p:txBody>
          <a:bodyPr lIns="29065" tIns="29065" rIns="29065" bIns="29065" anchor="ctr"/>
          <a:lstStyle/>
          <a:p>
            <a:pPr defTabSz="744062">
              <a:defRPr sz="2400"/>
            </a:pPr>
            <a:endParaRPr lang="de-DE" sz="1362" dirty="0">
              <a:solidFill>
                <a:prstClr val="black"/>
              </a:solidFill>
            </a:endParaRPr>
          </a:p>
        </p:txBody>
      </p:sp>
      <p:sp>
        <p:nvSpPr>
          <p:cNvPr id="19" name="Foliennummer"/>
          <p:cNvSpPr txBox="1">
            <a:spLocks noGrp="1"/>
          </p:cNvSpPr>
          <p:nvPr>
            <p:ph type="sldNum" sz="quarter" idx="2"/>
          </p:nvPr>
        </p:nvSpPr>
        <p:spPr>
          <a:xfrm>
            <a:off x="5932244" y="6505278"/>
            <a:ext cx="316541" cy="266369"/>
          </a:xfrm>
          <a:prstGeom prst="rect">
            <a:avLst/>
          </a:prstGeom>
        </p:spPr>
        <p:txBody>
          <a:bodyPr lIns="51196" tIns="51196" rIns="51196" bIns="51196"/>
          <a:lstStyle>
            <a:lvl1pPr algn="ctr" defTabSz="334259">
              <a:defRPr sz="1021">
                <a:solidFill>
                  <a:srgbClr val="000000"/>
                </a:solidFill>
                <a:latin typeface="+mn-lt"/>
                <a:ea typeface="+mn-ea"/>
                <a:cs typeface="+mn-cs"/>
                <a:sym typeface="Helvetica Light"/>
              </a:defRPr>
            </a:lvl1pPr>
          </a:lstStyle>
          <a:p>
            <a:fld id="{86CB4B4D-7CA3-9044-876B-883B54F8677D}" type="slidenum">
              <a:rPr lang="de-DE" smtClean="0"/>
              <a:pPr/>
              <a:t>‹#›</a:t>
            </a:fld>
            <a:endParaRPr lang="de-DE" dirty="0"/>
          </a:p>
        </p:txBody>
      </p:sp>
    </p:spTree>
    <p:extLst>
      <p:ext uri="{BB962C8B-B14F-4D97-AF65-F5344CB8AC3E}">
        <p14:creationId xmlns:p14="http://schemas.microsoft.com/office/powerpoint/2010/main" val="37552249"/>
      </p:ext>
    </p:extLst>
  </p:cSld>
  <p:clrMapOvr>
    <a:masterClrMapping/>
  </p:clrMapOvr>
  <p:transition spd="med"/>
</p:sldLayout>
</file>

<file path=ppt/slideLayouts/slideLayout866.xml><?xml version="1.0" encoding="utf-8"?>
<p:sldLayout xmlns:a="http://schemas.openxmlformats.org/drawingml/2006/main" xmlns:r="http://schemas.openxmlformats.org/officeDocument/2006/relationships" xmlns:p="http://schemas.openxmlformats.org/presentationml/2006/main" userDrawn="1">
  <p:cSld name="Blank/ Headline 2 line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159937"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71" y="285982"/>
            <a:ext cx="10931106" cy="683842"/>
          </a:xfrm>
        </p:spPr>
        <p:txBody>
          <a:bodyPr/>
          <a:lstStyle/>
          <a:p>
            <a:r>
              <a:rPr lang="en-US" noProof="0" dirty="0"/>
              <a:t>Headline in </a:t>
            </a:r>
            <a:r>
              <a:rPr lang="en-US" noProof="0" dirty="0" err="1"/>
              <a:t>CorpoS</a:t>
            </a:r>
            <a:r>
              <a:rPr lang="en-US" noProof="0" dirty="0"/>
              <a:t> (Body) 35 pt.</a:t>
            </a:r>
            <a:endParaRPr lang="en-US" dirty="0"/>
          </a:p>
        </p:txBody>
      </p:sp>
      <p:sp>
        <p:nvSpPr>
          <p:cNvPr id="3" name="Footer Placeholder 2"/>
          <p:cNvSpPr>
            <a:spLocks noGrp="1"/>
          </p:cNvSpPr>
          <p:nvPr>
            <p:ph type="ftr" sz="quarter" idx="10"/>
          </p:nvPr>
        </p:nvSpPr>
        <p:spPr/>
        <p:txBody>
          <a:bodyPr/>
          <a:lstStyle/>
          <a:p>
            <a:r>
              <a:rPr lang="en-US" dirty="0">
                <a:solidFill>
                  <a:prstClr val="black"/>
                </a:solidFill>
              </a:rPr>
              <a:t>DFS Capital Market Day</a:t>
            </a:r>
          </a:p>
        </p:txBody>
      </p:sp>
      <p:sp>
        <p:nvSpPr>
          <p:cNvPr id="4" name="Slide Number Placeholder 3"/>
          <p:cNvSpPr>
            <a:spLocks noGrp="1"/>
          </p:cNvSpPr>
          <p:nvPr>
            <p:ph type="sldNum" sz="quarter" idx="11"/>
          </p:nvPr>
        </p:nvSpPr>
        <p:spPr/>
        <p:txBody>
          <a:bodyPr/>
          <a:lstStyle/>
          <a:p>
            <a:r>
              <a:rPr lang="en-US" dirty="0">
                <a:solidFill>
                  <a:prstClr val="black"/>
                </a:solidFill>
              </a:rPr>
              <a:t>Page </a:t>
            </a:r>
            <a:fld id="{52531704-8F80-415D-BD2B-6B9991AE822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401936750"/>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867.xml><?xml version="1.0" encoding="utf-8"?>
<p:sldLayout xmlns:a="http://schemas.openxmlformats.org/drawingml/2006/main" xmlns:r="http://schemas.openxmlformats.org/officeDocument/2006/relationships" xmlns:p="http://schemas.openxmlformats.org/presentationml/2006/main" showMasterSp="0" preserve="1" userDrawn="1">
  <p:cSld name="Title 3/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 </a:t>
            </a:r>
            <a:r>
              <a:rPr lang="de-DE" dirty="0" err="1"/>
              <a:t>Presentation</a:t>
            </a:r>
            <a:r>
              <a:rPr lang="de-DE" dirty="0"/>
              <a:t> title</a:t>
            </a:r>
            <a:br>
              <a:rPr lang="de-DE" dirty="0"/>
            </a:br>
            <a:r>
              <a:rPr lang="de-DE" dirty="0"/>
              <a:t>in </a:t>
            </a:r>
            <a:r>
              <a:rPr lang="de-DE" dirty="0" err="1"/>
              <a:t>two</a:t>
            </a:r>
            <a:r>
              <a:rPr lang="de-DE" dirty="0"/>
              <a:t> </a:t>
            </a: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764516384"/>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868.xml><?xml version="1.0" encoding="utf-8"?>
<p:sldLayout xmlns:a="http://schemas.openxmlformats.org/drawingml/2006/main" xmlns:r="http://schemas.openxmlformats.org/officeDocument/2006/relationships" xmlns:p="http://schemas.openxmlformats.org/presentationml/2006/main" showMasterSp="0" preserve="1" userDrawn="1">
  <p:cSld name="Title 2/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 </a:t>
            </a:r>
            <a:r>
              <a:rPr lang="de-DE" dirty="0" err="1"/>
              <a:t>Presentation</a:t>
            </a:r>
            <a:r>
              <a:rPr lang="de-DE" dirty="0"/>
              <a:t> title</a:t>
            </a:r>
            <a:br>
              <a:rPr lang="de-DE" dirty="0"/>
            </a:br>
            <a:r>
              <a:rPr lang="de-DE" dirty="0"/>
              <a:t>in </a:t>
            </a:r>
            <a:r>
              <a:rPr lang="de-DE" dirty="0" err="1"/>
              <a:t>two</a:t>
            </a:r>
            <a:r>
              <a:rPr lang="de-DE" dirty="0"/>
              <a:t> </a:t>
            </a:r>
            <a:r>
              <a:rPr lang="de-DE" dirty="0" err="1"/>
              <a:t>or</a:t>
            </a:r>
            <a:r>
              <a:rPr lang="de-DE" dirty="0"/>
              <a:t> </a:t>
            </a:r>
            <a:r>
              <a:rPr lang="de-DE" dirty="0" err="1"/>
              <a:t>more</a:t>
            </a:r>
            <a:r>
              <a:rPr lang="de-DE" dirty="0"/>
              <a:t> </a:t>
            </a: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2984976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869.xml><?xml version="1.0" encoding="utf-8"?>
<p:sldLayout xmlns:a="http://schemas.openxmlformats.org/drawingml/2006/main" xmlns:r="http://schemas.openxmlformats.org/officeDocument/2006/relationships" xmlns:p="http://schemas.openxmlformats.org/presentationml/2006/main" showMasterSp="0" preserve="1" userDrawn="1">
  <p:cSld name="Title 1/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4608438"/>
            <a:ext cx="10930832" cy="1538527"/>
          </a:xfrm>
        </p:spPr>
        <p:txBody>
          <a:bodyPr wrap="square" anchor="b" anchorCtr="0">
            <a:spAutoFit/>
          </a:bodyPr>
          <a:lstStyle>
            <a:lvl1pPr>
              <a:defRPr baseline="0"/>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a:t>
            </a:r>
            <a:br>
              <a:rPr lang="de-DE" dirty="0"/>
            </a:br>
            <a:r>
              <a:rPr lang="de-DE" dirty="0" err="1"/>
              <a:t>Presentation</a:t>
            </a:r>
            <a:r>
              <a:rPr lang="de-DE" dirty="0"/>
              <a:t> title in </a:t>
            </a:r>
            <a:r>
              <a:rPr lang="de-DE" dirty="0" err="1"/>
              <a:t>two</a:t>
            </a:r>
            <a:r>
              <a:rPr lang="de-DE" dirty="0"/>
              <a:t> </a:t>
            </a:r>
            <a:r>
              <a:rPr lang="de-DE" dirty="0" err="1"/>
              <a:t>lines</a:t>
            </a:r>
            <a:r>
              <a:rPr lang="de-DE" dirty="0"/>
              <a:t> </a:t>
            </a:r>
            <a:r>
              <a:rPr lang="de-DE" dirty="0" err="1"/>
              <a:t>or</a:t>
            </a:r>
            <a:r>
              <a:rPr lang="de-DE" dirty="0"/>
              <a:t> </a:t>
            </a:r>
            <a:br>
              <a:rPr lang="de-DE" dirty="0"/>
            </a:br>
            <a:r>
              <a:rPr lang="de-DE" dirty="0" err="1"/>
              <a:t>more</a:t>
            </a:r>
            <a:r>
              <a:rPr lang="de-DE" dirty="0"/>
              <a:t> </a:t>
            </a: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55616149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2 Images-chart 1/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white">
          <a:xfrm>
            <a:off x="0" y="1"/>
            <a:ext cx="12190450" cy="6490342"/>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Title 2"/>
          <p:cNvSpPr>
            <a:spLocks noGrp="1"/>
          </p:cNvSpPr>
          <p:nvPr>
            <p:ph type="title" hasCustomPrompt="1"/>
          </p:nvPr>
        </p:nvSpPr>
        <p:spPr>
          <a:xfrm>
            <a:off x="630116" y="288859"/>
            <a:ext cx="10930662" cy="1148857"/>
          </a:xfrm>
        </p:spPr>
        <p:txBody>
          <a:bodyPr/>
          <a:lstStyle>
            <a:lvl1pPr>
              <a:defRPr>
                <a:solidFill>
                  <a:schemeClr val="bg1"/>
                </a:solidFill>
              </a:defRPr>
            </a:lvl1pPr>
          </a:lstStyle>
          <a:p>
            <a:r>
              <a:rPr lang="en-GB" dirty="0"/>
              <a:t>Image-chart, Headline </a:t>
            </a:r>
            <a:r>
              <a:rPr lang="en-GB" noProof="0" dirty="0" err="1"/>
              <a:t>CorpoS</a:t>
            </a:r>
            <a:r>
              <a:rPr lang="en-GB" noProof="0" dirty="0"/>
              <a:t>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03608162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870.xml><?xml version="1.0" encoding="utf-8"?>
<p:sldLayout xmlns:a="http://schemas.openxmlformats.org/drawingml/2006/main" xmlns:r="http://schemas.openxmlformats.org/officeDocument/2006/relationships" xmlns:p="http://schemas.openxmlformats.org/presentationml/2006/main" showMasterSp="0" preserve="1" userDrawn="1">
  <p:cSld name="Title 3/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 name="Titel 1"/>
          <p:cNvSpPr>
            <a:spLocks noGrp="1"/>
          </p:cNvSpPr>
          <p:nvPr>
            <p:ph type="ctrTitle" hasCustomPrompt="1"/>
          </p:nvPr>
        </p:nvSpPr>
        <p:spPr>
          <a:xfrm>
            <a:off x="628323" y="2045814"/>
            <a:ext cx="10932181" cy="1763324"/>
          </a:xfrm>
        </p:spPr>
        <p:txBody>
          <a:bodyPr wrap="square" anchor="t" anchorCtr="0">
            <a:noAutofit/>
          </a:bodyPr>
          <a:lstStyle>
            <a:lvl1pPr>
              <a:defRPr baseline="0">
                <a:solidFill>
                  <a:schemeClr val="bg1"/>
                </a:solidFill>
              </a:defRPr>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a:t>
            </a:r>
            <a:br>
              <a:rPr lang="de-DE" dirty="0"/>
            </a:br>
            <a:r>
              <a:rPr lang="de-DE" dirty="0" err="1"/>
              <a:t>Presentation</a:t>
            </a:r>
            <a:r>
              <a:rPr lang="de-DE" dirty="0"/>
              <a:t> title in </a:t>
            </a:r>
            <a:r>
              <a:rPr lang="de-DE" dirty="0" err="1"/>
              <a:t>two</a:t>
            </a:r>
            <a:r>
              <a:rPr lang="de-DE" dirty="0"/>
              <a:t> </a:t>
            </a:r>
            <a:r>
              <a:rPr lang="de-DE" dirty="0" err="1"/>
              <a:t>or</a:t>
            </a:r>
            <a:r>
              <a:rPr lang="de-DE" dirty="0"/>
              <a:t> </a:t>
            </a:r>
            <a:r>
              <a:rPr lang="de-DE" dirty="0" err="1"/>
              <a:t>three</a:t>
            </a:r>
            <a:r>
              <a:rPr lang="de-DE" dirty="0"/>
              <a:t> </a:t>
            </a:r>
            <a:br>
              <a:rPr lang="de-DE" dirty="0"/>
            </a:b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32880099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871.xml><?xml version="1.0" encoding="utf-8"?>
<p:sldLayout xmlns:a="http://schemas.openxmlformats.org/drawingml/2006/main" xmlns:r="http://schemas.openxmlformats.org/officeDocument/2006/relationships" xmlns:p="http://schemas.openxmlformats.org/presentationml/2006/main" showMasterSp="0" preserve="1" userDrawn="1">
  <p:cSld name="Title 2/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 name="Titel 1"/>
          <p:cNvSpPr>
            <a:spLocks noGrp="1"/>
          </p:cNvSpPr>
          <p:nvPr>
            <p:ph type="ctrTitle" hasCustomPrompt="1"/>
          </p:nvPr>
        </p:nvSpPr>
        <p:spPr>
          <a:xfrm>
            <a:off x="628323" y="2044433"/>
            <a:ext cx="10932181" cy="648964"/>
          </a:xfrm>
        </p:spPr>
        <p:txBody>
          <a:bodyPr wrap="square" anchor="t" anchorCtr="0">
            <a:noAutofit/>
          </a:bodyPr>
          <a:lstStyle>
            <a:lvl1pPr>
              <a:defRPr>
                <a:solidFill>
                  <a:schemeClr val="bg1"/>
                </a:solidFill>
              </a:defRPr>
            </a:lvl1pPr>
          </a:lstStyle>
          <a:p>
            <a:r>
              <a:rPr lang="de-DE" dirty="0"/>
              <a:t>Headline </a:t>
            </a:r>
            <a:r>
              <a:rPr lang="de-DE" dirty="0" err="1"/>
              <a:t>for</a:t>
            </a:r>
            <a:r>
              <a:rPr lang="de-DE" dirty="0"/>
              <a:t> </a:t>
            </a:r>
            <a:r>
              <a:rPr lang="de-DE" dirty="0" err="1"/>
              <a:t>presentation</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65348861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872.xml><?xml version="1.0" encoding="utf-8"?>
<p:sldLayout xmlns:a="http://schemas.openxmlformats.org/drawingml/2006/main" xmlns:r="http://schemas.openxmlformats.org/officeDocument/2006/relationships" xmlns:p="http://schemas.openxmlformats.org/presentationml/2006/main" showMasterSp="0" preserve="1" userDrawn="1">
  <p:cSld name="Image-chart 3/4 brushed ">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1"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3" name="Title 2"/>
          <p:cNvSpPr>
            <a:spLocks noGrp="1"/>
          </p:cNvSpPr>
          <p:nvPr>
            <p:ph type="title" hasCustomPrompt="1"/>
          </p:nvPr>
        </p:nvSpPr>
        <p:spPr>
          <a:xfrm>
            <a:off x="628323" y="288859"/>
            <a:ext cx="10932455" cy="1025684"/>
          </a:xfrm>
        </p:spPr>
        <p:txBody>
          <a:bodyPr wrap="square">
            <a:spAutoFit/>
          </a:bodyPr>
          <a:lstStyle>
            <a:lvl1pPr>
              <a:defRPr>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or</a:t>
            </a:r>
            <a:r>
              <a:rPr lang="de-DE" dirty="0"/>
              <a:t> </a:t>
            </a:r>
            <a:r>
              <a:rPr lang="de-DE" dirty="0" err="1"/>
              <a:t>more</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62291399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873.xml><?xml version="1.0" encoding="utf-8"?>
<p:sldLayout xmlns:a="http://schemas.openxmlformats.org/drawingml/2006/main" xmlns:r="http://schemas.openxmlformats.org/officeDocument/2006/relationships" xmlns:p="http://schemas.openxmlformats.org/presentationml/2006/main" showMasterSp="0" preserve="1" userDrawn="1">
  <p:cSld name="Image-chart 1/4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1"/>
            <a:ext cx="12190451" cy="6487839"/>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3" name="Title 2"/>
          <p:cNvSpPr>
            <a:spLocks noGrp="1"/>
          </p:cNvSpPr>
          <p:nvPr>
            <p:ph type="title" hasCustomPrompt="1"/>
          </p:nvPr>
        </p:nvSpPr>
        <p:spPr>
          <a:xfrm>
            <a:off x="630116" y="288857"/>
            <a:ext cx="10930662" cy="1151733"/>
          </a:xfrm>
        </p:spPr>
        <p:txBody>
          <a:bodyPr/>
          <a:lstStyle>
            <a:lvl1pPr>
              <a:defRPr baseline="0">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424228705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874.xml><?xml version="1.0" encoding="utf-8"?>
<p:sldLayout xmlns:a="http://schemas.openxmlformats.org/drawingml/2006/main" xmlns:r="http://schemas.openxmlformats.org/officeDocument/2006/relationships" xmlns:p="http://schemas.openxmlformats.org/presentationml/2006/main" showMasterSp="0" preserve="1" userDrawn="1">
  <p:cSld name="Agenda 1/3 brushed">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a:xfrm>
            <a:off x="628323" y="288859"/>
            <a:ext cx="10932455" cy="1148857"/>
          </a:xfrm>
        </p:spPr>
        <p:txBody>
          <a:bodyPr/>
          <a:lstStyle>
            <a:lvl1pPr>
              <a:defRPr/>
            </a:lvl1pPr>
          </a:lstStyle>
          <a:p>
            <a:r>
              <a:rPr lang="de-DE" noProof="0" dirty="0"/>
              <a:t>Headline </a:t>
            </a:r>
            <a:r>
              <a:rPr lang="de-DE" noProof="0" dirty="0" err="1"/>
              <a:t>for</a:t>
            </a:r>
            <a:r>
              <a:rPr lang="de-DE" noProof="0" dirty="0"/>
              <a:t> Agenda in </a:t>
            </a:r>
            <a:r>
              <a:rPr lang="de-DE" noProof="0" dirty="0" err="1"/>
              <a:t>CorpoS</a:t>
            </a:r>
            <a:r>
              <a:rPr lang="de-DE" noProof="0" dirty="0"/>
              <a:t> (Body) 35 </a:t>
            </a:r>
            <a:r>
              <a:rPr lang="de-DE" noProof="0" dirty="0" err="1"/>
              <a:t>pt</a:t>
            </a:r>
            <a:r>
              <a:rPr lang="de-DE" noProof="0" dirty="0"/>
              <a:t>. </a:t>
            </a:r>
            <a:br>
              <a:rPr lang="de-DE" noProof="0" dirty="0"/>
            </a:br>
            <a:r>
              <a:rPr lang="de-DE" noProof="0" dirty="0" err="1"/>
              <a:t>one</a:t>
            </a:r>
            <a:r>
              <a:rPr lang="de-DE" noProof="0" dirty="0"/>
              <a:t> </a:t>
            </a:r>
            <a:r>
              <a:rPr lang="de-DE" noProof="0" dirty="0" err="1"/>
              <a:t>or</a:t>
            </a:r>
            <a:r>
              <a:rPr lang="de-DE" noProof="0" dirty="0"/>
              <a:t>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Text Placeholder 5"/>
          <p:cNvSpPr>
            <a:spLocks noGrp="1"/>
          </p:cNvSpPr>
          <p:nvPr>
            <p:ph type="body" sz="quarter" idx="12" hasCustomPrompt="1"/>
          </p:nvPr>
        </p:nvSpPr>
        <p:spPr>
          <a:xfrm>
            <a:off x="630116" y="1504603"/>
            <a:ext cx="10930388" cy="3759916"/>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Insert Agenda </a:t>
            </a:r>
            <a:r>
              <a:rPr lang="de-DE" dirty="0" err="1"/>
              <a:t>point</a:t>
            </a:r>
            <a:endParaRPr lang="de-DE" dirty="0"/>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4895231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6300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e-DE" noProof="0" dirty="0"/>
              <a:t>Headline </a:t>
            </a:r>
            <a:r>
              <a:rPr lang="de-DE" noProof="0" dirty="0" err="1"/>
              <a:t>for</a:t>
            </a:r>
            <a:r>
              <a:rPr lang="de-DE" noProof="0" dirty="0"/>
              <a:t> Agenda in </a:t>
            </a:r>
            <a:r>
              <a:rPr lang="de-DE" noProof="0" dirty="0" err="1"/>
              <a:t>CorpoS</a:t>
            </a:r>
            <a:r>
              <a:rPr lang="de-DE" noProof="0" dirty="0"/>
              <a:t> (Body) 35 </a:t>
            </a:r>
            <a:r>
              <a:rPr lang="de-DE" noProof="0" dirty="0" err="1"/>
              <a:t>pt</a:t>
            </a:r>
            <a:r>
              <a:rPr lang="de-DE" noProof="0" dirty="0"/>
              <a:t>. </a:t>
            </a:r>
            <a:br>
              <a:rPr lang="de-DE" noProof="0" dirty="0"/>
            </a:br>
            <a:r>
              <a:rPr lang="de-DE" noProof="0" dirty="0" err="1"/>
              <a:t>one</a:t>
            </a:r>
            <a:r>
              <a:rPr lang="de-DE" noProof="0" dirty="0"/>
              <a:t> </a:t>
            </a:r>
            <a:r>
              <a:rPr lang="de-DE" noProof="0" dirty="0" err="1"/>
              <a:t>or</a:t>
            </a:r>
            <a:r>
              <a:rPr lang="de-DE" noProof="0" dirty="0"/>
              <a:t>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Insert Agenda </a:t>
            </a:r>
            <a:r>
              <a:rPr lang="de-DE" dirty="0" err="1"/>
              <a:t>point</a:t>
            </a:r>
            <a:endParaRPr lang="de-DE" dirty="0"/>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336556963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Headline two lines // Conten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64033"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Tree>
    <p:extLst>
      <p:ext uri="{BB962C8B-B14F-4D97-AF65-F5344CB8AC3E}">
        <p14:creationId xmlns:p14="http://schemas.microsoft.com/office/powerpoint/2010/main" val="205623622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877.xml><?xml version="1.0" encoding="utf-8"?>
<p:sldLayout xmlns:a="http://schemas.openxmlformats.org/drawingml/2006/main" xmlns:r="http://schemas.openxmlformats.org/officeDocument/2006/relationships" xmlns:p="http://schemas.openxmlformats.org/presentationml/2006/main" showMasterSp="0" preserve="1" userDrawn="1">
  <p:cSld name="Headline two lines // Image">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a:t>
            </a:r>
            <a:r>
              <a:rPr lang="de-DE" noProof="0" dirty="0"/>
              <a:t> S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147646802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878.xml><?xml version="1.0" encoding="utf-8"?>
<p:sldLayout xmlns:a="http://schemas.openxmlformats.org/drawingml/2006/main" xmlns:r="http://schemas.openxmlformats.org/officeDocument/2006/relationships" xmlns:p="http://schemas.openxmlformats.org/presentationml/2006/main" preserve="1" userDrawn="1">
  <p:cSld name="Headlin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Tree>
    <p:extLst>
      <p:ext uri="{BB962C8B-B14F-4D97-AF65-F5344CB8AC3E}">
        <p14:creationId xmlns:p14="http://schemas.microsoft.com/office/powerpoint/2010/main" val="389291539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879.xml><?xml version="1.0" encoding="utf-8"?>
<p:sldLayout xmlns:a="http://schemas.openxmlformats.org/drawingml/2006/main" xmlns:r="http://schemas.openxmlformats.org/officeDocument/2006/relationships" xmlns:p="http://schemas.openxmlformats.org/presentationml/2006/main" showMasterSp="0" preserve="1" userDrawn="1">
  <p:cSld name="Headline // Image">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09161091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 Images-chart 1/3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97121630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880.xml><?xml version="1.0" encoding="utf-8"?>
<p:sldLayout xmlns:a="http://schemas.openxmlformats.org/drawingml/2006/main" xmlns:r="http://schemas.openxmlformats.org/officeDocument/2006/relationships" xmlns:p="http://schemas.openxmlformats.org/presentationml/2006/main" showMasterSp="0" preserve="1" userDrawn="1">
  <p:cSld name="2 Images-chart 2/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or</a:t>
            </a:r>
            <a:r>
              <a:rPr lang="de-DE" dirty="0"/>
              <a:t> </a:t>
            </a:r>
            <a:r>
              <a:rPr lang="de-DE" dirty="0" err="1"/>
              <a:t>more</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02116571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881.xml><?xml version="1.0" encoding="utf-8"?>
<p:sldLayout xmlns:a="http://schemas.openxmlformats.org/drawingml/2006/main" xmlns:r="http://schemas.openxmlformats.org/officeDocument/2006/relationships" xmlns:p="http://schemas.openxmlformats.org/presentationml/2006/main" showMasterSp="0" preserve="1" userDrawn="1">
  <p:cSld name="2 Images-chart 1/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 name="Title 2"/>
          <p:cNvSpPr>
            <a:spLocks noGrp="1"/>
          </p:cNvSpPr>
          <p:nvPr>
            <p:ph type="title" hasCustomPrompt="1"/>
          </p:nvPr>
        </p:nvSpPr>
        <p:spPr>
          <a:xfrm>
            <a:off x="630116" y="288859"/>
            <a:ext cx="10930662" cy="1148857"/>
          </a:xfrm>
        </p:spPr>
        <p:txBody>
          <a:bodyPr/>
          <a:lstStyle>
            <a:lvl1pPr>
              <a:defRPr>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122946167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882.xml><?xml version="1.0" encoding="utf-8"?>
<p:sldLayout xmlns:a="http://schemas.openxmlformats.org/drawingml/2006/main" xmlns:r="http://schemas.openxmlformats.org/officeDocument/2006/relationships" xmlns:p="http://schemas.openxmlformats.org/presentationml/2006/main" showMasterSp="0" preserve="1" userDrawn="1">
  <p:cSld name="2 Images-chart 1/3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80453023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883.xml><?xml version="1.0" encoding="utf-8"?>
<p:sldLayout xmlns:a="http://schemas.openxmlformats.org/drawingml/2006/main" xmlns:r="http://schemas.openxmlformats.org/officeDocument/2006/relationships" xmlns:p="http://schemas.openxmlformats.org/presentationml/2006/main" showMasterSp="0" preserve="1" userDrawn="1">
  <p:cSld name="2 Images-chart 2/3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Body </a:t>
            </a:r>
            <a:r>
              <a:rPr lang="de-DE" dirty="0" err="1"/>
              <a:t>text</a:t>
            </a:r>
            <a:r>
              <a:rPr lang="de-DE" dirty="0"/>
              <a:t>: Home // Paragraph// </a:t>
            </a:r>
            <a:r>
              <a:rPr lang="de-DE" dirty="0" err="1"/>
              <a:t>Increase</a:t>
            </a:r>
            <a:r>
              <a:rPr lang="de-DE" dirty="0"/>
              <a:t> List Level</a:t>
            </a:r>
          </a:p>
          <a:p>
            <a:pPr lvl="1"/>
            <a:r>
              <a:rPr lang="de-DE" dirty="0"/>
              <a:t>Second </a:t>
            </a:r>
            <a:r>
              <a:rPr lang="de-DE" dirty="0" err="1"/>
              <a:t>level</a:t>
            </a:r>
            <a:r>
              <a:rPr lang="de-DE" dirty="0"/>
              <a:t> (Body </a:t>
            </a:r>
            <a:r>
              <a:rPr lang="de-DE" dirty="0" err="1"/>
              <a:t>text</a:t>
            </a:r>
            <a:r>
              <a:rPr lang="de-DE" dirty="0"/>
              <a:t>)</a:t>
            </a:r>
          </a:p>
        </p:txBody>
      </p:sp>
    </p:spTree>
    <p:extLst>
      <p:ext uri="{BB962C8B-B14F-4D97-AF65-F5344CB8AC3E}">
        <p14:creationId xmlns:p14="http://schemas.microsoft.com/office/powerpoint/2010/main" val="21151011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884.xml><?xml version="1.0" encoding="utf-8"?>
<p:sldLayout xmlns:a="http://schemas.openxmlformats.org/drawingml/2006/main" xmlns:r="http://schemas.openxmlformats.org/officeDocument/2006/relationships" xmlns:p="http://schemas.openxmlformats.org/presentationml/2006/main" showMasterSp="0" preserve="1" userDrawn="1">
  <p:cSld name="2 Images-chart 3/3 brushed">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3"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Body </a:t>
            </a:r>
            <a:r>
              <a:rPr lang="de-DE" dirty="0" err="1"/>
              <a:t>text</a:t>
            </a:r>
            <a:r>
              <a:rPr lang="de-DE" dirty="0"/>
              <a:t>: Home // Paragraph// </a:t>
            </a:r>
            <a:r>
              <a:rPr lang="de-DE" dirty="0" err="1"/>
              <a:t>Increase</a:t>
            </a:r>
            <a:r>
              <a:rPr lang="de-DE" dirty="0"/>
              <a:t> List Level</a:t>
            </a:r>
          </a:p>
          <a:p>
            <a:pPr lvl="1"/>
            <a:r>
              <a:rPr lang="de-DE" dirty="0"/>
              <a:t>Second </a:t>
            </a:r>
            <a:r>
              <a:rPr lang="de-DE" dirty="0" err="1"/>
              <a:t>level</a:t>
            </a:r>
            <a:r>
              <a:rPr lang="de-DE" dirty="0"/>
              <a:t> (Body </a:t>
            </a:r>
            <a:r>
              <a:rPr lang="de-DE" dirty="0" err="1"/>
              <a:t>tex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281475424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885.xml><?xml version="1.0" encoding="utf-8"?>
<p:sldLayout xmlns:a="http://schemas.openxmlformats.org/drawingml/2006/main" xmlns:r="http://schemas.openxmlformats.org/officeDocument/2006/relationships" xmlns:p="http://schemas.openxmlformats.org/presentationml/2006/main" showMasterSp="0" preserve="1" userDrawn="1">
  <p:cSld name="Fullpage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120694225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886.xml><?xml version="1.0" encoding="utf-8"?>
<p:sldLayout xmlns:a="http://schemas.openxmlformats.org/drawingml/2006/main" xmlns:r="http://schemas.openxmlformats.org/officeDocument/2006/relationships" xmlns:p="http://schemas.openxmlformats.org/presentationml/2006/main" showMasterSp="0" preserve="1" userDrawn="1">
  <p:cSld name="Fullpage 3 image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6" name="Picture Placeholder 3"/>
          <p:cNvSpPr>
            <a:spLocks noGrp="1"/>
          </p:cNvSpPr>
          <p:nvPr>
            <p:ph type="pic" sz="quarter" idx="14" hasCustomPrompt="1"/>
          </p:nvPr>
        </p:nvSpPr>
        <p:spPr bwMode="gray">
          <a:xfrm>
            <a:off x="3911151" y="0"/>
            <a:ext cx="4199925"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79839553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userDrawn="1">
  <p:cSld name="Two 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a:t>
            </a:r>
            <a:r>
              <a:rPr lang="de-DE" noProof="0" dirty="0"/>
              <a:t> S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de-DE" dirty="0"/>
              <a:t>Insert </a:t>
            </a:r>
            <a:r>
              <a:rPr lang="de-DE" dirty="0" err="1"/>
              <a:t>text</a:t>
            </a:r>
            <a:r>
              <a:rPr lang="de-DE" dirty="0"/>
              <a:t> </a:t>
            </a:r>
            <a:r>
              <a:rPr lang="de-DE" noProof="0" dirty="0"/>
              <a:t>(Mark-</a:t>
            </a:r>
            <a:r>
              <a:rPr lang="de-DE" noProof="0" dirty="0" err="1"/>
              <a:t>ups</a:t>
            </a:r>
            <a:r>
              <a:rPr lang="de-DE" noProof="0" dirty="0"/>
              <a:t> in </a:t>
            </a:r>
            <a:r>
              <a:rPr lang="de-DE" noProof="0" dirty="0" err="1"/>
              <a:t>Bold</a:t>
            </a:r>
            <a:r>
              <a:rPr lang="de-DE" noProof="0" dirty="0"/>
              <a:t>) </a:t>
            </a:r>
            <a:r>
              <a:rPr lang="de-DE" dirty="0"/>
              <a:t>// </a:t>
            </a:r>
            <a:r>
              <a:rPr lang="de-DE" dirty="0" err="1"/>
              <a:t>conclusion</a:t>
            </a:r>
            <a:r>
              <a:rPr lang="de-DE" dirty="0"/>
              <a:t> etc.: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de-DE" dirty="0"/>
              <a:t>Insert </a:t>
            </a:r>
            <a:r>
              <a:rPr lang="de-DE" dirty="0" err="1"/>
              <a:t>text</a:t>
            </a:r>
            <a:r>
              <a:rPr lang="de-DE" dirty="0"/>
              <a:t> </a:t>
            </a:r>
            <a:r>
              <a:rPr lang="de-DE" noProof="0" dirty="0"/>
              <a:t>(Mark-</a:t>
            </a:r>
            <a:r>
              <a:rPr lang="de-DE" noProof="0" dirty="0" err="1"/>
              <a:t>ups</a:t>
            </a:r>
            <a:r>
              <a:rPr lang="de-DE" noProof="0" dirty="0"/>
              <a:t> in </a:t>
            </a:r>
            <a:r>
              <a:rPr lang="de-DE" noProof="0" dirty="0" err="1"/>
              <a:t>Bold</a:t>
            </a:r>
            <a:r>
              <a:rPr lang="de-DE" noProof="0" dirty="0"/>
              <a:t>) </a:t>
            </a:r>
            <a:r>
              <a:rPr lang="de-DE" dirty="0"/>
              <a:t>// </a:t>
            </a:r>
            <a:r>
              <a:rPr lang="de-DE" dirty="0" err="1"/>
              <a:t>conclusion</a:t>
            </a:r>
            <a:r>
              <a:rPr lang="de-DE" dirty="0"/>
              <a:t> etc.: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etc.)</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01165693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888.xml><?xml version="1.0" encoding="utf-8"?>
<p:sldLayout xmlns:a="http://schemas.openxmlformats.org/drawingml/2006/main" xmlns:r="http://schemas.openxmlformats.org/officeDocument/2006/relationships" xmlns:p="http://schemas.openxmlformats.org/presentationml/2006/main" preserve="1" userDrawn="1">
  <p:cSld name="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276205129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889.xml><?xml version="1.0" encoding="utf-8"?>
<p:sldLayout xmlns:a="http://schemas.openxmlformats.org/drawingml/2006/main" xmlns:r="http://schemas.openxmlformats.org/officeDocument/2006/relationships" xmlns:p="http://schemas.openxmlformats.org/presentationml/2006/main" preserve="1" userDrawn="1">
  <p:cSld name="Text small // Image">
    <p:spTree>
      <p:nvGrpSpPr>
        <p:cNvPr id="1" name=""/>
        <p:cNvGrpSpPr/>
        <p:nvPr/>
      </p:nvGrpSpPr>
      <p:grpSpPr>
        <a:xfrm>
          <a:off x="0" y="0"/>
          <a:ext cx="0" cy="0"/>
          <a:chOff x="0" y="0"/>
          <a:chExt cx="0" cy="0"/>
        </a:xfrm>
      </p:grpSpPr>
      <p:sp>
        <p:nvSpPr>
          <p:cNvPr id="10" name="Picture Placeholder 3"/>
          <p:cNvSpPr>
            <a:spLocks noGrp="1"/>
          </p:cNvSpPr>
          <p:nvPr>
            <p:ph type="pic" sz="quarter" idx="14" hasCustomPrompt="1"/>
          </p:nvPr>
        </p:nvSpPr>
        <p:spPr bwMode="gray">
          <a:xfrm>
            <a:off x="4848875" y="1504604"/>
            <a:ext cx="6711903" cy="4875669"/>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8" name="Text Placeholder 7"/>
          <p:cNvSpPr>
            <a:spLocks noGrp="1"/>
          </p:cNvSpPr>
          <p:nvPr>
            <p:ph type="body" sz="quarter" idx="12" hasCustomPrompt="1"/>
          </p:nvPr>
        </p:nvSpPr>
        <p:spPr>
          <a:xfrm>
            <a:off x="629672" y="1504603"/>
            <a:ext cx="3857441" cy="4876681"/>
          </a:xfrm>
        </p:spPr>
        <p:txBody>
          <a:bodyPr>
            <a:normAutofit/>
          </a:bodyPr>
          <a:lstStyle>
            <a:lvl1pPr>
              <a:lnSpc>
                <a:spcPts val="2399"/>
              </a:lnSpc>
              <a:defRPr sz="1899" baseline="0"/>
            </a:lvl1pPr>
            <a:lvl2pPr>
              <a:lnSpc>
                <a:spcPts val="2399"/>
              </a:lnSpc>
              <a:defRPr sz="1899"/>
            </a:lvl2pPr>
            <a:lvl3pPr>
              <a:lnSpc>
                <a:spcPts val="2399"/>
              </a:lnSpc>
              <a:defRPr sz="1899"/>
            </a:lvl3pPr>
            <a:lvl4pPr>
              <a:lnSpc>
                <a:spcPts val="2399"/>
              </a:lnSpc>
              <a:defRPr sz="1899"/>
            </a:lvl4pPr>
            <a:lvl5pPr>
              <a:lnSpc>
                <a:spcPts val="2399"/>
              </a:lnSpc>
              <a:defRPr sz="1899"/>
            </a:lvl5pPr>
            <a:lvl6pPr>
              <a:lnSpc>
                <a:spcPts val="2399"/>
              </a:lnSpc>
              <a:defRPr sz="1899"/>
            </a:lvl6pPr>
            <a:lvl7pPr>
              <a:lnSpc>
                <a:spcPts val="2399"/>
              </a:lnSpc>
              <a:defRPr sz="1899"/>
            </a:lvl7pPr>
            <a:lvl8pPr>
              <a:lnSpc>
                <a:spcPts val="2399"/>
              </a:lnSpc>
              <a:defRPr sz="1899"/>
            </a:lvl8pPr>
            <a:lvl9pPr>
              <a:lnSpc>
                <a:spcPts val="2399"/>
              </a:lnSpc>
              <a:defRPr sz="1899"/>
            </a:lvl9pPr>
          </a:lstStyle>
          <a:p>
            <a:pPr lvl="0"/>
            <a:r>
              <a:rPr lang="de-DE" dirty="0"/>
              <a:t>Insert </a:t>
            </a:r>
            <a:r>
              <a:rPr lang="de-DE" dirty="0" err="1"/>
              <a:t>text</a:t>
            </a:r>
            <a:r>
              <a:rPr lang="de-DE" dirty="0"/>
              <a:t> in </a:t>
            </a:r>
            <a:r>
              <a:rPr lang="de-DE" noProof="0" dirty="0" err="1"/>
              <a:t>CorpoS</a:t>
            </a:r>
            <a:r>
              <a:rPr lang="de-DE" noProof="0" dirty="0"/>
              <a:t> (Body) 19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5" name="Title 4"/>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 </a:t>
            </a:r>
            <a:r>
              <a:rPr lang="de-DE" noProof="0" dirty="0" err="1"/>
              <a:t>for</a:t>
            </a:r>
            <a:r>
              <a:rPr lang="de-DE" noProof="0" dirty="0"/>
              <a:t> </a:t>
            </a:r>
            <a:r>
              <a:rPr lang="de-DE" noProof="0" dirty="0" err="1"/>
              <a:t>standard</a:t>
            </a:r>
            <a:r>
              <a:rPr lang="de-DE" noProof="0" dirty="0"/>
              <a:t> </a:t>
            </a:r>
            <a:br>
              <a:rPr lang="de-DE" noProof="0" dirty="0"/>
            </a:br>
            <a:r>
              <a:rPr lang="de-DE" noProof="0" dirty="0"/>
              <a:t>text-chart in </a:t>
            </a:r>
            <a:r>
              <a:rPr lang="de-DE" noProof="0" dirty="0" err="1"/>
              <a:t>two</a:t>
            </a:r>
            <a:r>
              <a:rPr lang="de-DE" noProof="0" dirty="0"/>
              <a:t> </a:t>
            </a:r>
            <a:r>
              <a:rPr lang="de-DE" noProof="0" dirty="0" err="1"/>
              <a:t>lines</a:t>
            </a:r>
            <a:endParaRPr lang="de-DE" dirty="0"/>
          </a:p>
        </p:txBody>
      </p:sp>
    </p:spTree>
    <p:extLst>
      <p:ext uri="{BB962C8B-B14F-4D97-AF65-F5344CB8AC3E}">
        <p14:creationId xmlns:p14="http://schemas.microsoft.com/office/powerpoint/2010/main" val="2605854053"/>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948">
          <p15:clr>
            <a:srgbClr val="FBAE40"/>
          </p15:clr>
        </p15:guide>
        <p15:guide id="3" orient="horz" pos="182">
          <p15:clr>
            <a:srgbClr val="FBAE40"/>
          </p15:clr>
        </p15:guide>
        <p15:guide id="4" pos="3056">
          <p15:clr>
            <a:srgbClr val="FBAE40"/>
          </p15:clr>
        </p15:guide>
        <p15:guide id="5" pos="2828">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 Images-chart 2/3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err="1"/>
              <a:t>CorpoS</a:t>
            </a:r>
            <a:r>
              <a:rPr lang="en-GB" noProof="0" dirty="0"/>
              <a:t> (Body) 24 pt. (Mark-ups in Bold) </a:t>
            </a:r>
            <a:r>
              <a:rPr lang="en-GB" dirty="0"/>
              <a:t>// for Body text: Home // Paragraph// Increase List Level</a:t>
            </a:r>
          </a:p>
          <a:p>
            <a:pPr lvl="1"/>
            <a:r>
              <a:rPr lang="en-GB" dirty="0"/>
              <a:t>Second level (Body text)</a:t>
            </a:r>
          </a:p>
        </p:txBody>
      </p:sp>
    </p:spTree>
    <p:extLst>
      <p:ext uri="{BB962C8B-B14F-4D97-AF65-F5344CB8AC3E}">
        <p14:creationId xmlns:p14="http://schemas.microsoft.com/office/powerpoint/2010/main" val="93275764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890.xml><?xml version="1.0" encoding="utf-8"?>
<p:sldLayout xmlns:a="http://schemas.openxmlformats.org/drawingml/2006/main" xmlns:r="http://schemas.openxmlformats.org/officeDocument/2006/relationships" xmlns:p="http://schemas.openxmlformats.org/presentationml/2006/main" preserve="1" userDrawn="1">
  <p:cSld name="Two contents with head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de-DE" dirty="0"/>
              <a:t>Insert </a:t>
            </a:r>
            <a:r>
              <a:rPr lang="de-DE" dirty="0" err="1"/>
              <a:t>content</a:t>
            </a:r>
            <a:r>
              <a:rPr lang="de-DE" dirty="0"/>
              <a:t> </a:t>
            </a:r>
            <a:r>
              <a:rPr lang="de-DE" dirty="0" err="1"/>
              <a:t>or</a:t>
            </a:r>
            <a:r>
              <a:rPr lang="de-DE" dirty="0"/>
              <a: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a:t>Insert </a:t>
            </a:r>
            <a:r>
              <a:rPr lang="de-DE" dirty="0" err="1"/>
              <a:t>headline</a:t>
            </a:r>
            <a:endParaRPr lang="de-DE" dirty="0"/>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a:t>Insert </a:t>
            </a:r>
            <a:r>
              <a:rPr lang="de-DE" dirty="0" err="1"/>
              <a:t>headline</a:t>
            </a:r>
            <a:endParaRPr lang="de-DE" dirty="0"/>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de-DE" dirty="0"/>
              <a:t>Insert </a:t>
            </a:r>
            <a:r>
              <a:rPr lang="de-DE" dirty="0" err="1"/>
              <a:t>content</a:t>
            </a:r>
            <a:r>
              <a:rPr lang="de-DE" dirty="0"/>
              <a:t> </a:t>
            </a:r>
            <a:r>
              <a:rPr lang="de-DE" dirty="0" err="1"/>
              <a:t>or</a:t>
            </a:r>
            <a:r>
              <a:rPr lang="de-DE" dirty="0"/>
              <a:t> </a:t>
            </a:r>
            <a:r>
              <a:rPr lang="de-DE" dirty="0" err="1"/>
              <a:t>text</a:t>
            </a:r>
            <a:r>
              <a:rPr lang="de-DE" dirty="0"/>
              <a:t> in </a:t>
            </a:r>
            <a:r>
              <a:rPr lang="de-DE" noProof="0" dirty="0" err="1"/>
              <a:t>Corpo</a:t>
            </a:r>
            <a:r>
              <a:rPr lang="de-DE" noProof="0" dirty="0"/>
              <a:t> S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p:txBody>
      </p:sp>
    </p:spTree>
    <p:extLst>
      <p:ext uri="{BB962C8B-B14F-4D97-AF65-F5344CB8AC3E}">
        <p14:creationId xmlns:p14="http://schemas.microsoft.com/office/powerpoint/2010/main" val="2796459970"/>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4 product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47"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Tree>
    <p:extLst>
      <p:ext uri="{BB962C8B-B14F-4D97-AF65-F5344CB8AC3E}">
        <p14:creationId xmlns:p14="http://schemas.microsoft.com/office/powerpoint/2010/main" val="371331099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Headline two lines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6023632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Headline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148227542"/>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894.xml><?xml version="1.0" encoding="utf-8"?>
<p:sldLayout xmlns:a="http://schemas.openxmlformats.org/drawingml/2006/main" xmlns:r="http://schemas.openxmlformats.org/officeDocument/2006/relationships" xmlns:p="http://schemas.openxmlformats.org/presentationml/2006/main" userDrawn="1">
  <p:cSld name="Agenda without brushi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65057"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e-DE" noProof="0" dirty="0"/>
              <a:t>Headline </a:t>
            </a:r>
            <a:r>
              <a:rPr lang="de-DE" noProof="0" dirty="0" err="1"/>
              <a:t>for</a:t>
            </a:r>
            <a:r>
              <a:rPr lang="de-DE" noProof="0" dirty="0"/>
              <a:t> Agenda in </a:t>
            </a:r>
            <a:r>
              <a:rPr lang="de-DE" noProof="0" dirty="0" err="1"/>
              <a:t>CorpoS</a:t>
            </a:r>
            <a:r>
              <a:rPr lang="de-DE" noProof="0" dirty="0"/>
              <a:t> (Body) 35 </a:t>
            </a:r>
            <a:r>
              <a:rPr lang="de-DE" noProof="0" dirty="0" err="1"/>
              <a:t>pt</a:t>
            </a:r>
            <a:r>
              <a:rPr lang="de-DE" noProof="0" dirty="0"/>
              <a:t>. </a:t>
            </a:r>
            <a:br>
              <a:rPr lang="de-DE" noProof="0" dirty="0"/>
            </a:br>
            <a:r>
              <a:rPr lang="de-DE" noProof="0" dirty="0" err="1"/>
              <a:t>one</a:t>
            </a:r>
            <a:r>
              <a:rPr lang="de-DE" noProof="0" dirty="0"/>
              <a:t> </a:t>
            </a:r>
            <a:r>
              <a:rPr lang="de-DE" noProof="0" dirty="0" err="1"/>
              <a:t>or</a:t>
            </a:r>
            <a:r>
              <a:rPr lang="de-DE" noProof="0" dirty="0"/>
              <a:t>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Insert Agenda </a:t>
            </a:r>
            <a:r>
              <a:rPr lang="de-DE" dirty="0" err="1"/>
              <a:t>point</a:t>
            </a:r>
            <a:endParaRPr lang="de-DE" dirty="0"/>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368694418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895.xml><?xml version="1.0" encoding="utf-8"?>
<p:sldLayout xmlns:a="http://schemas.openxmlformats.org/drawingml/2006/main" xmlns:r="http://schemas.openxmlformats.org/officeDocument/2006/relationships" xmlns:p="http://schemas.openxmlformats.org/presentationml/2006/main" showMasterSp="0" preserve="1" userDrawn="1">
  <p:cSld name="1_daimler blanco">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16608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8" name="Foliennummernplatzhalter 3">
            <a:extLst>
              <a:ext uri="{FF2B5EF4-FFF2-40B4-BE49-F238E27FC236}">
                <a16:creationId xmlns:a16="http://schemas.microsoft.com/office/drawing/2014/main" id="{3E15A405-AB95-44E1-98C0-C8DC619077BB}"/>
              </a:ext>
            </a:extLst>
          </p:cNvPr>
          <p:cNvSpPr txBox="1">
            <a:spLocks/>
          </p:cNvSpPr>
          <p:nvPr userDrawn="1"/>
        </p:nvSpPr>
        <p:spPr>
          <a:xfrm>
            <a:off x="11442992" y="6506836"/>
            <a:ext cx="1155196" cy="215950"/>
          </a:xfrm>
          <a:prstGeom prst="rect">
            <a:avLst/>
          </a:prstGeom>
        </p:spPr>
        <p:txBody>
          <a:bodyPr vert="horz" lIns="0" tIns="0" rIns="0" bIns="0" rtlCol="0" anchor="t" anchorCtr="0"/>
          <a:lstStyle>
            <a:defPPr>
              <a:defRPr lang="de-DE"/>
            </a:defPPr>
            <a:lvl1pPr marL="0" indent="0" algn="l" defTabSz="1088959" rtl="0" eaLnBrk="1" latinLnBrk="0" hangingPunct="1">
              <a:spcBef>
                <a:spcPts val="0"/>
              </a:spcBef>
              <a:buFont typeface="Arial" panose="020B0604020202020204" pitchFamily="34" charset="0"/>
              <a:buNone/>
              <a:defRPr sz="1200" kern="1200">
                <a:solidFill>
                  <a:schemeClr val="tx1"/>
                </a:solidFill>
                <a:latin typeface="+mn-lt"/>
                <a:ea typeface="+mn-ea"/>
                <a:cs typeface="+mn-cs"/>
              </a:defRPr>
            </a:lvl1pPr>
            <a:lvl2pPr marL="0" indent="0" algn="l" defTabSz="1088959" rtl="0" eaLnBrk="1" latinLnBrk="0" hangingPunct="1">
              <a:spcBef>
                <a:spcPts val="0"/>
              </a:spcBef>
              <a:defRPr sz="1200" kern="1200">
                <a:solidFill>
                  <a:schemeClr val="tx1"/>
                </a:solidFill>
                <a:latin typeface="+mn-lt"/>
                <a:ea typeface="+mn-ea"/>
                <a:cs typeface="+mn-cs"/>
              </a:defRPr>
            </a:lvl2pPr>
            <a:lvl3pPr marL="0" indent="0" algn="l" defTabSz="1088959" rtl="0" eaLnBrk="1" latinLnBrk="0" hangingPunct="1">
              <a:spcBef>
                <a:spcPts val="0"/>
              </a:spcBef>
              <a:defRPr sz="1200" kern="1200">
                <a:solidFill>
                  <a:schemeClr val="tx1"/>
                </a:solidFill>
                <a:latin typeface="+mn-lt"/>
                <a:ea typeface="+mn-ea"/>
                <a:cs typeface="+mn-cs"/>
              </a:defRPr>
            </a:lvl3pPr>
            <a:lvl4pPr marL="0" indent="0" algn="l" defTabSz="1088959" rtl="0" eaLnBrk="1" latinLnBrk="0" hangingPunct="1">
              <a:spcBef>
                <a:spcPts val="0"/>
              </a:spcBef>
              <a:defRPr sz="1200" kern="1200">
                <a:solidFill>
                  <a:schemeClr val="tx1"/>
                </a:solidFill>
                <a:latin typeface="+mn-lt"/>
                <a:ea typeface="+mn-ea"/>
                <a:cs typeface="+mn-cs"/>
              </a:defRPr>
            </a:lvl4pPr>
            <a:lvl5pPr marL="0" indent="0" algn="l" defTabSz="1088959" rtl="0" eaLnBrk="1" latinLnBrk="0" hangingPunct="1">
              <a:spcBef>
                <a:spcPts val="0"/>
              </a:spcBef>
              <a:defRPr sz="1200" kern="1200">
                <a:solidFill>
                  <a:schemeClr val="tx1"/>
                </a:solidFill>
                <a:latin typeface="+mn-lt"/>
                <a:ea typeface="+mn-ea"/>
                <a:cs typeface="+mn-cs"/>
              </a:defRPr>
            </a:lvl5pPr>
            <a:lvl6pPr marL="0" indent="0" algn="l" defTabSz="1088959" rtl="0" eaLnBrk="1" latinLnBrk="0" hangingPunct="1">
              <a:spcBef>
                <a:spcPts val="0"/>
              </a:spcBef>
              <a:defRPr sz="1200" kern="1200">
                <a:solidFill>
                  <a:schemeClr val="tx1"/>
                </a:solidFill>
                <a:latin typeface="+mn-lt"/>
                <a:ea typeface="+mn-ea"/>
                <a:cs typeface="+mn-cs"/>
              </a:defRPr>
            </a:lvl6pPr>
            <a:lvl7pPr marL="0" indent="0" algn="l" defTabSz="1088959" rtl="0" eaLnBrk="1" latinLnBrk="0" hangingPunct="1">
              <a:spcBef>
                <a:spcPts val="0"/>
              </a:spcBef>
              <a:defRPr sz="1200" kern="1200">
                <a:solidFill>
                  <a:schemeClr val="tx1"/>
                </a:solidFill>
                <a:latin typeface="+mn-lt"/>
                <a:ea typeface="+mn-ea"/>
                <a:cs typeface="+mn-cs"/>
              </a:defRPr>
            </a:lvl7pPr>
            <a:lvl8pPr marL="0" indent="0" algn="l" defTabSz="1088959" rtl="0" eaLnBrk="1" latinLnBrk="0" hangingPunct="1">
              <a:spcBef>
                <a:spcPts val="0"/>
              </a:spcBef>
              <a:defRPr sz="1200" kern="1200">
                <a:solidFill>
                  <a:schemeClr val="tx1"/>
                </a:solidFill>
                <a:latin typeface="+mn-lt"/>
                <a:ea typeface="+mn-ea"/>
                <a:cs typeface="+mn-cs"/>
              </a:defRPr>
            </a:lvl8pPr>
            <a:lvl9pPr marL="0" indent="0" algn="l" defTabSz="1088959" rtl="0" eaLnBrk="1" latinLnBrk="0" hangingPunct="1">
              <a:spcBef>
                <a:spcPts val="0"/>
              </a:spcBef>
              <a:defRPr sz="1200" kern="1200">
                <a:solidFill>
                  <a:schemeClr val="tx1"/>
                </a:solidFill>
                <a:latin typeface="+mn-lt"/>
                <a:ea typeface="+mn-ea"/>
                <a:cs typeface="+mn-cs"/>
              </a:defRPr>
            </a:lvl9pPr>
          </a:lstStyle>
          <a:p>
            <a:r>
              <a:rPr lang="de-DE" sz="1199" b="1" dirty="0">
                <a:solidFill>
                  <a:prstClr val="black"/>
                </a:solidFill>
              </a:rPr>
              <a:t>PAGE </a:t>
            </a:r>
            <a:fld id="{52531704-8F80-415D-BD2B-6B9991AE822F}" type="slidenum">
              <a:rPr lang="de-DE" sz="1199" b="1" smtClean="0">
                <a:solidFill>
                  <a:prstClr val="black"/>
                </a:solidFill>
              </a:rPr>
              <a:pPr/>
              <a:t>‹#›</a:t>
            </a:fld>
            <a:endParaRPr lang="de-DE" sz="1199" b="1" dirty="0">
              <a:solidFill>
                <a:prstClr val="black"/>
              </a:solidFill>
            </a:endParaRPr>
          </a:p>
        </p:txBody>
      </p:sp>
    </p:spTree>
    <p:extLst>
      <p:ext uri="{BB962C8B-B14F-4D97-AF65-F5344CB8AC3E}">
        <p14:creationId xmlns:p14="http://schemas.microsoft.com/office/powerpoint/2010/main" val="170658131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66">
          <p15:clr>
            <a:srgbClr val="FBAE40"/>
          </p15:clr>
        </p15:guide>
        <p15:guide id="3" orient="horz" pos="754">
          <p15:clr>
            <a:srgbClr val="FBAE40"/>
          </p15:clr>
        </p15:guide>
        <p15:guide id="4" orient="horz" pos="845">
          <p15:clr>
            <a:srgbClr val="FBAE40"/>
          </p15:clr>
        </p15:guide>
      </p15:sldGuideLst>
    </p:ext>
  </p:extLst>
</p:sldLayout>
</file>

<file path=ppt/slideLayouts/slideLayout896.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67105"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41310001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897.xml><?xml version="1.0" encoding="utf-8"?>
<p:sldLayout xmlns:a="http://schemas.openxmlformats.org/drawingml/2006/main" xmlns:r="http://schemas.openxmlformats.org/officeDocument/2006/relationships" xmlns:p="http://schemas.openxmlformats.org/presentationml/2006/main" showMasterSp="0" userDrawn="1">
  <p:cSld name="Full image">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68129"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5" name="Listenebene erhöhen"/>
                <p:cNvPicPr>
                  <a:picLocks noChangeAspect="1"/>
                </p:cNvPicPr>
                <p:nvPr userDrawn="1"/>
              </p:nvPicPr>
              <p:blipFill>
                <a:blip r:embed="rId6"/>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7"/>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88029856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898.xml><?xml version="1.0" encoding="utf-8"?>
<p:sldLayout xmlns:a="http://schemas.openxmlformats.org/drawingml/2006/main" xmlns:r="http://schemas.openxmlformats.org/officeDocument/2006/relationships" xmlns:p="http://schemas.openxmlformats.org/presentationml/2006/main" showMasterSp="0"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a:t>
            </a:r>
            <a:br>
              <a:rPr lang="de-DE" dirty="0"/>
            </a:br>
            <a:r>
              <a:rPr lang="de-DE" dirty="0" err="1"/>
              <a:t>Presentation</a:t>
            </a:r>
            <a:r>
              <a:rPr lang="de-DE" dirty="0"/>
              <a:t> title in </a:t>
            </a:r>
            <a:r>
              <a:rPr lang="de-DE" dirty="0" err="1"/>
              <a:t>two</a:t>
            </a:r>
            <a:r>
              <a:rPr lang="de-DE" dirty="0"/>
              <a:t> </a:t>
            </a:r>
            <a:r>
              <a:rPr lang="de-DE" dirty="0" err="1"/>
              <a:t>or</a:t>
            </a:r>
            <a:r>
              <a:rPr lang="de-DE" dirty="0"/>
              <a:t> </a:t>
            </a:r>
            <a:r>
              <a:rPr lang="de-DE" dirty="0" err="1"/>
              <a:t>three</a:t>
            </a:r>
            <a:r>
              <a:rPr lang="de-DE" dirty="0"/>
              <a:t> </a:t>
            </a:r>
            <a:br>
              <a:rPr lang="de-DE" dirty="0"/>
            </a:b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136719576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899.xml><?xml version="1.0" encoding="utf-8"?>
<p:sldLayout xmlns:a="http://schemas.openxmlformats.org/drawingml/2006/main" xmlns:r="http://schemas.openxmlformats.org/officeDocument/2006/relationships" xmlns:p="http://schemas.openxmlformats.org/presentationml/2006/main" showMasterSp="0" userDrawn="1">
  <p:cSld name="1_4. Brushing/ image 2 columns">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7017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14" name="Picture Placeholder 3"/>
          <p:cNvSpPr>
            <a:spLocks noGrp="1"/>
          </p:cNvSpPr>
          <p:nvPr>
            <p:ph type="pic" sz="quarter" idx="13" hasCustomPrompt="1"/>
          </p:nvPr>
        </p:nvSpPr>
        <p:spPr bwMode="gray">
          <a:xfrm>
            <a:off x="-19040" y="0"/>
            <a:ext cx="12211833" cy="5588740"/>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 name="connsiteX0" fmla="*/ 0 w 12218193"/>
              <a:gd name="connsiteY0" fmla="*/ 9525 h 4086000"/>
              <a:gd name="connsiteX1" fmla="*/ 12217399 w 12218193"/>
              <a:gd name="connsiteY1" fmla="*/ 0 h 4086000"/>
              <a:gd name="connsiteX2" fmla="*/ 12218193 w 12218193"/>
              <a:gd name="connsiteY2" fmla="*/ 3455194 h 4086000"/>
              <a:gd name="connsiteX3" fmla="*/ 5038725 w 12218193"/>
              <a:gd name="connsiteY3" fmla="*/ 4086000 h 4086000"/>
              <a:gd name="connsiteX4" fmla="*/ 0 w 12218193"/>
              <a:gd name="connsiteY4" fmla="*/ 9525 h 4086000"/>
              <a:gd name="connsiteX0" fmla="*/ 0 w 12218193"/>
              <a:gd name="connsiteY0" fmla="*/ 9525 h 4533675"/>
              <a:gd name="connsiteX1" fmla="*/ 12217399 w 12218193"/>
              <a:gd name="connsiteY1" fmla="*/ 0 h 4533675"/>
              <a:gd name="connsiteX2" fmla="*/ 12218193 w 12218193"/>
              <a:gd name="connsiteY2" fmla="*/ 3455194 h 4533675"/>
              <a:gd name="connsiteX3" fmla="*/ 28575 w 12218193"/>
              <a:gd name="connsiteY3" fmla="*/ 4533675 h 4533675"/>
              <a:gd name="connsiteX4" fmla="*/ 0 w 12218193"/>
              <a:gd name="connsiteY4" fmla="*/ 9525 h 4533675"/>
              <a:gd name="connsiteX0" fmla="*/ 0 w 12218193"/>
              <a:gd name="connsiteY0" fmla="*/ 9525 h 4543200"/>
              <a:gd name="connsiteX1" fmla="*/ 12217399 w 12218193"/>
              <a:gd name="connsiteY1" fmla="*/ 0 h 4543200"/>
              <a:gd name="connsiteX2" fmla="*/ 12218193 w 12218193"/>
              <a:gd name="connsiteY2" fmla="*/ 3455194 h 4543200"/>
              <a:gd name="connsiteX3" fmla="*/ 19050 w 12218193"/>
              <a:gd name="connsiteY3" fmla="*/ 4543200 h 4543200"/>
              <a:gd name="connsiteX4" fmla="*/ 0 w 12218193"/>
              <a:gd name="connsiteY4" fmla="*/ 9525 h 4543200"/>
              <a:gd name="connsiteX0" fmla="*/ 0 w 12218193"/>
              <a:gd name="connsiteY0" fmla="*/ 9525 h 3817485"/>
              <a:gd name="connsiteX1" fmla="*/ 12217399 w 12218193"/>
              <a:gd name="connsiteY1" fmla="*/ 0 h 3817485"/>
              <a:gd name="connsiteX2" fmla="*/ 12218193 w 12218193"/>
              <a:gd name="connsiteY2" fmla="*/ 3455194 h 3817485"/>
              <a:gd name="connsiteX3" fmla="*/ 4536 w 12218193"/>
              <a:gd name="connsiteY3" fmla="*/ 3817485 h 3817485"/>
              <a:gd name="connsiteX4" fmla="*/ 0 w 12218193"/>
              <a:gd name="connsiteY4" fmla="*/ 9525 h 3817485"/>
              <a:gd name="connsiteX0" fmla="*/ 0 w 12218193"/>
              <a:gd name="connsiteY0" fmla="*/ 9525 h 3875543"/>
              <a:gd name="connsiteX1" fmla="*/ 12217399 w 12218193"/>
              <a:gd name="connsiteY1" fmla="*/ 0 h 3875543"/>
              <a:gd name="connsiteX2" fmla="*/ 12218193 w 12218193"/>
              <a:gd name="connsiteY2" fmla="*/ 3455194 h 3875543"/>
              <a:gd name="connsiteX3" fmla="*/ 19050 w 12218193"/>
              <a:gd name="connsiteY3" fmla="*/ 3875543 h 3875543"/>
              <a:gd name="connsiteX4" fmla="*/ 0 w 12218193"/>
              <a:gd name="connsiteY4" fmla="*/ 9525 h 3875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8193" h="3875543">
                <a:moveTo>
                  <a:pt x="0" y="9525"/>
                </a:moveTo>
                <a:lnTo>
                  <a:pt x="12217399" y="0"/>
                </a:lnTo>
                <a:cubicBezTo>
                  <a:pt x="12217664" y="1151731"/>
                  <a:pt x="12217928" y="2303463"/>
                  <a:pt x="12218193" y="3455194"/>
                </a:cubicBezTo>
                <a:lnTo>
                  <a:pt x="19050" y="3875543"/>
                </a:lnTo>
                <a:lnTo>
                  <a:pt x="0" y="9525"/>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3" name="Freihandform 12"/>
          <p:cNvSpPr/>
          <p:nvPr userDrawn="1"/>
        </p:nvSpPr>
        <p:spPr>
          <a:xfrm>
            <a:off x="-9519" y="4940818"/>
            <a:ext cx="12214213" cy="1917182"/>
          </a:xfrm>
          <a:custGeom>
            <a:avLst/>
            <a:gdLst>
              <a:gd name="connsiteX0" fmla="*/ 0 w 12220575"/>
              <a:gd name="connsiteY0" fmla="*/ 1066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0 w 12220575"/>
              <a:gd name="connsiteY4" fmla="*/ 1066800 h 3019425"/>
              <a:gd name="connsiteX0" fmla="*/ 19050 w 12220575"/>
              <a:gd name="connsiteY0" fmla="*/ 304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19050 w 12220575"/>
              <a:gd name="connsiteY4" fmla="*/ 304800 h 3019425"/>
              <a:gd name="connsiteX0" fmla="*/ 0 w 12220575"/>
              <a:gd name="connsiteY0" fmla="*/ 304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0 w 12220575"/>
              <a:gd name="connsiteY4" fmla="*/ 304800 h 3019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20575" h="3019425">
                <a:moveTo>
                  <a:pt x="0" y="304800"/>
                </a:moveTo>
                <a:lnTo>
                  <a:pt x="0" y="3019425"/>
                </a:lnTo>
                <a:lnTo>
                  <a:pt x="12220575" y="3019425"/>
                </a:lnTo>
                <a:lnTo>
                  <a:pt x="12220575" y="0"/>
                </a:lnTo>
                <a:lnTo>
                  <a:pt x="0" y="30480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15"/>
            <a:endParaRPr lang="de-DE" sz="2099" dirty="0">
              <a:solidFill>
                <a:prstClr val="white"/>
              </a:solidFill>
            </a:endParaRPr>
          </a:p>
        </p:txBody>
      </p:sp>
    </p:spTree>
    <p:extLst>
      <p:ext uri="{BB962C8B-B14F-4D97-AF65-F5344CB8AC3E}">
        <p14:creationId xmlns:p14="http://schemas.microsoft.com/office/powerpoint/2010/main" val="225735233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for Agenda in </a:t>
            </a:r>
            <a:r>
              <a:rPr lang="en-GB" noProof="0" dirty="0" err="1"/>
              <a:t>CorpoS</a:t>
            </a:r>
            <a:r>
              <a:rPr lang="en-GB" noProof="0" dirty="0"/>
              <a:t>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219487524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2 Images-chart 3/3 brushed">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3"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a:extLst>
              <a:ext uri="{28A0092B-C50C-407E-A947-70E740481C1C}">
                <a14:useLocalDpi xmlns:a14="http://schemas.microsoft.com/office/drawing/2010/main" val="0"/>
              </a:ext>
            </a:extLst>
          </a:blip>
          <a:srcRect b="5376"/>
          <a:stretch/>
        </p:blipFill>
        <p:spPr bwMode="white">
          <a:xfrm>
            <a:off x="0"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Insert text in </a:t>
            </a:r>
            <a:r>
              <a:rPr lang="en-GB" noProof="0" dirty="0" err="1"/>
              <a:t>CorpoS</a:t>
            </a:r>
            <a:r>
              <a:rPr lang="en-GB" noProof="0" dirty="0"/>
              <a:t> (Body) 24 pt. (Mark-ups in Bold) </a:t>
            </a:r>
            <a:r>
              <a:rPr lang="en-GB" dirty="0"/>
              <a:t>// for Body text: Home // Paragraph// Increase List Level</a:t>
            </a:r>
          </a:p>
          <a:p>
            <a:pPr lvl="1"/>
            <a:r>
              <a:rPr lang="en-GB" dirty="0"/>
              <a:t>Second level (Body text)</a:t>
            </a:r>
          </a:p>
          <a:p>
            <a:pPr lvl="2"/>
            <a:r>
              <a:rPr lang="en-GB" dirty="0"/>
              <a:t>Third level</a:t>
            </a:r>
          </a:p>
          <a:p>
            <a:pPr lvl="3"/>
            <a:r>
              <a:rPr lang="en-GB" dirty="0"/>
              <a:t>Fourth level</a:t>
            </a:r>
          </a:p>
          <a:p>
            <a:pPr lvl="4"/>
            <a:r>
              <a:rPr lang="en-GB" dirty="0"/>
              <a:t>Fifth level</a:t>
            </a:r>
          </a:p>
          <a:p>
            <a:pPr lvl="5"/>
            <a:r>
              <a:rPr lang="en-GB" dirty="0"/>
              <a:t>Sixth level</a:t>
            </a:r>
          </a:p>
        </p:txBody>
      </p:sp>
    </p:spTree>
    <p:extLst>
      <p:ext uri="{BB962C8B-B14F-4D97-AF65-F5344CB8AC3E}">
        <p14:creationId xmlns:p14="http://schemas.microsoft.com/office/powerpoint/2010/main" val="107963837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900.xml><?xml version="1.0" encoding="utf-8"?>
<p:sldLayout xmlns:a="http://schemas.openxmlformats.org/drawingml/2006/main" xmlns:r="http://schemas.openxmlformats.org/officeDocument/2006/relationships" xmlns:p="http://schemas.openxmlformats.org/presentationml/2006/main" userDrawn="1">
  <p:cSld name="Einleitungstext, dark grey">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71201"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el 1"/>
          <p:cNvSpPr>
            <a:spLocks noGrp="1"/>
          </p:cNvSpPr>
          <p:nvPr>
            <p:ph type="title"/>
          </p:nvPr>
        </p:nvSpPr>
        <p:spPr>
          <a:xfrm>
            <a:off x="714200" y="590401"/>
            <a:ext cx="8405989" cy="1325563"/>
          </a:xfrm>
        </p:spPr>
        <p:txBody>
          <a:bodyPr/>
          <a:lstStyle>
            <a:lvl1pPr>
              <a:defRPr sz="3580">
                <a:solidFill>
                  <a:schemeClr val="tx2"/>
                </a:solidFill>
              </a:defRPr>
            </a:lvl1pPr>
          </a:lstStyle>
          <a:p>
            <a:r>
              <a:rPr lang="de-DE" dirty="0"/>
              <a:t>Mastertitelformat bearbeiten</a:t>
            </a:r>
          </a:p>
        </p:txBody>
      </p:sp>
      <p:sp>
        <p:nvSpPr>
          <p:cNvPr id="3" name="Foliennummernplatzhalter 5"/>
          <p:cNvSpPr>
            <a:spLocks noGrp="1"/>
          </p:cNvSpPr>
          <p:nvPr>
            <p:ph type="sldNum" sz="quarter" idx="12"/>
          </p:nvPr>
        </p:nvSpPr>
        <p:spPr>
          <a:xfrm>
            <a:off x="10911840" y="6219191"/>
            <a:ext cx="579120" cy="303531"/>
          </a:xfrm>
        </p:spPr>
        <p:txBody>
          <a:bodyPr/>
          <a:lstStyle>
            <a:lvl1pPr>
              <a:defRPr>
                <a:solidFill>
                  <a:schemeClr val="tx2"/>
                </a:solidFill>
              </a:defRPr>
            </a:lvl1pPr>
          </a:lstStyle>
          <a:p>
            <a:fld id="{BDFFC951-C3BB-40CC-A730-0B992127FC44}" type="slidenum">
              <a:rPr lang="de-DE" smtClean="0">
                <a:solidFill>
                  <a:srgbClr val="E6E6E6"/>
                </a:solidFill>
              </a:rPr>
              <a:pPr/>
              <a:t>‹#›</a:t>
            </a:fld>
            <a:endParaRPr lang="de-DE" dirty="0">
              <a:solidFill>
                <a:srgbClr val="E6E6E6"/>
              </a:solidFill>
            </a:endParaRPr>
          </a:p>
        </p:txBody>
      </p:sp>
    </p:spTree>
    <p:extLst>
      <p:ext uri="{BB962C8B-B14F-4D97-AF65-F5344CB8AC3E}">
        <p14:creationId xmlns:p14="http://schemas.microsoft.com/office/powerpoint/2010/main" val="140630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1.xml><?xml version="1.0" encoding="utf-8"?>
<p:sldLayout xmlns:a="http://schemas.openxmlformats.org/drawingml/2006/main" xmlns:r="http://schemas.openxmlformats.org/officeDocument/2006/relationships" xmlns:p="http://schemas.openxmlformats.org/presentationml/2006/main" type="tx">
  <p:cSld name="Dark Background">
    <p:spTree>
      <p:nvGrpSpPr>
        <p:cNvPr id="1" name=""/>
        <p:cNvGrpSpPr/>
        <p:nvPr/>
      </p:nvGrpSpPr>
      <p:grpSpPr>
        <a:xfrm>
          <a:off x="0" y="0"/>
          <a:ext cx="0" cy="0"/>
          <a:chOff x="0" y="0"/>
          <a:chExt cx="0" cy="0"/>
        </a:xfrm>
      </p:grpSpPr>
      <p:sp>
        <p:nvSpPr>
          <p:cNvPr id="18" name="Rechteck"/>
          <p:cNvSpPr/>
          <p:nvPr/>
        </p:nvSpPr>
        <p:spPr>
          <a:xfrm>
            <a:off x="0" y="0"/>
            <a:ext cx="12192000" cy="6858000"/>
          </a:xfrm>
          <a:prstGeom prst="rect">
            <a:avLst/>
          </a:prstGeom>
          <a:solidFill>
            <a:srgbClr val="2C2B31"/>
          </a:solidFill>
          <a:ln w="12700">
            <a:miter lim="400000"/>
          </a:ln>
        </p:spPr>
        <p:txBody>
          <a:bodyPr lIns="29065" tIns="29065" rIns="29065" bIns="29065" anchor="ctr"/>
          <a:lstStyle/>
          <a:p>
            <a:pPr defTabSz="744062">
              <a:defRPr sz="2400"/>
            </a:pPr>
            <a:endParaRPr lang="de-DE" sz="1362" dirty="0">
              <a:solidFill>
                <a:prstClr val="black"/>
              </a:solidFill>
            </a:endParaRPr>
          </a:p>
        </p:txBody>
      </p:sp>
      <p:sp>
        <p:nvSpPr>
          <p:cNvPr id="19" name="Foliennummer"/>
          <p:cNvSpPr txBox="1">
            <a:spLocks noGrp="1"/>
          </p:cNvSpPr>
          <p:nvPr>
            <p:ph type="sldNum" sz="quarter" idx="2"/>
          </p:nvPr>
        </p:nvSpPr>
        <p:spPr>
          <a:xfrm>
            <a:off x="5932244" y="6505278"/>
            <a:ext cx="316541" cy="266369"/>
          </a:xfrm>
          <a:prstGeom prst="rect">
            <a:avLst/>
          </a:prstGeom>
        </p:spPr>
        <p:txBody>
          <a:bodyPr lIns="51196" tIns="51196" rIns="51196" bIns="51196"/>
          <a:lstStyle>
            <a:lvl1pPr algn="ctr" defTabSz="334259">
              <a:defRPr sz="1021">
                <a:solidFill>
                  <a:srgbClr val="000000"/>
                </a:solidFill>
                <a:latin typeface="+mn-lt"/>
                <a:ea typeface="+mn-ea"/>
                <a:cs typeface="+mn-cs"/>
                <a:sym typeface="Helvetica Light"/>
              </a:defRPr>
            </a:lvl1pPr>
          </a:lstStyle>
          <a:p>
            <a:fld id="{86CB4B4D-7CA3-9044-876B-883B54F8677D}" type="slidenum">
              <a:rPr lang="de-DE" smtClean="0"/>
              <a:pPr/>
              <a:t>‹#›</a:t>
            </a:fld>
            <a:endParaRPr lang="de-DE" dirty="0"/>
          </a:p>
        </p:txBody>
      </p:sp>
    </p:spTree>
    <p:extLst>
      <p:ext uri="{BB962C8B-B14F-4D97-AF65-F5344CB8AC3E}">
        <p14:creationId xmlns:p14="http://schemas.microsoft.com/office/powerpoint/2010/main" val="3895665882"/>
      </p:ext>
    </p:extLst>
  </p:cSld>
  <p:clrMapOvr>
    <a:masterClrMapping/>
  </p:clrMapOvr>
  <p:transition spd="med"/>
</p:sldLayout>
</file>

<file path=ppt/slideLayouts/slideLayout902.xml><?xml version="1.0" encoding="utf-8"?>
<p:sldLayout xmlns:a="http://schemas.openxmlformats.org/drawingml/2006/main" xmlns:r="http://schemas.openxmlformats.org/officeDocument/2006/relationships" xmlns:p="http://schemas.openxmlformats.org/presentationml/2006/main" userDrawn="1">
  <p:cSld name="Blank/ Headline 2 line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172225"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71" y="285982"/>
            <a:ext cx="10931106" cy="683842"/>
          </a:xfrm>
        </p:spPr>
        <p:txBody>
          <a:bodyPr/>
          <a:lstStyle/>
          <a:p>
            <a:r>
              <a:rPr lang="en-US" noProof="0" dirty="0"/>
              <a:t>Headline in </a:t>
            </a:r>
            <a:r>
              <a:rPr lang="en-US" noProof="0" dirty="0" err="1"/>
              <a:t>CorpoS</a:t>
            </a:r>
            <a:r>
              <a:rPr lang="en-US" noProof="0" dirty="0"/>
              <a:t> (Body) 35 pt.</a:t>
            </a:r>
            <a:endParaRPr lang="en-US" dirty="0"/>
          </a:p>
        </p:txBody>
      </p:sp>
      <p:sp>
        <p:nvSpPr>
          <p:cNvPr id="3" name="Footer Placeholder 2"/>
          <p:cNvSpPr>
            <a:spLocks noGrp="1"/>
          </p:cNvSpPr>
          <p:nvPr>
            <p:ph type="ftr" sz="quarter" idx="10"/>
          </p:nvPr>
        </p:nvSpPr>
        <p:spPr/>
        <p:txBody>
          <a:bodyPr/>
          <a:lstStyle/>
          <a:p>
            <a:r>
              <a:rPr lang="en-US" dirty="0">
                <a:solidFill>
                  <a:prstClr val="black"/>
                </a:solidFill>
              </a:rPr>
              <a:t>DFS Capital Market Day</a:t>
            </a:r>
          </a:p>
        </p:txBody>
      </p:sp>
      <p:sp>
        <p:nvSpPr>
          <p:cNvPr id="4" name="Slide Number Placeholder 3"/>
          <p:cNvSpPr>
            <a:spLocks noGrp="1"/>
          </p:cNvSpPr>
          <p:nvPr>
            <p:ph type="sldNum" sz="quarter" idx="11"/>
          </p:nvPr>
        </p:nvSpPr>
        <p:spPr/>
        <p:txBody>
          <a:bodyPr/>
          <a:lstStyle/>
          <a:p>
            <a:r>
              <a:rPr lang="en-US" dirty="0">
                <a:solidFill>
                  <a:prstClr val="black"/>
                </a:solidFill>
              </a:rPr>
              <a:t>Page </a:t>
            </a:r>
            <a:fld id="{52531704-8F80-415D-BD2B-6B9991AE822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180716377"/>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903.xml><?xml version="1.0" encoding="utf-8"?>
<p:sldLayout xmlns:a="http://schemas.openxmlformats.org/drawingml/2006/main" xmlns:r="http://schemas.openxmlformats.org/officeDocument/2006/relationships" xmlns:p="http://schemas.openxmlformats.org/presentationml/2006/main" showMasterSp="0" preserve="1" userDrawn="1">
  <p:cSld name="Title 3/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 </a:t>
            </a:r>
            <a:r>
              <a:rPr lang="de-DE" dirty="0" err="1"/>
              <a:t>Presentation</a:t>
            </a:r>
            <a:r>
              <a:rPr lang="de-DE" dirty="0"/>
              <a:t> title</a:t>
            </a:r>
            <a:br>
              <a:rPr lang="de-DE" dirty="0"/>
            </a:br>
            <a:r>
              <a:rPr lang="de-DE" dirty="0"/>
              <a:t>in </a:t>
            </a:r>
            <a:r>
              <a:rPr lang="de-DE" dirty="0" err="1"/>
              <a:t>two</a:t>
            </a:r>
            <a:r>
              <a:rPr lang="de-DE" dirty="0"/>
              <a:t> </a:t>
            </a: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3822301307"/>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904.xml><?xml version="1.0" encoding="utf-8"?>
<p:sldLayout xmlns:a="http://schemas.openxmlformats.org/drawingml/2006/main" xmlns:r="http://schemas.openxmlformats.org/officeDocument/2006/relationships" xmlns:p="http://schemas.openxmlformats.org/presentationml/2006/main" showMasterSp="0" preserve="1" userDrawn="1">
  <p:cSld name="Title 2/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 </a:t>
            </a:r>
            <a:r>
              <a:rPr lang="de-DE" dirty="0" err="1"/>
              <a:t>Presentation</a:t>
            </a:r>
            <a:r>
              <a:rPr lang="de-DE" dirty="0"/>
              <a:t> title</a:t>
            </a:r>
            <a:br>
              <a:rPr lang="de-DE" dirty="0"/>
            </a:br>
            <a:r>
              <a:rPr lang="de-DE" dirty="0"/>
              <a:t>in </a:t>
            </a:r>
            <a:r>
              <a:rPr lang="de-DE" dirty="0" err="1"/>
              <a:t>two</a:t>
            </a:r>
            <a:r>
              <a:rPr lang="de-DE" dirty="0"/>
              <a:t> </a:t>
            </a:r>
            <a:r>
              <a:rPr lang="de-DE" dirty="0" err="1"/>
              <a:t>or</a:t>
            </a:r>
            <a:r>
              <a:rPr lang="de-DE" dirty="0"/>
              <a:t> </a:t>
            </a:r>
            <a:r>
              <a:rPr lang="de-DE" dirty="0" err="1"/>
              <a:t>more</a:t>
            </a:r>
            <a:r>
              <a:rPr lang="de-DE" dirty="0"/>
              <a:t> </a:t>
            </a: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89580149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905.xml><?xml version="1.0" encoding="utf-8"?>
<p:sldLayout xmlns:a="http://schemas.openxmlformats.org/drawingml/2006/main" xmlns:r="http://schemas.openxmlformats.org/officeDocument/2006/relationships" xmlns:p="http://schemas.openxmlformats.org/presentationml/2006/main" showMasterSp="0" preserve="1" userDrawn="1">
  <p:cSld name="Title 1/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4608438"/>
            <a:ext cx="10930832" cy="1538527"/>
          </a:xfrm>
        </p:spPr>
        <p:txBody>
          <a:bodyPr wrap="square" anchor="b" anchorCtr="0">
            <a:spAutoFit/>
          </a:bodyPr>
          <a:lstStyle>
            <a:lvl1pPr>
              <a:defRPr baseline="0"/>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a:t>
            </a:r>
            <a:br>
              <a:rPr lang="de-DE" dirty="0"/>
            </a:br>
            <a:r>
              <a:rPr lang="de-DE" dirty="0" err="1"/>
              <a:t>Presentation</a:t>
            </a:r>
            <a:r>
              <a:rPr lang="de-DE" dirty="0"/>
              <a:t> title in </a:t>
            </a:r>
            <a:r>
              <a:rPr lang="de-DE" dirty="0" err="1"/>
              <a:t>two</a:t>
            </a:r>
            <a:r>
              <a:rPr lang="de-DE" dirty="0"/>
              <a:t> </a:t>
            </a:r>
            <a:r>
              <a:rPr lang="de-DE" dirty="0" err="1"/>
              <a:t>lines</a:t>
            </a:r>
            <a:r>
              <a:rPr lang="de-DE" dirty="0"/>
              <a:t> </a:t>
            </a:r>
            <a:r>
              <a:rPr lang="de-DE" dirty="0" err="1"/>
              <a:t>or</a:t>
            </a:r>
            <a:r>
              <a:rPr lang="de-DE" dirty="0"/>
              <a:t> </a:t>
            </a:r>
            <a:br>
              <a:rPr lang="de-DE" dirty="0"/>
            </a:br>
            <a:r>
              <a:rPr lang="de-DE" dirty="0" err="1"/>
              <a:t>more</a:t>
            </a:r>
            <a:r>
              <a:rPr lang="de-DE" dirty="0"/>
              <a:t> </a:t>
            </a: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19636495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906.xml><?xml version="1.0" encoding="utf-8"?>
<p:sldLayout xmlns:a="http://schemas.openxmlformats.org/drawingml/2006/main" xmlns:r="http://schemas.openxmlformats.org/officeDocument/2006/relationships" xmlns:p="http://schemas.openxmlformats.org/presentationml/2006/main" showMasterSp="0" preserve="1" userDrawn="1">
  <p:cSld name="Title 3/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 name="Titel 1"/>
          <p:cNvSpPr>
            <a:spLocks noGrp="1"/>
          </p:cNvSpPr>
          <p:nvPr>
            <p:ph type="ctrTitle" hasCustomPrompt="1"/>
          </p:nvPr>
        </p:nvSpPr>
        <p:spPr>
          <a:xfrm>
            <a:off x="628323" y="2045814"/>
            <a:ext cx="10932181" cy="1763324"/>
          </a:xfrm>
        </p:spPr>
        <p:txBody>
          <a:bodyPr wrap="square" anchor="t" anchorCtr="0">
            <a:noAutofit/>
          </a:bodyPr>
          <a:lstStyle>
            <a:lvl1pPr>
              <a:defRPr baseline="0">
                <a:solidFill>
                  <a:schemeClr val="bg1"/>
                </a:solidFill>
              </a:defRPr>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a:t>
            </a:r>
            <a:br>
              <a:rPr lang="de-DE" dirty="0"/>
            </a:br>
            <a:r>
              <a:rPr lang="de-DE" dirty="0" err="1"/>
              <a:t>Presentation</a:t>
            </a:r>
            <a:r>
              <a:rPr lang="de-DE" dirty="0"/>
              <a:t> title in </a:t>
            </a:r>
            <a:r>
              <a:rPr lang="de-DE" dirty="0" err="1"/>
              <a:t>two</a:t>
            </a:r>
            <a:r>
              <a:rPr lang="de-DE" dirty="0"/>
              <a:t> </a:t>
            </a:r>
            <a:r>
              <a:rPr lang="de-DE" dirty="0" err="1"/>
              <a:t>or</a:t>
            </a:r>
            <a:r>
              <a:rPr lang="de-DE" dirty="0"/>
              <a:t> </a:t>
            </a:r>
            <a:r>
              <a:rPr lang="de-DE" dirty="0" err="1"/>
              <a:t>three</a:t>
            </a:r>
            <a:r>
              <a:rPr lang="de-DE" dirty="0"/>
              <a:t> </a:t>
            </a:r>
            <a:br>
              <a:rPr lang="de-DE" dirty="0"/>
            </a:b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13320422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907.xml><?xml version="1.0" encoding="utf-8"?>
<p:sldLayout xmlns:a="http://schemas.openxmlformats.org/drawingml/2006/main" xmlns:r="http://schemas.openxmlformats.org/officeDocument/2006/relationships" xmlns:p="http://schemas.openxmlformats.org/presentationml/2006/main" showMasterSp="0" preserve="1" userDrawn="1">
  <p:cSld name="Title 2/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 name="Titel 1"/>
          <p:cNvSpPr>
            <a:spLocks noGrp="1"/>
          </p:cNvSpPr>
          <p:nvPr>
            <p:ph type="ctrTitle" hasCustomPrompt="1"/>
          </p:nvPr>
        </p:nvSpPr>
        <p:spPr>
          <a:xfrm>
            <a:off x="628323" y="2044433"/>
            <a:ext cx="10932181" cy="648964"/>
          </a:xfrm>
        </p:spPr>
        <p:txBody>
          <a:bodyPr wrap="square" anchor="t" anchorCtr="0">
            <a:noAutofit/>
          </a:bodyPr>
          <a:lstStyle>
            <a:lvl1pPr>
              <a:defRPr>
                <a:solidFill>
                  <a:schemeClr val="bg1"/>
                </a:solidFill>
              </a:defRPr>
            </a:lvl1pPr>
          </a:lstStyle>
          <a:p>
            <a:r>
              <a:rPr lang="de-DE" dirty="0"/>
              <a:t>Headline </a:t>
            </a:r>
            <a:r>
              <a:rPr lang="de-DE" dirty="0" err="1"/>
              <a:t>for</a:t>
            </a:r>
            <a:r>
              <a:rPr lang="de-DE" dirty="0"/>
              <a:t> </a:t>
            </a:r>
            <a:r>
              <a:rPr lang="de-DE" dirty="0" err="1"/>
              <a:t>presentation</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65335563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908.xml><?xml version="1.0" encoding="utf-8"?>
<p:sldLayout xmlns:a="http://schemas.openxmlformats.org/drawingml/2006/main" xmlns:r="http://schemas.openxmlformats.org/officeDocument/2006/relationships" xmlns:p="http://schemas.openxmlformats.org/presentationml/2006/main" showMasterSp="0" preserve="1" userDrawn="1">
  <p:cSld name="Image-chart 3/4 brushed ">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1"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3" name="Title 2"/>
          <p:cNvSpPr>
            <a:spLocks noGrp="1"/>
          </p:cNvSpPr>
          <p:nvPr>
            <p:ph type="title" hasCustomPrompt="1"/>
          </p:nvPr>
        </p:nvSpPr>
        <p:spPr>
          <a:xfrm>
            <a:off x="628323" y="288859"/>
            <a:ext cx="10932455" cy="1025684"/>
          </a:xfrm>
        </p:spPr>
        <p:txBody>
          <a:bodyPr wrap="square">
            <a:spAutoFit/>
          </a:bodyPr>
          <a:lstStyle>
            <a:lvl1pPr>
              <a:defRPr>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or</a:t>
            </a:r>
            <a:r>
              <a:rPr lang="de-DE" dirty="0"/>
              <a:t> </a:t>
            </a:r>
            <a:r>
              <a:rPr lang="de-DE" dirty="0" err="1"/>
              <a:t>more</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115244914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909.xml><?xml version="1.0" encoding="utf-8"?>
<p:sldLayout xmlns:a="http://schemas.openxmlformats.org/drawingml/2006/main" xmlns:r="http://schemas.openxmlformats.org/officeDocument/2006/relationships" xmlns:p="http://schemas.openxmlformats.org/presentationml/2006/main" showMasterSp="0" preserve="1" userDrawn="1">
  <p:cSld name="Image-chart 1/4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1"/>
            <a:ext cx="12190451" cy="6487839"/>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3" name="Title 2"/>
          <p:cNvSpPr>
            <a:spLocks noGrp="1"/>
          </p:cNvSpPr>
          <p:nvPr>
            <p:ph type="title" hasCustomPrompt="1"/>
          </p:nvPr>
        </p:nvSpPr>
        <p:spPr>
          <a:xfrm>
            <a:off x="630116" y="288857"/>
            <a:ext cx="10930662" cy="1151733"/>
          </a:xfrm>
        </p:spPr>
        <p:txBody>
          <a:bodyPr/>
          <a:lstStyle>
            <a:lvl1pPr>
              <a:defRPr baseline="0">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79037708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Fullpage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43103639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910.xml><?xml version="1.0" encoding="utf-8"?>
<p:sldLayout xmlns:a="http://schemas.openxmlformats.org/drawingml/2006/main" xmlns:r="http://schemas.openxmlformats.org/officeDocument/2006/relationships" xmlns:p="http://schemas.openxmlformats.org/presentationml/2006/main" showMasterSp="0" preserve="1" userDrawn="1">
  <p:cSld name="Agenda 1/3 brushed">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a:xfrm>
            <a:off x="628323" y="288859"/>
            <a:ext cx="10932455" cy="1148857"/>
          </a:xfrm>
        </p:spPr>
        <p:txBody>
          <a:bodyPr/>
          <a:lstStyle>
            <a:lvl1pPr>
              <a:defRPr/>
            </a:lvl1pPr>
          </a:lstStyle>
          <a:p>
            <a:r>
              <a:rPr lang="de-DE" noProof="0" dirty="0"/>
              <a:t>Headline </a:t>
            </a:r>
            <a:r>
              <a:rPr lang="de-DE" noProof="0" dirty="0" err="1"/>
              <a:t>for</a:t>
            </a:r>
            <a:r>
              <a:rPr lang="de-DE" noProof="0" dirty="0"/>
              <a:t> Agenda in </a:t>
            </a:r>
            <a:r>
              <a:rPr lang="de-DE" noProof="0" dirty="0" err="1"/>
              <a:t>CorpoS</a:t>
            </a:r>
            <a:r>
              <a:rPr lang="de-DE" noProof="0" dirty="0"/>
              <a:t> (Body) 35 </a:t>
            </a:r>
            <a:r>
              <a:rPr lang="de-DE" noProof="0" dirty="0" err="1"/>
              <a:t>pt</a:t>
            </a:r>
            <a:r>
              <a:rPr lang="de-DE" noProof="0" dirty="0"/>
              <a:t>. </a:t>
            </a:r>
            <a:br>
              <a:rPr lang="de-DE" noProof="0" dirty="0"/>
            </a:br>
            <a:r>
              <a:rPr lang="de-DE" noProof="0" dirty="0" err="1"/>
              <a:t>one</a:t>
            </a:r>
            <a:r>
              <a:rPr lang="de-DE" noProof="0" dirty="0"/>
              <a:t> </a:t>
            </a:r>
            <a:r>
              <a:rPr lang="de-DE" noProof="0" dirty="0" err="1"/>
              <a:t>or</a:t>
            </a:r>
            <a:r>
              <a:rPr lang="de-DE" noProof="0" dirty="0"/>
              <a:t>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Text Placeholder 5"/>
          <p:cNvSpPr>
            <a:spLocks noGrp="1"/>
          </p:cNvSpPr>
          <p:nvPr>
            <p:ph type="body" sz="quarter" idx="12" hasCustomPrompt="1"/>
          </p:nvPr>
        </p:nvSpPr>
        <p:spPr>
          <a:xfrm>
            <a:off x="630116" y="1504603"/>
            <a:ext cx="10930388" cy="3759916"/>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Insert Agenda </a:t>
            </a:r>
            <a:r>
              <a:rPr lang="de-DE" dirty="0" err="1"/>
              <a:t>point</a:t>
            </a:r>
            <a:endParaRPr lang="de-DE" dirty="0"/>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53922769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7631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e-DE" noProof="0" dirty="0"/>
              <a:t>Headline </a:t>
            </a:r>
            <a:r>
              <a:rPr lang="de-DE" noProof="0" dirty="0" err="1"/>
              <a:t>for</a:t>
            </a:r>
            <a:r>
              <a:rPr lang="de-DE" noProof="0" dirty="0"/>
              <a:t> Agenda in </a:t>
            </a:r>
            <a:r>
              <a:rPr lang="de-DE" noProof="0" dirty="0" err="1"/>
              <a:t>CorpoS</a:t>
            </a:r>
            <a:r>
              <a:rPr lang="de-DE" noProof="0" dirty="0"/>
              <a:t> (Body) 35 </a:t>
            </a:r>
            <a:r>
              <a:rPr lang="de-DE" noProof="0" dirty="0" err="1"/>
              <a:t>pt</a:t>
            </a:r>
            <a:r>
              <a:rPr lang="de-DE" noProof="0" dirty="0"/>
              <a:t>. </a:t>
            </a:r>
            <a:br>
              <a:rPr lang="de-DE" noProof="0" dirty="0"/>
            </a:br>
            <a:r>
              <a:rPr lang="de-DE" noProof="0" dirty="0" err="1"/>
              <a:t>one</a:t>
            </a:r>
            <a:r>
              <a:rPr lang="de-DE" noProof="0" dirty="0"/>
              <a:t> </a:t>
            </a:r>
            <a:r>
              <a:rPr lang="de-DE" noProof="0" dirty="0" err="1"/>
              <a:t>or</a:t>
            </a:r>
            <a:r>
              <a:rPr lang="de-DE" noProof="0" dirty="0"/>
              <a:t>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Insert Agenda </a:t>
            </a:r>
            <a:r>
              <a:rPr lang="de-DE" dirty="0" err="1"/>
              <a:t>point</a:t>
            </a:r>
            <a:endParaRPr lang="de-DE" dirty="0"/>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46883394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Headline two lines // Conten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77343"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Tree>
    <p:extLst>
      <p:ext uri="{BB962C8B-B14F-4D97-AF65-F5344CB8AC3E}">
        <p14:creationId xmlns:p14="http://schemas.microsoft.com/office/powerpoint/2010/main" val="409165744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913.xml><?xml version="1.0" encoding="utf-8"?>
<p:sldLayout xmlns:a="http://schemas.openxmlformats.org/drawingml/2006/main" xmlns:r="http://schemas.openxmlformats.org/officeDocument/2006/relationships" xmlns:p="http://schemas.openxmlformats.org/presentationml/2006/main" showMasterSp="0" preserve="1" userDrawn="1">
  <p:cSld name="Headline two lines // Image">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a:t>
            </a:r>
            <a:r>
              <a:rPr lang="de-DE" noProof="0" dirty="0"/>
              <a:t> S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82761288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Headlin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Tree>
    <p:extLst>
      <p:ext uri="{BB962C8B-B14F-4D97-AF65-F5344CB8AC3E}">
        <p14:creationId xmlns:p14="http://schemas.microsoft.com/office/powerpoint/2010/main" val="392277263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915.xml><?xml version="1.0" encoding="utf-8"?>
<p:sldLayout xmlns:a="http://schemas.openxmlformats.org/drawingml/2006/main" xmlns:r="http://schemas.openxmlformats.org/officeDocument/2006/relationships" xmlns:p="http://schemas.openxmlformats.org/presentationml/2006/main" showMasterSp="0" preserve="1" userDrawn="1">
  <p:cSld name="Headline // Image">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188699286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916.xml><?xml version="1.0" encoding="utf-8"?>
<p:sldLayout xmlns:a="http://schemas.openxmlformats.org/drawingml/2006/main" xmlns:r="http://schemas.openxmlformats.org/officeDocument/2006/relationships" xmlns:p="http://schemas.openxmlformats.org/presentationml/2006/main" showMasterSp="0" preserve="1" userDrawn="1">
  <p:cSld name="2 Images-chart 2/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or</a:t>
            </a:r>
            <a:r>
              <a:rPr lang="de-DE" dirty="0"/>
              <a:t> </a:t>
            </a:r>
            <a:r>
              <a:rPr lang="de-DE" dirty="0" err="1"/>
              <a:t>more</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425482780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917.xml><?xml version="1.0" encoding="utf-8"?>
<p:sldLayout xmlns:a="http://schemas.openxmlformats.org/drawingml/2006/main" xmlns:r="http://schemas.openxmlformats.org/officeDocument/2006/relationships" xmlns:p="http://schemas.openxmlformats.org/presentationml/2006/main" showMasterSp="0" preserve="1" userDrawn="1">
  <p:cSld name="2 Images-chart 1/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 name="Title 2"/>
          <p:cNvSpPr>
            <a:spLocks noGrp="1"/>
          </p:cNvSpPr>
          <p:nvPr>
            <p:ph type="title" hasCustomPrompt="1"/>
          </p:nvPr>
        </p:nvSpPr>
        <p:spPr>
          <a:xfrm>
            <a:off x="630116" y="288859"/>
            <a:ext cx="10930662" cy="1148857"/>
          </a:xfrm>
        </p:spPr>
        <p:txBody>
          <a:bodyPr/>
          <a:lstStyle>
            <a:lvl1pPr>
              <a:defRPr>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267107012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918.xml><?xml version="1.0" encoding="utf-8"?>
<p:sldLayout xmlns:a="http://schemas.openxmlformats.org/drawingml/2006/main" xmlns:r="http://schemas.openxmlformats.org/officeDocument/2006/relationships" xmlns:p="http://schemas.openxmlformats.org/presentationml/2006/main" showMasterSp="0" preserve="1" userDrawn="1">
  <p:cSld name="2 Images-chart 1/3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118617517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919.xml><?xml version="1.0" encoding="utf-8"?>
<p:sldLayout xmlns:a="http://schemas.openxmlformats.org/drawingml/2006/main" xmlns:r="http://schemas.openxmlformats.org/officeDocument/2006/relationships" xmlns:p="http://schemas.openxmlformats.org/presentationml/2006/main" showMasterSp="0" preserve="1" userDrawn="1">
  <p:cSld name="2 Images-chart 2/3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Body </a:t>
            </a:r>
            <a:r>
              <a:rPr lang="de-DE" dirty="0" err="1"/>
              <a:t>text</a:t>
            </a:r>
            <a:r>
              <a:rPr lang="de-DE" dirty="0"/>
              <a:t>: Home // Paragraph// </a:t>
            </a:r>
            <a:r>
              <a:rPr lang="de-DE" dirty="0" err="1"/>
              <a:t>Increase</a:t>
            </a:r>
            <a:r>
              <a:rPr lang="de-DE" dirty="0"/>
              <a:t> List Level</a:t>
            </a:r>
          </a:p>
          <a:p>
            <a:pPr lvl="1"/>
            <a:r>
              <a:rPr lang="de-DE" dirty="0"/>
              <a:t>Second </a:t>
            </a:r>
            <a:r>
              <a:rPr lang="de-DE" dirty="0" err="1"/>
              <a:t>level</a:t>
            </a:r>
            <a:r>
              <a:rPr lang="de-DE" dirty="0"/>
              <a:t> (Body </a:t>
            </a:r>
            <a:r>
              <a:rPr lang="de-DE" dirty="0" err="1"/>
              <a:t>text</a:t>
            </a:r>
            <a:r>
              <a:rPr lang="de-DE" dirty="0"/>
              <a:t>)</a:t>
            </a:r>
          </a:p>
        </p:txBody>
      </p:sp>
    </p:spTree>
    <p:extLst>
      <p:ext uri="{BB962C8B-B14F-4D97-AF65-F5344CB8AC3E}">
        <p14:creationId xmlns:p14="http://schemas.microsoft.com/office/powerpoint/2010/main" val="162596545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Fullpage 3 image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en-GB" dirty="0">
                <a:solidFill>
                  <a:prstClr val="black"/>
                </a:solidFill>
              </a:rPr>
              <a:t>Title of presentation / Department / Date /</a:t>
            </a:r>
          </a:p>
        </p:txBody>
      </p:sp>
      <p:sp>
        <p:nvSpPr>
          <p:cNvPr id="12" name="Slide Number Placeholder 11"/>
          <p:cNvSpPr>
            <a:spLocks noGrp="1"/>
          </p:cNvSpPr>
          <p:nvPr>
            <p:ph type="sldNum" sz="quarter" idx="12"/>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6" name="Picture Placeholder 3"/>
          <p:cNvSpPr>
            <a:spLocks noGrp="1"/>
          </p:cNvSpPr>
          <p:nvPr>
            <p:ph type="pic" sz="quarter" idx="14" hasCustomPrompt="1"/>
          </p:nvPr>
        </p:nvSpPr>
        <p:spPr bwMode="gray">
          <a:xfrm>
            <a:off x="3911151" y="0"/>
            <a:ext cx="4199925"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16974510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920.xml><?xml version="1.0" encoding="utf-8"?>
<p:sldLayout xmlns:a="http://schemas.openxmlformats.org/drawingml/2006/main" xmlns:r="http://schemas.openxmlformats.org/officeDocument/2006/relationships" xmlns:p="http://schemas.openxmlformats.org/presentationml/2006/main" showMasterSp="0" preserve="1" userDrawn="1">
  <p:cSld name="2 Images-chart 3/3 brushed">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3"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Body </a:t>
            </a:r>
            <a:r>
              <a:rPr lang="de-DE" dirty="0" err="1"/>
              <a:t>text</a:t>
            </a:r>
            <a:r>
              <a:rPr lang="de-DE" dirty="0"/>
              <a:t>: Home // Paragraph// </a:t>
            </a:r>
            <a:r>
              <a:rPr lang="de-DE" dirty="0" err="1"/>
              <a:t>Increase</a:t>
            </a:r>
            <a:r>
              <a:rPr lang="de-DE" dirty="0"/>
              <a:t> List Level</a:t>
            </a:r>
          </a:p>
          <a:p>
            <a:pPr lvl="1"/>
            <a:r>
              <a:rPr lang="de-DE" dirty="0"/>
              <a:t>Second </a:t>
            </a:r>
            <a:r>
              <a:rPr lang="de-DE" dirty="0" err="1"/>
              <a:t>level</a:t>
            </a:r>
            <a:r>
              <a:rPr lang="de-DE" dirty="0"/>
              <a:t> (Body </a:t>
            </a:r>
            <a:r>
              <a:rPr lang="de-DE" dirty="0" err="1"/>
              <a:t>tex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57363482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921.xml><?xml version="1.0" encoding="utf-8"?>
<p:sldLayout xmlns:a="http://schemas.openxmlformats.org/drawingml/2006/main" xmlns:r="http://schemas.openxmlformats.org/officeDocument/2006/relationships" xmlns:p="http://schemas.openxmlformats.org/presentationml/2006/main" showMasterSp="0" preserve="1" userDrawn="1">
  <p:cSld name="Fullpage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24100608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922.xml><?xml version="1.0" encoding="utf-8"?>
<p:sldLayout xmlns:a="http://schemas.openxmlformats.org/drawingml/2006/main" xmlns:r="http://schemas.openxmlformats.org/officeDocument/2006/relationships" xmlns:p="http://schemas.openxmlformats.org/presentationml/2006/main" showMasterSp="0" preserve="1" userDrawn="1">
  <p:cSld name="Fullpage 3 image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6" name="Picture Placeholder 3"/>
          <p:cNvSpPr>
            <a:spLocks noGrp="1"/>
          </p:cNvSpPr>
          <p:nvPr>
            <p:ph type="pic" sz="quarter" idx="14" hasCustomPrompt="1"/>
          </p:nvPr>
        </p:nvSpPr>
        <p:spPr bwMode="gray">
          <a:xfrm>
            <a:off x="3911151" y="0"/>
            <a:ext cx="4199925"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27310636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Two 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a:t>
            </a:r>
            <a:r>
              <a:rPr lang="de-DE" noProof="0" dirty="0"/>
              <a:t> S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de-DE" dirty="0"/>
              <a:t>Insert </a:t>
            </a:r>
            <a:r>
              <a:rPr lang="de-DE" dirty="0" err="1"/>
              <a:t>text</a:t>
            </a:r>
            <a:r>
              <a:rPr lang="de-DE" dirty="0"/>
              <a:t> </a:t>
            </a:r>
            <a:r>
              <a:rPr lang="de-DE" noProof="0" dirty="0"/>
              <a:t>(Mark-</a:t>
            </a:r>
            <a:r>
              <a:rPr lang="de-DE" noProof="0" dirty="0" err="1"/>
              <a:t>ups</a:t>
            </a:r>
            <a:r>
              <a:rPr lang="de-DE" noProof="0" dirty="0"/>
              <a:t> in </a:t>
            </a:r>
            <a:r>
              <a:rPr lang="de-DE" noProof="0" dirty="0" err="1"/>
              <a:t>Bold</a:t>
            </a:r>
            <a:r>
              <a:rPr lang="de-DE" noProof="0" dirty="0"/>
              <a:t>) </a:t>
            </a:r>
            <a:r>
              <a:rPr lang="de-DE" dirty="0"/>
              <a:t>// </a:t>
            </a:r>
            <a:r>
              <a:rPr lang="de-DE" dirty="0" err="1"/>
              <a:t>conclusion</a:t>
            </a:r>
            <a:r>
              <a:rPr lang="de-DE" dirty="0"/>
              <a:t> etc.: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de-DE" dirty="0"/>
              <a:t>Insert </a:t>
            </a:r>
            <a:r>
              <a:rPr lang="de-DE" dirty="0" err="1"/>
              <a:t>text</a:t>
            </a:r>
            <a:r>
              <a:rPr lang="de-DE" dirty="0"/>
              <a:t> </a:t>
            </a:r>
            <a:r>
              <a:rPr lang="de-DE" noProof="0" dirty="0"/>
              <a:t>(Mark-</a:t>
            </a:r>
            <a:r>
              <a:rPr lang="de-DE" noProof="0" dirty="0" err="1"/>
              <a:t>ups</a:t>
            </a:r>
            <a:r>
              <a:rPr lang="de-DE" noProof="0" dirty="0"/>
              <a:t> in </a:t>
            </a:r>
            <a:r>
              <a:rPr lang="de-DE" noProof="0" dirty="0" err="1"/>
              <a:t>Bold</a:t>
            </a:r>
            <a:r>
              <a:rPr lang="de-DE" noProof="0" dirty="0"/>
              <a:t>) </a:t>
            </a:r>
            <a:r>
              <a:rPr lang="de-DE" dirty="0"/>
              <a:t>// </a:t>
            </a:r>
            <a:r>
              <a:rPr lang="de-DE" dirty="0" err="1"/>
              <a:t>conclusion</a:t>
            </a:r>
            <a:r>
              <a:rPr lang="de-DE" dirty="0"/>
              <a:t> etc.: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etc.)</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11730327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924.xml><?xml version="1.0" encoding="utf-8"?>
<p:sldLayout xmlns:a="http://schemas.openxmlformats.org/drawingml/2006/main" xmlns:r="http://schemas.openxmlformats.org/officeDocument/2006/relationships" xmlns:p="http://schemas.openxmlformats.org/presentationml/2006/main" preserve="1" userDrawn="1">
  <p:cSld name="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213772711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925.xml><?xml version="1.0" encoding="utf-8"?>
<p:sldLayout xmlns:a="http://schemas.openxmlformats.org/drawingml/2006/main" xmlns:r="http://schemas.openxmlformats.org/officeDocument/2006/relationships" xmlns:p="http://schemas.openxmlformats.org/presentationml/2006/main" preserve="1" userDrawn="1">
  <p:cSld name="Text small // Image">
    <p:spTree>
      <p:nvGrpSpPr>
        <p:cNvPr id="1" name=""/>
        <p:cNvGrpSpPr/>
        <p:nvPr/>
      </p:nvGrpSpPr>
      <p:grpSpPr>
        <a:xfrm>
          <a:off x="0" y="0"/>
          <a:ext cx="0" cy="0"/>
          <a:chOff x="0" y="0"/>
          <a:chExt cx="0" cy="0"/>
        </a:xfrm>
      </p:grpSpPr>
      <p:sp>
        <p:nvSpPr>
          <p:cNvPr id="10" name="Picture Placeholder 3"/>
          <p:cNvSpPr>
            <a:spLocks noGrp="1"/>
          </p:cNvSpPr>
          <p:nvPr>
            <p:ph type="pic" sz="quarter" idx="14" hasCustomPrompt="1"/>
          </p:nvPr>
        </p:nvSpPr>
        <p:spPr bwMode="gray">
          <a:xfrm>
            <a:off x="4848875" y="1504604"/>
            <a:ext cx="6711903" cy="4875669"/>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8" name="Text Placeholder 7"/>
          <p:cNvSpPr>
            <a:spLocks noGrp="1"/>
          </p:cNvSpPr>
          <p:nvPr>
            <p:ph type="body" sz="quarter" idx="12" hasCustomPrompt="1"/>
          </p:nvPr>
        </p:nvSpPr>
        <p:spPr>
          <a:xfrm>
            <a:off x="629672" y="1504603"/>
            <a:ext cx="3857441" cy="4876681"/>
          </a:xfrm>
        </p:spPr>
        <p:txBody>
          <a:bodyPr>
            <a:normAutofit/>
          </a:bodyPr>
          <a:lstStyle>
            <a:lvl1pPr>
              <a:lnSpc>
                <a:spcPts val="2399"/>
              </a:lnSpc>
              <a:defRPr sz="1899" baseline="0"/>
            </a:lvl1pPr>
            <a:lvl2pPr>
              <a:lnSpc>
                <a:spcPts val="2399"/>
              </a:lnSpc>
              <a:defRPr sz="1899"/>
            </a:lvl2pPr>
            <a:lvl3pPr>
              <a:lnSpc>
                <a:spcPts val="2399"/>
              </a:lnSpc>
              <a:defRPr sz="1899"/>
            </a:lvl3pPr>
            <a:lvl4pPr>
              <a:lnSpc>
                <a:spcPts val="2399"/>
              </a:lnSpc>
              <a:defRPr sz="1899"/>
            </a:lvl4pPr>
            <a:lvl5pPr>
              <a:lnSpc>
                <a:spcPts val="2399"/>
              </a:lnSpc>
              <a:defRPr sz="1899"/>
            </a:lvl5pPr>
            <a:lvl6pPr>
              <a:lnSpc>
                <a:spcPts val="2399"/>
              </a:lnSpc>
              <a:defRPr sz="1899"/>
            </a:lvl6pPr>
            <a:lvl7pPr>
              <a:lnSpc>
                <a:spcPts val="2399"/>
              </a:lnSpc>
              <a:defRPr sz="1899"/>
            </a:lvl7pPr>
            <a:lvl8pPr>
              <a:lnSpc>
                <a:spcPts val="2399"/>
              </a:lnSpc>
              <a:defRPr sz="1899"/>
            </a:lvl8pPr>
            <a:lvl9pPr>
              <a:lnSpc>
                <a:spcPts val="2399"/>
              </a:lnSpc>
              <a:defRPr sz="1899"/>
            </a:lvl9pPr>
          </a:lstStyle>
          <a:p>
            <a:pPr lvl="0"/>
            <a:r>
              <a:rPr lang="de-DE" dirty="0"/>
              <a:t>Insert </a:t>
            </a:r>
            <a:r>
              <a:rPr lang="de-DE" dirty="0" err="1"/>
              <a:t>text</a:t>
            </a:r>
            <a:r>
              <a:rPr lang="de-DE" dirty="0"/>
              <a:t> in </a:t>
            </a:r>
            <a:r>
              <a:rPr lang="de-DE" noProof="0" dirty="0" err="1"/>
              <a:t>CorpoS</a:t>
            </a:r>
            <a:r>
              <a:rPr lang="de-DE" noProof="0" dirty="0"/>
              <a:t> (Body) 19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5" name="Title 4"/>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 </a:t>
            </a:r>
            <a:r>
              <a:rPr lang="de-DE" noProof="0" dirty="0" err="1"/>
              <a:t>for</a:t>
            </a:r>
            <a:r>
              <a:rPr lang="de-DE" noProof="0" dirty="0"/>
              <a:t> </a:t>
            </a:r>
            <a:r>
              <a:rPr lang="de-DE" noProof="0" dirty="0" err="1"/>
              <a:t>standard</a:t>
            </a:r>
            <a:r>
              <a:rPr lang="de-DE" noProof="0" dirty="0"/>
              <a:t> </a:t>
            </a:r>
            <a:br>
              <a:rPr lang="de-DE" noProof="0" dirty="0"/>
            </a:br>
            <a:r>
              <a:rPr lang="de-DE" noProof="0" dirty="0"/>
              <a:t>text-chart in </a:t>
            </a:r>
            <a:r>
              <a:rPr lang="de-DE" noProof="0" dirty="0" err="1"/>
              <a:t>two</a:t>
            </a:r>
            <a:r>
              <a:rPr lang="de-DE" noProof="0" dirty="0"/>
              <a:t> </a:t>
            </a:r>
            <a:r>
              <a:rPr lang="de-DE" noProof="0" dirty="0" err="1"/>
              <a:t>lines</a:t>
            </a:r>
            <a:endParaRPr lang="de-DE" dirty="0"/>
          </a:p>
        </p:txBody>
      </p:sp>
    </p:spTree>
    <p:extLst>
      <p:ext uri="{BB962C8B-B14F-4D97-AF65-F5344CB8AC3E}">
        <p14:creationId xmlns:p14="http://schemas.microsoft.com/office/powerpoint/2010/main" val="3828373539"/>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948">
          <p15:clr>
            <a:srgbClr val="FBAE40"/>
          </p15:clr>
        </p15:guide>
        <p15:guide id="3" orient="horz" pos="182">
          <p15:clr>
            <a:srgbClr val="FBAE40"/>
          </p15:clr>
        </p15:guide>
        <p15:guide id="4" pos="3056">
          <p15:clr>
            <a:srgbClr val="FBAE40"/>
          </p15:clr>
        </p15:guide>
        <p15:guide id="5" pos="2828">
          <p15:clr>
            <a:srgbClr val="FBAE40"/>
          </p15:clr>
        </p15:guide>
      </p15:sldGuideLst>
    </p:ext>
  </p:extLst>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userDrawn="1">
  <p:cSld name="Two contents with head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de-DE" dirty="0"/>
              <a:t>Insert </a:t>
            </a:r>
            <a:r>
              <a:rPr lang="de-DE" dirty="0" err="1"/>
              <a:t>content</a:t>
            </a:r>
            <a:r>
              <a:rPr lang="de-DE" dirty="0"/>
              <a:t> </a:t>
            </a:r>
            <a:r>
              <a:rPr lang="de-DE" dirty="0" err="1"/>
              <a:t>or</a:t>
            </a:r>
            <a:r>
              <a:rPr lang="de-DE" dirty="0"/>
              <a: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a:t>Insert </a:t>
            </a:r>
            <a:r>
              <a:rPr lang="de-DE" dirty="0" err="1"/>
              <a:t>headline</a:t>
            </a:r>
            <a:endParaRPr lang="de-DE" dirty="0"/>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a:t>Insert </a:t>
            </a:r>
            <a:r>
              <a:rPr lang="de-DE" dirty="0" err="1"/>
              <a:t>headline</a:t>
            </a:r>
            <a:endParaRPr lang="de-DE" dirty="0"/>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de-DE" dirty="0"/>
              <a:t>Insert </a:t>
            </a:r>
            <a:r>
              <a:rPr lang="de-DE" dirty="0" err="1"/>
              <a:t>content</a:t>
            </a:r>
            <a:r>
              <a:rPr lang="de-DE" dirty="0"/>
              <a:t> </a:t>
            </a:r>
            <a:r>
              <a:rPr lang="de-DE" dirty="0" err="1"/>
              <a:t>or</a:t>
            </a:r>
            <a:r>
              <a:rPr lang="de-DE" dirty="0"/>
              <a:t> </a:t>
            </a:r>
            <a:r>
              <a:rPr lang="de-DE" dirty="0" err="1"/>
              <a:t>text</a:t>
            </a:r>
            <a:r>
              <a:rPr lang="de-DE" dirty="0"/>
              <a:t> in </a:t>
            </a:r>
            <a:r>
              <a:rPr lang="de-DE" noProof="0" dirty="0" err="1"/>
              <a:t>Corpo</a:t>
            </a:r>
            <a:r>
              <a:rPr lang="de-DE" noProof="0" dirty="0"/>
              <a:t> S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p:txBody>
      </p:sp>
    </p:spTree>
    <p:extLst>
      <p:ext uri="{BB962C8B-B14F-4D97-AF65-F5344CB8AC3E}">
        <p14:creationId xmlns:p14="http://schemas.microsoft.com/office/powerpoint/2010/main" val="2682548311"/>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4 product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47"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Tree>
    <p:extLst>
      <p:ext uri="{BB962C8B-B14F-4D97-AF65-F5344CB8AC3E}">
        <p14:creationId xmlns:p14="http://schemas.microsoft.com/office/powerpoint/2010/main" val="358913162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Headline two lines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25278588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Headline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540118905"/>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a:t>
            </a:r>
            <a:r>
              <a:rPr lang="en-GB" noProof="0" dirty="0"/>
              <a:t> S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en-GB" dirty="0"/>
              <a:t>Insert text </a:t>
            </a:r>
            <a:r>
              <a:rPr lang="en-GB" noProof="0" dirty="0"/>
              <a:t>(Mark-ups in Bold) </a:t>
            </a:r>
            <a:r>
              <a:rPr lang="en-GB" dirty="0"/>
              <a:t>// conclusion etc.: Increase List Level</a:t>
            </a:r>
          </a:p>
          <a:p>
            <a:pPr lvl="1"/>
            <a:r>
              <a:rPr lang="en-GB" dirty="0"/>
              <a:t>Second level (Conclusion etc.)</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369095756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930.xml><?xml version="1.0" encoding="utf-8"?>
<p:sldLayout xmlns:a="http://schemas.openxmlformats.org/drawingml/2006/main" xmlns:r="http://schemas.openxmlformats.org/officeDocument/2006/relationships" xmlns:p="http://schemas.openxmlformats.org/presentationml/2006/main" userDrawn="1">
  <p:cSld name="Agenda without brushi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78367"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e-DE" noProof="0" dirty="0"/>
              <a:t>Headline </a:t>
            </a:r>
            <a:r>
              <a:rPr lang="de-DE" noProof="0" dirty="0" err="1"/>
              <a:t>for</a:t>
            </a:r>
            <a:r>
              <a:rPr lang="de-DE" noProof="0" dirty="0"/>
              <a:t> Agenda in </a:t>
            </a:r>
            <a:r>
              <a:rPr lang="de-DE" noProof="0" dirty="0" err="1"/>
              <a:t>CorpoS</a:t>
            </a:r>
            <a:r>
              <a:rPr lang="de-DE" noProof="0" dirty="0"/>
              <a:t> (Body) 35 </a:t>
            </a:r>
            <a:r>
              <a:rPr lang="de-DE" noProof="0" dirty="0" err="1"/>
              <a:t>pt</a:t>
            </a:r>
            <a:r>
              <a:rPr lang="de-DE" noProof="0" dirty="0"/>
              <a:t>. </a:t>
            </a:r>
            <a:br>
              <a:rPr lang="de-DE" noProof="0" dirty="0"/>
            </a:br>
            <a:r>
              <a:rPr lang="de-DE" noProof="0" dirty="0" err="1"/>
              <a:t>one</a:t>
            </a:r>
            <a:r>
              <a:rPr lang="de-DE" noProof="0" dirty="0"/>
              <a:t> </a:t>
            </a:r>
            <a:r>
              <a:rPr lang="de-DE" noProof="0" dirty="0" err="1"/>
              <a:t>or</a:t>
            </a:r>
            <a:r>
              <a:rPr lang="de-DE" noProof="0" dirty="0"/>
              <a:t>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Insert Agenda </a:t>
            </a:r>
            <a:r>
              <a:rPr lang="de-DE" dirty="0" err="1"/>
              <a:t>point</a:t>
            </a:r>
            <a:endParaRPr lang="de-DE" dirty="0"/>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857384912"/>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931.xml><?xml version="1.0" encoding="utf-8"?>
<p:sldLayout xmlns:a="http://schemas.openxmlformats.org/drawingml/2006/main" xmlns:r="http://schemas.openxmlformats.org/officeDocument/2006/relationships" xmlns:p="http://schemas.openxmlformats.org/presentationml/2006/main" showMasterSp="0" preserve="1" userDrawn="1">
  <p:cSld name="1_daimler blanco">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17939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8" name="Foliennummernplatzhalter 3">
            <a:extLst>
              <a:ext uri="{FF2B5EF4-FFF2-40B4-BE49-F238E27FC236}">
                <a16:creationId xmlns:a16="http://schemas.microsoft.com/office/drawing/2014/main" id="{3E15A405-AB95-44E1-98C0-C8DC619077BB}"/>
              </a:ext>
            </a:extLst>
          </p:cNvPr>
          <p:cNvSpPr txBox="1">
            <a:spLocks/>
          </p:cNvSpPr>
          <p:nvPr userDrawn="1"/>
        </p:nvSpPr>
        <p:spPr>
          <a:xfrm>
            <a:off x="11442992" y="6506836"/>
            <a:ext cx="1155196" cy="215950"/>
          </a:xfrm>
          <a:prstGeom prst="rect">
            <a:avLst/>
          </a:prstGeom>
        </p:spPr>
        <p:txBody>
          <a:bodyPr vert="horz" lIns="0" tIns="0" rIns="0" bIns="0" rtlCol="0" anchor="t" anchorCtr="0"/>
          <a:lstStyle>
            <a:defPPr>
              <a:defRPr lang="de-DE"/>
            </a:defPPr>
            <a:lvl1pPr marL="0" indent="0" algn="l" defTabSz="1088959" rtl="0" eaLnBrk="1" latinLnBrk="0" hangingPunct="1">
              <a:spcBef>
                <a:spcPts val="0"/>
              </a:spcBef>
              <a:buFont typeface="Arial" panose="020B0604020202020204" pitchFamily="34" charset="0"/>
              <a:buNone/>
              <a:defRPr sz="1200" kern="1200">
                <a:solidFill>
                  <a:schemeClr val="tx1"/>
                </a:solidFill>
                <a:latin typeface="+mn-lt"/>
                <a:ea typeface="+mn-ea"/>
                <a:cs typeface="+mn-cs"/>
              </a:defRPr>
            </a:lvl1pPr>
            <a:lvl2pPr marL="0" indent="0" algn="l" defTabSz="1088959" rtl="0" eaLnBrk="1" latinLnBrk="0" hangingPunct="1">
              <a:spcBef>
                <a:spcPts val="0"/>
              </a:spcBef>
              <a:defRPr sz="1200" kern="1200">
                <a:solidFill>
                  <a:schemeClr val="tx1"/>
                </a:solidFill>
                <a:latin typeface="+mn-lt"/>
                <a:ea typeface="+mn-ea"/>
                <a:cs typeface="+mn-cs"/>
              </a:defRPr>
            </a:lvl2pPr>
            <a:lvl3pPr marL="0" indent="0" algn="l" defTabSz="1088959" rtl="0" eaLnBrk="1" latinLnBrk="0" hangingPunct="1">
              <a:spcBef>
                <a:spcPts val="0"/>
              </a:spcBef>
              <a:defRPr sz="1200" kern="1200">
                <a:solidFill>
                  <a:schemeClr val="tx1"/>
                </a:solidFill>
                <a:latin typeface="+mn-lt"/>
                <a:ea typeface="+mn-ea"/>
                <a:cs typeface="+mn-cs"/>
              </a:defRPr>
            </a:lvl3pPr>
            <a:lvl4pPr marL="0" indent="0" algn="l" defTabSz="1088959" rtl="0" eaLnBrk="1" latinLnBrk="0" hangingPunct="1">
              <a:spcBef>
                <a:spcPts val="0"/>
              </a:spcBef>
              <a:defRPr sz="1200" kern="1200">
                <a:solidFill>
                  <a:schemeClr val="tx1"/>
                </a:solidFill>
                <a:latin typeface="+mn-lt"/>
                <a:ea typeface="+mn-ea"/>
                <a:cs typeface="+mn-cs"/>
              </a:defRPr>
            </a:lvl4pPr>
            <a:lvl5pPr marL="0" indent="0" algn="l" defTabSz="1088959" rtl="0" eaLnBrk="1" latinLnBrk="0" hangingPunct="1">
              <a:spcBef>
                <a:spcPts val="0"/>
              </a:spcBef>
              <a:defRPr sz="1200" kern="1200">
                <a:solidFill>
                  <a:schemeClr val="tx1"/>
                </a:solidFill>
                <a:latin typeface="+mn-lt"/>
                <a:ea typeface="+mn-ea"/>
                <a:cs typeface="+mn-cs"/>
              </a:defRPr>
            </a:lvl5pPr>
            <a:lvl6pPr marL="0" indent="0" algn="l" defTabSz="1088959" rtl="0" eaLnBrk="1" latinLnBrk="0" hangingPunct="1">
              <a:spcBef>
                <a:spcPts val="0"/>
              </a:spcBef>
              <a:defRPr sz="1200" kern="1200">
                <a:solidFill>
                  <a:schemeClr val="tx1"/>
                </a:solidFill>
                <a:latin typeface="+mn-lt"/>
                <a:ea typeface="+mn-ea"/>
                <a:cs typeface="+mn-cs"/>
              </a:defRPr>
            </a:lvl6pPr>
            <a:lvl7pPr marL="0" indent="0" algn="l" defTabSz="1088959" rtl="0" eaLnBrk="1" latinLnBrk="0" hangingPunct="1">
              <a:spcBef>
                <a:spcPts val="0"/>
              </a:spcBef>
              <a:defRPr sz="1200" kern="1200">
                <a:solidFill>
                  <a:schemeClr val="tx1"/>
                </a:solidFill>
                <a:latin typeface="+mn-lt"/>
                <a:ea typeface="+mn-ea"/>
                <a:cs typeface="+mn-cs"/>
              </a:defRPr>
            </a:lvl7pPr>
            <a:lvl8pPr marL="0" indent="0" algn="l" defTabSz="1088959" rtl="0" eaLnBrk="1" latinLnBrk="0" hangingPunct="1">
              <a:spcBef>
                <a:spcPts val="0"/>
              </a:spcBef>
              <a:defRPr sz="1200" kern="1200">
                <a:solidFill>
                  <a:schemeClr val="tx1"/>
                </a:solidFill>
                <a:latin typeface="+mn-lt"/>
                <a:ea typeface="+mn-ea"/>
                <a:cs typeface="+mn-cs"/>
              </a:defRPr>
            </a:lvl8pPr>
            <a:lvl9pPr marL="0" indent="0" algn="l" defTabSz="1088959" rtl="0" eaLnBrk="1" latinLnBrk="0" hangingPunct="1">
              <a:spcBef>
                <a:spcPts val="0"/>
              </a:spcBef>
              <a:defRPr sz="1200" kern="1200">
                <a:solidFill>
                  <a:schemeClr val="tx1"/>
                </a:solidFill>
                <a:latin typeface="+mn-lt"/>
                <a:ea typeface="+mn-ea"/>
                <a:cs typeface="+mn-cs"/>
              </a:defRPr>
            </a:lvl9pPr>
          </a:lstStyle>
          <a:p>
            <a:r>
              <a:rPr lang="de-DE" sz="1199" b="1" dirty="0">
                <a:solidFill>
                  <a:prstClr val="black"/>
                </a:solidFill>
              </a:rPr>
              <a:t>PAGE </a:t>
            </a:r>
            <a:fld id="{52531704-8F80-415D-BD2B-6B9991AE822F}" type="slidenum">
              <a:rPr lang="de-DE" sz="1199" b="1" smtClean="0">
                <a:solidFill>
                  <a:prstClr val="black"/>
                </a:solidFill>
              </a:rPr>
              <a:pPr/>
              <a:t>‹#›</a:t>
            </a:fld>
            <a:endParaRPr lang="de-DE" sz="1199" b="1" dirty="0">
              <a:solidFill>
                <a:prstClr val="black"/>
              </a:solidFill>
            </a:endParaRPr>
          </a:p>
        </p:txBody>
      </p:sp>
    </p:spTree>
    <p:extLst>
      <p:ext uri="{BB962C8B-B14F-4D97-AF65-F5344CB8AC3E}">
        <p14:creationId xmlns:p14="http://schemas.microsoft.com/office/powerpoint/2010/main" val="107463560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66">
          <p15:clr>
            <a:srgbClr val="FBAE40"/>
          </p15:clr>
        </p15:guide>
        <p15:guide id="3" orient="horz" pos="754">
          <p15:clr>
            <a:srgbClr val="FBAE40"/>
          </p15:clr>
        </p15:guide>
        <p15:guide id="4" orient="horz" pos="845">
          <p15:clr>
            <a:srgbClr val="FBAE40"/>
          </p15:clr>
        </p15:guide>
      </p15:sldGuideLst>
    </p:ext>
  </p:extLst>
</p:sldLayout>
</file>

<file path=ppt/slideLayouts/slideLayout932.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80415"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252432818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933.xml><?xml version="1.0" encoding="utf-8"?>
<p:sldLayout xmlns:a="http://schemas.openxmlformats.org/drawingml/2006/main" xmlns:r="http://schemas.openxmlformats.org/officeDocument/2006/relationships" xmlns:p="http://schemas.openxmlformats.org/presentationml/2006/main" showMasterSp="0" userDrawn="1">
  <p:cSld name="Full image">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81439"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5" name="Listenebene erhöhen"/>
                <p:cNvPicPr>
                  <a:picLocks noChangeAspect="1"/>
                </p:cNvPicPr>
                <p:nvPr userDrawn="1"/>
              </p:nvPicPr>
              <p:blipFill>
                <a:blip r:embed="rId6"/>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7"/>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31063604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934.xml><?xml version="1.0" encoding="utf-8"?>
<p:sldLayout xmlns:a="http://schemas.openxmlformats.org/drawingml/2006/main" xmlns:r="http://schemas.openxmlformats.org/officeDocument/2006/relationships" xmlns:p="http://schemas.openxmlformats.org/presentationml/2006/main" showMasterSp="0"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a:t>
            </a:r>
            <a:br>
              <a:rPr lang="de-DE" dirty="0"/>
            </a:br>
            <a:r>
              <a:rPr lang="de-DE" dirty="0" err="1"/>
              <a:t>Presentation</a:t>
            </a:r>
            <a:r>
              <a:rPr lang="de-DE" dirty="0"/>
              <a:t> title in </a:t>
            </a:r>
            <a:r>
              <a:rPr lang="de-DE" dirty="0" err="1"/>
              <a:t>two</a:t>
            </a:r>
            <a:r>
              <a:rPr lang="de-DE" dirty="0"/>
              <a:t> </a:t>
            </a:r>
            <a:r>
              <a:rPr lang="de-DE" dirty="0" err="1"/>
              <a:t>or</a:t>
            </a:r>
            <a:r>
              <a:rPr lang="de-DE" dirty="0"/>
              <a:t> </a:t>
            </a:r>
            <a:r>
              <a:rPr lang="de-DE" dirty="0" err="1"/>
              <a:t>three</a:t>
            </a:r>
            <a:r>
              <a:rPr lang="de-DE" dirty="0"/>
              <a:t> </a:t>
            </a:r>
            <a:br>
              <a:rPr lang="de-DE" dirty="0"/>
            </a:b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2307517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935.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82463"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Datumsplatzhalter 1"/>
          <p:cNvSpPr>
            <a:spLocks noGrp="1"/>
          </p:cNvSpPr>
          <p:nvPr>
            <p:ph type="dt" sz="half" idx="10"/>
          </p:nvPr>
        </p:nvSpPr>
        <p:spPr>
          <a:xfrm>
            <a:off x="838200" y="6356350"/>
            <a:ext cx="2743200" cy="365125"/>
          </a:xfrm>
          <a:prstGeom prst="rect">
            <a:avLst/>
          </a:prstGeom>
        </p:spPr>
        <p:txBody>
          <a:bodyPr/>
          <a:lstStyle/>
          <a:p>
            <a:pPr defTabSz="914126"/>
            <a:fld id="{9D8AD672-C06F-435A-873C-D96653C817C2}" type="datetimeFigureOut">
              <a:rPr lang="de-DE" smtClean="0">
                <a:solidFill>
                  <a:prstClr val="black"/>
                </a:solidFill>
              </a:rPr>
              <a:pPr defTabSz="914126"/>
              <a:t>26.04.2019</a:t>
            </a:fld>
            <a:endParaRPr lang="de-DE" dirty="0">
              <a:solidFill>
                <a:prstClr val="black"/>
              </a:solidFill>
            </a:endParaRPr>
          </a:p>
        </p:txBody>
      </p:sp>
      <p:sp>
        <p:nvSpPr>
          <p:cNvPr id="3" name="Fußzeilenplatzhalter 2"/>
          <p:cNvSpPr>
            <a:spLocks noGrp="1"/>
          </p:cNvSpPr>
          <p:nvPr>
            <p:ph type="ftr" sz="quarter" idx="11"/>
          </p:nvPr>
        </p:nvSpPr>
        <p:spPr/>
        <p:txBody>
          <a:bodyPr/>
          <a:lstStyle>
            <a:lvl1pPr eaLnBrk="1">
              <a:defRPr/>
            </a:lvl1pPr>
          </a:lstStyle>
          <a:p>
            <a:endParaRPr lang="de-DE" dirty="0">
              <a:solidFill>
                <a:prstClr val="black"/>
              </a:solidFill>
            </a:endParaRPr>
          </a:p>
        </p:txBody>
      </p:sp>
      <p:sp>
        <p:nvSpPr>
          <p:cNvPr id="4" name="Foliennummernplatzhalter 3"/>
          <p:cNvSpPr>
            <a:spLocks noGrp="1"/>
          </p:cNvSpPr>
          <p:nvPr>
            <p:ph type="sldNum" sz="quarter" idx="12"/>
          </p:nvPr>
        </p:nvSpPr>
        <p:spPr/>
        <p:txBody>
          <a:bodyPr/>
          <a:lstStyle/>
          <a:p>
            <a:fld id="{A2229452-8F2B-4626-918F-01887DB5935C}"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1572343588"/>
      </p:ext>
    </p:extLst>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showMasterSp="0" userDrawn="1">
  <p:cSld name="1_4. Brushing/ image 2 columns">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8348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14" name="Picture Placeholder 3"/>
          <p:cNvSpPr>
            <a:spLocks noGrp="1"/>
          </p:cNvSpPr>
          <p:nvPr>
            <p:ph type="pic" sz="quarter" idx="13" hasCustomPrompt="1"/>
          </p:nvPr>
        </p:nvSpPr>
        <p:spPr bwMode="gray">
          <a:xfrm>
            <a:off x="-19040" y="0"/>
            <a:ext cx="12211833" cy="5588740"/>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 name="connsiteX0" fmla="*/ 0 w 12218193"/>
              <a:gd name="connsiteY0" fmla="*/ 9525 h 4086000"/>
              <a:gd name="connsiteX1" fmla="*/ 12217399 w 12218193"/>
              <a:gd name="connsiteY1" fmla="*/ 0 h 4086000"/>
              <a:gd name="connsiteX2" fmla="*/ 12218193 w 12218193"/>
              <a:gd name="connsiteY2" fmla="*/ 3455194 h 4086000"/>
              <a:gd name="connsiteX3" fmla="*/ 5038725 w 12218193"/>
              <a:gd name="connsiteY3" fmla="*/ 4086000 h 4086000"/>
              <a:gd name="connsiteX4" fmla="*/ 0 w 12218193"/>
              <a:gd name="connsiteY4" fmla="*/ 9525 h 4086000"/>
              <a:gd name="connsiteX0" fmla="*/ 0 w 12218193"/>
              <a:gd name="connsiteY0" fmla="*/ 9525 h 4533675"/>
              <a:gd name="connsiteX1" fmla="*/ 12217399 w 12218193"/>
              <a:gd name="connsiteY1" fmla="*/ 0 h 4533675"/>
              <a:gd name="connsiteX2" fmla="*/ 12218193 w 12218193"/>
              <a:gd name="connsiteY2" fmla="*/ 3455194 h 4533675"/>
              <a:gd name="connsiteX3" fmla="*/ 28575 w 12218193"/>
              <a:gd name="connsiteY3" fmla="*/ 4533675 h 4533675"/>
              <a:gd name="connsiteX4" fmla="*/ 0 w 12218193"/>
              <a:gd name="connsiteY4" fmla="*/ 9525 h 4533675"/>
              <a:gd name="connsiteX0" fmla="*/ 0 w 12218193"/>
              <a:gd name="connsiteY0" fmla="*/ 9525 h 4543200"/>
              <a:gd name="connsiteX1" fmla="*/ 12217399 w 12218193"/>
              <a:gd name="connsiteY1" fmla="*/ 0 h 4543200"/>
              <a:gd name="connsiteX2" fmla="*/ 12218193 w 12218193"/>
              <a:gd name="connsiteY2" fmla="*/ 3455194 h 4543200"/>
              <a:gd name="connsiteX3" fmla="*/ 19050 w 12218193"/>
              <a:gd name="connsiteY3" fmla="*/ 4543200 h 4543200"/>
              <a:gd name="connsiteX4" fmla="*/ 0 w 12218193"/>
              <a:gd name="connsiteY4" fmla="*/ 9525 h 4543200"/>
              <a:gd name="connsiteX0" fmla="*/ 0 w 12218193"/>
              <a:gd name="connsiteY0" fmla="*/ 9525 h 3817485"/>
              <a:gd name="connsiteX1" fmla="*/ 12217399 w 12218193"/>
              <a:gd name="connsiteY1" fmla="*/ 0 h 3817485"/>
              <a:gd name="connsiteX2" fmla="*/ 12218193 w 12218193"/>
              <a:gd name="connsiteY2" fmla="*/ 3455194 h 3817485"/>
              <a:gd name="connsiteX3" fmla="*/ 4536 w 12218193"/>
              <a:gd name="connsiteY3" fmla="*/ 3817485 h 3817485"/>
              <a:gd name="connsiteX4" fmla="*/ 0 w 12218193"/>
              <a:gd name="connsiteY4" fmla="*/ 9525 h 3817485"/>
              <a:gd name="connsiteX0" fmla="*/ 0 w 12218193"/>
              <a:gd name="connsiteY0" fmla="*/ 9525 h 3875543"/>
              <a:gd name="connsiteX1" fmla="*/ 12217399 w 12218193"/>
              <a:gd name="connsiteY1" fmla="*/ 0 h 3875543"/>
              <a:gd name="connsiteX2" fmla="*/ 12218193 w 12218193"/>
              <a:gd name="connsiteY2" fmla="*/ 3455194 h 3875543"/>
              <a:gd name="connsiteX3" fmla="*/ 19050 w 12218193"/>
              <a:gd name="connsiteY3" fmla="*/ 3875543 h 3875543"/>
              <a:gd name="connsiteX4" fmla="*/ 0 w 12218193"/>
              <a:gd name="connsiteY4" fmla="*/ 9525 h 3875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8193" h="3875543">
                <a:moveTo>
                  <a:pt x="0" y="9525"/>
                </a:moveTo>
                <a:lnTo>
                  <a:pt x="12217399" y="0"/>
                </a:lnTo>
                <a:cubicBezTo>
                  <a:pt x="12217664" y="1151731"/>
                  <a:pt x="12217928" y="2303463"/>
                  <a:pt x="12218193" y="3455194"/>
                </a:cubicBezTo>
                <a:lnTo>
                  <a:pt x="19050" y="3875543"/>
                </a:lnTo>
                <a:lnTo>
                  <a:pt x="0" y="9525"/>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3" name="Freihandform 12"/>
          <p:cNvSpPr/>
          <p:nvPr userDrawn="1"/>
        </p:nvSpPr>
        <p:spPr>
          <a:xfrm>
            <a:off x="-9519" y="4940818"/>
            <a:ext cx="12214213" cy="1917182"/>
          </a:xfrm>
          <a:custGeom>
            <a:avLst/>
            <a:gdLst>
              <a:gd name="connsiteX0" fmla="*/ 0 w 12220575"/>
              <a:gd name="connsiteY0" fmla="*/ 1066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0 w 12220575"/>
              <a:gd name="connsiteY4" fmla="*/ 1066800 h 3019425"/>
              <a:gd name="connsiteX0" fmla="*/ 19050 w 12220575"/>
              <a:gd name="connsiteY0" fmla="*/ 304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19050 w 12220575"/>
              <a:gd name="connsiteY4" fmla="*/ 304800 h 3019425"/>
              <a:gd name="connsiteX0" fmla="*/ 0 w 12220575"/>
              <a:gd name="connsiteY0" fmla="*/ 304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0 w 12220575"/>
              <a:gd name="connsiteY4" fmla="*/ 304800 h 3019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20575" h="3019425">
                <a:moveTo>
                  <a:pt x="0" y="304800"/>
                </a:moveTo>
                <a:lnTo>
                  <a:pt x="0" y="3019425"/>
                </a:lnTo>
                <a:lnTo>
                  <a:pt x="12220575" y="3019425"/>
                </a:lnTo>
                <a:lnTo>
                  <a:pt x="12220575" y="0"/>
                </a:lnTo>
                <a:lnTo>
                  <a:pt x="0" y="30480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15"/>
            <a:endParaRPr lang="de-DE" sz="2099" dirty="0">
              <a:solidFill>
                <a:prstClr val="white"/>
              </a:solidFill>
            </a:endParaRPr>
          </a:p>
        </p:txBody>
      </p:sp>
    </p:spTree>
    <p:extLst>
      <p:ext uri="{BB962C8B-B14F-4D97-AF65-F5344CB8AC3E}">
        <p14:creationId xmlns:p14="http://schemas.microsoft.com/office/powerpoint/2010/main" val="404155440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937.xml><?xml version="1.0" encoding="utf-8"?>
<p:sldLayout xmlns:a="http://schemas.openxmlformats.org/drawingml/2006/main" xmlns:r="http://schemas.openxmlformats.org/officeDocument/2006/relationships" xmlns:p="http://schemas.openxmlformats.org/presentationml/2006/main" type="tx">
  <p:cSld name="Dark Background">
    <p:spTree>
      <p:nvGrpSpPr>
        <p:cNvPr id="1" name=""/>
        <p:cNvGrpSpPr/>
        <p:nvPr/>
      </p:nvGrpSpPr>
      <p:grpSpPr>
        <a:xfrm>
          <a:off x="0" y="0"/>
          <a:ext cx="0" cy="0"/>
          <a:chOff x="0" y="0"/>
          <a:chExt cx="0" cy="0"/>
        </a:xfrm>
      </p:grpSpPr>
      <p:sp>
        <p:nvSpPr>
          <p:cNvPr id="18" name="Rechteck"/>
          <p:cNvSpPr/>
          <p:nvPr/>
        </p:nvSpPr>
        <p:spPr>
          <a:xfrm>
            <a:off x="0" y="0"/>
            <a:ext cx="12192000" cy="6858000"/>
          </a:xfrm>
          <a:prstGeom prst="rect">
            <a:avLst/>
          </a:prstGeom>
          <a:solidFill>
            <a:srgbClr val="2C2B31"/>
          </a:solidFill>
          <a:ln w="12700">
            <a:miter lim="400000"/>
          </a:ln>
        </p:spPr>
        <p:txBody>
          <a:bodyPr lIns="29065" tIns="29065" rIns="29065" bIns="29065" anchor="ctr"/>
          <a:lstStyle/>
          <a:p>
            <a:pPr defTabSz="744062">
              <a:defRPr sz="2400"/>
            </a:pPr>
            <a:endParaRPr lang="de-DE" sz="1362" dirty="0">
              <a:solidFill>
                <a:prstClr val="black"/>
              </a:solidFill>
            </a:endParaRPr>
          </a:p>
        </p:txBody>
      </p:sp>
      <p:sp>
        <p:nvSpPr>
          <p:cNvPr id="19" name="Foliennummer"/>
          <p:cNvSpPr txBox="1">
            <a:spLocks noGrp="1"/>
          </p:cNvSpPr>
          <p:nvPr>
            <p:ph type="sldNum" sz="quarter" idx="2"/>
          </p:nvPr>
        </p:nvSpPr>
        <p:spPr>
          <a:xfrm>
            <a:off x="5932244" y="6505278"/>
            <a:ext cx="316541" cy="266369"/>
          </a:xfrm>
          <a:prstGeom prst="rect">
            <a:avLst/>
          </a:prstGeom>
        </p:spPr>
        <p:txBody>
          <a:bodyPr lIns="51196" tIns="51196" rIns="51196" bIns="51196"/>
          <a:lstStyle>
            <a:lvl1pPr algn="ctr" defTabSz="334259">
              <a:defRPr sz="1021">
                <a:solidFill>
                  <a:srgbClr val="000000"/>
                </a:solidFill>
                <a:latin typeface="+mn-lt"/>
                <a:ea typeface="+mn-ea"/>
                <a:cs typeface="+mn-cs"/>
                <a:sym typeface="Helvetica Light"/>
              </a:defRPr>
            </a:lvl1pPr>
          </a:lstStyle>
          <a:p>
            <a:fld id="{86CB4B4D-7CA3-9044-876B-883B54F8677D}" type="slidenum">
              <a:rPr lang="de-DE" smtClean="0"/>
              <a:pPr/>
              <a:t>‹#›</a:t>
            </a:fld>
            <a:endParaRPr lang="de-DE" dirty="0"/>
          </a:p>
        </p:txBody>
      </p:sp>
    </p:spTree>
    <p:extLst>
      <p:ext uri="{BB962C8B-B14F-4D97-AF65-F5344CB8AC3E}">
        <p14:creationId xmlns:p14="http://schemas.microsoft.com/office/powerpoint/2010/main" val="3195260517"/>
      </p:ext>
    </p:extLst>
  </p:cSld>
  <p:clrMapOvr>
    <a:masterClrMapping/>
  </p:clrMapOvr>
  <p:transition spd="med"/>
</p:sldLayout>
</file>

<file path=ppt/slideLayouts/slideLayout938.xml><?xml version="1.0" encoding="utf-8"?>
<p:sldLayout xmlns:a="http://schemas.openxmlformats.org/drawingml/2006/main" xmlns:r="http://schemas.openxmlformats.org/officeDocument/2006/relationships" xmlns:p="http://schemas.openxmlformats.org/presentationml/2006/main" userDrawn="1">
  <p:cSld name="Blank/ Headline 2 line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185535"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71" y="285982"/>
            <a:ext cx="10931106" cy="683842"/>
          </a:xfrm>
        </p:spPr>
        <p:txBody>
          <a:bodyPr/>
          <a:lstStyle/>
          <a:p>
            <a:r>
              <a:rPr lang="en-US" noProof="0" dirty="0"/>
              <a:t>Headline in </a:t>
            </a:r>
            <a:r>
              <a:rPr lang="en-US" noProof="0" dirty="0" err="1"/>
              <a:t>CorpoS</a:t>
            </a:r>
            <a:r>
              <a:rPr lang="en-US" noProof="0" dirty="0"/>
              <a:t> (Body) 35 pt.</a:t>
            </a:r>
            <a:endParaRPr lang="en-US" dirty="0"/>
          </a:p>
        </p:txBody>
      </p:sp>
      <p:sp>
        <p:nvSpPr>
          <p:cNvPr id="3" name="Footer Placeholder 2"/>
          <p:cNvSpPr>
            <a:spLocks noGrp="1"/>
          </p:cNvSpPr>
          <p:nvPr>
            <p:ph type="ftr" sz="quarter" idx="10"/>
          </p:nvPr>
        </p:nvSpPr>
        <p:spPr/>
        <p:txBody>
          <a:bodyPr/>
          <a:lstStyle/>
          <a:p>
            <a:r>
              <a:rPr lang="en-US" dirty="0">
                <a:solidFill>
                  <a:prstClr val="black"/>
                </a:solidFill>
              </a:rPr>
              <a:t>DFS Capital Market Day</a:t>
            </a:r>
          </a:p>
        </p:txBody>
      </p:sp>
      <p:sp>
        <p:nvSpPr>
          <p:cNvPr id="4" name="Slide Number Placeholder 3"/>
          <p:cNvSpPr>
            <a:spLocks noGrp="1"/>
          </p:cNvSpPr>
          <p:nvPr>
            <p:ph type="sldNum" sz="quarter" idx="11"/>
          </p:nvPr>
        </p:nvSpPr>
        <p:spPr/>
        <p:txBody>
          <a:bodyPr/>
          <a:lstStyle/>
          <a:p>
            <a:r>
              <a:rPr lang="en-US" dirty="0">
                <a:solidFill>
                  <a:prstClr val="black"/>
                </a:solidFill>
              </a:rPr>
              <a:t>Page </a:t>
            </a:r>
            <a:fld id="{52531704-8F80-415D-BD2B-6B9991AE822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991625260"/>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939.xml><?xml version="1.0" encoding="utf-8"?>
<p:sldLayout xmlns:a="http://schemas.openxmlformats.org/drawingml/2006/main" xmlns:r="http://schemas.openxmlformats.org/officeDocument/2006/relationships" xmlns:p="http://schemas.openxmlformats.org/presentationml/2006/main" showMasterSp="0" preserve="1" userDrawn="1">
  <p:cSld name="Title 3/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7" name="Hinweise links"/>
            <p:cNvGrpSpPr/>
            <p:nvPr userDrawn="1"/>
          </p:nvGrpSpPr>
          <p:grpSpPr>
            <a:xfrm>
              <a:off x="-2088000" y="0"/>
              <a:ext cx="1980000" cy="3528000"/>
              <a:chOff x="-2088000" y="0"/>
              <a:chExt cx="1980000" cy="3528000"/>
            </a:xfrm>
          </p:grpSpPr>
          <p:sp>
            <p:nvSpPr>
              <p:cNvPr id="28"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5121280"/>
            <a:ext cx="10930832" cy="1025684"/>
          </a:xfrm>
        </p:spPr>
        <p:txBody>
          <a:bodyPr wrap="square" anchor="b" anchorCtr="0">
            <a:spAutoFit/>
          </a:bodyPr>
          <a:lstStyle>
            <a:lvl1pPr>
              <a:defRPr baseline="0"/>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 </a:t>
            </a:r>
            <a:r>
              <a:rPr lang="de-DE" dirty="0" err="1"/>
              <a:t>Presentation</a:t>
            </a:r>
            <a:r>
              <a:rPr lang="de-DE" dirty="0"/>
              <a:t> title</a:t>
            </a:r>
            <a:br>
              <a:rPr lang="de-DE" dirty="0"/>
            </a:br>
            <a:r>
              <a:rPr lang="de-DE" dirty="0"/>
              <a:t>in </a:t>
            </a:r>
            <a:r>
              <a:rPr lang="de-DE" dirty="0" err="1"/>
              <a:t>two</a:t>
            </a:r>
            <a:r>
              <a:rPr lang="de-DE" dirty="0"/>
              <a:t> </a:t>
            </a: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29"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696547991"/>
      </p:ext>
    </p:extLst>
  </p:cSld>
  <p:clrMapOvr>
    <a:masterClrMapping/>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en-GB" dirty="0"/>
              <a:t>Insert text in </a:t>
            </a:r>
            <a:r>
              <a:rPr lang="en-GB" noProof="0" dirty="0" err="1"/>
              <a:t>CorpoS</a:t>
            </a:r>
            <a:r>
              <a:rPr lang="en-GB" noProof="0" dirty="0"/>
              <a:t>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Tree>
    <p:extLst>
      <p:ext uri="{BB962C8B-B14F-4D97-AF65-F5344CB8AC3E}">
        <p14:creationId xmlns:p14="http://schemas.microsoft.com/office/powerpoint/2010/main" val="121906414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940.xml><?xml version="1.0" encoding="utf-8"?>
<p:sldLayout xmlns:a="http://schemas.openxmlformats.org/drawingml/2006/main" xmlns:r="http://schemas.openxmlformats.org/officeDocument/2006/relationships" xmlns:p="http://schemas.openxmlformats.org/presentationml/2006/main" showMasterSp="0" preserve="1" userDrawn="1">
  <p:cSld name="Title 2/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8323" y="5121280"/>
            <a:ext cx="10932181" cy="1025684"/>
          </a:xfrm>
        </p:spPr>
        <p:txBody>
          <a:bodyPr wrap="square" anchor="b" anchorCtr="0">
            <a:spAutoFit/>
          </a:bodyPr>
          <a:lstStyle>
            <a:lvl1pPr>
              <a:defRPr/>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 </a:t>
            </a:r>
            <a:r>
              <a:rPr lang="de-DE" dirty="0" err="1"/>
              <a:t>Presentation</a:t>
            </a:r>
            <a:r>
              <a:rPr lang="de-DE" dirty="0"/>
              <a:t> title</a:t>
            </a:r>
            <a:br>
              <a:rPr lang="de-DE" dirty="0"/>
            </a:br>
            <a:r>
              <a:rPr lang="de-DE" dirty="0"/>
              <a:t>in </a:t>
            </a:r>
            <a:r>
              <a:rPr lang="de-DE" dirty="0" err="1"/>
              <a:t>two</a:t>
            </a:r>
            <a:r>
              <a:rPr lang="de-DE" dirty="0"/>
              <a:t> </a:t>
            </a:r>
            <a:r>
              <a:rPr lang="de-DE" dirty="0" err="1"/>
              <a:t>or</a:t>
            </a:r>
            <a:r>
              <a:rPr lang="de-DE" dirty="0"/>
              <a:t> </a:t>
            </a:r>
            <a:r>
              <a:rPr lang="de-DE" dirty="0" err="1"/>
              <a:t>more</a:t>
            </a:r>
            <a:r>
              <a:rPr lang="de-DE" dirty="0"/>
              <a:t> </a:t>
            </a: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20117494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941.xml><?xml version="1.0" encoding="utf-8"?>
<p:sldLayout xmlns:a="http://schemas.openxmlformats.org/drawingml/2006/main" xmlns:r="http://schemas.openxmlformats.org/officeDocument/2006/relationships" xmlns:p="http://schemas.openxmlformats.org/presentationml/2006/main" showMasterSp="0" preserve="1" userDrawn="1">
  <p:cSld name="Title 1/4 brush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4" name="Regieanweisungen"/>
          <p:cNvGrpSpPr/>
          <p:nvPr userDrawn="1"/>
        </p:nvGrpSpPr>
        <p:grpSpPr>
          <a:xfrm>
            <a:off x="-2086913" y="-467892"/>
            <a:ext cx="13647691" cy="7792196"/>
            <a:chOff x="-2088000" y="-468000"/>
            <a:chExt cx="13654799" cy="7794000"/>
          </a:xfrm>
        </p:grpSpPr>
        <p:sp>
          <p:nvSpPr>
            <p:cNvPr id="15"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6"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7"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0" name="Listenebenen"/>
              <p:cNvGrpSpPr/>
              <p:nvPr userDrawn="1"/>
            </p:nvGrpSpPr>
            <p:grpSpPr>
              <a:xfrm>
                <a:off x="-1692000" y="2232000"/>
                <a:ext cx="1548000" cy="792000"/>
                <a:chOff x="-1692000" y="2160000"/>
                <a:chExt cx="1548000" cy="792000"/>
              </a:xfrm>
            </p:grpSpPr>
            <p:sp>
              <p:nvSpPr>
                <p:cNvPr id="31"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2"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3"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2" name="Titel 1"/>
          <p:cNvSpPr>
            <a:spLocks noGrp="1"/>
          </p:cNvSpPr>
          <p:nvPr>
            <p:ph type="ctrTitle" hasCustomPrompt="1"/>
          </p:nvPr>
        </p:nvSpPr>
        <p:spPr>
          <a:xfrm>
            <a:off x="629672" y="4608438"/>
            <a:ext cx="10930832" cy="1538527"/>
          </a:xfrm>
        </p:spPr>
        <p:txBody>
          <a:bodyPr wrap="square" anchor="b" anchorCtr="0">
            <a:spAutoFit/>
          </a:bodyPr>
          <a:lstStyle>
            <a:lvl1pPr>
              <a:defRPr baseline="0"/>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a:t>
            </a:r>
            <a:br>
              <a:rPr lang="de-DE" dirty="0"/>
            </a:br>
            <a:r>
              <a:rPr lang="de-DE" dirty="0" err="1"/>
              <a:t>Presentation</a:t>
            </a:r>
            <a:r>
              <a:rPr lang="de-DE" dirty="0"/>
              <a:t> title in </a:t>
            </a:r>
            <a:r>
              <a:rPr lang="de-DE" dirty="0" err="1"/>
              <a:t>two</a:t>
            </a:r>
            <a:r>
              <a:rPr lang="de-DE" dirty="0"/>
              <a:t> </a:t>
            </a:r>
            <a:r>
              <a:rPr lang="de-DE" dirty="0" err="1"/>
              <a:t>lines</a:t>
            </a:r>
            <a:r>
              <a:rPr lang="de-DE" dirty="0"/>
              <a:t> </a:t>
            </a:r>
            <a:r>
              <a:rPr lang="de-DE" dirty="0" err="1"/>
              <a:t>or</a:t>
            </a:r>
            <a:r>
              <a:rPr lang="de-DE" dirty="0"/>
              <a:t> </a:t>
            </a:r>
            <a:br>
              <a:rPr lang="de-DE" dirty="0"/>
            </a:br>
            <a:r>
              <a:rPr lang="de-DE" dirty="0" err="1"/>
              <a:t>more</a:t>
            </a:r>
            <a:r>
              <a:rPr lang="de-DE" dirty="0"/>
              <a:t> </a:t>
            </a: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28"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354227221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3873">
          <p15:clr>
            <a:srgbClr val="FBAE40"/>
          </p15:clr>
        </p15:guide>
      </p15:sldGuideLst>
    </p:ext>
  </p:extLst>
</p:sldLayout>
</file>

<file path=ppt/slideLayouts/slideLayout942.xml><?xml version="1.0" encoding="utf-8"?>
<p:sldLayout xmlns:a="http://schemas.openxmlformats.org/drawingml/2006/main" xmlns:r="http://schemas.openxmlformats.org/officeDocument/2006/relationships" xmlns:p="http://schemas.openxmlformats.org/presentationml/2006/main" showMasterSp="0" preserve="1" userDrawn="1">
  <p:cSld name="Title 3/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 name="Titel 1"/>
          <p:cNvSpPr>
            <a:spLocks noGrp="1"/>
          </p:cNvSpPr>
          <p:nvPr>
            <p:ph type="ctrTitle" hasCustomPrompt="1"/>
          </p:nvPr>
        </p:nvSpPr>
        <p:spPr>
          <a:xfrm>
            <a:off x="628323" y="2045814"/>
            <a:ext cx="10932181" cy="1763324"/>
          </a:xfrm>
        </p:spPr>
        <p:txBody>
          <a:bodyPr wrap="square" anchor="t" anchorCtr="0">
            <a:noAutofit/>
          </a:bodyPr>
          <a:lstStyle>
            <a:lvl1pPr>
              <a:defRPr baseline="0">
                <a:solidFill>
                  <a:schemeClr val="bg1"/>
                </a:solidFill>
              </a:defRPr>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a:t>
            </a:r>
            <a:br>
              <a:rPr lang="de-DE" dirty="0"/>
            </a:br>
            <a:r>
              <a:rPr lang="de-DE" dirty="0" err="1"/>
              <a:t>Presentation</a:t>
            </a:r>
            <a:r>
              <a:rPr lang="de-DE" dirty="0"/>
              <a:t> title in </a:t>
            </a:r>
            <a:r>
              <a:rPr lang="de-DE" dirty="0" err="1"/>
              <a:t>two</a:t>
            </a:r>
            <a:r>
              <a:rPr lang="de-DE" dirty="0"/>
              <a:t> </a:t>
            </a:r>
            <a:r>
              <a:rPr lang="de-DE" dirty="0" err="1"/>
              <a:t>or</a:t>
            </a:r>
            <a:r>
              <a:rPr lang="de-DE" dirty="0"/>
              <a:t> </a:t>
            </a:r>
            <a:r>
              <a:rPr lang="de-DE" dirty="0" err="1"/>
              <a:t>three</a:t>
            </a:r>
            <a:r>
              <a:rPr lang="de-DE" dirty="0"/>
              <a:t> </a:t>
            </a:r>
            <a:br>
              <a:rPr lang="de-DE" dirty="0"/>
            </a:b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96493699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943.xml><?xml version="1.0" encoding="utf-8"?>
<p:sldLayout xmlns:a="http://schemas.openxmlformats.org/drawingml/2006/main" xmlns:r="http://schemas.openxmlformats.org/officeDocument/2006/relationships" xmlns:p="http://schemas.openxmlformats.org/presentationml/2006/main" showMasterSp="0" preserve="1" userDrawn="1">
  <p:cSld name="Title 2/4 brushed optiona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a:xfrm>
            <a:off x="-2380" y="2281900"/>
            <a:ext cx="12192831" cy="4576100"/>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 name="Titel 1"/>
          <p:cNvSpPr>
            <a:spLocks noGrp="1"/>
          </p:cNvSpPr>
          <p:nvPr>
            <p:ph type="ctrTitle" hasCustomPrompt="1"/>
          </p:nvPr>
        </p:nvSpPr>
        <p:spPr>
          <a:xfrm>
            <a:off x="628323" y="2044433"/>
            <a:ext cx="10932181" cy="648964"/>
          </a:xfrm>
        </p:spPr>
        <p:txBody>
          <a:bodyPr wrap="square" anchor="t" anchorCtr="0">
            <a:noAutofit/>
          </a:bodyPr>
          <a:lstStyle>
            <a:lvl1pPr>
              <a:defRPr>
                <a:solidFill>
                  <a:schemeClr val="bg1"/>
                </a:solidFill>
              </a:defRPr>
            </a:lvl1pPr>
          </a:lstStyle>
          <a:p>
            <a:r>
              <a:rPr lang="de-DE" dirty="0"/>
              <a:t>Headline </a:t>
            </a:r>
            <a:r>
              <a:rPr lang="de-DE" dirty="0" err="1"/>
              <a:t>for</a:t>
            </a:r>
            <a:r>
              <a:rPr lang="de-DE" dirty="0"/>
              <a:t> </a:t>
            </a:r>
            <a:r>
              <a:rPr lang="de-DE" dirty="0" err="1"/>
              <a:t>presentation</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388172073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8">
          <p15:clr>
            <a:srgbClr val="FBAE40"/>
          </p15:clr>
        </p15:guide>
      </p15:sldGuideLst>
    </p:ext>
  </p:extLst>
</p:sldLayout>
</file>

<file path=ppt/slideLayouts/slideLayout944.xml><?xml version="1.0" encoding="utf-8"?>
<p:sldLayout xmlns:a="http://schemas.openxmlformats.org/drawingml/2006/main" xmlns:r="http://schemas.openxmlformats.org/officeDocument/2006/relationships" xmlns:p="http://schemas.openxmlformats.org/presentationml/2006/main" showMasterSp="0" preserve="1" userDrawn="1">
  <p:cSld name="Image-chart 3/4 brushed ">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L"/>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1"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3" name="Title 2"/>
          <p:cNvSpPr>
            <a:spLocks noGrp="1"/>
          </p:cNvSpPr>
          <p:nvPr>
            <p:ph type="title" hasCustomPrompt="1"/>
          </p:nvPr>
        </p:nvSpPr>
        <p:spPr>
          <a:xfrm>
            <a:off x="628323" y="288859"/>
            <a:ext cx="10932455" cy="1025684"/>
          </a:xfrm>
        </p:spPr>
        <p:txBody>
          <a:bodyPr wrap="square">
            <a:spAutoFit/>
          </a:bodyPr>
          <a:lstStyle>
            <a:lvl1pPr>
              <a:defRPr>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or</a:t>
            </a:r>
            <a:r>
              <a:rPr lang="de-DE" dirty="0"/>
              <a:t> </a:t>
            </a:r>
            <a:r>
              <a:rPr lang="de-DE" dirty="0" err="1"/>
              <a:t>more</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a:xfrm>
            <a:off x="0" y="3427197"/>
            <a:ext cx="12190451" cy="3059413"/>
          </a:xfrm>
          <a:custGeom>
            <a:avLst/>
            <a:gdLst>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0 h 3060123"/>
              <a:gd name="connsiteX0" fmla="*/ 0 w 12196800"/>
              <a:gd name="connsiteY0" fmla="*/ 0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 name="connsiteX5" fmla="*/ 0 w 12196800"/>
              <a:gd name="connsiteY5" fmla="*/ 0 h 3060123"/>
              <a:gd name="connsiteX0" fmla="*/ 0 w 12196800"/>
              <a:gd name="connsiteY0" fmla="*/ 1070191 h 3060123"/>
              <a:gd name="connsiteX1" fmla="*/ 12196800 w 12196800"/>
              <a:gd name="connsiteY1" fmla="*/ 0 h 3060123"/>
              <a:gd name="connsiteX2" fmla="*/ 12196800 w 12196800"/>
              <a:gd name="connsiteY2" fmla="*/ 3060123 h 3060123"/>
              <a:gd name="connsiteX3" fmla="*/ 0 w 12196800"/>
              <a:gd name="connsiteY3" fmla="*/ 3060123 h 3060123"/>
              <a:gd name="connsiteX4" fmla="*/ 0 w 12196800"/>
              <a:gd name="connsiteY4" fmla="*/ 1070191 h 3060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3060123">
                <a:moveTo>
                  <a:pt x="0" y="1070191"/>
                </a:moveTo>
                <a:lnTo>
                  <a:pt x="12196800" y="0"/>
                </a:lnTo>
                <a:lnTo>
                  <a:pt x="12196800" y="3060123"/>
                </a:lnTo>
                <a:lnTo>
                  <a:pt x="0" y="3060123"/>
                </a:lnTo>
                <a:lnTo>
                  <a:pt x="0" y="1070191"/>
                </a:ln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40309192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945.xml><?xml version="1.0" encoding="utf-8"?>
<p:sldLayout xmlns:a="http://schemas.openxmlformats.org/drawingml/2006/main" xmlns:r="http://schemas.openxmlformats.org/officeDocument/2006/relationships" xmlns:p="http://schemas.openxmlformats.org/presentationml/2006/main" showMasterSp="0" preserve="1" userDrawn="1">
  <p:cSld name="Image-chart 1/4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3" name="Listenebenen"/>
              <p:cNvGrpSpPr/>
              <p:nvPr userDrawn="1"/>
            </p:nvGrpSpPr>
            <p:grpSpPr>
              <a:xfrm>
                <a:off x="-1692000" y="2232000"/>
                <a:ext cx="1548000" cy="792000"/>
                <a:chOff x="-1692000" y="2160000"/>
                <a:chExt cx="1548000" cy="792000"/>
              </a:xfrm>
            </p:grpSpPr>
            <p:sp>
              <p:nvSpPr>
                <p:cNvPr id="24"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6" name="Buerstung O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1"/>
            <a:ext cx="12190451" cy="6487839"/>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3" name="Title 2"/>
          <p:cNvSpPr>
            <a:spLocks noGrp="1"/>
          </p:cNvSpPr>
          <p:nvPr>
            <p:ph type="title" hasCustomPrompt="1"/>
          </p:nvPr>
        </p:nvSpPr>
        <p:spPr>
          <a:xfrm>
            <a:off x="630116" y="288857"/>
            <a:ext cx="10930662" cy="1151733"/>
          </a:xfrm>
        </p:spPr>
        <p:txBody>
          <a:bodyPr/>
          <a:lstStyle>
            <a:lvl1pPr>
              <a:defRPr baseline="0">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a:xfrm>
            <a:off x="0" y="1149011"/>
            <a:ext cx="12190451" cy="5337600"/>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67664156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sldGuideLst>
    </p:ext>
  </p:extLst>
</p:sldLayout>
</file>

<file path=ppt/slideLayouts/slideLayout946.xml><?xml version="1.0" encoding="utf-8"?>
<p:sldLayout xmlns:a="http://schemas.openxmlformats.org/drawingml/2006/main" xmlns:r="http://schemas.openxmlformats.org/officeDocument/2006/relationships" xmlns:p="http://schemas.openxmlformats.org/presentationml/2006/main" showMasterSp="0" preserve="1" userDrawn="1">
  <p:cSld name="Agenda 1/3 brushed">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3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33"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2" name="Buerstung U_S"/>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a:xfrm>
            <a:off x="628323" y="288859"/>
            <a:ext cx="10932455" cy="1148857"/>
          </a:xfrm>
        </p:spPr>
        <p:txBody>
          <a:bodyPr/>
          <a:lstStyle>
            <a:lvl1pPr>
              <a:defRPr/>
            </a:lvl1pPr>
          </a:lstStyle>
          <a:p>
            <a:r>
              <a:rPr lang="de-DE" noProof="0" dirty="0"/>
              <a:t>Headline </a:t>
            </a:r>
            <a:r>
              <a:rPr lang="de-DE" noProof="0" dirty="0" err="1"/>
              <a:t>for</a:t>
            </a:r>
            <a:r>
              <a:rPr lang="de-DE" noProof="0" dirty="0"/>
              <a:t> Agenda in </a:t>
            </a:r>
            <a:r>
              <a:rPr lang="de-DE" noProof="0" dirty="0" err="1"/>
              <a:t>CorpoS</a:t>
            </a:r>
            <a:r>
              <a:rPr lang="de-DE" noProof="0" dirty="0"/>
              <a:t> (Body) 35 </a:t>
            </a:r>
            <a:r>
              <a:rPr lang="de-DE" noProof="0" dirty="0" err="1"/>
              <a:t>pt</a:t>
            </a:r>
            <a:r>
              <a:rPr lang="de-DE" noProof="0" dirty="0"/>
              <a:t>. </a:t>
            </a:r>
            <a:br>
              <a:rPr lang="de-DE" noProof="0" dirty="0"/>
            </a:br>
            <a:r>
              <a:rPr lang="de-DE" noProof="0" dirty="0" err="1"/>
              <a:t>one</a:t>
            </a:r>
            <a:r>
              <a:rPr lang="de-DE" noProof="0" dirty="0"/>
              <a:t> </a:t>
            </a:r>
            <a:r>
              <a:rPr lang="de-DE" noProof="0" dirty="0" err="1"/>
              <a:t>or</a:t>
            </a:r>
            <a:r>
              <a:rPr lang="de-DE" noProof="0" dirty="0"/>
              <a:t>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Text Placeholder 5"/>
          <p:cNvSpPr>
            <a:spLocks noGrp="1"/>
          </p:cNvSpPr>
          <p:nvPr>
            <p:ph type="body" sz="quarter" idx="12" hasCustomPrompt="1"/>
          </p:nvPr>
        </p:nvSpPr>
        <p:spPr>
          <a:xfrm>
            <a:off x="630116" y="1504603"/>
            <a:ext cx="10930388" cy="3759916"/>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Insert Agenda </a:t>
            </a:r>
            <a:r>
              <a:rPr lang="de-DE" dirty="0" err="1"/>
              <a:t>point</a:t>
            </a:r>
            <a:endParaRPr lang="de-DE" dirty="0"/>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1110344524"/>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3317">
          <p15:clr>
            <a:srgbClr val="FBAE40"/>
          </p15:clr>
        </p15:guide>
      </p15:sldGuideLst>
    </p:ext>
  </p:extLst>
</p:sldLayout>
</file>

<file path=ppt/slideLayouts/slideLayout9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8758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e-DE" noProof="0" dirty="0"/>
              <a:t>Headline </a:t>
            </a:r>
            <a:r>
              <a:rPr lang="de-DE" noProof="0" dirty="0" err="1"/>
              <a:t>for</a:t>
            </a:r>
            <a:r>
              <a:rPr lang="de-DE" noProof="0" dirty="0"/>
              <a:t> Agenda in </a:t>
            </a:r>
            <a:r>
              <a:rPr lang="de-DE" noProof="0" dirty="0" err="1"/>
              <a:t>CorpoS</a:t>
            </a:r>
            <a:r>
              <a:rPr lang="de-DE" noProof="0" dirty="0"/>
              <a:t> (Body) 35 </a:t>
            </a:r>
            <a:r>
              <a:rPr lang="de-DE" noProof="0" dirty="0" err="1"/>
              <a:t>pt</a:t>
            </a:r>
            <a:r>
              <a:rPr lang="de-DE" noProof="0" dirty="0"/>
              <a:t>. </a:t>
            </a:r>
            <a:br>
              <a:rPr lang="de-DE" noProof="0" dirty="0"/>
            </a:br>
            <a:r>
              <a:rPr lang="de-DE" noProof="0" dirty="0" err="1"/>
              <a:t>one</a:t>
            </a:r>
            <a:r>
              <a:rPr lang="de-DE" noProof="0" dirty="0"/>
              <a:t> </a:t>
            </a:r>
            <a:r>
              <a:rPr lang="de-DE" noProof="0" dirty="0" err="1"/>
              <a:t>or</a:t>
            </a:r>
            <a:r>
              <a:rPr lang="de-DE" noProof="0" dirty="0"/>
              <a:t>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Insert Agenda </a:t>
            </a:r>
            <a:r>
              <a:rPr lang="de-DE" dirty="0" err="1"/>
              <a:t>point</a:t>
            </a:r>
            <a:endParaRPr lang="de-DE" dirty="0"/>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650985966"/>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948.xml><?xml version="1.0" encoding="utf-8"?>
<p:sldLayout xmlns:a="http://schemas.openxmlformats.org/drawingml/2006/main" xmlns:r="http://schemas.openxmlformats.org/officeDocument/2006/relationships" xmlns:p="http://schemas.openxmlformats.org/presentationml/2006/main" preserve="1" userDrawn="1">
  <p:cSld name="Headline two lines // Conten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88607"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Tree>
    <p:extLst>
      <p:ext uri="{BB962C8B-B14F-4D97-AF65-F5344CB8AC3E}">
        <p14:creationId xmlns:p14="http://schemas.microsoft.com/office/powerpoint/2010/main" val="315540125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949.xml><?xml version="1.0" encoding="utf-8"?>
<p:sldLayout xmlns:a="http://schemas.openxmlformats.org/drawingml/2006/main" xmlns:r="http://schemas.openxmlformats.org/officeDocument/2006/relationships" xmlns:p="http://schemas.openxmlformats.org/presentationml/2006/main" showMasterSp="0" preserve="1" userDrawn="1">
  <p:cSld name="Headline two lines // Image">
    <p:spTree>
      <p:nvGrpSpPr>
        <p:cNvPr id="1" name=""/>
        <p:cNvGrpSpPr/>
        <p:nvPr/>
      </p:nvGrpSpPr>
      <p:grpSpPr>
        <a:xfrm>
          <a:off x="0" y="0"/>
          <a:ext cx="0" cy="0"/>
          <a:chOff x="0" y="0"/>
          <a:chExt cx="0" cy="0"/>
        </a:xfrm>
      </p:grpSpPr>
      <p:grpSp>
        <p:nvGrpSpPr>
          <p:cNvPr id="21" name="Regieanweisungen"/>
          <p:cNvGrpSpPr/>
          <p:nvPr userDrawn="1"/>
        </p:nvGrpSpPr>
        <p:grpSpPr>
          <a:xfrm>
            <a:off x="-2086913" y="-467892"/>
            <a:ext cx="13647691" cy="7792196"/>
            <a:chOff x="-2088000" y="-468000"/>
            <a:chExt cx="13654799" cy="7794000"/>
          </a:xfrm>
        </p:grpSpPr>
        <p:sp>
          <p:nvSpPr>
            <p:cNvPr id="22"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3"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4" name="Hinweise links"/>
            <p:cNvGrpSpPr/>
            <p:nvPr userDrawn="1"/>
          </p:nvGrpSpPr>
          <p:grpSpPr>
            <a:xfrm>
              <a:off x="-2088000" y="0"/>
              <a:ext cx="1980000" cy="3528000"/>
              <a:chOff x="-2088000" y="0"/>
              <a:chExt cx="1980000" cy="3528000"/>
            </a:xfrm>
          </p:grpSpPr>
          <p:sp>
            <p:nvSpPr>
              <p:cNvPr id="25"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6" name="Listenebenen"/>
              <p:cNvGrpSpPr/>
              <p:nvPr userDrawn="1"/>
            </p:nvGrpSpPr>
            <p:grpSpPr>
              <a:xfrm>
                <a:off x="-1692000" y="2232000"/>
                <a:ext cx="1548000" cy="792000"/>
                <a:chOff x="-1692000" y="2160000"/>
                <a:chExt cx="1548000" cy="792000"/>
              </a:xfrm>
            </p:grpSpPr>
            <p:sp>
              <p:nvSpPr>
                <p:cNvPr id="2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2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2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1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p:txBody>
          <a:bodyPr/>
          <a:lstStyle>
            <a:lvl1pPr>
              <a:defRPr/>
            </a:lvl1p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a:t>
            </a:r>
            <a:r>
              <a:rPr lang="de-DE" noProof="0" dirty="0"/>
              <a:t> S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
        <p:nvSpPr>
          <p:cNvPr id="7" name="Picture Placeholder 3"/>
          <p:cNvSpPr>
            <a:spLocks noGrp="1"/>
          </p:cNvSpPr>
          <p:nvPr>
            <p:ph type="pic" sz="quarter" idx="13" hasCustomPrompt="1"/>
          </p:nvPr>
        </p:nvSpPr>
        <p:spPr bwMode="gray">
          <a:xfrm>
            <a:off x="629909" y="1504602"/>
            <a:ext cx="10930593" cy="4983236"/>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77486779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xt small // Image">
    <p:spTree>
      <p:nvGrpSpPr>
        <p:cNvPr id="1" name=""/>
        <p:cNvGrpSpPr/>
        <p:nvPr/>
      </p:nvGrpSpPr>
      <p:grpSpPr>
        <a:xfrm>
          <a:off x="0" y="0"/>
          <a:ext cx="0" cy="0"/>
          <a:chOff x="0" y="0"/>
          <a:chExt cx="0" cy="0"/>
        </a:xfrm>
      </p:grpSpPr>
      <p:sp>
        <p:nvSpPr>
          <p:cNvPr id="10" name="Picture Placeholder 3"/>
          <p:cNvSpPr>
            <a:spLocks noGrp="1"/>
          </p:cNvSpPr>
          <p:nvPr>
            <p:ph type="pic" sz="quarter" idx="14" hasCustomPrompt="1"/>
          </p:nvPr>
        </p:nvSpPr>
        <p:spPr bwMode="gray">
          <a:xfrm>
            <a:off x="4848875" y="1504604"/>
            <a:ext cx="6711903" cy="4875669"/>
          </a:xfrm>
          <a:prstGeom prst="rect">
            <a:avLst/>
          </a:prstGeom>
          <a:solidFill>
            <a:srgbClr val="CFCFCF"/>
          </a:solid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Text Placeholder 7"/>
          <p:cNvSpPr>
            <a:spLocks noGrp="1"/>
          </p:cNvSpPr>
          <p:nvPr>
            <p:ph type="body" sz="quarter" idx="12" hasCustomPrompt="1"/>
          </p:nvPr>
        </p:nvSpPr>
        <p:spPr>
          <a:xfrm>
            <a:off x="629672" y="1504603"/>
            <a:ext cx="3857441" cy="4876681"/>
          </a:xfrm>
        </p:spPr>
        <p:txBody>
          <a:bodyPr>
            <a:normAutofit/>
          </a:bodyPr>
          <a:lstStyle>
            <a:lvl1pPr>
              <a:lnSpc>
                <a:spcPts val="2399"/>
              </a:lnSpc>
              <a:defRPr sz="1899" baseline="0"/>
            </a:lvl1pPr>
            <a:lvl2pPr>
              <a:lnSpc>
                <a:spcPts val="2399"/>
              </a:lnSpc>
              <a:defRPr sz="1899"/>
            </a:lvl2pPr>
            <a:lvl3pPr>
              <a:lnSpc>
                <a:spcPts val="2399"/>
              </a:lnSpc>
              <a:defRPr sz="1899"/>
            </a:lvl3pPr>
            <a:lvl4pPr>
              <a:lnSpc>
                <a:spcPts val="2399"/>
              </a:lnSpc>
              <a:defRPr sz="1899"/>
            </a:lvl4pPr>
            <a:lvl5pPr>
              <a:lnSpc>
                <a:spcPts val="2399"/>
              </a:lnSpc>
              <a:defRPr sz="1899"/>
            </a:lvl5pPr>
            <a:lvl6pPr>
              <a:lnSpc>
                <a:spcPts val="2399"/>
              </a:lnSpc>
              <a:defRPr sz="1899"/>
            </a:lvl6pPr>
            <a:lvl7pPr>
              <a:lnSpc>
                <a:spcPts val="2399"/>
              </a:lnSpc>
              <a:defRPr sz="1899"/>
            </a:lvl7pPr>
            <a:lvl8pPr>
              <a:lnSpc>
                <a:spcPts val="2399"/>
              </a:lnSpc>
              <a:defRPr sz="1899"/>
            </a:lvl8pPr>
            <a:lvl9pPr>
              <a:lnSpc>
                <a:spcPts val="2399"/>
              </a:lnSpc>
              <a:defRPr sz="1899"/>
            </a:lvl9pPr>
          </a:lstStyle>
          <a:p>
            <a:pPr lvl="0"/>
            <a:r>
              <a:rPr lang="en-GB" dirty="0"/>
              <a:t>Insert text in </a:t>
            </a:r>
            <a:r>
              <a:rPr lang="en-GB" noProof="0" dirty="0" err="1"/>
              <a:t>CorpoS</a:t>
            </a:r>
            <a:r>
              <a:rPr lang="en-GB" noProof="0" dirty="0"/>
              <a:t> (Body) 19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5" name="Title 4"/>
          <p:cNvSpPr>
            <a:spLocks noGrp="1"/>
          </p:cNvSpPr>
          <p:nvPr>
            <p:ph type="title" hasCustomPrompt="1"/>
          </p:nvPr>
        </p:nvSpPr>
        <p:spPr/>
        <p:txBody>
          <a:bodyPr/>
          <a:lstStyle/>
          <a:p>
            <a:r>
              <a:rPr lang="en-GB" noProof="0" dirty="0"/>
              <a:t>Headline in </a:t>
            </a:r>
            <a:r>
              <a:rPr lang="en-GB" noProof="0" dirty="0" err="1"/>
              <a:t>CorpoS</a:t>
            </a:r>
            <a:r>
              <a:rPr lang="en-GB" noProof="0" dirty="0"/>
              <a:t> (Body) 35 pt. for standard </a:t>
            </a:r>
            <a:br>
              <a:rPr lang="en-GB" noProof="0" dirty="0"/>
            </a:br>
            <a:r>
              <a:rPr lang="en-GB" noProof="0" dirty="0"/>
              <a:t>text-chart in two lines</a:t>
            </a:r>
            <a:endParaRPr lang="en-GB" dirty="0"/>
          </a:p>
        </p:txBody>
      </p:sp>
    </p:spTree>
    <p:extLst>
      <p:ext uri="{BB962C8B-B14F-4D97-AF65-F5344CB8AC3E}">
        <p14:creationId xmlns:p14="http://schemas.microsoft.com/office/powerpoint/2010/main" val="1229289606"/>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948">
          <p15:clr>
            <a:srgbClr val="FBAE40"/>
          </p15:clr>
        </p15:guide>
        <p15:guide id="3" orient="horz" pos="182">
          <p15:clr>
            <a:srgbClr val="FBAE40"/>
          </p15:clr>
        </p15:guide>
        <p15:guide id="4" pos="3056">
          <p15:clr>
            <a:srgbClr val="FBAE40"/>
          </p15:clr>
        </p15:guide>
        <p15:guide id="5" pos="2828">
          <p15:clr>
            <a:srgbClr val="FBAE40"/>
          </p15:clr>
        </p15:guide>
      </p15:sldGuideLst>
    </p:ext>
  </p:extLst>
</p:sldLayout>
</file>

<file path=ppt/slideLayouts/slideLayout950.xml><?xml version="1.0" encoding="utf-8"?>
<p:sldLayout xmlns:a="http://schemas.openxmlformats.org/drawingml/2006/main" xmlns:r="http://schemas.openxmlformats.org/officeDocument/2006/relationships" xmlns:p="http://schemas.openxmlformats.org/presentationml/2006/main" preserve="1" userDrawn="1">
  <p:cSld name="Headlin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671" y="1233203"/>
            <a:ext cx="10930832" cy="5254635"/>
          </a:xfrm>
        </p:spPr>
        <p:txBody>
          <a:bodyPr/>
          <a:lstStyle>
            <a:lvl1pPr>
              <a:defRPr baseline="0"/>
            </a:lvl1pPr>
          </a:lstStyle>
          <a:p>
            <a:pPr lvl="0"/>
            <a:r>
              <a:rPr lang="de-DE" noProof="0" dirty="0"/>
              <a:t>Insert </a:t>
            </a:r>
            <a:r>
              <a:rPr lang="de-DE" noProof="0" dirty="0" err="1"/>
              <a:t>content</a:t>
            </a:r>
            <a:r>
              <a:rPr lang="de-DE" noProof="0" dirty="0"/>
              <a:t> </a:t>
            </a:r>
            <a:r>
              <a:rPr lang="de-DE" noProof="0" dirty="0" err="1"/>
              <a:t>or</a:t>
            </a:r>
            <a:r>
              <a:rPr lang="de-DE" noProof="0" dirty="0"/>
              <a:t> </a:t>
            </a:r>
            <a:r>
              <a:rPr lang="de-DE" noProof="0" dirty="0" err="1"/>
              <a:t>text</a:t>
            </a:r>
            <a:r>
              <a:rPr lang="de-DE" noProof="0"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 </a:t>
            </a:r>
            <a:r>
              <a:rPr lang="de-DE" noProof="0" dirty="0" err="1"/>
              <a:t>for</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 Home // Paragraph// </a:t>
            </a:r>
            <a:r>
              <a:rPr lang="de-DE" noProof="0" dirty="0" err="1"/>
              <a:t>Increase</a:t>
            </a:r>
            <a:r>
              <a:rPr lang="de-DE" noProof="0" dirty="0"/>
              <a:t> List Level</a:t>
            </a:r>
          </a:p>
          <a:p>
            <a:pPr lvl="1"/>
            <a:r>
              <a:rPr lang="de-DE" noProof="0" dirty="0"/>
              <a:t>Second </a:t>
            </a:r>
            <a:r>
              <a:rPr lang="de-DE" noProof="0" dirty="0" err="1"/>
              <a:t>level</a:t>
            </a:r>
            <a:r>
              <a:rPr lang="de-DE" noProof="0" dirty="0"/>
              <a:t> (</a:t>
            </a:r>
            <a:r>
              <a:rPr lang="de-DE" noProof="0"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noProof="0" dirty="0"/>
              <a:t>)</a:t>
            </a:r>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a:p>
            <a:pPr lvl="5"/>
            <a:r>
              <a:rPr lang="de-DE" noProof="0" dirty="0" err="1"/>
              <a:t>Sixth</a:t>
            </a:r>
            <a:r>
              <a:rPr lang="de-DE" noProof="0" dirty="0"/>
              <a:t> </a:t>
            </a:r>
            <a:r>
              <a:rPr lang="de-DE" noProof="0" dirty="0" err="1"/>
              <a:t>level</a:t>
            </a:r>
            <a:endParaRPr lang="de-DE" noProof="0" dirty="0"/>
          </a:p>
          <a:p>
            <a:pPr lvl="6"/>
            <a:r>
              <a:rPr lang="de-DE" noProof="0" dirty="0"/>
              <a:t>Sevens </a:t>
            </a:r>
            <a:r>
              <a:rPr lang="de-DE" noProof="0" dirty="0" err="1"/>
              <a:t>level</a:t>
            </a:r>
            <a:endParaRPr lang="de-DE" noProof="0" dirty="0"/>
          </a:p>
          <a:p>
            <a:pPr lvl="7"/>
            <a:r>
              <a:rPr lang="de-DE" noProof="0" dirty="0" err="1"/>
              <a:t>Eight</a:t>
            </a:r>
            <a:r>
              <a:rPr lang="de-DE" noProof="0" dirty="0"/>
              <a:t> </a:t>
            </a:r>
            <a:r>
              <a:rPr lang="de-DE" noProof="0" dirty="0" err="1"/>
              <a:t>level</a:t>
            </a:r>
            <a:endParaRPr lang="de-DE" noProof="0" dirty="0"/>
          </a:p>
          <a:p>
            <a:pPr lvl="8"/>
            <a:r>
              <a:rPr lang="de-DE" noProof="0" dirty="0" err="1"/>
              <a:t>Ninth</a:t>
            </a:r>
            <a:r>
              <a:rPr lang="de-DE" noProof="0" dirty="0"/>
              <a:t> </a:t>
            </a:r>
            <a:r>
              <a:rPr lang="de-DE" noProof="0" dirty="0" err="1"/>
              <a:t>level</a:t>
            </a:r>
            <a:endParaRPr lang="de-DE" noProof="0" dirty="0"/>
          </a:p>
        </p:txBody>
      </p:sp>
    </p:spTree>
    <p:extLst>
      <p:ext uri="{BB962C8B-B14F-4D97-AF65-F5344CB8AC3E}">
        <p14:creationId xmlns:p14="http://schemas.microsoft.com/office/powerpoint/2010/main" val="19054075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951.xml><?xml version="1.0" encoding="utf-8"?>
<p:sldLayout xmlns:a="http://schemas.openxmlformats.org/drawingml/2006/main" xmlns:r="http://schemas.openxmlformats.org/officeDocument/2006/relationships" xmlns:p="http://schemas.openxmlformats.org/presentationml/2006/main" showMasterSp="0" preserve="1" userDrawn="1">
  <p:cSld name="Headline // Image">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2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2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2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7"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8" name="Picture Placeholder 3"/>
          <p:cNvSpPr>
            <a:spLocks noGrp="1"/>
          </p:cNvSpPr>
          <p:nvPr>
            <p:ph type="pic" sz="quarter" idx="13" hasCustomPrompt="1"/>
          </p:nvPr>
        </p:nvSpPr>
        <p:spPr bwMode="gray">
          <a:xfrm>
            <a:off x="629909" y="1233203"/>
            <a:ext cx="10930593" cy="5254635"/>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50290179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952.xml><?xml version="1.0" encoding="utf-8"?>
<p:sldLayout xmlns:a="http://schemas.openxmlformats.org/drawingml/2006/main" xmlns:r="http://schemas.openxmlformats.org/officeDocument/2006/relationships" xmlns:p="http://schemas.openxmlformats.org/presentationml/2006/main" showMasterSp="0" preserve="1" userDrawn="1">
  <p:cSld name="2 Images-chart 2/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M"/>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2905728"/>
            <a:ext cx="5120196" cy="3580883"/>
          </a:xfrm>
          <a:custGeom>
            <a:avLst/>
            <a:gdLst>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0 h 3581712"/>
              <a:gd name="connsiteX0" fmla="*/ 0 w 5122800"/>
              <a:gd name="connsiteY0" fmla="*/ 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 name="connsiteX5" fmla="*/ 0 w 5122800"/>
              <a:gd name="connsiteY5" fmla="*/ 0 h 3581712"/>
              <a:gd name="connsiteX0" fmla="*/ 0 w 5122800"/>
              <a:gd name="connsiteY0" fmla="*/ 448780 h 3581712"/>
              <a:gd name="connsiteX1" fmla="*/ 5122800 w 5122800"/>
              <a:gd name="connsiteY1" fmla="*/ 0 h 3581712"/>
              <a:gd name="connsiteX2" fmla="*/ 5122800 w 5122800"/>
              <a:gd name="connsiteY2" fmla="*/ 3581712 h 3581712"/>
              <a:gd name="connsiteX3" fmla="*/ 0 w 5122800"/>
              <a:gd name="connsiteY3" fmla="*/ 3581712 h 3581712"/>
              <a:gd name="connsiteX4" fmla="*/ 0 w 5122800"/>
              <a:gd name="connsiteY4" fmla="*/ 448780 h 3581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2800" h="3581712">
                <a:moveTo>
                  <a:pt x="0" y="448780"/>
                </a:moveTo>
                <a:lnTo>
                  <a:pt x="5122800" y="0"/>
                </a:lnTo>
                <a:lnTo>
                  <a:pt x="5122800" y="3581712"/>
                </a:lnTo>
                <a:lnTo>
                  <a:pt x="0" y="3581712"/>
                </a:lnTo>
                <a:lnTo>
                  <a:pt x="0" y="44878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 name="Title 2"/>
          <p:cNvSpPr>
            <a:spLocks noGrp="1"/>
          </p:cNvSpPr>
          <p:nvPr>
            <p:ph type="title" hasCustomPrompt="1"/>
          </p:nvPr>
        </p:nvSpPr>
        <p:spPr>
          <a:xfrm>
            <a:off x="630117" y="288858"/>
            <a:ext cx="10930661" cy="1025684"/>
          </a:xfrm>
        </p:spPr>
        <p:txBody>
          <a:bodyPr wrap="square">
            <a:spAutoFit/>
          </a:bodyPr>
          <a:lstStyle>
            <a:lvl1pPr>
              <a:defRPr>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or</a:t>
            </a:r>
            <a:r>
              <a:rPr lang="de-DE" dirty="0"/>
              <a:t> </a:t>
            </a:r>
            <a:r>
              <a:rPr lang="de-DE" dirty="0" err="1"/>
              <a:t>more</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5193184" y="2284568"/>
            <a:ext cx="6998816" cy="4202043"/>
          </a:xfrm>
          <a:custGeom>
            <a:avLst/>
            <a:gdLst>
              <a:gd name="connsiteX0" fmla="*/ 0 w 7003550"/>
              <a:gd name="connsiteY0" fmla="*/ 0 h 4203016"/>
              <a:gd name="connsiteX1" fmla="*/ 7003550 w 7003550"/>
              <a:gd name="connsiteY1" fmla="*/ 0 h 4203016"/>
              <a:gd name="connsiteX2" fmla="*/ 7003550 w 7003550"/>
              <a:gd name="connsiteY2" fmla="*/ 4203016 h 4203016"/>
              <a:gd name="connsiteX3" fmla="*/ 0 w 7003550"/>
              <a:gd name="connsiteY3" fmla="*/ 4203016 h 4203016"/>
              <a:gd name="connsiteX4" fmla="*/ 0 w 7003550"/>
              <a:gd name="connsiteY4" fmla="*/ 0 h 4203016"/>
              <a:gd name="connsiteX0" fmla="*/ 1294 w 7004844"/>
              <a:gd name="connsiteY0" fmla="*/ 0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 name="connsiteX5" fmla="*/ 1294 w 7004844"/>
              <a:gd name="connsiteY5" fmla="*/ 0 h 4203016"/>
              <a:gd name="connsiteX0" fmla="*/ 0 w 7004844"/>
              <a:gd name="connsiteY0" fmla="*/ 878655 h 4466405"/>
              <a:gd name="connsiteX1" fmla="*/ 7004844 w 7004844"/>
              <a:gd name="connsiteY1" fmla="*/ 263389 h 4466405"/>
              <a:gd name="connsiteX2" fmla="*/ 7004844 w 7004844"/>
              <a:gd name="connsiteY2" fmla="*/ 4466405 h 4466405"/>
              <a:gd name="connsiteX3" fmla="*/ 1294 w 7004844"/>
              <a:gd name="connsiteY3" fmla="*/ 4466405 h 4466405"/>
              <a:gd name="connsiteX4" fmla="*/ 0 w 7004844"/>
              <a:gd name="connsiteY4" fmla="*/ 878655 h 4466405"/>
              <a:gd name="connsiteX0" fmla="*/ 0 w 7004844"/>
              <a:gd name="connsiteY0" fmla="*/ 615266 h 4203016"/>
              <a:gd name="connsiteX1" fmla="*/ 7004844 w 7004844"/>
              <a:gd name="connsiteY1" fmla="*/ 0 h 4203016"/>
              <a:gd name="connsiteX2" fmla="*/ 7004844 w 7004844"/>
              <a:gd name="connsiteY2" fmla="*/ 4203016 h 4203016"/>
              <a:gd name="connsiteX3" fmla="*/ 1294 w 7004844"/>
              <a:gd name="connsiteY3" fmla="*/ 4203016 h 4203016"/>
              <a:gd name="connsiteX4" fmla="*/ 0 w 7004844"/>
              <a:gd name="connsiteY4" fmla="*/ 615266 h 4203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4844" h="4203016">
                <a:moveTo>
                  <a:pt x="0" y="615266"/>
                </a:moveTo>
                <a:lnTo>
                  <a:pt x="7004844" y="0"/>
                </a:lnTo>
                <a:lnTo>
                  <a:pt x="7004844" y="4203016"/>
                </a:lnTo>
                <a:lnTo>
                  <a:pt x="1294" y="4203016"/>
                </a:lnTo>
                <a:cubicBezTo>
                  <a:pt x="863" y="3007099"/>
                  <a:pt x="431" y="1811183"/>
                  <a:pt x="0" y="615266"/>
                </a:cubicBez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211397835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82">
          <p15:clr>
            <a:srgbClr val="FBAE40"/>
          </p15:clr>
        </p15:guide>
        <p15:guide id="2" orient="horz" pos="4088">
          <p15:clr>
            <a:srgbClr val="FBAE40"/>
          </p15:clr>
        </p15:guide>
        <p15:guide id="3" pos="3273">
          <p15:clr>
            <a:srgbClr val="FBAE40"/>
          </p15:clr>
        </p15:guide>
        <p15:guide id="4" pos="3227">
          <p15:clr>
            <a:srgbClr val="FBAE40"/>
          </p15:clr>
        </p15:guide>
      </p15:sldGuideLst>
    </p:ext>
  </p:extLst>
</p:sldLayout>
</file>

<file path=ppt/slideLayouts/slideLayout953.xml><?xml version="1.0" encoding="utf-8"?>
<p:sldLayout xmlns:a="http://schemas.openxmlformats.org/drawingml/2006/main" xmlns:r="http://schemas.openxmlformats.org/officeDocument/2006/relationships" xmlns:p="http://schemas.openxmlformats.org/presentationml/2006/main" showMasterSp="0" preserve="1" userDrawn="1">
  <p:cSld name="2 Images-chart 1/4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3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O_S"/>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white">
          <a:xfrm>
            <a:off x="0" y="1"/>
            <a:ext cx="12190450" cy="6490342"/>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688656"/>
            <a:ext cx="6059507" cy="4797954"/>
          </a:xfrm>
          <a:custGeom>
            <a:avLst/>
            <a:gdLst>
              <a:gd name="connsiteX0" fmla="*/ 0 w 6060500"/>
              <a:gd name="connsiteY0" fmla="*/ 0 h 4799065"/>
              <a:gd name="connsiteX1" fmla="*/ 6060500 w 6060500"/>
              <a:gd name="connsiteY1" fmla="*/ 0 h 4799065"/>
              <a:gd name="connsiteX2" fmla="*/ 6060500 w 6060500"/>
              <a:gd name="connsiteY2" fmla="*/ 4799065 h 4799065"/>
              <a:gd name="connsiteX3" fmla="*/ 0 w 6060500"/>
              <a:gd name="connsiteY3" fmla="*/ 4799065 h 4799065"/>
              <a:gd name="connsiteX4" fmla="*/ 0 w 6060500"/>
              <a:gd name="connsiteY4" fmla="*/ 0 h 4799065"/>
              <a:gd name="connsiteX0" fmla="*/ 2382 w 6062882"/>
              <a:gd name="connsiteY0" fmla="*/ 0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 name="connsiteX5" fmla="*/ 2382 w 6062882"/>
              <a:gd name="connsiteY5" fmla="*/ 0 h 4799065"/>
              <a:gd name="connsiteX0" fmla="*/ 0 w 6062882"/>
              <a:gd name="connsiteY0" fmla="*/ 532659 h 4799065"/>
              <a:gd name="connsiteX1" fmla="*/ 6062882 w 6062882"/>
              <a:gd name="connsiteY1" fmla="*/ 0 h 4799065"/>
              <a:gd name="connsiteX2" fmla="*/ 6062882 w 6062882"/>
              <a:gd name="connsiteY2" fmla="*/ 4799065 h 4799065"/>
              <a:gd name="connsiteX3" fmla="*/ 2382 w 6062882"/>
              <a:gd name="connsiteY3" fmla="*/ 4799065 h 4799065"/>
              <a:gd name="connsiteX4" fmla="*/ 0 w 6062882"/>
              <a:gd name="connsiteY4" fmla="*/ 532659 h 4799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2882" h="4799065">
                <a:moveTo>
                  <a:pt x="0" y="532659"/>
                </a:moveTo>
                <a:lnTo>
                  <a:pt x="6062882" y="0"/>
                </a:lnTo>
                <a:lnTo>
                  <a:pt x="6062882" y="4799065"/>
                </a:lnTo>
                <a:lnTo>
                  <a:pt x="2382" y="4799065"/>
                </a:lnTo>
                <a:lnTo>
                  <a:pt x="0" y="532659"/>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 name="Title 2"/>
          <p:cNvSpPr>
            <a:spLocks noGrp="1"/>
          </p:cNvSpPr>
          <p:nvPr>
            <p:ph type="title" hasCustomPrompt="1"/>
          </p:nvPr>
        </p:nvSpPr>
        <p:spPr>
          <a:xfrm>
            <a:off x="630116" y="288859"/>
            <a:ext cx="10930662" cy="1148857"/>
          </a:xfrm>
        </p:spPr>
        <p:txBody>
          <a:bodyPr/>
          <a:lstStyle>
            <a:lvl1pPr>
              <a:defRPr>
                <a:solidFill>
                  <a:schemeClr val="bg1"/>
                </a:solidFill>
              </a:defRPr>
            </a:lvl1pPr>
          </a:lstStyle>
          <a:p>
            <a:r>
              <a:rPr lang="de-DE" dirty="0"/>
              <a:t>Image-chart, Headline </a:t>
            </a:r>
            <a:r>
              <a:rPr lang="de-DE" noProof="0" dirty="0" err="1"/>
              <a:t>CorpoS</a:t>
            </a:r>
            <a:r>
              <a:rPr lang="de-DE" noProof="0" dirty="0"/>
              <a:t> </a:t>
            </a:r>
            <a:r>
              <a:rPr lang="de-DE" dirty="0"/>
              <a:t>(Body) 35 </a:t>
            </a:r>
            <a:r>
              <a:rPr lang="de-DE" dirty="0" err="1"/>
              <a:t>pt</a:t>
            </a:r>
            <a:r>
              <a:rPr lang="de-DE" dirty="0"/>
              <a:t>. </a:t>
            </a:r>
            <a:br>
              <a:rPr lang="de-DE" dirty="0"/>
            </a:br>
            <a:r>
              <a:rPr lang="de-DE" dirty="0"/>
              <a:t>in </a:t>
            </a:r>
            <a:r>
              <a:rPr lang="de-DE" dirty="0" err="1"/>
              <a:t>two</a:t>
            </a:r>
            <a:r>
              <a:rPr lang="de-DE" dirty="0"/>
              <a:t> </a:t>
            </a:r>
            <a:r>
              <a:rPr lang="de-DE" dirty="0" err="1"/>
              <a:t>lines</a:t>
            </a:r>
            <a:r>
              <a:rPr lang="de-DE" dirty="0"/>
              <a:t> </a:t>
            </a:r>
            <a:r>
              <a:rPr lang="de-DE" dirty="0" err="1"/>
              <a:t>of</a:t>
            </a:r>
            <a:r>
              <a:rPr lang="de-DE" dirty="0"/>
              <a:t> </a:t>
            </a:r>
            <a:r>
              <a:rPr lang="de-DE" dirty="0" err="1"/>
              <a:t>text</a:t>
            </a:r>
            <a:endParaRPr lang="de-DE"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6132494" y="1149011"/>
            <a:ext cx="6057656" cy="5337600"/>
          </a:xfrm>
          <a:custGeom>
            <a:avLst/>
            <a:gdLst>
              <a:gd name="connsiteX0" fmla="*/ 0 w 6063460"/>
              <a:gd name="connsiteY0" fmla="*/ 0 h 5338836"/>
              <a:gd name="connsiteX1" fmla="*/ 6063460 w 6063460"/>
              <a:gd name="connsiteY1" fmla="*/ 0 h 5338836"/>
              <a:gd name="connsiteX2" fmla="*/ 6063460 w 6063460"/>
              <a:gd name="connsiteY2" fmla="*/ 5338836 h 5338836"/>
              <a:gd name="connsiteX3" fmla="*/ 0 w 6063460"/>
              <a:gd name="connsiteY3" fmla="*/ 5338836 h 5338836"/>
              <a:gd name="connsiteX4" fmla="*/ 0 w 6063460"/>
              <a:gd name="connsiteY4" fmla="*/ 0 h 5338836"/>
              <a:gd name="connsiteX0" fmla="*/ 790 w 6064250"/>
              <a:gd name="connsiteY0" fmla="*/ 0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 name="connsiteX5" fmla="*/ 790 w 6064250"/>
              <a:gd name="connsiteY5" fmla="*/ 0 h 5338836"/>
              <a:gd name="connsiteX0" fmla="*/ 0 w 6064250"/>
              <a:gd name="connsiteY0" fmla="*/ 950596 h 5757546"/>
              <a:gd name="connsiteX1" fmla="*/ 6064250 w 6064250"/>
              <a:gd name="connsiteY1" fmla="*/ 418710 h 5757546"/>
              <a:gd name="connsiteX2" fmla="*/ 6064250 w 6064250"/>
              <a:gd name="connsiteY2" fmla="*/ 5757546 h 5757546"/>
              <a:gd name="connsiteX3" fmla="*/ 790 w 6064250"/>
              <a:gd name="connsiteY3" fmla="*/ 5757546 h 5757546"/>
              <a:gd name="connsiteX4" fmla="*/ 0 w 6064250"/>
              <a:gd name="connsiteY4" fmla="*/ 950596 h 5757546"/>
              <a:gd name="connsiteX0" fmla="*/ 0 w 6064250"/>
              <a:gd name="connsiteY0" fmla="*/ 531886 h 5338836"/>
              <a:gd name="connsiteX1" fmla="*/ 6064250 w 6064250"/>
              <a:gd name="connsiteY1" fmla="*/ 0 h 5338836"/>
              <a:gd name="connsiteX2" fmla="*/ 6064250 w 6064250"/>
              <a:gd name="connsiteY2" fmla="*/ 5338836 h 5338836"/>
              <a:gd name="connsiteX3" fmla="*/ 790 w 6064250"/>
              <a:gd name="connsiteY3" fmla="*/ 5338836 h 5338836"/>
              <a:gd name="connsiteX4" fmla="*/ 0 w 6064250"/>
              <a:gd name="connsiteY4" fmla="*/ 531886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4250" h="5338836">
                <a:moveTo>
                  <a:pt x="0" y="531886"/>
                </a:moveTo>
                <a:lnTo>
                  <a:pt x="6064250" y="0"/>
                </a:lnTo>
                <a:lnTo>
                  <a:pt x="6064250" y="5338836"/>
                </a:lnTo>
                <a:lnTo>
                  <a:pt x="790" y="5338836"/>
                </a:lnTo>
                <a:cubicBezTo>
                  <a:pt x="527" y="3736519"/>
                  <a:pt x="263" y="2134203"/>
                  <a:pt x="0" y="531886"/>
                </a:cubicBez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29091524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orient="horz" pos="182">
          <p15:clr>
            <a:srgbClr val="FBAE40"/>
          </p15:clr>
        </p15:guide>
        <p15:guide id="3" pos="3819">
          <p15:clr>
            <a:srgbClr val="FBAE40"/>
          </p15:clr>
        </p15:guide>
        <p15:guide id="4" pos="3865">
          <p15:clr>
            <a:srgbClr val="FBAE40"/>
          </p15:clr>
        </p15:guide>
      </p15:sldGuideLst>
    </p:ext>
  </p:extLst>
</p:sldLayout>
</file>

<file path=ppt/slideLayouts/slideLayout954.xml><?xml version="1.0" encoding="utf-8"?>
<p:sldLayout xmlns:a="http://schemas.openxmlformats.org/drawingml/2006/main" xmlns:r="http://schemas.openxmlformats.org/officeDocument/2006/relationships" xmlns:p="http://schemas.openxmlformats.org/presentationml/2006/main" showMasterSp="0" preserve="1" userDrawn="1">
  <p:cSld name="2 Images-chart 1/3 brushed">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36"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S"/>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23"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6614087" y="1"/>
            <a:ext cx="5576364" cy="5066126"/>
          </a:xfrm>
          <a:custGeom>
            <a:avLst/>
            <a:gdLst>
              <a:gd name="connsiteX0" fmla="*/ 0 w 5579268"/>
              <a:gd name="connsiteY0" fmla="*/ 0 h 5067299"/>
              <a:gd name="connsiteX1" fmla="*/ 5579268 w 5579268"/>
              <a:gd name="connsiteY1" fmla="*/ 0 h 5067299"/>
              <a:gd name="connsiteX2" fmla="*/ 5579268 w 5579268"/>
              <a:gd name="connsiteY2" fmla="*/ 5067299 h 5067299"/>
              <a:gd name="connsiteX3" fmla="*/ 0 w 5579268"/>
              <a:gd name="connsiteY3" fmla="*/ 5067299 h 5067299"/>
              <a:gd name="connsiteX4" fmla="*/ 0 w 5579268"/>
              <a:gd name="connsiteY4" fmla="*/ 0 h 5067299"/>
              <a:gd name="connsiteX0" fmla="*/ 0 w 5579268"/>
              <a:gd name="connsiteY0" fmla="*/ 0 h 5067299"/>
              <a:gd name="connsiteX1" fmla="*/ 5579268 w 5579268"/>
              <a:gd name="connsiteY1" fmla="*/ 0 h 5067299"/>
              <a:gd name="connsiteX2" fmla="*/ 5579231 w 5579268"/>
              <a:gd name="connsiteY2" fmla="*/ 4581524 h 5067299"/>
              <a:gd name="connsiteX3" fmla="*/ 5579268 w 5579268"/>
              <a:gd name="connsiteY3" fmla="*/ 5067299 h 5067299"/>
              <a:gd name="connsiteX4" fmla="*/ 0 w 5579268"/>
              <a:gd name="connsiteY4" fmla="*/ 5067299 h 5067299"/>
              <a:gd name="connsiteX5" fmla="*/ 0 w 5579268"/>
              <a:gd name="connsiteY5" fmla="*/ 0 h 5067299"/>
              <a:gd name="connsiteX0" fmla="*/ 0 w 5579268"/>
              <a:gd name="connsiteY0" fmla="*/ 0 h 5471929"/>
              <a:gd name="connsiteX1" fmla="*/ 5579268 w 5579268"/>
              <a:gd name="connsiteY1" fmla="*/ 0 h 5471929"/>
              <a:gd name="connsiteX2" fmla="*/ 5579231 w 5579268"/>
              <a:gd name="connsiteY2" fmla="*/ 4581524 h 5471929"/>
              <a:gd name="connsiteX3" fmla="*/ 0 w 5579268"/>
              <a:gd name="connsiteY3" fmla="*/ 5067299 h 5471929"/>
              <a:gd name="connsiteX4" fmla="*/ 0 w 5579268"/>
              <a:gd name="connsiteY4" fmla="*/ 0 h 5471929"/>
              <a:gd name="connsiteX0" fmla="*/ 0 w 5579268"/>
              <a:gd name="connsiteY0" fmla="*/ 0 h 5067299"/>
              <a:gd name="connsiteX1" fmla="*/ 5579268 w 5579268"/>
              <a:gd name="connsiteY1" fmla="*/ 0 h 5067299"/>
              <a:gd name="connsiteX2" fmla="*/ 5579231 w 5579268"/>
              <a:gd name="connsiteY2" fmla="*/ 4581524 h 5067299"/>
              <a:gd name="connsiteX3" fmla="*/ 0 w 5579268"/>
              <a:gd name="connsiteY3" fmla="*/ 5067299 h 5067299"/>
              <a:gd name="connsiteX4" fmla="*/ 0 w 5579268"/>
              <a:gd name="connsiteY4" fmla="*/ 0 h 5067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9268" h="5067299">
                <a:moveTo>
                  <a:pt x="0" y="0"/>
                </a:moveTo>
                <a:lnTo>
                  <a:pt x="5579268" y="0"/>
                </a:lnTo>
                <a:cubicBezTo>
                  <a:pt x="5579256" y="1527175"/>
                  <a:pt x="5579243" y="3054349"/>
                  <a:pt x="5579231" y="4581524"/>
                </a:cubicBezTo>
                <a:lnTo>
                  <a:pt x="0" y="506729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4" name="Picture Placeholder 3"/>
          <p:cNvSpPr>
            <a:spLocks noGrp="1"/>
          </p:cNvSpPr>
          <p:nvPr>
            <p:ph type="pic" sz="quarter" idx="14" hasCustomPrompt="1"/>
          </p:nvPr>
        </p:nvSpPr>
        <p:spPr bwMode="gray">
          <a:xfrm>
            <a:off x="1" y="1"/>
            <a:ext cx="6546631" cy="5651097"/>
          </a:xfrm>
          <a:custGeom>
            <a:avLst/>
            <a:gdLst>
              <a:gd name="connsiteX0" fmla="*/ 0 w 6550041"/>
              <a:gd name="connsiteY0" fmla="*/ 0 h 5652406"/>
              <a:gd name="connsiteX1" fmla="*/ 6550041 w 6550041"/>
              <a:gd name="connsiteY1" fmla="*/ 0 h 5652406"/>
              <a:gd name="connsiteX2" fmla="*/ 6550041 w 6550041"/>
              <a:gd name="connsiteY2" fmla="*/ 5652406 h 5652406"/>
              <a:gd name="connsiteX3" fmla="*/ 0 w 6550041"/>
              <a:gd name="connsiteY3" fmla="*/ 5652406 h 5652406"/>
              <a:gd name="connsiteX4" fmla="*/ 0 w 6550041"/>
              <a:gd name="connsiteY4" fmla="*/ 0 h 5652406"/>
              <a:gd name="connsiteX0" fmla="*/ 0 w 6550041"/>
              <a:gd name="connsiteY0" fmla="*/ 0 h 5652406"/>
              <a:gd name="connsiteX1" fmla="*/ 6550041 w 6550041"/>
              <a:gd name="connsiteY1" fmla="*/ 0 h 5652406"/>
              <a:gd name="connsiteX2" fmla="*/ 6548438 w 6550041"/>
              <a:gd name="connsiteY2" fmla="*/ 5074443 h 5652406"/>
              <a:gd name="connsiteX3" fmla="*/ 6550041 w 6550041"/>
              <a:gd name="connsiteY3" fmla="*/ 5652406 h 5652406"/>
              <a:gd name="connsiteX4" fmla="*/ 0 w 6550041"/>
              <a:gd name="connsiteY4" fmla="*/ 5652406 h 5652406"/>
              <a:gd name="connsiteX5" fmla="*/ 0 w 6550041"/>
              <a:gd name="connsiteY5" fmla="*/ 0 h 5652406"/>
              <a:gd name="connsiteX0" fmla="*/ 0 w 6550041"/>
              <a:gd name="connsiteY0" fmla="*/ 0 h 6090174"/>
              <a:gd name="connsiteX1" fmla="*/ 6550041 w 6550041"/>
              <a:gd name="connsiteY1" fmla="*/ 0 h 6090174"/>
              <a:gd name="connsiteX2" fmla="*/ 6548438 w 6550041"/>
              <a:gd name="connsiteY2" fmla="*/ 5074443 h 6090174"/>
              <a:gd name="connsiteX3" fmla="*/ 0 w 6550041"/>
              <a:gd name="connsiteY3" fmla="*/ 5652406 h 6090174"/>
              <a:gd name="connsiteX4" fmla="*/ 0 w 6550041"/>
              <a:gd name="connsiteY4" fmla="*/ 0 h 6090174"/>
              <a:gd name="connsiteX0" fmla="*/ 0 w 6550041"/>
              <a:gd name="connsiteY0" fmla="*/ 0 h 5652406"/>
              <a:gd name="connsiteX1" fmla="*/ 6550041 w 6550041"/>
              <a:gd name="connsiteY1" fmla="*/ 0 h 5652406"/>
              <a:gd name="connsiteX2" fmla="*/ 6548438 w 6550041"/>
              <a:gd name="connsiteY2" fmla="*/ 5074443 h 5652406"/>
              <a:gd name="connsiteX3" fmla="*/ 0 w 6550041"/>
              <a:gd name="connsiteY3" fmla="*/ 5652406 h 5652406"/>
              <a:gd name="connsiteX4" fmla="*/ 0 w 6550041"/>
              <a:gd name="connsiteY4" fmla="*/ 0 h 565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0041" h="5652406">
                <a:moveTo>
                  <a:pt x="0" y="0"/>
                </a:moveTo>
                <a:lnTo>
                  <a:pt x="6550041" y="0"/>
                </a:lnTo>
                <a:cubicBezTo>
                  <a:pt x="6549507" y="1691481"/>
                  <a:pt x="6548972" y="3382962"/>
                  <a:pt x="6548438" y="5074443"/>
                </a:cubicBezTo>
                <a:lnTo>
                  <a:pt x="0" y="5652406"/>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59042834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4125">
          <p15:clr>
            <a:srgbClr val="FBAE40"/>
          </p15:clr>
        </p15:guide>
        <p15:guide id="2" pos="4170">
          <p15:clr>
            <a:srgbClr val="FBAE40"/>
          </p15:clr>
        </p15:guide>
      </p15:sldGuideLst>
    </p:ext>
  </p:extLst>
</p:sldLayout>
</file>

<file path=ppt/slideLayouts/slideLayout955.xml><?xml version="1.0" encoding="utf-8"?>
<p:sldLayout xmlns:a="http://schemas.openxmlformats.org/drawingml/2006/main" xmlns:r="http://schemas.openxmlformats.org/officeDocument/2006/relationships" xmlns:p="http://schemas.openxmlformats.org/presentationml/2006/main" showMasterSp="0" preserve="1" userDrawn="1">
  <p:cSld name="2 Images-chart 2/3 brushed">
    <p:bg>
      <p:bgRef idx="1001">
        <a:schemeClr val="bg1"/>
      </p:bgRef>
    </p:bg>
    <p:spTree>
      <p:nvGrpSpPr>
        <p:cNvPr id="1" name=""/>
        <p:cNvGrpSpPr/>
        <p:nvPr/>
      </p:nvGrpSpPr>
      <p:grpSpPr>
        <a:xfrm>
          <a:off x="0" y="0"/>
          <a:ext cx="0" cy="0"/>
          <a:chOff x="0" y="0"/>
          <a:chExt cx="0" cy="0"/>
        </a:xfrm>
      </p:grpSpPr>
      <p:grpSp>
        <p:nvGrpSpPr>
          <p:cNvPr id="19" name="Regieanweisungen"/>
          <p:cNvGrpSpPr/>
          <p:nvPr userDrawn="1"/>
        </p:nvGrpSpPr>
        <p:grpSpPr>
          <a:xfrm>
            <a:off x="-2086913" y="-467892"/>
            <a:ext cx="13647691" cy="7792196"/>
            <a:chOff x="-2088000" y="-468000"/>
            <a:chExt cx="13654799" cy="7794000"/>
          </a:xfrm>
        </p:grpSpPr>
        <p:sp>
          <p:nvSpPr>
            <p:cNvPr id="20"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1"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2" name="Hinweise links"/>
            <p:cNvGrpSpPr/>
            <p:nvPr userDrawn="1"/>
          </p:nvGrpSpPr>
          <p:grpSpPr>
            <a:xfrm>
              <a:off x="-2088000" y="0"/>
              <a:ext cx="1980000" cy="3528000"/>
              <a:chOff x="-2088000" y="0"/>
              <a:chExt cx="1980000" cy="3528000"/>
            </a:xfrm>
          </p:grpSpPr>
          <p:sp>
            <p:nvSpPr>
              <p:cNvPr id="2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4" name="Listenebenen"/>
              <p:cNvGrpSpPr/>
              <p:nvPr userDrawn="1"/>
            </p:nvGrpSpPr>
            <p:grpSpPr>
              <a:xfrm>
                <a:off x="-1692000" y="2232000"/>
                <a:ext cx="1548000" cy="792000"/>
                <a:chOff x="-1692000" y="2160000"/>
                <a:chExt cx="1548000" cy="792000"/>
              </a:xfrm>
            </p:grpSpPr>
            <p:sp>
              <p:nvSpPr>
                <p:cNvPr id="2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7"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8"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9"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3" name="Buerstung U_M"/>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26"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0" y="1"/>
            <a:ext cx="4944075" cy="4530469"/>
          </a:xfrm>
          <a:custGeom>
            <a:avLst/>
            <a:gdLst>
              <a:gd name="connsiteX0" fmla="*/ 0 w 4946650"/>
              <a:gd name="connsiteY0" fmla="*/ 0 h 4531518"/>
              <a:gd name="connsiteX1" fmla="*/ 4946650 w 4946650"/>
              <a:gd name="connsiteY1" fmla="*/ 0 h 4531518"/>
              <a:gd name="connsiteX2" fmla="*/ 4946650 w 4946650"/>
              <a:gd name="connsiteY2" fmla="*/ 4531518 h 4531518"/>
              <a:gd name="connsiteX3" fmla="*/ 0 w 4946650"/>
              <a:gd name="connsiteY3" fmla="*/ 4531518 h 4531518"/>
              <a:gd name="connsiteX4" fmla="*/ 0 w 4946650"/>
              <a:gd name="connsiteY4" fmla="*/ 0 h 4531518"/>
              <a:gd name="connsiteX0" fmla="*/ 0 w 4946650"/>
              <a:gd name="connsiteY0" fmla="*/ 0 h 4531518"/>
              <a:gd name="connsiteX1" fmla="*/ 4946650 w 4946650"/>
              <a:gd name="connsiteY1" fmla="*/ 0 h 4531518"/>
              <a:gd name="connsiteX2" fmla="*/ 4945856 w 4946650"/>
              <a:gd name="connsiteY2" fmla="*/ 4093368 h 4531518"/>
              <a:gd name="connsiteX3" fmla="*/ 4946650 w 4946650"/>
              <a:gd name="connsiteY3" fmla="*/ 4531518 h 4531518"/>
              <a:gd name="connsiteX4" fmla="*/ 0 w 4946650"/>
              <a:gd name="connsiteY4" fmla="*/ 4531518 h 4531518"/>
              <a:gd name="connsiteX5" fmla="*/ 0 w 4946650"/>
              <a:gd name="connsiteY5" fmla="*/ 0 h 4531518"/>
              <a:gd name="connsiteX0" fmla="*/ 0 w 4946650"/>
              <a:gd name="connsiteY0" fmla="*/ 0 h 4891941"/>
              <a:gd name="connsiteX1" fmla="*/ 4946650 w 4946650"/>
              <a:gd name="connsiteY1" fmla="*/ 0 h 4891941"/>
              <a:gd name="connsiteX2" fmla="*/ 4945856 w 4946650"/>
              <a:gd name="connsiteY2" fmla="*/ 4093368 h 4891941"/>
              <a:gd name="connsiteX3" fmla="*/ 0 w 4946650"/>
              <a:gd name="connsiteY3" fmla="*/ 4531518 h 4891941"/>
              <a:gd name="connsiteX4" fmla="*/ 0 w 4946650"/>
              <a:gd name="connsiteY4" fmla="*/ 0 h 4891941"/>
              <a:gd name="connsiteX0" fmla="*/ 0 w 4946650"/>
              <a:gd name="connsiteY0" fmla="*/ 0 h 4531518"/>
              <a:gd name="connsiteX1" fmla="*/ 4946650 w 4946650"/>
              <a:gd name="connsiteY1" fmla="*/ 0 h 4531518"/>
              <a:gd name="connsiteX2" fmla="*/ 4945856 w 4946650"/>
              <a:gd name="connsiteY2" fmla="*/ 4093368 h 4531518"/>
              <a:gd name="connsiteX3" fmla="*/ 0 w 4946650"/>
              <a:gd name="connsiteY3" fmla="*/ 4531518 h 4531518"/>
              <a:gd name="connsiteX4" fmla="*/ 0 w 4946650"/>
              <a:gd name="connsiteY4" fmla="*/ 0 h 45315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6650" h="4531518">
                <a:moveTo>
                  <a:pt x="0" y="0"/>
                </a:moveTo>
                <a:lnTo>
                  <a:pt x="4946650" y="0"/>
                </a:lnTo>
                <a:cubicBezTo>
                  <a:pt x="4946385" y="1364456"/>
                  <a:pt x="4946121" y="2728912"/>
                  <a:pt x="4945856" y="4093368"/>
                </a:cubicBezTo>
                <a:lnTo>
                  <a:pt x="0" y="4531518"/>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5017063" y="0"/>
            <a:ext cx="7175731" cy="4085054"/>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9468" h="4086000">
                <a:moveTo>
                  <a:pt x="0" y="0"/>
                </a:moveTo>
                <a:lnTo>
                  <a:pt x="7178674" y="0"/>
                </a:lnTo>
                <a:cubicBezTo>
                  <a:pt x="7178939" y="1151731"/>
                  <a:pt x="7179203" y="2303463"/>
                  <a:pt x="7179468" y="3455194"/>
                </a:cubicBezTo>
                <a:lnTo>
                  <a:pt x="0" y="4086000"/>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6" name="Text Placeholder 4"/>
          <p:cNvSpPr>
            <a:spLocks noGrp="1"/>
          </p:cNvSpPr>
          <p:nvPr>
            <p:ph type="body" sz="quarter" idx="15" hasCustomPrompt="1"/>
          </p:nvPr>
        </p:nvSpPr>
        <p:spPr>
          <a:xfrm>
            <a:off x="630116" y="4745527"/>
            <a:ext cx="10930388" cy="16347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Body </a:t>
            </a:r>
            <a:r>
              <a:rPr lang="de-DE" dirty="0" err="1"/>
              <a:t>text</a:t>
            </a:r>
            <a:r>
              <a:rPr lang="de-DE" dirty="0"/>
              <a:t>: Home // Paragraph// </a:t>
            </a:r>
            <a:r>
              <a:rPr lang="de-DE" dirty="0" err="1"/>
              <a:t>Increase</a:t>
            </a:r>
            <a:r>
              <a:rPr lang="de-DE" dirty="0"/>
              <a:t> List Level</a:t>
            </a:r>
          </a:p>
          <a:p>
            <a:pPr lvl="1"/>
            <a:r>
              <a:rPr lang="de-DE" dirty="0"/>
              <a:t>Second </a:t>
            </a:r>
            <a:r>
              <a:rPr lang="de-DE" dirty="0" err="1"/>
              <a:t>level</a:t>
            </a:r>
            <a:r>
              <a:rPr lang="de-DE" dirty="0"/>
              <a:t> (Body </a:t>
            </a:r>
            <a:r>
              <a:rPr lang="de-DE" dirty="0" err="1"/>
              <a:t>text</a:t>
            </a:r>
            <a:r>
              <a:rPr lang="de-DE" dirty="0"/>
              <a:t>)</a:t>
            </a:r>
          </a:p>
        </p:txBody>
      </p:sp>
    </p:spTree>
    <p:extLst>
      <p:ext uri="{BB962C8B-B14F-4D97-AF65-F5344CB8AC3E}">
        <p14:creationId xmlns:p14="http://schemas.microsoft.com/office/powerpoint/2010/main" val="163873654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956.xml><?xml version="1.0" encoding="utf-8"?>
<p:sldLayout xmlns:a="http://schemas.openxmlformats.org/drawingml/2006/main" xmlns:r="http://schemas.openxmlformats.org/officeDocument/2006/relationships" xmlns:p="http://schemas.openxmlformats.org/presentationml/2006/main" showMasterSp="0" preserve="1" userDrawn="1">
  <p:cSld name="2 Images-chart 3/3 brushed">
    <p:bg>
      <p:bgRef idx="1001">
        <a:schemeClr val="bg1"/>
      </p:bgRef>
    </p:bg>
    <p:spTree>
      <p:nvGrpSpPr>
        <p:cNvPr id="1" name=""/>
        <p:cNvGrpSpPr/>
        <p:nvPr/>
      </p:nvGrpSpPr>
      <p:grpSpPr>
        <a:xfrm>
          <a:off x="0" y="0"/>
          <a:ext cx="0" cy="0"/>
          <a:chOff x="0" y="0"/>
          <a:chExt cx="0" cy="0"/>
        </a:xfrm>
      </p:grpSpPr>
      <p:grpSp>
        <p:nvGrpSpPr>
          <p:cNvPr id="20" name="Regieanweisungen"/>
          <p:cNvGrpSpPr/>
          <p:nvPr userDrawn="1"/>
        </p:nvGrpSpPr>
        <p:grpSpPr>
          <a:xfrm>
            <a:off x="-2086913" y="-467892"/>
            <a:ext cx="13647691" cy="7792196"/>
            <a:chOff x="-2088000" y="-468000"/>
            <a:chExt cx="13654799" cy="7794000"/>
          </a:xfrm>
        </p:grpSpPr>
        <p:sp>
          <p:nvSpPr>
            <p:cNvPr id="2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2"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3" name="Hinweise links"/>
            <p:cNvGrpSpPr/>
            <p:nvPr userDrawn="1"/>
          </p:nvGrpSpPr>
          <p:grpSpPr>
            <a:xfrm>
              <a:off x="-2088000" y="0"/>
              <a:ext cx="1980000" cy="3528000"/>
              <a:chOff x="-2088000" y="0"/>
              <a:chExt cx="1980000" cy="3528000"/>
            </a:xfrm>
          </p:grpSpPr>
          <p:sp>
            <p:nvSpPr>
              <p:cNvPr id="24"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6" name="Listenebenen"/>
              <p:cNvGrpSpPr/>
              <p:nvPr userDrawn="1"/>
            </p:nvGrpSpPr>
            <p:grpSpPr>
              <a:xfrm>
                <a:off x="-1692000" y="2232000"/>
                <a:ext cx="1548000" cy="792000"/>
                <a:chOff x="-1692000" y="2160000"/>
                <a:chExt cx="1548000" cy="792000"/>
              </a:xfrm>
            </p:grpSpPr>
            <p:sp>
              <p:nvSpPr>
                <p:cNvPr id="37"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8"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9"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40"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pic>
        <p:nvPicPr>
          <p:cNvPr id="2" name="Buerstung U_L"/>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bwMode="white">
          <a:xfrm>
            <a:off x="0" y="0"/>
            <a:ext cx="12190451" cy="6487838"/>
          </a:xfrm>
          <a:prstGeom prst="rect">
            <a:avLst/>
          </a:prstGeom>
        </p:spPr>
      </p:pic>
      <p:sp>
        <p:nvSpPr>
          <p:cNvPr id="25"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4" name="Picture Placeholder 3"/>
          <p:cNvSpPr>
            <a:spLocks noGrp="1"/>
          </p:cNvSpPr>
          <p:nvPr>
            <p:ph type="pic" sz="quarter" idx="10" hasCustomPrompt="1"/>
          </p:nvPr>
        </p:nvSpPr>
        <p:spPr bwMode="gray">
          <a:xfrm>
            <a:off x="1" y="-1"/>
            <a:ext cx="4598180" cy="3373450"/>
          </a:xfrm>
          <a:custGeom>
            <a:avLst/>
            <a:gdLst>
              <a:gd name="connsiteX0" fmla="*/ 0 w 4600575"/>
              <a:gd name="connsiteY0" fmla="*/ 0 h 3374231"/>
              <a:gd name="connsiteX1" fmla="*/ 4600575 w 4600575"/>
              <a:gd name="connsiteY1" fmla="*/ 0 h 3374231"/>
              <a:gd name="connsiteX2" fmla="*/ 4600575 w 4600575"/>
              <a:gd name="connsiteY2" fmla="*/ 3374231 h 3374231"/>
              <a:gd name="connsiteX3" fmla="*/ 0 w 4600575"/>
              <a:gd name="connsiteY3" fmla="*/ 3374231 h 3374231"/>
              <a:gd name="connsiteX4" fmla="*/ 0 w 4600575"/>
              <a:gd name="connsiteY4" fmla="*/ 0 h 3374231"/>
              <a:gd name="connsiteX0" fmla="*/ 0 w 4600575"/>
              <a:gd name="connsiteY0" fmla="*/ 0 h 3374231"/>
              <a:gd name="connsiteX1" fmla="*/ 4600575 w 4600575"/>
              <a:gd name="connsiteY1" fmla="*/ 0 h 3374231"/>
              <a:gd name="connsiteX2" fmla="*/ 4598194 w 4600575"/>
              <a:gd name="connsiteY2" fmla="*/ 2967039 h 3374231"/>
              <a:gd name="connsiteX3" fmla="*/ 4600575 w 4600575"/>
              <a:gd name="connsiteY3" fmla="*/ 3374231 h 3374231"/>
              <a:gd name="connsiteX4" fmla="*/ 0 w 4600575"/>
              <a:gd name="connsiteY4" fmla="*/ 3374231 h 3374231"/>
              <a:gd name="connsiteX5" fmla="*/ 0 w 4600575"/>
              <a:gd name="connsiteY5" fmla="*/ 0 h 3374231"/>
              <a:gd name="connsiteX0" fmla="*/ 0 w 4600575"/>
              <a:gd name="connsiteY0" fmla="*/ 0 h 3613464"/>
              <a:gd name="connsiteX1" fmla="*/ 4600575 w 4600575"/>
              <a:gd name="connsiteY1" fmla="*/ 0 h 3613464"/>
              <a:gd name="connsiteX2" fmla="*/ 4598194 w 4600575"/>
              <a:gd name="connsiteY2" fmla="*/ 2967039 h 3613464"/>
              <a:gd name="connsiteX3" fmla="*/ 0 w 4600575"/>
              <a:gd name="connsiteY3" fmla="*/ 3374231 h 3613464"/>
              <a:gd name="connsiteX4" fmla="*/ 0 w 4600575"/>
              <a:gd name="connsiteY4" fmla="*/ 0 h 3613464"/>
              <a:gd name="connsiteX0" fmla="*/ 0 w 4600575"/>
              <a:gd name="connsiteY0" fmla="*/ 0 h 3374231"/>
              <a:gd name="connsiteX1" fmla="*/ 4600575 w 4600575"/>
              <a:gd name="connsiteY1" fmla="*/ 0 h 3374231"/>
              <a:gd name="connsiteX2" fmla="*/ 4598194 w 4600575"/>
              <a:gd name="connsiteY2" fmla="*/ 2967039 h 3374231"/>
              <a:gd name="connsiteX3" fmla="*/ 0 w 4600575"/>
              <a:gd name="connsiteY3" fmla="*/ 3374231 h 3374231"/>
              <a:gd name="connsiteX4" fmla="*/ 0 w 4600575"/>
              <a:gd name="connsiteY4" fmla="*/ 0 h 3374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0575" h="3374231">
                <a:moveTo>
                  <a:pt x="0" y="0"/>
                </a:moveTo>
                <a:lnTo>
                  <a:pt x="4600575" y="0"/>
                </a:lnTo>
                <a:cubicBezTo>
                  <a:pt x="4599781" y="989013"/>
                  <a:pt x="4598988" y="1978026"/>
                  <a:pt x="4598194" y="2967039"/>
                </a:cubicBezTo>
                <a:lnTo>
                  <a:pt x="0" y="3374231"/>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4669582" y="0"/>
            <a:ext cx="3308213" cy="2961589"/>
          </a:xfrm>
          <a:custGeom>
            <a:avLst/>
            <a:gdLst>
              <a:gd name="connsiteX0" fmla="*/ 0 w 3309936"/>
              <a:gd name="connsiteY0" fmla="*/ 0 h 2962275"/>
              <a:gd name="connsiteX1" fmla="*/ 3309936 w 3309936"/>
              <a:gd name="connsiteY1" fmla="*/ 0 h 2962275"/>
              <a:gd name="connsiteX2" fmla="*/ 3309936 w 3309936"/>
              <a:gd name="connsiteY2" fmla="*/ 2962275 h 2962275"/>
              <a:gd name="connsiteX3" fmla="*/ 0 w 3309936"/>
              <a:gd name="connsiteY3" fmla="*/ 2962275 h 2962275"/>
              <a:gd name="connsiteX4" fmla="*/ 0 w 3309936"/>
              <a:gd name="connsiteY4" fmla="*/ 0 h 2962275"/>
              <a:gd name="connsiteX0" fmla="*/ 0 w 3309936"/>
              <a:gd name="connsiteY0" fmla="*/ 0 h 2962275"/>
              <a:gd name="connsiteX1" fmla="*/ 3309936 w 3309936"/>
              <a:gd name="connsiteY1" fmla="*/ 0 h 2962275"/>
              <a:gd name="connsiteX2" fmla="*/ 3307555 w 3309936"/>
              <a:gd name="connsiteY2" fmla="*/ 2669382 h 2962275"/>
              <a:gd name="connsiteX3" fmla="*/ 3309936 w 3309936"/>
              <a:gd name="connsiteY3" fmla="*/ 2962275 h 2962275"/>
              <a:gd name="connsiteX4" fmla="*/ 0 w 3309936"/>
              <a:gd name="connsiteY4" fmla="*/ 2962275 h 2962275"/>
              <a:gd name="connsiteX5" fmla="*/ 0 w 3309936"/>
              <a:gd name="connsiteY5" fmla="*/ 0 h 2962275"/>
              <a:gd name="connsiteX0" fmla="*/ 0 w 3309936"/>
              <a:gd name="connsiteY0" fmla="*/ 0 h 3195435"/>
              <a:gd name="connsiteX1" fmla="*/ 3309936 w 3309936"/>
              <a:gd name="connsiteY1" fmla="*/ 0 h 3195435"/>
              <a:gd name="connsiteX2" fmla="*/ 3307555 w 3309936"/>
              <a:gd name="connsiteY2" fmla="*/ 2669382 h 3195435"/>
              <a:gd name="connsiteX3" fmla="*/ 0 w 3309936"/>
              <a:gd name="connsiteY3" fmla="*/ 2962275 h 3195435"/>
              <a:gd name="connsiteX4" fmla="*/ 0 w 3309936"/>
              <a:gd name="connsiteY4" fmla="*/ 0 h 3195435"/>
              <a:gd name="connsiteX0" fmla="*/ 0 w 3309936"/>
              <a:gd name="connsiteY0" fmla="*/ 0 h 2962275"/>
              <a:gd name="connsiteX1" fmla="*/ 3309936 w 3309936"/>
              <a:gd name="connsiteY1" fmla="*/ 0 h 2962275"/>
              <a:gd name="connsiteX2" fmla="*/ 3307555 w 3309936"/>
              <a:gd name="connsiteY2" fmla="*/ 2669382 h 2962275"/>
              <a:gd name="connsiteX3" fmla="*/ 0 w 3309936"/>
              <a:gd name="connsiteY3" fmla="*/ 2962275 h 2962275"/>
              <a:gd name="connsiteX4" fmla="*/ 0 w 3309936"/>
              <a:gd name="connsiteY4" fmla="*/ 0 h 296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9936" h="2962275">
                <a:moveTo>
                  <a:pt x="0" y="0"/>
                </a:moveTo>
                <a:lnTo>
                  <a:pt x="3309936" y="0"/>
                </a:lnTo>
                <a:cubicBezTo>
                  <a:pt x="3309142" y="889794"/>
                  <a:pt x="3308349" y="1779588"/>
                  <a:pt x="3307555" y="2669382"/>
                </a:cubicBezTo>
                <a:lnTo>
                  <a:pt x="0" y="2962275"/>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5" name="Picture Placeholder 3"/>
          <p:cNvSpPr>
            <a:spLocks noGrp="1"/>
          </p:cNvSpPr>
          <p:nvPr>
            <p:ph type="pic" sz="quarter" idx="14" hasCustomPrompt="1"/>
          </p:nvPr>
        </p:nvSpPr>
        <p:spPr bwMode="gray">
          <a:xfrm>
            <a:off x="8053955" y="0"/>
            <a:ext cx="4136496" cy="2664002"/>
          </a:xfrm>
          <a:custGeom>
            <a:avLst/>
            <a:gdLst>
              <a:gd name="connsiteX0" fmla="*/ 0 w 4138650"/>
              <a:gd name="connsiteY0" fmla="*/ 0 h 2664619"/>
              <a:gd name="connsiteX1" fmla="*/ 4138650 w 4138650"/>
              <a:gd name="connsiteY1" fmla="*/ 0 h 2664619"/>
              <a:gd name="connsiteX2" fmla="*/ 4138650 w 4138650"/>
              <a:gd name="connsiteY2" fmla="*/ 2664619 h 2664619"/>
              <a:gd name="connsiteX3" fmla="*/ 0 w 4138650"/>
              <a:gd name="connsiteY3" fmla="*/ 2664619 h 2664619"/>
              <a:gd name="connsiteX4" fmla="*/ 0 w 4138650"/>
              <a:gd name="connsiteY4" fmla="*/ 0 h 2664619"/>
              <a:gd name="connsiteX0" fmla="*/ 0 w 4138650"/>
              <a:gd name="connsiteY0" fmla="*/ 0 h 2664619"/>
              <a:gd name="connsiteX1" fmla="*/ 4138650 w 4138650"/>
              <a:gd name="connsiteY1" fmla="*/ 0 h 2664619"/>
              <a:gd name="connsiteX2" fmla="*/ 4138613 w 4138650"/>
              <a:gd name="connsiteY2" fmla="*/ 2300289 h 2664619"/>
              <a:gd name="connsiteX3" fmla="*/ 4138650 w 4138650"/>
              <a:gd name="connsiteY3" fmla="*/ 2664619 h 2664619"/>
              <a:gd name="connsiteX4" fmla="*/ 0 w 4138650"/>
              <a:gd name="connsiteY4" fmla="*/ 2664619 h 2664619"/>
              <a:gd name="connsiteX5" fmla="*/ 0 w 4138650"/>
              <a:gd name="connsiteY5" fmla="*/ 0 h 2664619"/>
              <a:gd name="connsiteX0" fmla="*/ 0 w 4138650"/>
              <a:gd name="connsiteY0" fmla="*/ 0 h 2839529"/>
              <a:gd name="connsiteX1" fmla="*/ 4138650 w 4138650"/>
              <a:gd name="connsiteY1" fmla="*/ 0 h 2839529"/>
              <a:gd name="connsiteX2" fmla="*/ 4138613 w 4138650"/>
              <a:gd name="connsiteY2" fmla="*/ 2300289 h 2839529"/>
              <a:gd name="connsiteX3" fmla="*/ 0 w 4138650"/>
              <a:gd name="connsiteY3" fmla="*/ 2664619 h 2839529"/>
              <a:gd name="connsiteX4" fmla="*/ 0 w 4138650"/>
              <a:gd name="connsiteY4" fmla="*/ 0 h 2839529"/>
              <a:gd name="connsiteX0" fmla="*/ 0 w 4138650"/>
              <a:gd name="connsiteY0" fmla="*/ 0 h 2664619"/>
              <a:gd name="connsiteX1" fmla="*/ 4138650 w 4138650"/>
              <a:gd name="connsiteY1" fmla="*/ 0 h 2664619"/>
              <a:gd name="connsiteX2" fmla="*/ 4138613 w 4138650"/>
              <a:gd name="connsiteY2" fmla="*/ 2300289 h 2664619"/>
              <a:gd name="connsiteX3" fmla="*/ 0 w 4138650"/>
              <a:gd name="connsiteY3" fmla="*/ 2664619 h 2664619"/>
              <a:gd name="connsiteX4" fmla="*/ 0 w 4138650"/>
              <a:gd name="connsiteY4" fmla="*/ 0 h 2664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8650" h="2664619">
                <a:moveTo>
                  <a:pt x="0" y="0"/>
                </a:moveTo>
                <a:lnTo>
                  <a:pt x="4138650" y="0"/>
                </a:lnTo>
                <a:cubicBezTo>
                  <a:pt x="4138638" y="766763"/>
                  <a:pt x="4138625" y="1533526"/>
                  <a:pt x="4138613" y="2300289"/>
                </a:cubicBezTo>
                <a:lnTo>
                  <a:pt x="0" y="2664619"/>
                </a:lnTo>
                <a:lnTo>
                  <a:pt x="0" y="0"/>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5" name="Text Placeholder 4"/>
          <p:cNvSpPr>
            <a:spLocks noGrp="1"/>
          </p:cNvSpPr>
          <p:nvPr>
            <p:ph type="body" sz="quarter" idx="15" hasCustomPrompt="1"/>
          </p:nvPr>
        </p:nvSpPr>
        <p:spPr>
          <a:xfrm>
            <a:off x="628323" y="3526609"/>
            <a:ext cx="10932181" cy="2853664"/>
          </a:xfrm>
        </p:spPr>
        <p:txBody>
          <a:bodyPr/>
          <a:lstStyle>
            <a:lvl1pPr>
              <a:defRPr>
                <a:solidFill>
                  <a:schemeClr val="bg1"/>
                </a:solidFill>
              </a:defRPr>
            </a:lvl1pPr>
            <a:lvl2pPr>
              <a:defRPr baseline="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Body </a:t>
            </a:r>
            <a:r>
              <a:rPr lang="de-DE" dirty="0" err="1"/>
              <a:t>text</a:t>
            </a:r>
            <a:r>
              <a:rPr lang="de-DE" dirty="0"/>
              <a:t>: Home // Paragraph// </a:t>
            </a:r>
            <a:r>
              <a:rPr lang="de-DE" dirty="0" err="1"/>
              <a:t>Increase</a:t>
            </a:r>
            <a:r>
              <a:rPr lang="de-DE" dirty="0"/>
              <a:t> List Level</a:t>
            </a:r>
          </a:p>
          <a:p>
            <a:pPr lvl="1"/>
            <a:r>
              <a:rPr lang="de-DE" dirty="0"/>
              <a:t>Second </a:t>
            </a:r>
            <a:r>
              <a:rPr lang="de-DE" dirty="0" err="1"/>
              <a:t>level</a:t>
            </a:r>
            <a:r>
              <a:rPr lang="de-DE" dirty="0"/>
              <a:t> (Body </a:t>
            </a:r>
            <a:r>
              <a:rPr lang="de-DE" dirty="0" err="1"/>
              <a:t>tex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132791266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5028">
          <p15:clr>
            <a:srgbClr val="FBAE40"/>
          </p15:clr>
        </p15:guide>
        <p15:guide id="2" pos="5076">
          <p15:clr>
            <a:srgbClr val="FBAE40"/>
          </p15:clr>
        </p15:guide>
        <p15:guide id="3" pos="2943">
          <p15:clr>
            <a:srgbClr val="FBAE40"/>
          </p15:clr>
        </p15:guide>
        <p15:guide id="4" pos="2898">
          <p15:clr>
            <a:srgbClr val="FBAE40"/>
          </p15:clr>
        </p15:guide>
        <p15:guide id="5" orient="horz" pos="2222">
          <p15:clr>
            <a:srgbClr val="FBAE40"/>
          </p15:clr>
        </p15:guide>
        <p15:guide id="6" orient="horz" pos="4020">
          <p15:clr>
            <a:srgbClr val="FBAE40"/>
          </p15:clr>
        </p15:guide>
      </p15:sldGuideLst>
    </p:ext>
  </p:extLst>
</p:sldLayout>
</file>

<file path=ppt/slideLayouts/slideLayout957.xml><?xml version="1.0" encoding="utf-8"?>
<p:sldLayout xmlns:a="http://schemas.openxmlformats.org/drawingml/2006/main" xmlns:r="http://schemas.openxmlformats.org/officeDocument/2006/relationships" xmlns:p="http://schemas.openxmlformats.org/presentationml/2006/main" showMasterSp="0" preserve="1" userDrawn="1">
  <p:cSld name="Fullpage image">
    <p:bg>
      <p:bgRef idx="1001">
        <a:schemeClr val="bg1"/>
      </p:bgRef>
    </p:bg>
    <p:spTree>
      <p:nvGrpSpPr>
        <p:cNvPr id="1" name=""/>
        <p:cNvGrpSpPr/>
        <p:nvPr/>
      </p:nvGrpSpPr>
      <p:grpSpPr>
        <a:xfrm>
          <a:off x="0" y="0"/>
          <a:ext cx="0" cy="0"/>
          <a:chOff x="0" y="0"/>
          <a:chExt cx="0" cy="0"/>
        </a:xfrm>
      </p:grpSpPr>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5"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0"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258273059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958.xml><?xml version="1.0" encoding="utf-8"?>
<p:sldLayout xmlns:a="http://schemas.openxmlformats.org/drawingml/2006/main" xmlns:r="http://schemas.openxmlformats.org/officeDocument/2006/relationships" xmlns:p="http://schemas.openxmlformats.org/presentationml/2006/main" showMasterSp="0" preserve="1" userDrawn="1">
  <p:cSld name="Fullpage 3 images">
    <p:bg>
      <p:bgRef idx="1001">
        <a:schemeClr val="bg1"/>
      </p:bgRef>
    </p:bg>
    <p:spTree>
      <p:nvGrpSpPr>
        <p:cNvPr id="1" name=""/>
        <p:cNvGrpSpPr/>
        <p:nvPr/>
      </p:nvGrpSpPr>
      <p:grpSpPr>
        <a:xfrm>
          <a:off x="0" y="0"/>
          <a:ext cx="0" cy="0"/>
          <a:chOff x="0" y="0"/>
          <a:chExt cx="0" cy="0"/>
        </a:xfrm>
      </p:grpSpPr>
      <p:grpSp>
        <p:nvGrpSpPr>
          <p:cNvPr id="18" name="Regieanweisungen"/>
          <p:cNvGrpSpPr/>
          <p:nvPr userDrawn="1"/>
        </p:nvGrpSpPr>
        <p:grpSpPr>
          <a:xfrm>
            <a:off x="-2086913" y="-467892"/>
            <a:ext cx="13647691" cy="7792196"/>
            <a:chOff x="-2088000" y="-468000"/>
            <a:chExt cx="13654799" cy="7794000"/>
          </a:xfrm>
        </p:grpSpPr>
        <p:sp>
          <p:nvSpPr>
            <p:cNvPr id="19"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0"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1" name="Hinweise links"/>
            <p:cNvGrpSpPr/>
            <p:nvPr userDrawn="1"/>
          </p:nvGrpSpPr>
          <p:grpSpPr>
            <a:xfrm>
              <a:off x="-2088000" y="0"/>
              <a:ext cx="1980000" cy="3528000"/>
              <a:chOff x="-2088000" y="0"/>
              <a:chExt cx="1980000" cy="3528000"/>
            </a:xfrm>
          </p:grpSpPr>
          <p:sp>
            <p:nvSpPr>
              <p:cNvPr id="22"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23" name="Listenebenen"/>
              <p:cNvGrpSpPr/>
              <p:nvPr userDrawn="1"/>
            </p:nvGrpSpPr>
            <p:grpSpPr>
              <a:xfrm>
                <a:off x="-1692000" y="2232000"/>
                <a:ext cx="1548000" cy="792000"/>
                <a:chOff x="-1692000" y="2160000"/>
                <a:chExt cx="1548000" cy="792000"/>
              </a:xfrm>
            </p:grpSpPr>
            <p:sp>
              <p:nvSpPr>
                <p:cNvPr id="35"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6"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7" name="Listenebene erhöhen"/>
                <p:cNvPicPr>
                  <a:picLocks noChangeAspect="1"/>
                </p:cNvPicPr>
                <p:nvPr userDrawn="1"/>
              </p:nvPicPr>
              <p:blipFill>
                <a:blip r:embed="rId2"/>
                <a:stretch>
                  <a:fillRect/>
                </a:stretch>
              </p:blipFill>
              <p:spPr>
                <a:xfrm>
                  <a:off x="-900000" y="2160000"/>
                  <a:ext cx="756000" cy="324000"/>
                </a:xfrm>
                <a:prstGeom prst="rect">
                  <a:avLst/>
                </a:prstGeom>
              </p:spPr>
            </p:pic>
            <p:pic>
              <p:nvPicPr>
                <p:cNvPr id="38" name="Listenebene verringern"/>
                <p:cNvPicPr>
                  <a:picLocks noChangeAspect="1"/>
                </p:cNvPicPr>
                <p:nvPr userDrawn="1"/>
              </p:nvPicPr>
              <p:blipFill>
                <a:blip r:embed="rId3"/>
                <a:stretch>
                  <a:fillRect/>
                </a:stretch>
              </p:blipFill>
              <p:spPr>
                <a:xfrm>
                  <a:off x="-900000" y="2628000"/>
                  <a:ext cx="756000" cy="322369"/>
                </a:xfrm>
                <a:prstGeom prst="rect">
                  <a:avLst/>
                </a:prstGeom>
              </p:spPr>
            </p:pic>
          </p:grpSp>
        </p:grpSp>
      </p:grpSp>
      <p:sp>
        <p:nvSpPr>
          <p:cNvPr id="24"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1" y="0"/>
            <a:ext cx="3841337"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6" name="Picture Placeholder 3"/>
          <p:cNvSpPr>
            <a:spLocks noGrp="1"/>
          </p:cNvSpPr>
          <p:nvPr>
            <p:ph type="pic" sz="quarter" idx="14" hasCustomPrompt="1"/>
          </p:nvPr>
        </p:nvSpPr>
        <p:spPr bwMode="gray">
          <a:xfrm>
            <a:off x="3911151" y="0"/>
            <a:ext cx="4199925"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7" name="Picture Placeholder 3"/>
          <p:cNvSpPr>
            <a:spLocks noGrp="1"/>
          </p:cNvSpPr>
          <p:nvPr>
            <p:ph type="pic" sz="quarter" idx="15" hasCustomPrompt="1"/>
          </p:nvPr>
        </p:nvSpPr>
        <p:spPr bwMode="gray">
          <a:xfrm>
            <a:off x="8185649" y="0"/>
            <a:ext cx="4006350"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24861555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guide id="2" pos="2421">
          <p15:clr>
            <a:srgbClr val="FBAE40"/>
          </p15:clr>
        </p15:guide>
        <p15:guide id="3" pos="5159">
          <p15:clr>
            <a:srgbClr val="FBAE40"/>
          </p15:clr>
        </p15:guide>
        <p15:guide id="4" pos="2465">
          <p15:clr>
            <a:srgbClr val="FBAE40"/>
          </p15:clr>
        </p15:guide>
        <p15:guide id="5" pos="5112">
          <p15:clr>
            <a:srgbClr val="FBAE40"/>
          </p15:clr>
        </p15:guide>
      </p15:sldGuideLst>
    </p:ext>
  </p:extLst>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Two 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a:t>
            </a:r>
            <a:r>
              <a:rPr lang="de-DE" noProof="0" dirty="0"/>
              <a:t> S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8" name="Text Placeholder 7"/>
          <p:cNvSpPr>
            <a:spLocks noGrp="1"/>
          </p:cNvSpPr>
          <p:nvPr>
            <p:ph type="body" sz="quarter" idx="12" hasCustomPrompt="1"/>
          </p:nvPr>
        </p:nvSpPr>
        <p:spPr>
          <a:xfrm>
            <a:off x="628323" y="4966850"/>
            <a:ext cx="5107503" cy="1414434"/>
          </a:xfrm>
        </p:spPr>
        <p:txBody>
          <a:bodyPr/>
          <a:lstStyle>
            <a:lvl1pPr>
              <a:defRPr baseline="0"/>
            </a:lvl1pPr>
          </a:lstStyle>
          <a:p>
            <a:pPr lvl="0"/>
            <a:r>
              <a:rPr lang="de-DE" dirty="0"/>
              <a:t>Insert </a:t>
            </a:r>
            <a:r>
              <a:rPr lang="de-DE" dirty="0" err="1"/>
              <a:t>text</a:t>
            </a:r>
            <a:r>
              <a:rPr lang="de-DE" dirty="0"/>
              <a:t> </a:t>
            </a:r>
            <a:r>
              <a:rPr lang="de-DE" noProof="0" dirty="0"/>
              <a:t>(Mark-</a:t>
            </a:r>
            <a:r>
              <a:rPr lang="de-DE" noProof="0" dirty="0" err="1"/>
              <a:t>ups</a:t>
            </a:r>
            <a:r>
              <a:rPr lang="de-DE" noProof="0" dirty="0"/>
              <a:t> in </a:t>
            </a:r>
            <a:r>
              <a:rPr lang="de-DE" noProof="0" dirty="0" err="1"/>
              <a:t>Bold</a:t>
            </a:r>
            <a:r>
              <a:rPr lang="de-DE" noProof="0" dirty="0"/>
              <a:t>) </a:t>
            </a:r>
            <a:r>
              <a:rPr lang="de-DE" dirty="0"/>
              <a:t>// </a:t>
            </a:r>
            <a:r>
              <a:rPr lang="de-DE" dirty="0" err="1"/>
              <a:t>conclusion</a:t>
            </a:r>
            <a:r>
              <a:rPr lang="de-DE" dirty="0"/>
              <a:t> etc.: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etc.)</a:t>
            </a:r>
          </a:p>
        </p:txBody>
      </p:sp>
      <p:sp>
        <p:nvSpPr>
          <p:cNvPr id="9" name="Text Placeholder 7"/>
          <p:cNvSpPr>
            <a:spLocks noGrp="1"/>
          </p:cNvSpPr>
          <p:nvPr>
            <p:ph type="body" sz="quarter" idx="13" hasCustomPrompt="1"/>
          </p:nvPr>
        </p:nvSpPr>
        <p:spPr>
          <a:xfrm>
            <a:off x="6096000" y="4966850"/>
            <a:ext cx="5464504" cy="1414434"/>
          </a:xfrm>
        </p:spPr>
        <p:txBody>
          <a:bodyPr/>
          <a:lstStyle>
            <a:lvl2pPr>
              <a:defRPr/>
            </a:lvl2pPr>
          </a:lstStyle>
          <a:p>
            <a:pPr lvl="0"/>
            <a:r>
              <a:rPr lang="de-DE" dirty="0"/>
              <a:t>Insert </a:t>
            </a:r>
            <a:r>
              <a:rPr lang="de-DE" dirty="0" err="1"/>
              <a:t>text</a:t>
            </a:r>
            <a:r>
              <a:rPr lang="de-DE" dirty="0"/>
              <a:t> </a:t>
            </a:r>
            <a:r>
              <a:rPr lang="de-DE" noProof="0" dirty="0"/>
              <a:t>(Mark-</a:t>
            </a:r>
            <a:r>
              <a:rPr lang="de-DE" noProof="0" dirty="0" err="1"/>
              <a:t>ups</a:t>
            </a:r>
            <a:r>
              <a:rPr lang="de-DE" noProof="0" dirty="0"/>
              <a:t> in </a:t>
            </a:r>
            <a:r>
              <a:rPr lang="de-DE" noProof="0" dirty="0" err="1"/>
              <a:t>Bold</a:t>
            </a:r>
            <a:r>
              <a:rPr lang="de-DE" noProof="0" dirty="0"/>
              <a:t>) </a:t>
            </a:r>
            <a:r>
              <a:rPr lang="de-DE" dirty="0"/>
              <a:t>// </a:t>
            </a:r>
            <a:r>
              <a:rPr lang="de-DE" dirty="0" err="1"/>
              <a:t>conclusion</a:t>
            </a:r>
            <a:r>
              <a:rPr lang="de-DE" dirty="0"/>
              <a:t> etc.: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etc.)</a:t>
            </a:r>
          </a:p>
        </p:txBody>
      </p:sp>
      <p:sp>
        <p:nvSpPr>
          <p:cNvPr id="10" name="Picture Placeholder 3"/>
          <p:cNvSpPr>
            <a:spLocks noGrp="1"/>
          </p:cNvSpPr>
          <p:nvPr>
            <p:ph type="pic" sz="quarter" idx="14" hasCustomPrompt="1"/>
          </p:nvPr>
        </p:nvSpPr>
        <p:spPr bwMode="gray">
          <a:xfrm>
            <a:off x="629673" y="1233203"/>
            <a:ext cx="6837214" cy="3599628"/>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Picture Placeholder 3"/>
          <p:cNvSpPr>
            <a:spLocks noGrp="1"/>
          </p:cNvSpPr>
          <p:nvPr>
            <p:ph type="pic" sz="quarter" idx="15" hasCustomPrompt="1"/>
          </p:nvPr>
        </p:nvSpPr>
        <p:spPr bwMode="gray">
          <a:xfrm>
            <a:off x="7538288" y="1233202"/>
            <a:ext cx="4022489" cy="1979154"/>
          </a:xfrm>
          <a:prstGeom prst="rect">
            <a:avLst/>
          </a:prstGeom>
          <a:solidFill>
            <a:srgbClr val="CFCFCF"/>
          </a:solid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4" name="Picture Placeholder 3"/>
          <p:cNvSpPr>
            <a:spLocks noGrp="1"/>
          </p:cNvSpPr>
          <p:nvPr>
            <p:ph type="pic" sz="quarter" idx="16" hasCustomPrompt="1"/>
          </p:nvPr>
        </p:nvSpPr>
        <p:spPr bwMode="gray">
          <a:xfrm>
            <a:off x="7538074" y="3286041"/>
            <a:ext cx="4022430" cy="1546791"/>
          </a:xfrm>
          <a:prstGeom prst="rect">
            <a:avLst/>
          </a:prstGeom>
          <a:solidFill>
            <a:srgbClr val="CFCFCF"/>
          </a:solidFill>
        </p:spPr>
        <p:txBody>
          <a:bodyPr>
            <a:normAutofit/>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423565489"/>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3128">
          <p15:clr>
            <a:srgbClr val="FBAE40"/>
          </p15:clr>
        </p15:guide>
        <p15:guide id="4" pos="3842">
          <p15:clr>
            <a:srgbClr val="FBAE40"/>
          </p15:clr>
        </p15:guide>
        <p15:guide id="5" pos="3615">
          <p15:clr>
            <a:srgbClr val="FBAE40"/>
          </p15:clr>
        </p15:guide>
        <p15:guide id="6" orient="horz" pos="402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ntents with head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en-GB" dirty="0"/>
              <a:t>Insert content or text in </a:t>
            </a:r>
            <a:r>
              <a:rPr lang="en-GB" noProof="0" dirty="0" err="1"/>
              <a:t>CorpoS</a:t>
            </a:r>
            <a:r>
              <a:rPr lang="en-GB" noProof="0" dirty="0"/>
              <a:t>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en-GB" dirty="0"/>
              <a:t>Insert headline</a:t>
            </a:r>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en-GB" dirty="0"/>
              <a:t>Insert content or text in </a:t>
            </a:r>
            <a:r>
              <a:rPr lang="en-GB" noProof="0" dirty="0" err="1"/>
              <a:t>Corpo</a:t>
            </a:r>
            <a:r>
              <a:rPr lang="en-GB" noProof="0" dirty="0"/>
              <a:t> 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p:txBody>
      </p:sp>
    </p:spTree>
    <p:extLst>
      <p:ext uri="{BB962C8B-B14F-4D97-AF65-F5344CB8AC3E}">
        <p14:creationId xmlns:p14="http://schemas.microsoft.com/office/powerpoint/2010/main" val="376056787"/>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960.xml><?xml version="1.0" encoding="utf-8"?>
<p:sldLayout xmlns:a="http://schemas.openxmlformats.org/drawingml/2006/main" xmlns:r="http://schemas.openxmlformats.org/officeDocument/2006/relationships" xmlns:p="http://schemas.openxmlformats.org/presentationml/2006/main" preserve="1" userDrawn="1">
  <p:cSld name="Text // 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8" name="Text Placeholder 7"/>
          <p:cNvSpPr>
            <a:spLocks noGrp="1"/>
          </p:cNvSpPr>
          <p:nvPr>
            <p:ph type="body" sz="quarter" idx="12" hasCustomPrompt="1"/>
          </p:nvPr>
        </p:nvSpPr>
        <p:spPr>
          <a:xfrm>
            <a:off x="629672" y="1233202"/>
            <a:ext cx="5466328" cy="5148082"/>
          </a:xfrm>
        </p:spPr>
        <p:txBody>
          <a:bodyPr/>
          <a:lstStyle>
            <a:lvl1pPr>
              <a:defRPr baseline="0"/>
            </a:lvl1p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p:txBody>
      </p:sp>
      <p:sp>
        <p:nvSpPr>
          <p:cNvPr id="10" name="Picture Placeholder 3"/>
          <p:cNvSpPr>
            <a:spLocks noGrp="1"/>
          </p:cNvSpPr>
          <p:nvPr>
            <p:ph type="pic" sz="quarter" idx="14" hasCustomPrompt="1"/>
          </p:nvPr>
        </p:nvSpPr>
        <p:spPr bwMode="gray">
          <a:xfrm>
            <a:off x="6816350" y="1233203"/>
            <a:ext cx="4744426" cy="2627392"/>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Picture Placeholder 3"/>
          <p:cNvSpPr>
            <a:spLocks noGrp="1"/>
          </p:cNvSpPr>
          <p:nvPr>
            <p:ph type="pic" sz="quarter" idx="15" hasCustomPrompt="1"/>
          </p:nvPr>
        </p:nvSpPr>
        <p:spPr bwMode="gray">
          <a:xfrm>
            <a:off x="9621389" y="3933889"/>
            <a:ext cx="1939115" cy="2446383"/>
          </a:xfrm>
          <a:prstGeom prst="rect">
            <a:avLst/>
          </a:prstGeom>
          <a:solidFill>
            <a:srgbClr val="CFCFCF"/>
          </a:solid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4" name="Picture Placeholder 3"/>
          <p:cNvSpPr>
            <a:spLocks noGrp="1"/>
          </p:cNvSpPr>
          <p:nvPr>
            <p:ph type="pic" sz="quarter" idx="16" hasCustomPrompt="1"/>
          </p:nvPr>
        </p:nvSpPr>
        <p:spPr bwMode="gray">
          <a:xfrm>
            <a:off x="6814850" y="3933889"/>
            <a:ext cx="2735735" cy="2446383"/>
          </a:xfrm>
          <a:prstGeom prst="rect">
            <a:avLst/>
          </a:prstGeom>
          <a:solidFill>
            <a:srgbClr val="CFCFCF"/>
          </a:solidFill>
        </p:spPr>
        <p:txBody>
          <a:bodyPr>
            <a:normAutofit/>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Tree>
    <p:extLst>
      <p:ext uri="{BB962C8B-B14F-4D97-AF65-F5344CB8AC3E}">
        <p14:creationId xmlns:p14="http://schemas.microsoft.com/office/powerpoint/2010/main" val="383580491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88">
          <p15:clr>
            <a:srgbClr val="FBAE40"/>
          </p15:clr>
        </p15:guide>
        <p15:guide id="4" orient="horz" pos="4020">
          <p15:clr>
            <a:srgbClr val="FBAE40"/>
          </p15:clr>
        </p15:guide>
        <p15:guide id="5" pos="3842">
          <p15:clr>
            <a:srgbClr val="FBAE40"/>
          </p15:clr>
        </p15:guide>
        <p15:guide id="6" pos="4296">
          <p15:clr>
            <a:srgbClr val="FBAE40"/>
          </p15:clr>
        </p15:guide>
      </p15:sldGuideLst>
    </p:ext>
  </p:extLst>
</p:sldLayout>
</file>

<file path=ppt/slideLayouts/slideLayout961.xml><?xml version="1.0" encoding="utf-8"?>
<p:sldLayout xmlns:a="http://schemas.openxmlformats.org/drawingml/2006/main" xmlns:r="http://schemas.openxmlformats.org/officeDocument/2006/relationships" xmlns:p="http://schemas.openxmlformats.org/presentationml/2006/main" preserve="1" userDrawn="1">
  <p:cSld name="Text small // Image">
    <p:spTree>
      <p:nvGrpSpPr>
        <p:cNvPr id="1" name=""/>
        <p:cNvGrpSpPr/>
        <p:nvPr/>
      </p:nvGrpSpPr>
      <p:grpSpPr>
        <a:xfrm>
          <a:off x="0" y="0"/>
          <a:ext cx="0" cy="0"/>
          <a:chOff x="0" y="0"/>
          <a:chExt cx="0" cy="0"/>
        </a:xfrm>
      </p:grpSpPr>
      <p:sp>
        <p:nvSpPr>
          <p:cNvPr id="10" name="Picture Placeholder 3"/>
          <p:cNvSpPr>
            <a:spLocks noGrp="1"/>
          </p:cNvSpPr>
          <p:nvPr>
            <p:ph type="pic" sz="quarter" idx="14" hasCustomPrompt="1"/>
          </p:nvPr>
        </p:nvSpPr>
        <p:spPr bwMode="gray">
          <a:xfrm>
            <a:off x="4848875" y="1504604"/>
            <a:ext cx="6711903" cy="4875669"/>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8" name="Text Placeholder 7"/>
          <p:cNvSpPr>
            <a:spLocks noGrp="1"/>
          </p:cNvSpPr>
          <p:nvPr>
            <p:ph type="body" sz="quarter" idx="12" hasCustomPrompt="1"/>
          </p:nvPr>
        </p:nvSpPr>
        <p:spPr>
          <a:xfrm>
            <a:off x="629672" y="1504603"/>
            <a:ext cx="3857441" cy="4876681"/>
          </a:xfrm>
        </p:spPr>
        <p:txBody>
          <a:bodyPr>
            <a:normAutofit/>
          </a:bodyPr>
          <a:lstStyle>
            <a:lvl1pPr>
              <a:lnSpc>
                <a:spcPts val="2399"/>
              </a:lnSpc>
              <a:defRPr sz="1899" baseline="0"/>
            </a:lvl1pPr>
            <a:lvl2pPr>
              <a:lnSpc>
                <a:spcPts val="2399"/>
              </a:lnSpc>
              <a:defRPr sz="1899"/>
            </a:lvl2pPr>
            <a:lvl3pPr>
              <a:lnSpc>
                <a:spcPts val="2399"/>
              </a:lnSpc>
              <a:defRPr sz="1899"/>
            </a:lvl3pPr>
            <a:lvl4pPr>
              <a:lnSpc>
                <a:spcPts val="2399"/>
              </a:lnSpc>
              <a:defRPr sz="1899"/>
            </a:lvl4pPr>
            <a:lvl5pPr>
              <a:lnSpc>
                <a:spcPts val="2399"/>
              </a:lnSpc>
              <a:defRPr sz="1899"/>
            </a:lvl5pPr>
            <a:lvl6pPr>
              <a:lnSpc>
                <a:spcPts val="2399"/>
              </a:lnSpc>
              <a:defRPr sz="1899"/>
            </a:lvl6pPr>
            <a:lvl7pPr>
              <a:lnSpc>
                <a:spcPts val="2399"/>
              </a:lnSpc>
              <a:defRPr sz="1899"/>
            </a:lvl7pPr>
            <a:lvl8pPr>
              <a:lnSpc>
                <a:spcPts val="2399"/>
              </a:lnSpc>
              <a:defRPr sz="1899"/>
            </a:lvl8pPr>
            <a:lvl9pPr>
              <a:lnSpc>
                <a:spcPts val="2399"/>
              </a:lnSpc>
              <a:defRPr sz="1899"/>
            </a:lvl9pPr>
          </a:lstStyle>
          <a:p>
            <a:pPr lvl="0"/>
            <a:r>
              <a:rPr lang="de-DE" dirty="0"/>
              <a:t>Insert </a:t>
            </a:r>
            <a:r>
              <a:rPr lang="de-DE" dirty="0" err="1"/>
              <a:t>text</a:t>
            </a:r>
            <a:r>
              <a:rPr lang="de-DE" dirty="0"/>
              <a:t> in </a:t>
            </a:r>
            <a:r>
              <a:rPr lang="de-DE" noProof="0" dirty="0" err="1"/>
              <a:t>CorpoS</a:t>
            </a:r>
            <a:r>
              <a:rPr lang="de-DE" noProof="0" dirty="0"/>
              <a:t> (Body) 19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5" name="Title 4"/>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 </a:t>
            </a:r>
            <a:r>
              <a:rPr lang="de-DE" noProof="0" dirty="0" err="1"/>
              <a:t>for</a:t>
            </a:r>
            <a:r>
              <a:rPr lang="de-DE" noProof="0" dirty="0"/>
              <a:t> </a:t>
            </a:r>
            <a:r>
              <a:rPr lang="de-DE" noProof="0" dirty="0" err="1"/>
              <a:t>standard</a:t>
            </a:r>
            <a:r>
              <a:rPr lang="de-DE" noProof="0" dirty="0"/>
              <a:t> </a:t>
            </a:r>
            <a:br>
              <a:rPr lang="de-DE" noProof="0" dirty="0"/>
            </a:br>
            <a:r>
              <a:rPr lang="de-DE" noProof="0" dirty="0"/>
              <a:t>text-chart in </a:t>
            </a:r>
            <a:r>
              <a:rPr lang="de-DE" noProof="0" dirty="0" err="1"/>
              <a:t>two</a:t>
            </a:r>
            <a:r>
              <a:rPr lang="de-DE" noProof="0" dirty="0"/>
              <a:t> </a:t>
            </a:r>
            <a:r>
              <a:rPr lang="de-DE" noProof="0" dirty="0" err="1"/>
              <a:t>lines</a:t>
            </a:r>
            <a:endParaRPr lang="de-DE" dirty="0"/>
          </a:p>
        </p:txBody>
      </p:sp>
    </p:spTree>
    <p:extLst>
      <p:ext uri="{BB962C8B-B14F-4D97-AF65-F5344CB8AC3E}">
        <p14:creationId xmlns:p14="http://schemas.microsoft.com/office/powerpoint/2010/main" val="479327028"/>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948">
          <p15:clr>
            <a:srgbClr val="FBAE40"/>
          </p15:clr>
        </p15:guide>
        <p15:guide id="3" orient="horz" pos="182">
          <p15:clr>
            <a:srgbClr val="FBAE40"/>
          </p15:clr>
        </p15:guide>
        <p15:guide id="4" pos="3056">
          <p15:clr>
            <a:srgbClr val="FBAE40"/>
          </p15:clr>
        </p15:guide>
        <p15:guide id="5" pos="2828">
          <p15:clr>
            <a:srgbClr val="FBAE40"/>
          </p15:clr>
        </p15:guide>
      </p15:sldGuideLst>
    </p:ext>
  </p:extLst>
</p:sldLayout>
</file>

<file path=ppt/slideLayouts/slideLayout962.xml><?xml version="1.0" encoding="utf-8"?>
<p:sldLayout xmlns:a="http://schemas.openxmlformats.org/drawingml/2006/main" xmlns:r="http://schemas.openxmlformats.org/officeDocument/2006/relationships" xmlns:p="http://schemas.openxmlformats.org/presentationml/2006/main" preserve="1" userDrawn="1">
  <p:cSld name="Two contents with head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Content Placeholder 5"/>
          <p:cNvSpPr>
            <a:spLocks noGrp="1"/>
          </p:cNvSpPr>
          <p:nvPr>
            <p:ph sz="quarter" idx="12" hasCustomPrompt="1"/>
          </p:nvPr>
        </p:nvSpPr>
        <p:spPr>
          <a:xfrm>
            <a:off x="629909" y="2493113"/>
            <a:ext cx="4965177" cy="3455460"/>
          </a:xfrm>
        </p:spPr>
        <p:txBody>
          <a:bodyPr/>
          <a:lstStyle>
            <a:lvl1pPr>
              <a:defRPr baseline="0"/>
            </a:lvl1pPr>
          </a:lstStyle>
          <a:p>
            <a:pPr lvl="0"/>
            <a:r>
              <a:rPr lang="de-DE" dirty="0"/>
              <a:t>Insert </a:t>
            </a:r>
            <a:r>
              <a:rPr lang="de-DE" dirty="0" err="1"/>
              <a:t>content</a:t>
            </a:r>
            <a:r>
              <a:rPr lang="de-DE" dirty="0"/>
              <a:t> </a:t>
            </a:r>
            <a:r>
              <a:rPr lang="de-DE" dirty="0" err="1"/>
              <a:t>or</a:t>
            </a:r>
            <a:r>
              <a:rPr lang="de-DE" dirty="0"/>
              <a: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p:txBody>
      </p:sp>
      <p:sp>
        <p:nvSpPr>
          <p:cNvPr id="7" name="Text Placeholder 6"/>
          <p:cNvSpPr>
            <a:spLocks noGrp="1"/>
          </p:cNvSpPr>
          <p:nvPr>
            <p:ph type="body" sz="quarter" idx="13" hasCustomPrompt="1"/>
          </p:nvPr>
        </p:nvSpPr>
        <p:spPr>
          <a:xfrm>
            <a:off x="629912" y="1504602"/>
            <a:ext cx="4965174"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a:t>Insert </a:t>
            </a:r>
            <a:r>
              <a:rPr lang="de-DE" dirty="0" err="1"/>
              <a:t>headline</a:t>
            </a:r>
            <a:endParaRPr lang="de-DE" dirty="0"/>
          </a:p>
        </p:txBody>
      </p:sp>
      <p:cxnSp>
        <p:nvCxnSpPr>
          <p:cNvPr id="8" name="Gerade Verbindung 42"/>
          <p:cNvCxnSpPr/>
          <p:nvPr userDrawn="1"/>
        </p:nvCxnSpPr>
        <p:spPr bwMode="auto">
          <a:xfrm>
            <a:off x="629672"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6595089" y="2231483"/>
            <a:ext cx="4965414"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6595326" y="1504602"/>
            <a:ext cx="4965177" cy="683842"/>
          </a:xfrm>
        </p:spPr>
        <p:txBody>
          <a:bodyPr anchor="b" anchorCtr="0"/>
          <a:lstStyle>
            <a:lvl1pPr marL="0" indent="0">
              <a:lnSpc>
                <a:spcPts val="2399"/>
              </a:lnSpc>
              <a:buNone/>
              <a:defRPr sz="1899">
                <a:solidFill>
                  <a:schemeClr val="tx1"/>
                </a:solidFill>
              </a:defRPr>
            </a:lvl1pPr>
            <a:lvl2pPr marL="0" indent="0">
              <a:lnSpc>
                <a:spcPts val="2399"/>
              </a:lnSpc>
              <a:buFont typeface="Arial" panose="020B0604020202020204" pitchFamily="34" charset="0"/>
              <a:buNone/>
              <a:defRPr sz="1899">
                <a:solidFill>
                  <a:schemeClr val="tx1"/>
                </a:solidFill>
              </a:defRPr>
            </a:lvl2pPr>
            <a:lvl3pPr marL="0" indent="0">
              <a:lnSpc>
                <a:spcPts val="2399"/>
              </a:lnSpc>
              <a:buFont typeface="Arial" panose="020B0604020202020204" pitchFamily="34" charset="0"/>
              <a:buNone/>
              <a:defRPr sz="1899">
                <a:solidFill>
                  <a:schemeClr val="tx1"/>
                </a:solidFill>
              </a:defRPr>
            </a:lvl3pPr>
            <a:lvl4pPr marL="0" indent="0">
              <a:lnSpc>
                <a:spcPts val="2399"/>
              </a:lnSpc>
              <a:buFont typeface="Arial" panose="020B0604020202020204" pitchFamily="34" charset="0"/>
              <a:buNone/>
              <a:defRPr sz="1899">
                <a:solidFill>
                  <a:schemeClr val="tx1"/>
                </a:solidFill>
              </a:defRPr>
            </a:lvl4pPr>
            <a:lvl5pPr marL="0" indent="0">
              <a:lnSpc>
                <a:spcPts val="2399"/>
              </a:lnSpc>
              <a:buFont typeface="Arial" panose="020B0604020202020204" pitchFamily="34" charset="0"/>
              <a:buNone/>
              <a:defRPr sz="1899">
                <a:solidFill>
                  <a:schemeClr val="tx1"/>
                </a:solidFill>
              </a:defRPr>
            </a:lvl5pPr>
            <a:lvl6pPr marL="0" indent="0">
              <a:lnSpc>
                <a:spcPts val="2399"/>
              </a:lnSpc>
              <a:buFont typeface="Arial" panose="020B0604020202020204" pitchFamily="34" charset="0"/>
              <a:buNone/>
              <a:defRPr sz="1899">
                <a:solidFill>
                  <a:schemeClr val="tx1"/>
                </a:solidFill>
              </a:defRPr>
            </a:lvl6pPr>
            <a:lvl7pPr marL="0" indent="0">
              <a:lnSpc>
                <a:spcPts val="2399"/>
              </a:lnSpc>
              <a:buFont typeface="Arial" panose="020B0604020202020204" pitchFamily="34" charset="0"/>
              <a:buNone/>
              <a:defRPr sz="1899">
                <a:solidFill>
                  <a:schemeClr val="tx1"/>
                </a:solidFill>
              </a:defRPr>
            </a:lvl7pPr>
            <a:lvl8pPr marL="0" indent="0">
              <a:lnSpc>
                <a:spcPts val="2399"/>
              </a:lnSpc>
              <a:buFont typeface="Arial" panose="020B0604020202020204" pitchFamily="34" charset="0"/>
              <a:buNone/>
              <a:defRPr sz="1899">
                <a:solidFill>
                  <a:schemeClr val="tx1"/>
                </a:solidFill>
              </a:defRPr>
            </a:lvl8pPr>
            <a:lvl9pPr marL="0" indent="0">
              <a:lnSpc>
                <a:spcPts val="2399"/>
              </a:lnSpc>
              <a:buFont typeface="Arial" panose="020B0604020202020204" pitchFamily="34" charset="0"/>
              <a:buNone/>
              <a:defRPr sz="1899">
                <a:solidFill>
                  <a:schemeClr val="tx1"/>
                </a:solidFill>
              </a:defRPr>
            </a:lvl9pPr>
          </a:lstStyle>
          <a:p>
            <a:pPr lvl="0"/>
            <a:r>
              <a:rPr lang="de-DE" dirty="0"/>
              <a:t>Insert </a:t>
            </a:r>
            <a:r>
              <a:rPr lang="de-DE" dirty="0" err="1"/>
              <a:t>headline</a:t>
            </a:r>
            <a:endParaRPr lang="de-DE" dirty="0"/>
          </a:p>
        </p:txBody>
      </p:sp>
      <p:sp>
        <p:nvSpPr>
          <p:cNvPr id="11" name="Content Placeholder 5"/>
          <p:cNvSpPr>
            <a:spLocks noGrp="1"/>
          </p:cNvSpPr>
          <p:nvPr>
            <p:ph sz="quarter" idx="15" hasCustomPrompt="1"/>
          </p:nvPr>
        </p:nvSpPr>
        <p:spPr>
          <a:xfrm>
            <a:off x="6595326" y="2493113"/>
            <a:ext cx="4965177" cy="3455200"/>
          </a:xfrm>
        </p:spPr>
        <p:txBody>
          <a:bodyPr/>
          <a:lstStyle>
            <a:lvl1pPr>
              <a:defRPr baseline="0"/>
            </a:lvl1pPr>
          </a:lstStyle>
          <a:p>
            <a:pPr lvl="0"/>
            <a:r>
              <a:rPr lang="de-DE" dirty="0"/>
              <a:t>Insert </a:t>
            </a:r>
            <a:r>
              <a:rPr lang="de-DE" dirty="0" err="1"/>
              <a:t>content</a:t>
            </a:r>
            <a:r>
              <a:rPr lang="de-DE" dirty="0"/>
              <a:t> </a:t>
            </a:r>
            <a:r>
              <a:rPr lang="de-DE" dirty="0" err="1"/>
              <a:t>or</a:t>
            </a:r>
            <a:r>
              <a:rPr lang="de-DE" dirty="0"/>
              <a:t> </a:t>
            </a:r>
            <a:r>
              <a:rPr lang="de-DE" dirty="0" err="1"/>
              <a:t>text</a:t>
            </a:r>
            <a:r>
              <a:rPr lang="de-DE" dirty="0"/>
              <a:t> in </a:t>
            </a:r>
            <a:r>
              <a:rPr lang="de-DE" noProof="0" dirty="0" err="1"/>
              <a:t>Corpo</a:t>
            </a:r>
            <a:r>
              <a:rPr lang="de-DE" noProof="0" dirty="0"/>
              <a:t> S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p:txBody>
      </p:sp>
    </p:spTree>
    <p:extLst>
      <p:ext uri="{BB962C8B-B14F-4D97-AF65-F5344CB8AC3E}">
        <p14:creationId xmlns:p14="http://schemas.microsoft.com/office/powerpoint/2010/main" val="796852962"/>
      </p:ext>
    </p:extLst>
  </p:cSld>
  <p:clrMapOvr>
    <a:masterClrMapping/>
  </p:clrMapOvr>
  <p:extLst mod="1">
    <p:ext uri="{DCECCB84-F9BA-43D5-87BE-67443E8EF086}">
      <p15:sldGuideLst xmlns:p15="http://schemas.microsoft.com/office/powerpoint/2012/main">
        <p15:guide id="1" orient="horz" pos="1569">
          <p15:clr>
            <a:srgbClr val="FBAE40"/>
          </p15:clr>
        </p15:guide>
        <p15:guide id="2" pos="4155">
          <p15:clr>
            <a:srgbClr val="FBAE40"/>
          </p15:clr>
        </p15:guide>
        <p15:guide id="3" pos="3528">
          <p15:clr>
            <a:srgbClr val="FBAE40"/>
          </p15:clr>
        </p15:guide>
        <p15:guide id="4" orient="horz" pos="3748">
          <p15:clr>
            <a:srgbClr val="FBAE40"/>
          </p15:clr>
        </p15:guide>
        <p15:guide id="5" orient="horz" pos="950">
          <p15:clr>
            <a:srgbClr val="FBAE40"/>
          </p15:clr>
        </p15:guide>
      </p15:sldGuideLst>
    </p:ext>
  </p:extLst>
</p:sldLayout>
</file>

<file path=ppt/slideLayouts/slideLayout963.xml><?xml version="1.0" encoding="utf-8"?>
<p:sldLayout xmlns:a="http://schemas.openxmlformats.org/drawingml/2006/main" xmlns:r="http://schemas.openxmlformats.org/officeDocument/2006/relationships" xmlns:p="http://schemas.openxmlformats.org/presentationml/2006/main" preserve="1" userDrawn="1">
  <p:cSld name="4 product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de-DE"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de-DE" dirty="0"/>
              <a:t>Insert </a:t>
            </a:r>
            <a:r>
              <a:rPr lang="de-DE" dirty="0" err="1"/>
              <a:t>text</a:t>
            </a:r>
            <a:endParaRPr lang="de-DE" dirty="0"/>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de-DE" dirty="0" err="1"/>
              <a:t>XXg</a:t>
            </a:r>
            <a:endParaRPr lang="de-DE"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de-DE" dirty="0" err="1"/>
              <a:t>X,Xl</a:t>
            </a:r>
            <a:endParaRPr lang="de-DE"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de-DE" dirty="0"/>
              <a:t>Insert </a:t>
            </a:r>
            <a:r>
              <a:rPr lang="de-DE" dirty="0" err="1"/>
              <a:t>text</a:t>
            </a:r>
            <a:endParaRPr lang="de-DE" dirty="0"/>
          </a:p>
        </p:txBody>
      </p:sp>
      <p:sp>
        <p:nvSpPr>
          <p:cNvPr id="47"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Tree>
    <p:extLst>
      <p:ext uri="{BB962C8B-B14F-4D97-AF65-F5344CB8AC3E}">
        <p14:creationId xmlns:p14="http://schemas.microsoft.com/office/powerpoint/2010/main" val="346918071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964.xml><?xml version="1.0" encoding="utf-8"?>
<p:sldLayout xmlns:a="http://schemas.openxmlformats.org/drawingml/2006/main" xmlns:r="http://schemas.openxmlformats.org/officeDocument/2006/relationships" xmlns:p="http://schemas.openxmlformats.org/presentationml/2006/main" preserve="1" userDrawn="1">
  <p:cSld name="Headline two lines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991281021"/>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userDrawn="1">
  <p:cSld name="Headline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3672124383"/>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966.xml><?xml version="1.0" encoding="utf-8"?>
<p:sldLayout xmlns:a="http://schemas.openxmlformats.org/drawingml/2006/main" xmlns:r="http://schemas.openxmlformats.org/officeDocument/2006/relationships" xmlns:p="http://schemas.openxmlformats.org/presentationml/2006/main" userDrawn="1">
  <p:cSld name="Agenda without brushi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89631"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e-DE" noProof="0" dirty="0"/>
              <a:t>Headline </a:t>
            </a:r>
            <a:r>
              <a:rPr lang="de-DE" noProof="0" dirty="0" err="1"/>
              <a:t>for</a:t>
            </a:r>
            <a:r>
              <a:rPr lang="de-DE" noProof="0" dirty="0"/>
              <a:t> Agenda in </a:t>
            </a:r>
            <a:r>
              <a:rPr lang="de-DE" noProof="0" dirty="0" err="1"/>
              <a:t>CorpoS</a:t>
            </a:r>
            <a:r>
              <a:rPr lang="de-DE" noProof="0" dirty="0"/>
              <a:t> (Body) 35 </a:t>
            </a:r>
            <a:r>
              <a:rPr lang="de-DE" noProof="0" dirty="0" err="1"/>
              <a:t>pt</a:t>
            </a:r>
            <a:r>
              <a:rPr lang="de-DE" noProof="0" dirty="0"/>
              <a:t>. </a:t>
            </a:r>
            <a:br>
              <a:rPr lang="de-DE" noProof="0" dirty="0"/>
            </a:br>
            <a:r>
              <a:rPr lang="de-DE" noProof="0" dirty="0" err="1"/>
              <a:t>one</a:t>
            </a:r>
            <a:r>
              <a:rPr lang="de-DE" noProof="0" dirty="0"/>
              <a:t> </a:t>
            </a:r>
            <a:r>
              <a:rPr lang="de-DE" noProof="0" dirty="0" err="1"/>
              <a:t>or</a:t>
            </a:r>
            <a:r>
              <a:rPr lang="de-DE" noProof="0" dirty="0"/>
              <a:t>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Insert Agenda </a:t>
            </a:r>
            <a:r>
              <a:rPr lang="de-DE" dirty="0" err="1"/>
              <a:t>point</a:t>
            </a:r>
            <a:endParaRPr lang="de-DE" dirty="0"/>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79386611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967.xml><?xml version="1.0" encoding="utf-8"?>
<p:sldLayout xmlns:a="http://schemas.openxmlformats.org/drawingml/2006/main" xmlns:r="http://schemas.openxmlformats.org/officeDocument/2006/relationships" xmlns:p="http://schemas.openxmlformats.org/presentationml/2006/main" showMasterSp="0" preserve="1" userDrawn="1">
  <p:cSld name="1_daimler blanco">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19065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8" name="Foliennummernplatzhalter 3">
            <a:extLst>
              <a:ext uri="{FF2B5EF4-FFF2-40B4-BE49-F238E27FC236}">
                <a16:creationId xmlns:a16="http://schemas.microsoft.com/office/drawing/2014/main" id="{3E15A405-AB95-44E1-98C0-C8DC619077BB}"/>
              </a:ext>
            </a:extLst>
          </p:cNvPr>
          <p:cNvSpPr txBox="1">
            <a:spLocks/>
          </p:cNvSpPr>
          <p:nvPr userDrawn="1"/>
        </p:nvSpPr>
        <p:spPr>
          <a:xfrm>
            <a:off x="11442992" y="6506836"/>
            <a:ext cx="1155196" cy="215950"/>
          </a:xfrm>
          <a:prstGeom prst="rect">
            <a:avLst/>
          </a:prstGeom>
        </p:spPr>
        <p:txBody>
          <a:bodyPr vert="horz" lIns="0" tIns="0" rIns="0" bIns="0" rtlCol="0" anchor="t" anchorCtr="0"/>
          <a:lstStyle>
            <a:defPPr>
              <a:defRPr lang="de-DE"/>
            </a:defPPr>
            <a:lvl1pPr marL="0" indent="0" algn="l" defTabSz="1088959" rtl="0" eaLnBrk="1" latinLnBrk="0" hangingPunct="1">
              <a:spcBef>
                <a:spcPts val="0"/>
              </a:spcBef>
              <a:buFont typeface="Arial" panose="020B0604020202020204" pitchFamily="34" charset="0"/>
              <a:buNone/>
              <a:defRPr sz="1200" kern="1200">
                <a:solidFill>
                  <a:schemeClr val="tx1"/>
                </a:solidFill>
                <a:latin typeface="+mn-lt"/>
                <a:ea typeface="+mn-ea"/>
                <a:cs typeface="+mn-cs"/>
              </a:defRPr>
            </a:lvl1pPr>
            <a:lvl2pPr marL="0" indent="0" algn="l" defTabSz="1088959" rtl="0" eaLnBrk="1" latinLnBrk="0" hangingPunct="1">
              <a:spcBef>
                <a:spcPts val="0"/>
              </a:spcBef>
              <a:defRPr sz="1200" kern="1200">
                <a:solidFill>
                  <a:schemeClr val="tx1"/>
                </a:solidFill>
                <a:latin typeface="+mn-lt"/>
                <a:ea typeface="+mn-ea"/>
                <a:cs typeface="+mn-cs"/>
              </a:defRPr>
            </a:lvl2pPr>
            <a:lvl3pPr marL="0" indent="0" algn="l" defTabSz="1088959" rtl="0" eaLnBrk="1" latinLnBrk="0" hangingPunct="1">
              <a:spcBef>
                <a:spcPts val="0"/>
              </a:spcBef>
              <a:defRPr sz="1200" kern="1200">
                <a:solidFill>
                  <a:schemeClr val="tx1"/>
                </a:solidFill>
                <a:latin typeface="+mn-lt"/>
                <a:ea typeface="+mn-ea"/>
                <a:cs typeface="+mn-cs"/>
              </a:defRPr>
            </a:lvl3pPr>
            <a:lvl4pPr marL="0" indent="0" algn="l" defTabSz="1088959" rtl="0" eaLnBrk="1" latinLnBrk="0" hangingPunct="1">
              <a:spcBef>
                <a:spcPts val="0"/>
              </a:spcBef>
              <a:defRPr sz="1200" kern="1200">
                <a:solidFill>
                  <a:schemeClr val="tx1"/>
                </a:solidFill>
                <a:latin typeface="+mn-lt"/>
                <a:ea typeface="+mn-ea"/>
                <a:cs typeface="+mn-cs"/>
              </a:defRPr>
            </a:lvl4pPr>
            <a:lvl5pPr marL="0" indent="0" algn="l" defTabSz="1088959" rtl="0" eaLnBrk="1" latinLnBrk="0" hangingPunct="1">
              <a:spcBef>
                <a:spcPts val="0"/>
              </a:spcBef>
              <a:defRPr sz="1200" kern="1200">
                <a:solidFill>
                  <a:schemeClr val="tx1"/>
                </a:solidFill>
                <a:latin typeface="+mn-lt"/>
                <a:ea typeface="+mn-ea"/>
                <a:cs typeface="+mn-cs"/>
              </a:defRPr>
            </a:lvl5pPr>
            <a:lvl6pPr marL="0" indent="0" algn="l" defTabSz="1088959" rtl="0" eaLnBrk="1" latinLnBrk="0" hangingPunct="1">
              <a:spcBef>
                <a:spcPts val="0"/>
              </a:spcBef>
              <a:defRPr sz="1200" kern="1200">
                <a:solidFill>
                  <a:schemeClr val="tx1"/>
                </a:solidFill>
                <a:latin typeface="+mn-lt"/>
                <a:ea typeface="+mn-ea"/>
                <a:cs typeface="+mn-cs"/>
              </a:defRPr>
            </a:lvl6pPr>
            <a:lvl7pPr marL="0" indent="0" algn="l" defTabSz="1088959" rtl="0" eaLnBrk="1" latinLnBrk="0" hangingPunct="1">
              <a:spcBef>
                <a:spcPts val="0"/>
              </a:spcBef>
              <a:defRPr sz="1200" kern="1200">
                <a:solidFill>
                  <a:schemeClr val="tx1"/>
                </a:solidFill>
                <a:latin typeface="+mn-lt"/>
                <a:ea typeface="+mn-ea"/>
                <a:cs typeface="+mn-cs"/>
              </a:defRPr>
            </a:lvl7pPr>
            <a:lvl8pPr marL="0" indent="0" algn="l" defTabSz="1088959" rtl="0" eaLnBrk="1" latinLnBrk="0" hangingPunct="1">
              <a:spcBef>
                <a:spcPts val="0"/>
              </a:spcBef>
              <a:defRPr sz="1200" kern="1200">
                <a:solidFill>
                  <a:schemeClr val="tx1"/>
                </a:solidFill>
                <a:latin typeface="+mn-lt"/>
                <a:ea typeface="+mn-ea"/>
                <a:cs typeface="+mn-cs"/>
              </a:defRPr>
            </a:lvl8pPr>
            <a:lvl9pPr marL="0" indent="0" algn="l" defTabSz="1088959" rtl="0" eaLnBrk="1" latinLnBrk="0" hangingPunct="1">
              <a:spcBef>
                <a:spcPts val="0"/>
              </a:spcBef>
              <a:defRPr sz="1200" kern="1200">
                <a:solidFill>
                  <a:schemeClr val="tx1"/>
                </a:solidFill>
                <a:latin typeface="+mn-lt"/>
                <a:ea typeface="+mn-ea"/>
                <a:cs typeface="+mn-cs"/>
              </a:defRPr>
            </a:lvl9pPr>
          </a:lstStyle>
          <a:p>
            <a:r>
              <a:rPr lang="de-DE" sz="1199" b="1" dirty="0">
                <a:solidFill>
                  <a:prstClr val="black"/>
                </a:solidFill>
              </a:rPr>
              <a:t>PAGE </a:t>
            </a:r>
            <a:fld id="{52531704-8F80-415D-BD2B-6B9991AE822F}" type="slidenum">
              <a:rPr lang="de-DE" sz="1199" b="1" smtClean="0">
                <a:solidFill>
                  <a:prstClr val="black"/>
                </a:solidFill>
              </a:rPr>
              <a:pPr/>
              <a:t>‹#›</a:t>
            </a:fld>
            <a:endParaRPr lang="de-DE" sz="1199" b="1" dirty="0">
              <a:solidFill>
                <a:prstClr val="black"/>
              </a:solidFill>
            </a:endParaRPr>
          </a:p>
        </p:txBody>
      </p:sp>
    </p:spTree>
    <p:extLst>
      <p:ext uri="{BB962C8B-B14F-4D97-AF65-F5344CB8AC3E}">
        <p14:creationId xmlns:p14="http://schemas.microsoft.com/office/powerpoint/2010/main" val="3123999980"/>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66">
          <p15:clr>
            <a:srgbClr val="FBAE40"/>
          </p15:clr>
        </p15:guide>
        <p15:guide id="3" orient="horz" pos="754">
          <p15:clr>
            <a:srgbClr val="FBAE40"/>
          </p15:clr>
        </p15:guide>
        <p15:guide id="4" orient="horz" pos="845">
          <p15:clr>
            <a:srgbClr val="FBAE40"/>
          </p15:clr>
        </p15:guide>
      </p15:sldGuideLst>
    </p:ext>
  </p:extLst>
</p:sldLayout>
</file>

<file path=ppt/slideLayouts/slideLayout968.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91679"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dirty="0"/>
          </a:p>
        </p:txBody>
      </p:sp>
      <p:sp>
        <p:nvSpPr>
          <p:cNvPr id="3" name="Footer Placeholder 2"/>
          <p:cNvSpPr>
            <a:spLocks noGrp="1"/>
          </p:cNvSpPr>
          <p:nvPr>
            <p:ph type="ftr" sz="quarter" idx="10"/>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4" name="Slide Number Placeholder 3"/>
          <p:cNvSpPr>
            <a:spLocks noGrp="1"/>
          </p:cNvSpPr>
          <p:nvPr>
            <p:ph type="sldNum" sz="quarter" idx="11"/>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420347278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969.xml><?xml version="1.0" encoding="utf-8"?>
<p:sldLayout xmlns:a="http://schemas.openxmlformats.org/drawingml/2006/main" xmlns:r="http://schemas.openxmlformats.org/officeDocument/2006/relationships" xmlns:p="http://schemas.openxmlformats.org/presentationml/2006/main" showMasterSp="0" userDrawn="1">
  <p:cSld name="Full image">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92703"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grpSp>
        <p:nvGrpSpPr>
          <p:cNvPr id="16" name="Regieanweisungen"/>
          <p:cNvGrpSpPr/>
          <p:nvPr userDrawn="1"/>
        </p:nvGrpSpPr>
        <p:grpSpPr>
          <a:xfrm>
            <a:off x="-2086913" y="-467892"/>
            <a:ext cx="13647691" cy="7792196"/>
            <a:chOff x="-2088000" y="-468000"/>
            <a:chExt cx="13654799" cy="7794000"/>
          </a:xfrm>
        </p:grpSpPr>
        <p:sp>
          <p:nvSpPr>
            <p:cNvPr id="17"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19" name="Hinweise links"/>
            <p:cNvGrpSpPr/>
            <p:nvPr userDrawn="1"/>
          </p:nvGrpSpPr>
          <p:grpSpPr>
            <a:xfrm>
              <a:off x="-2088000" y="0"/>
              <a:ext cx="1980000" cy="3528000"/>
              <a:chOff x="-2088000" y="0"/>
              <a:chExt cx="1980000" cy="3528000"/>
            </a:xfrm>
          </p:grpSpPr>
          <p:sp>
            <p:nvSpPr>
              <p:cNvPr id="31"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2" name="Listenebenen"/>
              <p:cNvGrpSpPr/>
              <p:nvPr userDrawn="1"/>
            </p:nvGrpSpPr>
            <p:grpSpPr>
              <a:xfrm>
                <a:off x="-1692000" y="2232000"/>
                <a:ext cx="1548000" cy="792000"/>
                <a:chOff x="-1692000" y="2160000"/>
                <a:chExt cx="1548000" cy="792000"/>
              </a:xfrm>
            </p:grpSpPr>
            <p:sp>
              <p:nvSpPr>
                <p:cNvPr id="33"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4"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5" name="Listenebene erhöhen"/>
                <p:cNvPicPr>
                  <a:picLocks noChangeAspect="1"/>
                </p:cNvPicPr>
                <p:nvPr userDrawn="1"/>
              </p:nvPicPr>
              <p:blipFill>
                <a:blip r:embed="rId6"/>
                <a:stretch>
                  <a:fillRect/>
                </a:stretch>
              </p:blipFill>
              <p:spPr>
                <a:xfrm>
                  <a:off x="-900000" y="2160000"/>
                  <a:ext cx="756000" cy="324000"/>
                </a:xfrm>
                <a:prstGeom prst="rect">
                  <a:avLst/>
                </a:prstGeom>
              </p:spPr>
            </p:pic>
            <p:pic>
              <p:nvPicPr>
                <p:cNvPr id="36" name="Listenebene verringern"/>
                <p:cNvPicPr>
                  <a:picLocks noChangeAspect="1"/>
                </p:cNvPicPr>
                <p:nvPr userDrawn="1"/>
              </p:nvPicPr>
              <p:blipFill>
                <a:blip r:embed="rId7"/>
                <a:stretch>
                  <a:fillRect/>
                </a:stretch>
              </p:blipFill>
              <p:spPr>
                <a:xfrm>
                  <a:off x="-900000" y="2628000"/>
                  <a:ext cx="756000" cy="322369"/>
                </a:xfrm>
                <a:prstGeom prst="rect">
                  <a:avLst/>
                </a:prstGeom>
              </p:spPr>
            </p:pic>
          </p:grpSp>
        </p:grpSp>
      </p:grpSp>
      <p:sp>
        <p:nvSpPr>
          <p:cNvPr id="11" name="Footer Placeholder 10"/>
          <p:cNvSpPr>
            <a:spLocks noGrp="1"/>
          </p:cNvSpPr>
          <p:nvPr>
            <p:ph type="ftr" sz="quarter" idx="11"/>
          </p:nvPr>
        </p:nvSpPr>
        <p:spPr/>
        <p:txBody>
          <a:bodyPr/>
          <a:lstStyle/>
          <a:p>
            <a:r>
              <a:rPr lang="de-DE" dirty="0">
                <a:solidFill>
                  <a:prstClr val="black"/>
                </a:solidFill>
              </a:rPr>
              <a:t>Title </a:t>
            </a:r>
            <a:r>
              <a:rPr lang="de-DE" dirty="0" err="1">
                <a:solidFill>
                  <a:prstClr val="black"/>
                </a:solidFill>
              </a:rPr>
              <a:t>of</a:t>
            </a:r>
            <a:r>
              <a:rPr lang="de-DE" dirty="0">
                <a:solidFill>
                  <a:prstClr val="black"/>
                </a:solidFill>
              </a:rPr>
              <a:t> </a:t>
            </a:r>
            <a:r>
              <a:rPr lang="de-DE" dirty="0" err="1">
                <a:solidFill>
                  <a:prstClr val="black"/>
                </a:solidFill>
              </a:rPr>
              <a:t>presentation</a:t>
            </a:r>
            <a:r>
              <a:rPr lang="de-DE" dirty="0">
                <a:solidFill>
                  <a:prstClr val="black"/>
                </a:solidFill>
              </a:rPr>
              <a:t> / Department / Date /</a:t>
            </a:r>
          </a:p>
        </p:txBody>
      </p:sp>
      <p:sp>
        <p:nvSpPr>
          <p:cNvPr id="12" name="Slide Number Placeholder 11"/>
          <p:cNvSpPr>
            <a:spLocks noGrp="1"/>
          </p:cNvSpPr>
          <p:nvPr>
            <p:ph type="sldNum" sz="quarter" idx="12"/>
          </p:nvPr>
        </p:nvSpPr>
        <p:spPr/>
        <p:txBody>
          <a:bodyPr/>
          <a:lstStyle/>
          <a:p>
            <a:r>
              <a:rPr lang="de-DE" dirty="0">
                <a:solidFill>
                  <a:prstClr val="black"/>
                </a:solidFill>
              </a:rPr>
              <a:t>Page </a:t>
            </a:r>
            <a:fld id="{52531704-8F80-415D-BD2B-6B9991AE822F}" type="slidenum">
              <a:rPr lang="de-DE" smtClean="0">
                <a:solidFill>
                  <a:prstClr val="black"/>
                </a:solidFill>
              </a:rPr>
              <a:pPr/>
              <a:t>‹#›</a:t>
            </a:fld>
            <a:endParaRPr lang="de-DE" dirty="0">
              <a:solidFill>
                <a:prstClr val="black"/>
              </a:solidFill>
            </a:endParaRPr>
          </a:p>
        </p:txBody>
      </p:sp>
      <p:sp>
        <p:nvSpPr>
          <p:cNvPr id="14" name="Picture Placeholder 3"/>
          <p:cNvSpPr>
            <a:spLocks noGrp="1"/>
          </p:cNvSpPr>
          <p:nvPr>
            <p:ph type="pic" sz="quarter" idx="13" hasCustomPrompt="1"/>
          </p:nvPr>
        </p:nvSpPr>
        <p:spPr bwMode="gray">
          <a:xfrm>
            <a:off x="0" y="0"/>
            <a:ext cx="12190451" cy="6486611"/>
          </a:xfrm>
          <a:prstGeom prst="rect">
            <a:avLst/>
          </a:pr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1"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5559973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088">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 product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cxnSp>
        <p:nvCxnSpPr>
          <p:cNvPr id="5" name="Gerade Verbindung 66"/>
          <p:cNvCxnSpPr/>
          <p:nvPr userDrawn="1"/>
        </p:nvCxnSpPr>
        <p:spPr>
          <a:xfrm>
            <a:off x="3362836" y="1233203"/>
            <a:ext cx="0" cy="4797153"/>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6" name="Gerade Verbindung 67"/>
          <p:cNvCxnSpPr/>
          <p:nvPr userDrawn="1"/>
        </p:nvCxnSpPr>
        <p:spPr>
          <a:xfrm>
            <a:off x="6096000"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cxnSp>
        <p:nvCxnSpPr>
          <p:cNvPr id="7" name="Gerade Verbindung 68"/>
          <p:cNvCxnSpPr/>
          <p:nvPr userDrawn="1"/>
        </p:nvCxnSpPr>
        <p:spPr>
          <a:xfrm>
            <a:off x="8827612" y="1233202"/>
            <a:ext cx="0" cy="4797689"/>
          </a:xfrm>
          <a:prstGeom prst="line">
            <a:avLst/>
          </a:prstGeom>
          <a:ln w="3175" cmpd="sng">
            <a:solidFill>
              <a:srgbClr val="000000"/>
            </a:solidFill>
            <a:miter lim="800000"/>
          </a:ln>
        </p:spPr>
        <p:style>
          <a:lnRef idx="1">
            <a:schemeClr val="accent1"/>
          </a:lnRef>
          <a:fillRef idx="0">
            <a:schemeClr val="accent1"/>
          </a:fillRef>
          <a:effectRef idx="0">
            <a:schemeClr val="accent1"/>
          </a:effectRef>
          <a:fontRef idx="minor">
            <a:schemeClr val="tx1"/>
          </a:fontRef>
        </p:style>
      </p:cxnSp>
      <p:sp>
        <p:nvSpPr>
          <p:cNvPr id="9" name="Picture Placeholder 3"/>
          <p:cNvSpPr>
            <a:spLocks noGrp="1"/>
          </p:cNvSpPr>
          <p:nvPr>
            <p:ph type="pic" sz="quarter" idx="15" hasCustomPrompt="1"/>
          </p:nvPr>
        </p:nvSpPr>
        <p:spPr>
          <a:xfrm>
            <a:off x="809578"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0" name="Picture Placeholder 3"/>
          <p:cNvSpPr>
            <a:spLocks noGrp="1"/>
          </p:cNvSpPr>
          <p:nvPr>
            <p:ph type="pic" sz="quarter" idx="16" hasCustomPrompt="1"/>
          </p:nvPr>
        </p:nvSpPr>
        <p:spPr>
          <a:xfrm>
            <a:off x="3541754"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1" name="Picture Placeholder 3"/>
          <p:cNvSpPr>
            <a:spLocks noGrp="1"/>
          </p:cNvSpPr>
          <p:nvPr>
            <p:ph type="pic" sz="quarter" idx="17" hasCustomPrompt="1"/>
          </p:nvPr>
        </p:nvSpPr>
        <p:spPr>
          <a:xfrm>
            <a:off x="6273932" y="1979542"/>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2" name="Picture Placeholder 3"/>
          <p:cNvSpPr>
            <a:spLocks noGrp="1"/>
          </p:cNvSpPr>
          <p:nvPr>
            <p:ph type="pic" sz="quarter" idx="18" hasCustomPrompt="1"/>
          </p:nvPr>
        </p:nvSpPr>
        <p:spPr>
          <a:xfrm>
            <a:off x="9006109" y="1983950"/>
            <a:ext cx="2374763" cy="1187725"/>
          </a:xfrm>
          <a:prstGeom prst="rect">
            <a:avLst/>
          </a:prstGeom>
          <a:noFill/>
        </p:spPr>
        <p:txBody>
          <a:bodyPr/>
          <a:lstStyle>
            <a:lvl1pPr marL="0" indent="0" algn="ctr">
              <a:lnSpc>
                <a:spcPct val="100000"/>
              </a:lnSpc>
              <a:buNone/>
              <a:defRPr sz="1799"/>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14" name="Text Placeholder 13"/>
          <p:cNvSpPr>
            <a:spLocks noGrp="1"/>
          </p:cNvSpPr>
          <p:nvPr>
            <p:ph type="body" sz="quarter" idx="19" hasCustomPrompt="1"/>
          </p:nvPr>
        </p:nvSpPr>
        <p:spPr>
          <a:xfrm>
            <a:off x="809578"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5" name="Text Placeholder 13"/>
          <p:cNvSpPr>
            <a:spLocks noGrp="1"/>
          </p:cNvSpPr>
          <p:nvPr>
            <p:ph type="body" sz="quarter" idx="20" hasCustomPrompt="1"/>
          </p:nvPr>
        </p:nvSpPr>
        <p:spPr>
          <a:xfrm>
            <a:off x="3541755"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6" name="Text Placeholder 13"/>
          <p:cNvSpPr>
            <a:spLocks noGrp="1"/>
          </p:cNvSpPr>
          <p:nvPr>
            <p:ph type="body" sz="quarter" idx="21" hasCustomPrompt="1"/>
          </p:nvPr>
        </p:nvSpPr>
        <p:spPr>
          <a:xfrm>
            <a:off x="6273932"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7" name="Text Placeholder 13"/>
          <p:cNvSpPr>
            <a:spLocks noGrp="1"/>
          </p:cNvSpPr>
          <p:nvPr>
            <p:ph type="body" sz="quarter" idx="22" hasCustomPrompt="1"/>
          </p:nvPr>
        </p:nvSpPr>
        <p:spPr>
          <a:xfrm>
            <a:off x="9006109" y="1504603"/>
            <a:ext cx="2374764" cy="474940"/>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19" name="Text Placeholder 18"/>
          <p:cNvSpPr>
            <a:spLocks noGrp="1"/>
          </p:cNvSpPr>
          <p:nvPr>
            <p:ph type="body" sz="quarter" idx="23" hasCustomPrompt="1"/>
          </p:nvPr>
        </p:nvSpPr>
        <p:spPr>
          <a:xfrm>
            <a:off x="809579"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24" name="Text Placeholder 18"/>
          <p:cNvSpPr>
            <a:spLocks noGrp="1"/>
          </p:cNvSpPr>
          <p:nvPr>
            <p:ph type="body" sz="quarter" idx="24" hasCustomPrompt="1"/>
          </p:nvPr>
        </p:nvSpPr>
        <p:spPr>
          <a:xfrm>
            <a:off x="809579"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25" name="Text Placeholder 18"/>
          <p:cNvSpPr>
            <a:spLocks noGrp="1"/>
          </p:cNvSpPr>
          <p:nvPr>
            <p:ph type="body" sz="quarter" idx="25" hasCustomPrompt="1"/>
          </p:nvPr>
        </p:nvSpPr>
        <p:spPr>
          <a:xfrm>
            <a:off x="809579"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26" name="Text Placeholder 18"/>
          <p:cNvSpPr>
            <a:spLocks noGrp="1"/>
          </p:cNvSpPr>
          <p:nvPr>
            <p:ph type="body" sz="quarter" idx="26" hasCustomPrompt="1"/>
          </p:nvPr>
        </p:nvSpPr>
        <p:spPr>
          <a:xfrm>
            <a:off x="809579"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27" name="Text Placeholder 18"/>
          <p:cNvSpPr>
            <a:spLocks noGrp="1"/>
          </p:cNvSpPr>
          <p:nvPr>
            <p:ph type="body" sz="quarter" idx="27" hasCustomPrompt="1"/>
          </p:nvPr>
        </p:nvSpPr>
        <p:spPr>
          <a:xfrm>
            <a:off x="809579"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2" name="Text Placeholder 18"/>
          <p:cNvSpPr>
            <a:spLocks noGrp="1"/>
          </p:cNvSpPr>
          <p:nvPr>
            <p:ph type="body" sz="quarter" idx="28" hasCustomPrompt="1"/>
          </p:nvPr>
        </p:nvSpPr>
        <p:spPr>
          <a:xfrm>
            <a:off x="3541755"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3" name="Text Placeholder 18"/>
          <p:cNvSpPr>
            <a:spLocks noGrp="1"/>
          </p:cNvSpPr>
          <p:nvPr>
            <p:ph type="body" sz="quarter" idx="29" hasCustomPrompt="1"/>
          </p:nvPr>
        </p:nvSpPr>
        <p:spPr>
          <a:xfrm>
            <a:off x="3541755"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4" name="Text Placeholder 18"/>
          <p:cNvSpPr>
            <a:spLocks noGrp="1"/>
          </p:cNvSpPr>
          <p:nvPr>
            <p:ph type="body" sz="quarter" idx="30" hasCustomPrompt="1"/>
          </p:nvPr>
        </p:nvSpPr>
        <p:spPr>
          <a:xfrm>
            <a:off x="3541755"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35" name="Text Placeholder 18"/>
          <p:cNvSpPr>
            <a:spLocks noGrp="1"/>
          </p:cNvSpPr>
          <p:nvPr>
            <p:ph type="body" sz="quarter" idx="31" hasCustomPrompt="1"/>
          </p:nvPr>
        </p:nvSpPr>
        <p:spPr>
          <a:xfrm>
            <a:off x="3541755"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36" name="Text Placeholder 18"/>
          <p:cNvSpPr>
            <a:spLocks noGrp="1"/>
          </p:cNvSpPr>
          <p:nvPr>
            <p:ph type="body" sz="quarter" idx="32" hasCustomPrompt="1"/>
          </p:nvPr>
        </p:nvSpPr>
        <p:spPr>
          <a:xfrm>
            <a:off x="3541755"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37" name="Text Placeholder 18"/>
          <p:cNvSpPr>
            <a:spLocks noGrp="1"/>
          </p:cNvSpPr>
          <p:nvPr>
            <p:ph type="body" sz="quarter" idx="33" hasCustomPrompt="1"/>
          </p:nvPr>
        </p:nvSpPr>
        <p:spPr>
          <a:xfrm>
            <a:off x="6273934" y="3275242"/>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38" name="Text Placeholder 18"/>
          <p:cNvSpPr>
            <a:spLocks noGrp="1"/>
          </p:cNvSpPr>
          <p:nvPr>
            <p:ph type="body" sz="quarter" idx="34" hasCustomPrompt="1"/>
          </p:nvPr>
        </p:nvSpPr>
        <p:spPr>
          <a:xfrm>
            <a:off x="6273934" y="3887100"/>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39" name="Text Placeholder 18"/>
          <p:cNvSpPr>
            <a:spLocks noGrp="1"/>
          </p:cNvSpPr>
          <p:nvPr>
            <p:ph type="body" sz="quarter" idx="35" hasCustomPrompt="1"/>
          </p:nvPr>
        </p:nvSpPr>
        <p:spPr>
          <a:xfrm>
            <a:off x="6273934" y="4426975"/>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0" name="Text Placeholder 18"/>
          <p:cNvSpPr>
            <a:spLocks noGrp="1"/>
          </p:cNvSpPr>
          <p:nvPr>
            <p:ph type="body" sz="quarter" idx="36" hasCustomPrompt="1"/>
          </p:nvPr>
        </p:nvSpPr>
        <p:spPr>
          <a:xfrm>
            <a:off x="6273934" y="5002842"/>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1" name="Text Placeholder 18"/>
          <p:cNvSpPr>
            <a:spLocks noGrp="1"/>
          </p:cNvSpPr>
          <p:nvPr>
            <p:ph type="body" sz="quarter" idx="37" hasCustomPrompt="1"/>
          </p:nvPr>
        </p:nvSpPr>
        <p:spPr>
          <a:xfrm>
            <a:off x="6273934" y="5830650"/>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2" name="Text Placeholder 18"/>
          <p:cNvSpPr>
            <a:spLocks noGrp="1"/>
          </p:cNvSpPr>
          <p:nvPr>
            <p:ph type="body" sz="quarter" idx="38" hasCustomPrompt="1"/>
          </p:nvPr>
        </p:nvSpPr>
        <p:spPr>
          <a:xfrm>
            <a:off x="9006110" y="3303538"/>
            <a:ext cx="2374762" cy="611858"/>
          </a:xfrm>
        </p:spPr>
        <p:txBody>
          <a:bodyPr/>
          <a:lstStyle>
            <a:lvl1pPr marL="0" indent="0" algn="ctr">
              <a:lnSpc>
                <a:spcPct val="100000"/>
              </a:lnSpc>
              <a:buNone/>
              <a:defRPr sz="3698">
                <a:solidFill>
                  <a:schemeClr val="tx1"/>
                </a:solidFill>
              </a:defRPr>
            </a:lvl1pPr>
            <a:lvl2pPr marL="0" indent="0" algn="ctr">
              <a:lnSpc>
                <a:spcPct val="100000"/>
              </a:lnSpc>
              <a:buFont typeface="Arial" panose="020B0604020202020204" pitchFamily="34" charset="0"/>
              <a:buNone/>
              <a:defRPr sz="3698">
                <a:solidFill>
                  <a:schemeClr val="tx1"/>
                </a:solidFill>
              </a:defRPr>
            </a:lvl2pPr>
            <a:lvl3pPr marL="0" indent="0" algn="ctr">
              <a:lnSpc>
                <a:spcPct val="100000"/>
              </a:lnSpc>
              <a:buFont typeface="Arial" panose="020B0604020202020204" pitchFamily="34" charset="0"/>
              <a:buNone/>
              <a:defRPr sz="3698">
                <a:solidFill>
                  <a:schemeClr val="tx1"/>
                </a:solidFill>
              </a:defRPr>
            </a:lvl3pPr>
            <a:lvl4pPr marL="0" indent="0" algn="ctr">
              <a:lnSpc>
                <a:spcPct val="100000"/>
              </a:lnSpc>
              <a:buFont typeface="Arial" panose="020B0604020202020204" pitchFamily="34" charset="0"/>
              <a:buNone/>
              <a:defRPr sz="3698">
                <a:solidFill>
                  <a:schemeClr val="tx1"/>
                </a:solidFill>
              </a:defRPr>
            </a:lvl4pPr>
            <a:lvl5pPr marL="0" indent="0" algn="ctr">
              <a:lnSpc>
                <a:spcPct val="100000"/>
              </a:lnSpc>
              <a:buFont typeface="Arial" panose="020B0604020202020204" pitchFamily="34" charset="0"/>
              <a:buNone/>
              <a:defRPr sz="3698">
                <a:solidFill>
                  <a:schemeClr val="tx1"/>
                </a:solidFill>
              </a:defRPr>
            </a:lvl5pPr>
            <a:lvl6pPr marL="0" indent="0" algn="ctr">
              <a:lnSpc>
                <a:spcPct val="100000"/>
              </a:lnSpc>
              <a:buFont typeface="Arial" panose="020B0604020202020204" pitchFamily="34" charset="0"/>
              <a:buNone/>
              <a:defRPr sz="3698">
                <a:solidFill>
                  <a:schemeClr val="tx1"/>
                </a:solidFill>
              </a:defRPr>
            </a:lvl6pPr>
            <a:lvl7pPr marL="0" indent="0" algn="ctr">
              <a:lnSpc>
                <a:spcPct val="100000"/>
              </a:lnSpc>
              <a:buFont typeface="Arial" panose="020B0604020202020204" pitchFamily="34" charset="0"/>
              <a:buNone/>
              <a:defRPr sz="3698">
                <a:solidFill>
                  <a:schemeClr val="tx1"/>
                </a:solidFill>
              </a:defRPr>
            </a:lvl7pPr>
            <a:lvl8pPr marL="0" indent="0" algn="ctr">
              <a:lnSpc>
                <a:spcPct val="100000"/>
              </a:lnSpc>
              <a:buFont typeface="Arial" panose="020B0604020202020204" pitchFamily="34" charset="0"/>
              <a:buNone/>
              <a:defRPr sz="3698">
                <a:solidFill>
                  <a:schemeClr val="tx1"/>
                </a:solidFill>
              </a:defRPr>
            </a:lvl8pPr>
            <a:lvl9pPr marL="0" indent="0" algn="ctr">
              <a:lnSpc>
                <a:spcPct val="100000"/>
              </a:lnSpc>
              <a:buFont typeface="Arial" panose="020B0604020202020204" pitchFamily="34" charset="0"/>
              <a:buNone/>
              <a:defRPr sz="3698">
                <a:solidFill>
                  <a:schemeClr val="tx1"/>
                </a:solidFill>
              </a:defRPr>
            </a:lvl9pPr>
          </a:lstStyle>
          <a:p>
            <a:pPr lvl="0"/>
            <a:r>
              <a:rPr lang="en-GB" dirty="0"/>
              <a:t>XXYYY</a:t>
            </a:r>
          </a:p>
        </p:txBody>
      </p:sp>
      <p:sp>
        <p:nvSpPr>
          <p:cNvPr id="43" name="Text Placeholder 18"/>
          <p:cNvSpPr>
            <a:spLocks noGrp="1"/>
          </p:cNvSpPr>
          <p:nvPr>
            <p:ph type="body" sz="quarter" idx="39" hasCustomPrompt="1"/>
          </p:nvPr>
        </p:nvSpPr>
        <p:spPr>
          <a:xfrm>
            <a:off x="9006110" y="3915397"/>
            <a:ext cx="2374762" cy="395908"/>
          </a:xfrm>
        </p:spPr>
        <p:txBody>
          <a:bodyPr/>
          <a:lstStyle>
            <a:lvl1pPr marL="0" indent="0" algn="ctr">
              <a:lnSpc>
                <a:spcPct val="100000"/>
              </a:lnSpc>
              <a:buNone/>
              <a:defRPr sz="2099">
                <a:solidFill>
                  <a:schemeClr val="tx1"/>
                </a:solidFill>
              </a:defRPr>
            </a:lvl1pPr>
            <a:lvl2pPr marL="0" indent="0" algn="ctr">
              <a:lnSpc>
                <a:spcPct val="100000"/>
              </a:lnSpc>
              <a:buFont typeface="Arial" panose="020B0604020202020204" pitchFamily="34" charset="0"/>
              <a:buNone/>
              <a:defRPr sz="2099">
                <a:solidFill>
                  <a:schemeClr val="tx1"/>
                </a:solidFill>
              </a:defRPr>
            </a:lvl2pPr>
            <a:lvl3pPr marL="0" indent="0" algn="ctr">
              <a:lnSpc>
                <a:spcPct val="100000"/>
              </a:lnSpc>
              <a:buFont typeface="Arial" panose="020B0604020202020204" pitchFamily="34" charset="0"/>
              <a:buNone/>
              <a:defRPr sz="2099">
                <a:solidFill>
                  <a:schemeClr val="tx1"/>
                </a:solidFill>
              </a:defRPr>
            </a:lvl3pPr>
            <a:lvl4pPr marL="0" indent="0" algn="ctr">
              <a:lnSpc>
                <a:spcPct val="100000"/>
              </a:lnSpc>
              <a:buFont typeface="Arial" panose="020B0604020202020204" pitchFamily="34" charset="0"/>
              <a:buNone/>
              <a:defRPr sz="2099">
                <a:solidFill>
                  <a:schemeClr val="tx1"/>
                </a:solidFill>
              </a:defRPr>
            </a:lvl4pPr>
            <a:lvl5pPr marL="0" indent="0" algn="ctr">
              <a:lnSpc>
                <a:spcPct val="100000"/>
              </a:lnSpc>
              <a:buFont typeface="Arial" panose="020B0604020202020204" pitchFamily="34" charset="0"/>
              <a:buNone/>
              <a:defRPr sz="2099">
                <a:solidFill>
                  <a:schemeClr val="tx1"/>
                </a:solidFill>
              </a:defRPr>
            </a:lvl5pPr>
            <a:lvl6pPr marL="0" indent="0" algn="ctr">
              <a:lnSpc>
                <a:spcPct val="100000"/>
              </a:lnSpc>
              <a:buFont typeface="Arial" panose="020B0604020202020204" pitchFamily="34" charset="0"/>
              <a:buNone/>
              <a:defRPr sz="2099">
                <a:solidFill>
                  <a:schemeClr val="tx1"/>
                </a:solidFill>
              </a:defRPr>
            </a:lvl6pPr>
            <a:lvl7pPr marL="0" indent="0" algn="ctr">
              <a:lnSpc>
                <a:spcPct val="100000"/>
              </a:lnSpc>
              <a:buFont typeface="Arial" panose="020B0604020202020204" pitchFamily="34" charset="0"/>
              <a:buNone/>
              <a:defRPr sz="2099">
                <a:solidFill>
                  <a:schemeClr val="tx1"/>
                </a:solidFill>
              </a:defRPr>
            </a:lvl7pPr>
            <a:lvl8pPr marL="0" indent="0" algn="ctr">
              <a:lnSpc>
                <a:spcPct val="100000"/>
              </a:lnSpc>
              <a:buFont typeface="Arial" panose="020B0604020202020204" pitchFamily="34" charset="0"/>
              <a:buNone/>
              <a:defRPr sz="2099">
                <a:solidFill>
                  <a:schemeClr val="tx1"/>
                </a:solidFill>
              </a:defRPr>
            </a:lvl8pPr>
            <a:lvl9pPr marL="0" indent="0" algn="ctr">
              <a:lnSpc>
                <a:spcPct val="100000"/>
              </a:lnSpc>
              <a:buFont typeface="Arial" panose="020B0604020202020204" pitchFamily="34" charset="0"/>
              <a:buNone/>
              <a:defRPr sz="2099">
                <a:solidFill>
                  <a:schemeClr val="tx1"/>
                </a:solidFill>
              </a:defRPr>
            </a:lvl9pPr>
          </a:lstStyle>
          <a:p>
            <a:pPr lvl="0"/>
            <a:r>
              <a:rPr lang="en-GB" dirty="0"/>
              <a:t>Insert text</a:t>
            </a:r>
          </a:p>
        </p:txBody>
      </p:sp>
      <p:sp>
        <p:nvSpPr>
          <p:cNvPr id="44" name="Text Placeholder 18"/>
          <p:cNvSpPr>
            <a:spLocks noGrp="1"/>
          </p:cNvSpPr>
          <p:nvPr>
            <p:ph type="body" sz="quarter" idx="40" hasCustomPrompt="1"/>
          </p:nvPr>
        </p:nvSpPr>
        <p:spPr>
          <a:xfrm>
            <a:off x="9006110" y="4455272"/>
            <a:ext cx="2374762" cy="611858"/>
          </a:xfrm>
        </p:spPr>
        <p:txBody>
          <a:bodyPr/>
          <a:lstStyle>
            <a:lvl1pPr marL="0" indent="0" algn="ctr">
              <a:lnSpc>
                <a:spcPct val="100000"/>
              </a:lnSpc>
              <a:buNone/>
              <a:defRPr sz="3698">
                <a:solidFill>
                  <a:schemeClr val="accent2"/>
                </a:solidFill>
              </a:defRPr>
            </a:lvl1pPr>
            <a:lvl2pPr marL="0" indent="0" algn="ctr">
              <a:lnSpc>
                <a:spcPct val="100000"/>
              </a:lnSpc>
              <a:buFont typeface="Arial" panose="020B0604020202020204" pitchFamily="34" charset="0"/>
              <a:buNone/>
              <a:defRPr sz="3698">
                <a:solidFill>
                  <a:schemeClr val="accent2"/>
                </a:solidFill>
              </a:defRPr>
            </a:lvl2pPr>
            <a:lvl3pPr marL="0" indent="0" algn="ctr">
              <a:lnSpc>
                <a:spcPct val="100000"/>
              </a:lnSpc>
              <a:buFont typeface="Arial" panose="020B0604020202020204" pitchFamily="34" charset="0"/>
              <a:buNone/>
              <a:defRPr sz="3698">
                <a:solidFill>
                  <a:schemeClr val="accent2"/>
                </a:solidFill>
              </a:defRPr>
            </a:lvl3pPr>
            <a:lvl4pPr marL="0" indent="0" algn="ctr">
              <a:lnSpc>
                <a:spcPct val="100000"/>
              </a:lnSpc>
              <a:buFont typeface="Arial" panose="020B0604020202020204" pitchFamily="34" charset="0"/>
              <a:buNone/>
              <a:defRPr sz="3698">
                <a:solidFill>
                  <a:schemeClr val="accent2"/>
                </a:solidFill>
              </a:defRPr>
            </a:lvl4pPr>
            <a:lvl5pPr marL="0" indent="0" algn="ctr">
              <a:lnSpc>
                <a:spcPct val="100000"/>
              </a:lnSpc>
              <a:buFont typeface="Arial" panose="020B0604020202020204" pitchFamily="34" charset="0"/>
              <a:buNone/>
              <a:defRPr sz="3698">
                <a:solidFill>
                  <a:schemeClr val="accent2"/>
                </a:solidFill>
              </a:defRPr>
            </a:lvl5pPr>
            <a:lvl6pPr marL="0" indent="0" algn="ctr">
              <a:lnSpc>
                <a:spcPct val="100000"/>
              </a:lnSpc>
              <a:buFont typeface="Arial" panose="020B0604020202020204" pitchFamily="34" charset="0"/>
              <a:buNone/>
              <a:defRPr sz="3698">
                <a:solidFill>
                  <a:schemeClr val="accent2"/>
                </a:solidFill>
              </a:defRPr>
            </a:lvl6pPr>
            <a:lvl7pPr marL="0" indent="0" algn="ctr">
              <a:lnSpc>
                <a:spcPct val="100000"/>
              </a:lnSpc>
              <a:buFont typeface="Arial" panose="020B0604020202020204" pitchFamily="34" charset="0"/>
              <a:buNone/>
              <a:defRPr sz="3698">
                <a:solidFill>
                  <a:schemeClr val="accent2"/>
                </a:solidFill>
              </a:defRPr>
            </a:lvl7pPr>
            <a:lvl8pPr marL="0" indent="0" algn="ctr">
              <a:lnSpc>
                <a:spcPct val="100000"/>
              </a:lnSpc>
              <a:buFont typeface="Arial" panose="020B0604020202020204" pitchFamily="34" charset="0"/>
              <a:buNone/>
              <a:defRPr sz="3698">
                <a:solidFill>
                  <a:schemeClr val="accent2"/>
                </a:solidFill>
              </a:defRPr>
            </a:lvl8pPr>
            <a:lvl9pPr marL="0" indent="0" algn="ctr">
              <a:lnSpc>
                <a:spcPct val="100000"/>
              </a:lnSpc>
              <a:buFont typeface="Arial" panose="020B0604020202020204" pitchFamily="34" charset="0"/>
              <a:buNone/>
              <a:defRPr sz="3698">
                <a:solidFill>
                  <a:schemeClr val="accent2"/>
                </a:solidFill>
              </a:defRPr>
            </a:lvl9pPr>
          </a:lstStyle>
          <a:p>
            <a:pPr lvl="0"/>
            <a:r>
              <a:rPr lang="en-GB" dirty="0" err="1"/>
              <a:t>XXg</a:t>
            </a:r>
            <a:endParaRPr lang="en-GB" dirty="0"/>
          </a:p>
        </p:txBody>
      </p:sp>
      <p:sp>
        <p:nvSpPr>
          <p:cNvPr id="45" name="Text Placeholder 18"/>
          <p:cNvSpPr>
            <a:spLocks noGrp="1"/>
          </p:cNvSpPr>
          <p:nvPr>
            <p:ph type="body" sz="quarter" idx="41" hasCustomPrompt="1"/>
          </p:nvPr>
        </p:nvSpPr>
        <p:spPr>
          <a:xfrm>
            <a:off x="9006110" y="5031138"/>
            <a:ext cx="2374762" cy="611858"/>
          </a:xfrm>
        </p:spPr>
        <p:txBody>
          <a:bodyPr/>
          <a:lstStyle>
            <a:lvl1pPr marL="0" indent="0" algn="ctr">
              <a:lnSpc>
                <a:spcPct val="100000"/>
              </a:lnSpc>
              <a:buNone/>
              <a:defRPr sz="3698">
                <a:solidFill>
                  <a:schemeClr val="tx2"/>
                </a:solidFill>
              </a:defRPr>
            </a:lvl1pPr>
            <a:lvl2pPr marL="0" indent="0" algn="ctr">
              <a:lnSpc>
                <a:spcPct val="100000"/>
              </a:lnSpc>
              <a:buFont typeface="Arial" panose="020B0604020202020204" pitchFamily="34" charset="0"/>
              <a:buNone/>
              <a:defRPr sz="3698">
                <a:solidFill>
                  <a:schemeClr val="tx2"/>
                </a:solidFill>
              </a:defRPr>
            </a:lvl2pPr>
            <a:lvl3pPr marL="0" indent="0" algn="ctr">
              <a:lnSpc>
                <a:spcPct val="100000"/>
              </a:lnSpc>
              <a:buFont typeface="Arial" panose="020B0604020202020204" pitchFamily="34" charset="0"/>
              <a:buNone/>
              <a:defRPr sz="3698">
                <a:solidFill>
                  <a:schemeClr val="tx2"/>
                </a:solidFill>
              </a:defRPr>
            </a:lvl3pPr>
            <a:lvl4pPr marL="0" indent="0" algn="ctr">
              <a:lnSpc>
                <a:spcPct val="100000"/>
              </a:lnSpc>
              <a:buFont typeface="Arial" panose="020B0604020202020204" pitchFamily="34" charset="0"/>
              <a:buNone/>
              <a:defRPr sz="3698">
                <a:solidFill>
                  <a:schemeClr val="tx2"/>
                </a:solidFill>
              </a:defRPr>
            </a:lvl4pPr>
            <a:lvl5pPr marL="0" indent="0" algn="ctr">
              <a:lnSpc>
                <a:spcPct val="100000"/>
              </a:lnSpc>
              <a:buFont typeface="Arial" panose="020B0604020202020204" pitchFamily="34" charset="0"/>
              <a:buNone/>
              <a:defRPr sz="3698">
                <a:solidFill>
                  <a:schemeClr val="tx2"/>
                </a:solidFill>
              </a:defRPr>
            </a:lvl5pPr>
            <a:lvl6pPr marL="0" indent="0" algn="ctr">
              <a:lnSpc>
                <a:spcPct val="100000"/>
              </a:lnSpc>
              <a:buFont typeface="Arial" panose="020B0604020202020204" pitchFamily="34" charset="0"/>
              <a:buNone/>
              <a:defRPr sz="3698">
                <a:solidFill>
                  <a:schemeClr val="tx2"/>
                </a:solidFill>
              </a:defRPr>
            </a:lvl6pPr>
            <a:lvl7pPr marL="0" indent="0" algn="ctr">
              <a:lnSpc>
                <a:spcPct val="100000"/>
              </a:lnSpc>
              <a:buFont typeface="Arial" panose="020B0604020202020204" pitchFamily="34" charset="0"/>
              <a:buNone/>
              <a:defRPr sz="3698">
                <a:solidFill>
                  <a:schemeClr val="tx2"/>
                </a:solidFill>
              </a:defRPr>
            </a:lvl7pPr>
            <a:lvl8pPr marL="0" indent="0" algn="ctr">
              <a:lnSpc>
                <a:spcPct val="100000"/>
              </a:lnSpc>
              <a:buFont typeface="Arial" panose="020B0604020202020204" pitchFamily="34" charset="0"/>
              <a:buNone/>
              <a:defRPr sz="3698">
                <a:solidFill>
                  <a:schemeClr val="tx2"/>
                </a:solidFill>
              </a:defRPr>
            </a:lvl8pPr>
            <a:lvl9pPr marL="0" indent="0" algn="ctr">
              <a:lnSpc>
                <a:spcPct val="100000"/>
              </a:lnSpc>
              <a:buFont typeface="Arial" panose="020B0604020202020204" pitchFamily="34" charset="0"/>
              <a:buNone/>
              <a:defRPr sz="3698">
                <a:solidFill>
                  <a:schemeClr val="tx2"/>
                </a:solidFill>
              </a:defRPr>
            </a:lvl9pPr>
          </a:lstStyle>
          <a:p>
            <a:pPr lvl="0"/>
            <a:r>
              <a:rPr lang="en-GB" dirty="0" err="1"/>
              <a:t>X,Xl</a:t>
            </a:r>
            <a:endParaRPr lang="en-GB" dirty="0"/>
          </a:p>
        </p:txBody>
      </p:sp>
      <p:sp>
        <p:nvSpPr>
          <p:cNvPr id="46" name="Text Placeholder 18"/>
          <p:cNvSpPr>
            <a:spLocks noGrp="1"/>
          </p:cNvSpPr>
          <p:nvPr>
            <p:ph type="body" sz="quarter" idx="42" hasCustomPrompt="1"/>
          </p:nvPr>
        </p:nvSpPr>
        <p:spPr>
          <a:xfrm>
            <a:off x="9006110" y="5858946"/>
            <a:ext cx="2374762" cy="287933"/>
          </a:xfrm>
        </p:spPr>
        <p:txBody>
          <a:bodyPr/>
          <a:lstStyle>
            <a:lvl1pPr marL="0" indent="0" algn="ctr">
              <a:lnSpc>
                <a:spcPct val="100000"/>
              </a:lnSpc>
              <a:buNone/>
              <a:defRPr sz="1599">
                <a:solidFill>
                  <a:schemeClr val="tx1"/>
                </a:solidFill>
              </a:defRPr>
            </a:lvl1pPr>
            <a:lvl2pPr marL="0" indent="0" algn="ctr">
              <a:lnSpc>
                <a:spcPct val="100000"/>
              </a:lnSpc>
              <a:buFont typeface="Arial" panose="020B0604020202020204" pitchFamily="34" charset="0"/>
              <a:buNone/>
              <a:defRPr sz="1599">
                <a:solidFill>
                  <a:schemeClr val="tx1"/>
                </a:solidFill>
              </a:defRPr>
            </a:lvl2pPr>
            <a:lvl3pPr marL="0" indent="0" algn="ctr">
              <a:lnSpc>
                <a:spcPct val="100000"/>
              </a:lnSpc>
              <a:buFont typeface="Arial" panose="020B0604020202020204" pitchFamily="34" charset="0"/>
              <a:buNone/>
              <a:defRPr sz="1599">
                <a:solidFill>
                  <a:schemeClr val="tx1"/>
                </a:solidFill>
              </a:defRPr>
            </a:lvl3pPr>
            <a:lvl4pPr marL="0" indent="0" algn="ctr">
              <a:lnSpc>
                <a:spcPct val="100000"/>
              </a:lnSpc>
              <a:buFont typeface="Arial" panose="020B0604020202020204" pitchFamily="34" charset="0"/>
              <a:buNone/>
              <a:defRPr sz="1599">
                <a:solidFill>
                  <a:schemeClr val="tx1"/>
                </a:solidFill>
              </a:defRPr>
            </a:lvl4pPr>
            <a:lvl5pPr marL="0" indent="0" algn="ctr">
              <a:lnSpc>
                <a:spcPct val="100000"/>
              </a:lnSpc>
              <a:buFont typeface="Arial" panose="020B0604020202020204" pitchFamily="34" charset="0"/>
              <a:buNone/>
              <a:defRPr sz="1599">
                <a:solidFill>
                  <a:schemeClr val="tx1"/>
                </a:solidFill>
              </a:defRPr>
            </a:lvl5pPr>
            <a:lvl6pPr marL="0" indent="0" algn="ctr">
              <a:lnSpc>
                <a:spcPct val="100000"/>
              </a:lnSpc>
              <a:buFont typeface="Arial" panose="020B0604020202020204" pitchFamily="34" charset="0"/>
              <a:buNone/>
              <a:defRPr sz="1599">
                <a:solidFill>
                  <a:schemeClr val="tx1"/>
                </a:solidFill>
              </a:defRPr>
            </a:lvl6pPr>
            <a:lvl7pPr marL="0" indent="0" algn="ctr">
              <a:lnSpc>
                <a:spcPct val="100000"/>
              </a:lnSpc>
              <a:buFont typeface="Arial" panose="020B0604020202020204" pitchFamily="34" charset="0"/>
              <a:buNone/>
              <a:defRPr sz="1599">
                <a:solidFill>
                  <a:schemeClr val="tx1"/>
                </a:solidFill>
              </a:defRPr>
            </a:lvl7pPr>
            <a:lvl8pPr marL="0" indent="0" algn="ctr">
              <a:lnSpc>
                <a:spcPct val="100000"/>
              </a:lnSpc>
              <a:buFont typeface="Arial" panose="020B0604020202020204" pitchFamily="34" charset="0"/>
              <a:buNone/>
              <a:defRPr sz="1599">
                <a:solidFill>
                  <a:schemeClr val="tx1"/>
                </a:solidFill>
              </a:defRPr>
            </a:lvl8pPr>
            <a:lvl9pPr marL="0" indent="0" algn="ctr">
              <a:lnSpc>
                <a:spcPct val="100000"/>
              </a:lnSpc>
              <a:buFont typeface="Arial" panose="020B0604020202020204" pitchFamily="34" charset="0"/>
              <a:buNone/>
              <a:defRPr sz="1599">
                <a:solidFill>
                  <a:schemeClr val="tx1"/>
                </a:solidFill>
              </a:defRPr>
            </a:lvl9pPr>
          </a:lstStyle>
          <a:p>
            <a:pPr lvl="0"/>
            <a:r>
              <a:rPr lang="en-GB" dirty="0"/>
              <a:t>Insert text</a:t>
            </a:r>
          </a:p>
        </p:txBody>
      </p:sp>
      <p:sp>
        <p:nvSpPr>
          <p:cNvPr id="47"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Tree>
    <p:extLst>
      <p:ext uri="{BB962C8B-B14F-4D97-AF65-F5344CB8AC3E}">
        <p14:creationId xmlns:p14="http://schemas.microsoft.com/office/powerpoint/2010/main" val="2793485738"/>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970.xml><?xml version="1.0" encoding="utf-8"?>
<p:sldLayout xmlns:a="http://schemas.openxmlformats.org/drawingml/2006/main" xmlns:r="http://schemas.openxmlformats.org/officeDocument/2006/relationships" xmlns:p="http://schemas.openxmlformats.org/presentationml/2006/main" showMasterSp="0"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de-DE" dirty="0" err="1"/>
              <a:t>Referent’s</a:t>
            </a:r>
            <a:r>
              <a:rPr lang="de-DE" dirty="0"/>
              <a:t> </a:t>
            </a:r>
            <a:r>
              <a:rPr lang="de-DE" dirty="0" err="1"/>
              <a:t>name</a:t>
            </a:r>
            <a:r>
              <a:rPr lang="de-DE" dirty="0"/>
              <a:t>: </a:t>
            </a:r>
            <a:r>
              <a:rPr lang="de-DE" noProof="0" dirty="0" err="1"/>
              <a:t>CorpoS</a:t>
            </a:r>
            <a:r>
              <a:rPr lang="de-DE" noProof="0" dirty="0"/>
              <a:t> </a:t>
            </a:r>
            <a:r>
              <a:rPr lang="de-DE" dirty="0"/>
              <a:t>(Body) 35 </a:t>
            </a:r>
            <a:r>
              <a:rPr lang="de-DE" dirty="0" err="1"/>
              <a:t>pt</a:t>
            </a:r>
            <a:r>
              <a:rPr lang="de-DE" dirty="0"/>
              <a:t>.</a:t>
            </a:r>
            <a:br>
              <a:rPr lang="de-DE" dirty="0"/>
            </a:br>
            <a:r>
              <a:rPr lang="de-DE" dirty="0" err="1"/>
              <a:t>Presentation</a:t>
            </a:r>
            <a:r>
              <a:rPr lang="de-DE" dirty="0"/>
              <a:t> title in </a:t>
            </a:r>
            <a:r>
              <a:rPr lang="de-DE" dirty="0" err="1"/>
              <a:t>two</a:t>
            </a:r>
            <a:r>
              <a:rPr lang="de-DE" dirty="0"/>
              <a:t> </a:t>
            </a:r>
            <a:r>
              <a:rPr lang="de-DE" dirty="0" err="1"/>
              <a:t>or</a:t>
            </a:r>
            <a:r>
              <a:rPr lang="de-DE" dirty="0"/>
              <a:t> </a:t>
            </a:r>
            <a:r>
              <a:rPr lang="de-DE" dirty="0" err="1"/>
              <a:t>three</a:t>
            </a:r>
            <a:r>
              <a:rPr lang="de-DE" dirty="0"/>
              <a:t> </a:t>
            </a:r>
            <a:br>
              <a:rPr lang="de-DE" dirty="0"/>
            </a:br>
            <a:r>
              <a:rPr lang="de-DE" dirty="0" err="1"/>
              <a:t>lines</a:t>
            </a:r>
            <a:r>
              <a:rPr lang="de-DE" dirty="0"/>
              <a:t> </a:t>
            </a:r>
            <a:r>
              <a:rPr lang="de-DE" dirty="0" err="1"/>
              <a:t>of</a:t>
            </a:r>
            <a:r>
              <a:rPr lang="de-DE" dirty="0"/>
              <a:t> </a:t>
            </a:r>
            <a:r>
              <a:rPr lang="de-DE" dirty="0" err="1"/>
              <a:t>text</a:t>
            </a:r>
            <a:r>
              <a:rPr lang="de-DE" dirty="0"/>
              <a:t>, </a:t>
            </a:r>
            <a:r>
              <a:rPr lang="de-DE" dirty="0" err="1"/>
              <a:t>dd</a:t>
            </a:r>
            <a:r>
              <a:rPr lang="de-DE" dirty="0"/>
              <a:t>. </a:t>
            </a:r>
            <a:r>
              <a:rPr lang="de-DE" dirty="0" err="1"/>
              <a:t>mmmm</a:t>
            </a:r>
            <a:r>
              <a:rPr lang="de-DE" dirty="0"/>
              <a:t> </a:t>
            </a:r>
            <a:r>
              <a:rPr lang="de-DE" dirty="0" err="1"/>
              <a:t>yyyy</a:t>
            </a:r>
            <a:endParaRPr lang="de-DE"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818453" y="998931"/>
            <a:ext cx="3742051" cy="236996"/>
          </a:xfrm>
          <a:prstGeom prst="rect">
            <a:avLst/>
          </a:prstGeom>
        </p:spPr>
      </p:pic>
    </p:spTree>
    <p:extLst>
      <p:ext uri="{BB962C8B-B14F-4D97-AF65-F5344CB8AC3E}">
        <p14:creationId xmlns:p14="http://schemas.microsoft.com/office/powerpoint/2010/main" val="324793729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971.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93727"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Datumsplatzhalter 1"/>
          <p:cNvSpPr>
            <a:spLocks noGrp="1"/>
          </p:cNvSpPr>
          <p:nvPr>
            <p:ph type="dt" sz="half" idx="10"/>
          </p:nvPr>
        </p:nvSpPr>
        <p:spPr>
          <a:xfrm>
            <a:off x="838200" y="6356350"/>
            <a:ext cx="2743200" cy="365125"/>
          </a:xfrm>
          <a:prstGeom prst="rect">
            <a:avLst/>
          </a:prstGeom>
        </p:spPr>
        <p:txBody>
          <a:bodyPr/>
          <a:lstStyle/>
          <a:p>
            <a:pPr defTabSz="914126"/>
            <a:fld id="{9D8AD672-C06F-435A-873C-D96653C817C2}" type="datetimeFigureOut">
              <a:rPr lang="de-DE" smtClean="0">
                <a:solidFill>
                  <a:prstClr val="black"/>
                </a:solidFill>
              </a:rPr>
              <a:pPr defTabSz="914126"/>
              <a:t>26.04.2019</a:t>
            </a:fld>
            <a:endParaRPr lang="de-DE" dirty="0">
              <a:solidFill>
                <a:prstClr val="black"/>
              </a:solidFill>
            </a:endParaRPr>
          </a:p>
        </p:txBody>
      </p:sp>
      <p:sp>
        <p:nvSpPr>
          <p:cNvPr id="3" name="Fußzeilenplatzhalter 2"/>
          <p:cNvSpPr>
            <a:spLocks noGrp="1"/>
          </p:cNvSpPr>
          <p:nvPr>
            <p:ph type="ftr" sz="quarter" idx="11"/>
          </p:nvPr>
        </p:nvSpPr>
        <p:spPr/>
        <p:txBody>
          <a:bodyPr/>
          <a:lstStyle>
            <a:lvl1pPr eaLnBrk="1">
              <a:defRPr/>
            </a:lvl1pPr>
          </a:lstStyle>
          <a:p>
            <a:endParaRPr lang="de-DE" dirty="0">
              <a:solidFill>
                <a:prstClr val="black"/>
              </a:solidFill>
            </a:endParaRPr>
          </a:p>
        </p:txBody>
      </p:sp>
      <p:sp>
        <p:nvSpPr>
          <p:cNvPr id="4" name="Foliennummernplatzhalter 3"/>
          <p:cNvSpPr>
            <a:spLocks noGrp="1"/>
          </p:cNvSpPr>
          <p:nvPr>
            <p:ph type="sldNum" sz="quarter" idx="12"/>
          </p:nvPr>
        </p:nvSpPr>
        <p:spPr/>
        <p:txBody>
          <a:bodyPr/>
          <a:lstStyle/>
          <a:p>
            <a:fld id="{A2229452-8F2B-4626-918F-01887DB5935C}" type="slidenum">
              <a:rPr lang="de-DE" smtClean="0">
                <a:solidFill>
                  <a:prstClr val="black"/>
                </a:solidFill>
              </a:rPr>
              <a:pPr/>
              <a:t>‹#›</a:t>
            </a:fld>
            <a:endParaRPr lang="de-DE" dirty="0">
              <a:solidFill>
                <a:prstClr val="black"/>
              </a:solidFill>
            </a:endParaRPr>
          </a:p>
        </p:txBody>
      </p:sp>
    </p:spTree>
    <p:extLst>
      <p:ext uri="{BB962C8B-B14F-4D97-AF65-F5344CB8AC3E}">
        <p14:creationId xmlns:p14="http://schemas.microsoft.com/office/powerpoint/2010/main" val="4139191558"/>
      </p:ext>
    </p:extLst>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showMasterSp="0" userDrawn="1">
  <p:cSld name="1_4. Brushing/ image 2 columns">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9475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14" name="Picture Placeholder 3"/>
          <p:cNvSpPr>
            <a:spLocks noGrp="1"/>
          </p:cNvSpPr>
          <p:nvPr>
            <p:ph type="pic" sz="quarter" idx="13" hasCustomPrompt="1"/>
          </p:nvPr>
        </p:nvSpPr>
        <p:spPr bwMode="gray">
          <a:xfrm>
            <a:off x="-19040" y="0"/>
            <a:ext cx="12211833" cy="5588740"/>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 name="connsiteX0" fmla="*/ 0 w 12218193"/>
              <a:gd name="connsiteY0" fmla="*/ 9525 h 4086000"/>
              <a:gd name="connsiteX1" fmla="*/ 12217399 w 12218193"/>
              <a:gd name="connsiteY1" fmla="*/ 0 h 4086000"/>
              <a:gd name="connsiteX2" fmla="*/ 12218193 w 12218193"/>
              <a:gd name="connsiteY2" fmla="*/ 3455194 h 4086000"/>
              <a:gd name="connsiteX3" fmla="*/ 5038725 w 12218193"/>
              <a:gd name="connsiteY3" fmla="*/ 4086000 h 4086000"/>
              <a:gd name="connsiteX4" fmla="*/ 0 w 12218193"/>
              <a:gd name="connsiteY4" fmla="*/ 9525 h 4086000"/>
              <a:gd name="connsiteX0" fmla="*/ 0 w 12218193"/>
              <a:gd name="connsiteY0" fmla="*/ 9525 h 4533675"/>
              <a:gd name="connsiteX1" fmla="*/ 12217399 w 12218193"/>
              <a:gd name="connsiteY1" fmla="*/ 0 h 4533675"/>
              <a:gd name="connsiteX2" fmla="*/ 12218193 w 12218193"/>
              <a:gd name="connsiteY2" fmla="*/ 3455194 h 4533675"/>
              <a:gd name="connsiteX3" fmla="*/ 28575 w 12218193"/>
              <a:gd name="connsiteY3" fmla="*/ 4533675 h 4533675"/>
              <a:gd name="connsiteX4" fmla="*/ 0 w 12218193"/>
              <a:gd name="connsiteY4" fmla="*/ 9525 h 4533675"/>
              <a:gd name="connsiteX0" fmla="*/ 0 w 12218193"/>
              <a:gd name="connsiteY0" fmla="*/ 9525 h 4543200"/>
              <a:gd name="connsiteX1" fmla="*/ 12217399 w 12218193"/>
              <a:gd name="connsiteY1" fmla="*/ 0 h 4543200"/>
              <a:gd name="connsiteX2" fmla="*/ 12218193 w 12218193"/>
              <a:gd name="connsiteY2" fmla="*/ 3455194 h 4543200"/>
              <a:gd name="connsiteX3" fmla="*/ 19050 w 12218193"/>
              <a:gd name="connsiteY3" fmla="*/ 4543200 h 4543200"/>
              <a:gd name="connsiteX4" fmla="*/ 0 w 12218193"/>
              <a:gd name="connsiteY4" fmla="*/ 9525 h 4543200"/>
              <a:gd name="connsiteX0" fmla="*/ 0 w 12218193"/>
              <a:gd name="connsiteY0" fmla="*/ 9525 h 3817485"/>
              <a:gd name="connsiteX1" fmla="*/ 12217399 w 12218193"/>
              <a:gd name="connsiteY1" fmla="*/ 0 h 3817485"/>
              <a:gd name="connsiteX2" fmla="*/ 12218193 w 12218193"/>
              <a:gd name="connsiteY2" fmla="*/ 3455194 h 3817485"/>
              <a:gd name="connsiteX3" fmla="*/ 4536 w 12218193"/>
              <a:gd name="connsiteY3" fmla="*/ 3817485 h 3817485"/>
              <a:gd name="connsiteX4" fmla="*/ 0 w 12218193"/>
              <a:gd name="connsiteY4" fmla="*/ 9525 h 3817485"/>
              <a:gd name="connsiteX0" fmla="*/ 0 w 12218193"/>
              <a:gd name="connsiteY0" fmla="*/ 9525 h 3875543"/>
              <a:gd name="connsiteX1" fmla="*/ 12217399 w 12218193"/>
              <a:gd name="connsiteY1" fmla="*/ 0 h 3875543"/>
              <a:gd name="connsiteX2" fmla="*/ 12218193 w 12218193"/>
              <a:gd name="connsiteY2" fmla="*/ 3455194 h 3875543"/>
              <a:gd name="connsiteX3" fmla="*/ 19050 w 12218193"/>
              <a:gd name="connsiteY3" fmla="*/ 3875543 h 3875543"/>
              <a:gd name="connsiteX4" fmla="*/ 0 w 12218193"/>
              <a:gd name="connsiteY4" fmla="*/ 9525 h 3875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8193" h="3875543">
                <a:moveTo>
                  <a:pt x="0" y="9525"/>
                </a:moveTo>
                <a:lnTo>
                  <a:pt x="12217399" y="0"/>
                </a:lnTo>
                <a:cubicBezTo>
                  <a:pt x="12217664" y="1151731"/>
                  <a:pt x="12217928" y="2303463"/>
                  <a:pt x="12218193" y="3455194"/>
                </a:cubicBezTo>
                <a:lnTo>
                  <a:pt x="19050" y="3875543"/>
                </a:lnTo>
                <a:lnTo>
                  <a:pt x="0" y="9525"/>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3" name="Freihandform 12"/>
          <p:cNvSpPr/>
          <p:nvPr userDrawn="1"/>
        </p:nvSpPr>
        <p:spPr>
          <a:xfrm>
            <a:off x="-9519" y="4940818"/>
            <a:ext cx="12214213" cy="1917182"/>
          </a:xfrm>
          <a:custGeom>
            <a:avLst/>
            <a:gdLst>
              <a:gd name="connsiteX0" fmla="*/ 0 w 12220575"/>
              <a:gd name="connsiteY0" fmla="*/ 1066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0 w 12220575"/>
              <a:gd name="connsiteY4" fmla="*/ 1066800 h 3019425"/>
              <a:gd name="connsiteX0" fmla="*/ 19050 w 12220575"/>
              <a:gd name="connsiteY0" fmla="*/ 304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19050 w 12220575"/>
              <a:gd name="connsiteY4" fmla="*/ 304800 h 3019425"/>
              <a:gd name="connsiteX0" fmla="*/ 0 w 12220575"/>
              <a:gd name="connsiteY0" fmla="*/ 304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0 w 12220575"/>
              <a:gd name="connsiteY4" fmla="*/ 304800 h 3019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20575" h="3019425">
                <a:moveTo>
                  <a:pt x="0" y="304800"/>
                </a:moveTo>
                <a:lnTo>
                  <a:pt x="0" y="3019425"/>
                </a:lnTo>
                <a:lnTo>
                  <a:pt x="12220575" y="3019425"/>
                </a:lnTo>
                <a:lnTo>
                  <a:pt x="12220575" y="0"/>
                </a:lnTo>
                <a:lnTo>
                  <a:pt x="0" y="30480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15"/>
            <a:endParaRPr lang="de-DE" sz="2099" dirty="0">
              <a:solidFill>
                <a:prstClr val="white"/>
              </a:solidFill>
            </a:endParaRPr>
          </a:p>
        </p:txBody>
      </p:sp>
    </p:spTree>
    <p:extLst>
      <p:ext uri="{BB962C8B-B14F-4D97-AF65-F5344CB8AC3E}">
        <p14:creationId xmlns:p14="http://schemas.microsoft.com/office/powerpoint/2010/main" val="125390138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973.xml><?xml version="1.0" encoding="utf-8"?>
<p:sldLayout xmlns:a="http://schemas.openxmlformats.org/drawingml/2006/main" xmlns:r="http://schemas.openxmlformats.org/officeDocument/2006/relationships" xmlns:p="http://schemas.openxmlformats.org/presentationml/2006/main" userDrawn="1">
  <p:cSld name="Einleitungstext, dark grey">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95775"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8" y="1588"/>
                        <a:ext cx="1586" cy="1587"/>
                      </a:xfrm>
                      <a:prstGeom prst="rect">
                        <a:avLst/>
                      </a:prstGeom>
                    </p:spPr>
                  </p:pic>
                </p:oleObj>
              </mc:Fallback>
            </mc:AlternateContent>
          </a:graphicData>
        </a:graphic>
      </p:graphicFrame>
      <p:sp>
        <p:nvSpPr>
          <p:cNvPr id="2" name="Titel 1"/>
          <p:cNvSpPr>
            <a:spLocks noGrp="1"/>
          </p:cNvSpPr>
          <p:nvPr>
            <p:ph type="title"/>
          </p:nvPr>
        </p:nvSpPr>
        <p:spPr>
          <a:xfrm>
            <a:off x="714200" y="590401"/>
            <a:ext cx="8405989" cy="1325563"/>
          </a:xfrm>
        </p:spPr>
        <p:txBody>
          <a:bodyPr/>
          <a:lstStyle>
            <a:lvl1pPr>
              <a:defRPr sz="3580">
                <a:solidFill>
                  <a:schemeClr val="tx2"/>
                </a:solidFill>
              </a:defRPr>
            </a:lvl1pPr>
          </a:lstStyle>
          <a:p>
            <a:r>
              <a:rPr lang="de-DE" dirty="0"/>
              <a:t>Mastertitelformat bearbeiten</a:t>
            </a:r>
          </a:p>
        </p:txBody>
      </p:sp>
      <p:sp>
        <p:nvSpPr>
          <p:cNvPr id="3" name="Foliennummernplatzhalter 5"/>
          <p:cNvSpPr>
            <a:spLocks noGrp="1"/>
          </p:cNvSpPr>
          <p:nvPr>
            <p:ph type="sldNum" sz="quarter" idx="12"/>
          </p:nvPr>
        </p:nvSpPr>
        <p:spPr>
          <a:xfrm>
            <a:off x="10911840" y="6219191"/>
            <a:ext cx="579120" cy="303531"/>
          </a:xfrm>
        </p:spPr>
        <p:txBody>
          <a:bodyPr/>
          <a:lstStyle>
            <a:lvl1pPr>
              <a:defRPr>
                <a:solidFill>
                  <a:schemeClr val="tx2"/>
                </a:solidFill>
              </a:defRPr>
            </a:lvl1pPr>
          </a:lstStyle>
          <a:p>
            <a:fld id="{BDFFC951-C3BB-40CC-A730-0B992127FC44}" type="slidenum">
              <a:rPr lang="de-DE" smtClean="0">
                <a:solidFill>
                  <a:srgbClr val="E6E6E6"/>
                </a:solidFill>
              </a:rPr>
              <a:pPr/>
              <a:t>‹#›</a:t>
            </a:fld>
            <a:endParaRPr lang="de-DE" dirty="0">
              <a:solidFill>
                <a:srgbClr val="E6E6E6"/>
              </a:solidFill>
            </a:endParaRPr>
          </a:p>
        </p:txBody>
      </p:sp>
    </p:spTree>
    <p:extLst>
      <p:ext uri="{BB962C8B-B14F-4D97-AF65-F5344CB8AC3E}">
        <p14:creationId xmlns:p14="http://schemas.microsoft.com/office/powerpoint/2010/main" val="1274536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4.xml><?xml version="1.0" encoding="utf-8"?>
<p:sldLayout xmlns:a="http://schemas.openxmlformats.org/drawingml/2006/main" xmlns:r="http://schemas.openxmlformats.org/officeDocument/2006/relationships" xmlns:p="http://schemas.openxmlformats.org/presentationml/2006/main" userDrawn="1">
  <p:cSld name="Blank/ Headline 2 line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196799" name="think-cell Folie" r:id="rId4" imgW="216" imgH="216" progId="TCLayout.ActiveDocument.1">
                  <p:embed/>
                </p:oleObj>
              </mc:Choice>
              <mc:Fallback>
                <p:oleObj name="think-cell Folie" r:id="rId4" imgW="216" imgH="216"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71" y="285982"/>
            <a:ext cx="10931106" cy="683842"/>
          </a:xfrm>
        </p:spPr>
        <p:txBody>
          <a:bodyPr/>
          <a:lstStyle/>
          <a:p>
            <a:r>
              <a:rPr lang="en-US" noProof="0" dirty="0"/>
              <a:t>Headline in </a:t>
            </a:r>
            <a:r>
              <a:rPr lang="en-US" noProof="0" dirty="0" err="1"/>
              <a:t>CorpoS</a:t>
            </a:r>
            <a:r>
              <a:rPr lang="en-US" noProof="0" dirty="0"/>
              <a:t> (Body) 35 pt.</a:t>
            </a:r>
            <a:endParaRPr lang="en-US" dirty="0"/>
          </a:p>
        </p:txBody>
      </p:sp>
      <p:sp>
        <p:nvSpPr>
          <p:cNvPr id="3" name="Footer Placeholder 2"/>
          <p:cNvSpPr>
            <a:spLocks noGrp="1"/>
          </p:cNvSpPr>
          <p:nvPr>
            <p:ph type="ftr" sz="quarter" idx="10"/>
          </p:nvPr>
        </p:nvSpPr>
        <p:spPr/>
        <p:txBody>
          <a:bodyPr/>
          <a:lstStyle/>
          <a:p>
            <a:r>
              <a:rPr lang="en-US" dirty="0">
                <a:solidFill>
                  <a:prstClr val="black"/>
                </a:solidFill>
              </a:rPr>
              <a:t>DFS Capital Market Day</a:t>
            </a:r>
          </a:p>
        </p:txBody>
      </p:sp>
      <p:sp>
        <p:nvSpPr>
          <p:cNvPr id="4" name="Slide Number Placeholder 3"/>
          <p:cNvSpPr>
            <a:spLocks noGrp="1"/>
          </p:cNvSpPr>
          <p:nvPr>
            <p:ph type="sldNum" sz="quarter" idx="11"/>
          </p:nvPr>
        </p:nvSpPr>
        <p:spPr/>
        <p:txBody>
          <a:bodyPr/>
          <a:lstStyle/>
          <a:p>
            <a:r>
              <a:rPr lang="en-US" dirty="0">
                <a:solidFill>
                  <a:prstClr val="black"/>
                </a:solidFill>
              </a:rPr>
              <a:t>Page </a:t>
            </a:r>
            <a:fld id="{52531704-8F80-415D-BD2B-6B9991AE822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732774319"/>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975.xml><?xml version="1.0" encoding="utf-8"?>
<p:sldLayout xmlns:a="http://schemas.openxmlformats.org/drawingml/2006/main" xmlns:r="http://schemas.openxmlformats.org/officeDocument/2006/relationships" xmlns:p="http://schemas.openxmlformats.org/presentationml/2006/main" showMasterSp="0" preserve="1"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grpSp>
        <p:nvGrpSpPr>
          <p:cNvPr id="19" name="Gruppieren 18"/>
          <p:cNvGrpSpPr/>
          <p:nvPr userDrawn="1"/>
        </p:nvGrpSpPr>
        <p:grpSpPr>
          <a:xfrm>
            <a:off x="-2250855" y="3527183"/>
            <a:ext cx="2229361" cy="4638856"/>
            <a:chOff x="12221581" y="-62687"/>
            <a:chExt cx="2230522" cy="4639930"/>
          </a:xfrm>
        </p:grpSpPr>
        <p:sp>
          <p:nvSpPr>
            <p:cNvPr id="20" name="Rechteck 19"/>
            <p:cNvSpPr/>
            <p:nvPr userDrawn="1"/>
          </p:nvSpPr>
          <p:spPr>
            <a:xfrm>
              <a:off x="12266612" y="-62687"/>
              <a:ext cx="2185491" cy="1446550"/>
            </a:xfrm>
            <a:prstGeom prst="rect">
              <a:avLst/>
            </a:prstGeom>
          </p:spPr>
          <p:txBody>
            <a:bodyPr wrap="square">
              <a:spAutoFit/>
            </a:bodyPr>
            <a:lstStyle/>
            <a:p>
              <a:pPr algn="r" defTabSz="1088415"/>
              <a:r>
                <a:rPr lang="en-GB" sz="1099" b="1" dirty="0">
                  <a:solidFill>
                    <a:srgbClr val="444444"/>
                  </a:solidFill>
                </a:rPr>
                <a:t>Animation</a:t>
              </a:r>
            </a:p>
            <a:p>
              <a:pPr algn="r" defTabSz="1088415"/>
              <a:r>
                <a:rPr lang="en-GB" sz="1099" dirty="0">
                  <a:solidFill>
                    <a:srgbClr val="444444"/>
                  </a:solidFill>
                </a:rPr>
                <a:t>You can change animations via menu bar: animation.</a:t>
              </a:r>
            </a:p>
            <a:p>
              <a:pPr algn="r" defTabSz="1088415"/>
              <a:endParaRPr lang="en-GB" sz="1099" dirty="0">
                <a:solidFill>
                  <a:srgbClr val="444444"/>
                </a:solidFill>
              </a:endParaRPr>
            </a:p>
            <a:p>
              <a:pPr algn="r" defTabSz="1088415"/>
              <a:r>
                <a:rPr lang="en-GB" sz="1099" dirty="0">
                  <a:solidFill>
                    <a:srgbClr val="444444"/>
                  </a:solidFill>
                </a:rPr>
                <a:t>To remove the animation choose the menu bar animation and insert the animation pane by click on the following button.</a:t>
              </a:r>
            </a:p>
          </p:txBody>
        </p:sp>
        <p:pic>
          <p:nvPicPr>
            <p:cNvPr id="21" name="Grafik 2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2" name="Grafik 2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3" name="Rechteck 22"/>
            <p:cNvSpPr/>
            <p:nvPr userDrawn="1"/>
          </p:nvSpPr>
          <p:spPr>
            <a:xfrm>
              <a:off x="12221581" y="1896262"/>
              <a:ext cx="2185491" cy="938719"/>
            </a:xfrm>
            <a:prstGeom prst="rect">
              <a:avLst/>
            </a:prstGeom>
          </p:spPr>
          <p:txBody>
            <a:bodyPr wrap="square">
              <a:spAutoFit/>
            </a:bodyPr>
            <a:lstStyle/>
            <a:p>
              <a:pPr algn="r" defTabSz="1088415"/>
              <a:r>
                <a:rPr lang="en-GB" sz="1099" dirty="0">
                  <a:solidFill>
                    <a:srgbClr val="444444"/>
                  </a:solidFill>
                </a:rPr>
                <a:t>Within the window animation Pane you can choose the animated elements and by click on the blue arrow you can remove the animation.</a:t>
              </a:r>
            </a:p>
          </p:txBody>
        </p:sp>
      </p:grpSp>
      <p:grpSp>
        <p:nvGrpSpPr>
          <p:cNvPr id="24" name="Gruppieren 23"/>
          <p:cNvGrpSpPr/>
          <p:nvPr userDrawn="1"/>
        </p:nvGrpSpPr>
        <p:grpSpPr>
          <a:xfrm>
            <a:off x="12192001" y="-82363"/>
            <a:ext cx="2184353" cy="3786237"/>
            <a:chOff x="12266612" y="-62687"/>
            <a:chExt cx="2185491" cy="3787114"/>
          </a:xfrm>
        </p:grpSpPr>
        <p:sp>
          <p:nvSpPr>
            <p:cNvPr id="25" name="Rechteck 24"/>
            <p:cNvSpPr/>
            <p:nvPr userDrawn="1"/>
          </p:nvSpPr>
          <p:spPr>
            <a:xfrm>
              <a:off x="12266612" y="-62687"/>
              <a:ext cx="2185491" cy="769441"/>
            </a:xfrm>
            <a:prstGeom prst="rect">
              <a:avLst/>
            </a:prstGeom>
          </p:spPr>
          <p:txBody>
            <a:bodyPr wrap="square">
              <a:spAutoFit/>
            </a:bodyPr>
            <a:lstStyle/>
            <a:p>
              <a:pPr defTabSz="1088415"/>
              <a:r>
                <a:rPr lang="en-US" sz="1099" b="1" dirty="0">
                  <a:solidFill>
                    <a:srgbClr val="444444"/>
                  </a:solidFill>
                </a:rPr>
                <a:t>Change pictures</a:t>
              </a:r>
            </a:p>
            <a:p>
              <a:pPr defTabSz="1088415"/>
              <a:r>
                <a:rPr lang="en-US" sz="1099" dirty="0">
                  <a:solidFill>
                    <a:srgbClr val="444444"/>
                  </a:solidFill>
                </a:rPr>
                <a:t>Choose your desired picture, click right mouse button an choose change picture.</a:t>
              </a:r>
            </a:p>
          </p:txBody>
        </p:sp>
        <p:pic>
          <p:nvPicPr>
            <p:cNvPr id="26" name="Grafik 2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27" name="Gruppieren 26"/>
          <p:cNvGrpSpPr/>
          <p:nvPr userDrawn="1"/>
        </p:nvGrpSpPr>
        <p:grpSpPr>
          <a:xfrm>
            <a:off x="12192000" y="3909447"/>
            <a:ext cx="2383726" cy="3891078"/>
            <a:chOff x="12291863" y="5052225"/>
            <a:chExt cx="2384968" cy="3891979"/>
          </a:xfrm>
        </p:grpSpPr>
        <p:sp>
          <p:nvSpPr>
            <p:cNvPr id="36" name="Rechteck 35"/>
            <p:cNvSpPr/>
            <p:nvPr userDrawn="1"/>
          </p:nvSpPr>
          <p:spPr>
            <a:xfrm>
              <a:off x="12291863" y="5052225"/>
              <a:ext cx="2384968" cy="1107996"/>
            </a:xfrm>
            <a:prstGeom prst="rect">
              <a:avLst/>
            </a:prstGeom>
          </p:spPr>
          <p:txBody>
            <a:bodyPr wrap="square">
              <a:spAutoFit/>
            </a:bodyPr>
            <a:lstStyle/>
            <a:p>
              <a:pPr defTabSz="1088415"/>
              <a:r>
                <a:rPr lang="en-US" sz="1099" b="1" dirty="0">
                  <a:solidFill>
                    <a:srgbClr val="444444"/>
                  </a:solidFill>
                </a:rPr>
                <a:t>Align</a:t>
              </a:r>
            </a:p>
            <a:p>
              <a:pPr defTabSz="1088415"/>
              <a:r>
                <a:rPr lang="en-US" sz="1099" dirty="0">
                  <a:solidFill>
                    <a:srgbClr val="444444"/>
                  </a:solidFill>
                </a:rPr>
                <a:t>By using this tool you can align objects, pictures and text blocks with another:</a:t>
              </a:r>
            </a:p>
            <a:p>
              <a:pPr defTabSz="1088415"/>
              <a:r>
                <a:rPr lang="en-US" sz="1099" dirty="0">
                  <a:solidFill>
                    <a:srgbClr val="444444"/>
                  </a:solidFill>
                </a:rPr>
                <a:t>Choose desired objects // Format // Align</a:t>
              </a:r>
            </a:p>
          </p:txBody>
        </p:sp>
        <p:pic>
          <p:nvPicPr>
            <p:cNvPr id="37" name="Picture 2"/>
            <p:cNvPicPr>
              <a:picLocks noChangeAspect="1" noChangeArrowheads="1"/>
            </p:cNvPicPr>
            <p:nvPr userDrawn="1"/>
          </p:nvPicPr>
          <p:blipFill>
            <a:blip r:embed="rId10">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uppieren 37"/>
          <p:cNvGrpSpPr/>
          <p:nvPr userDrawn="1"/>
        </p:nvGrpSpPr>
        <p:grpSpPr>
          <a:xfrm>
            <a:off x="14575727" y="-67809"/>
            <a:ext cx="2184353" cy="5224601"/>
            <a:chOff x="14583318" y="4183"/>
            <a:chExt cx="2185491" cy="5225811"/>
          </a:xfrm>
        </p:grpSpPr>
        <p:sp>
          <p:nvSpPr>
            <p:cNvPr id="39" name="Rechteck 38"/>
            <p:cNvSpPr/>
            <p:nvPr userDrawn="1"/>
          </p:nvSpPr>
          <p:spPr>
            <a:xfrm>
              <a:off x="14583318" y="4183"/>
              <a:ext cx="2185491" cy="1107996"/>
            </a:xfrm>
            <a:prstGeom prst="rect">
              <a:avLst/>
            </a:prstGeom>
          </p:spPr>
          <p:txBody>
            <a:bodyPr wrap="square">
              <a:spAutoFit/>
            </a:bodyPr>
            <a:lstStyle/>
            <a:p>
              <a:pPr defTabSz="1088415">
                <a:defRPr/>
              </a:pPr>
              <a:r>
                <a:rPr lang="en-US" sz="1099" b="1" dirty="0">
                  <a:solidFill>
                    <a:srgbClr val="444444"/>
                  </a:solidFill>
                </a:rPr>
                <a:t>Crop pictures to shape</a:t>
              </a:r>
            </a:p>
            <a:p>
              <a:pPr defTabSz="1088415"/>
              <a:r>
                <a:rPr lang="en-US" sz="1099" dirty="0">
                  <a:solidFill>
                    <a:srgbClr val="444444"/>
                  </a:solidFill>
                </a:rPr>
                <a:t>To crop pictures in a circle in the first step they have to be square-shaped. </a:t>
              </a:r>
            </a:p>
            <a:p>
              <a:pPr defTabSz="1088415"/>
              <a:r>
                <a:rPr lang="en-US" sz="1099" dirty="0">
                  <a:solidFill>
                    <a:srgbClr val="444444"/>
                  </a:solidFill>
                </a:rPr>
                <a:t>Do this via menu bar:</a:t>
              </a:r>
            </a:p>
            <a:p>
              <a:pPr defTabSz="1088415"/>
              <a:r>
                <a:rPr lang="en-US" sz="1099" dirty="0">
                  <a:solidFill>
                    <a:srgbClr val="444444"/>
                  </a:solidFill>
                </a:rPr>
                <a:t>Picture Tool // Format // Crop</a:t>
              </a:r>
            </a:p>
          </p:txBody>
        </p:sp>
        <p:pic>
          <p:nvPicPr>
            <p:cNvPr id="40" name="Grafik 39"/>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1" name="Grafik 40"/>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2" name="Rechteck 41"/>
            <p:cNvSpPr/>
            <p:nvPr userDrawn="1"/>
          </p:nvSpPr>
          <p:spPr>
            <a:xfrm>
              <a:off x="14583318" y="2076199"/>
              <a:ext cx="2185491" cy="938719"/>
            </a:xfrm>
            <a:prstGeom prst="rect">
              <a:avLst/>
            </a:prstGeom>
          </p:spPr>
          <p:txBody>
            <a:bodyPr wrap="square">
              <a:spAutoFit/>
            </a:bodyPr>
            <a:lstStyle/>
            <a:p>
              <a:pPr defTabSz="1088415"/>
              <a:r>
                <a:rPr lang="en-US" sz="1099" dirty="0">
                  <a:solidFill>
                    <a:srgbClr val="444444"/>
                  </a:solidFill>
                </a:rPr>
                <a:t>Afterwards the picture can be cropped in a circle via following menu:</a:t>
              </a:r>
            </a:p>
            <a:p>
              <a:pPr defTabSz="1088415"/>
              <a:r>
                <a:rPr lang="en-US" sz="1099" dirty="0">
                  <a:solidFill>
                    <a:srgbClr val="444444"/>
                  </a:solidFill>
                </a:rPr>
                <a:t>Picture Tool // Format // Crop // Crop to Shape</a:t>
              </a:r>
            </a:p>
          </p:txBody>
        </p:sp>
        <p:pic>
          <p:nvPicPr>
            <p:cNvPr id="43" name="Grafik 4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29626389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289">
          <p15:clr>
            <a:srgbClr val="FBAE40"/>
          </p15:clr>
        </p15:guide>
      </p15:sldGuideLst>
    </p:ext>
  </p:extLst>
</p:sldLayout>
</file>

<file path=ppt/slideLayouts/slideLayout976.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r>
              <a:rPr lang="en" dirty="0">
                <a:solidFill>
                  <a:prstClr val="black"/>
                </a:solidFill>
              </a:rPr>
              <a:t>Title of presentation / Strategy DFS / XX.11.2018 /</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1667645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977.xml><?xml version="1.0" encoding="utf-8"?>
<p:sldLayout xmlns:a="http://schemas.openxmlformats.org/drawingml/2006/main" xmlns:r="http://schemas.openxmlformats.org/officeDocument/2006/relationships" xmlns:p="http://schemas.openxmlformats.org/presentationml/2006/main" preserve="1"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 dirty="0">
                <a:solidFill>
                  <a:prstClr val="black"/>
                </a:solidFill>
              </a:rPr>
              <a:t>Title of presentation / Strategy DFS / XX.11.2018 /</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609190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978.xml><?xml version="1.0" encoding="utf-8"?>
<p:sldLayout xmlns:a="http://schemas.openxmlformats.org/drawingml/2006/main" xmlns:r="http://schemas.openxmlformats.org/officeDocument/2006/relationships" xmlns:p="http://schemas.openxmlformats.org/presentationml/2006/main" preserve="1" userDrawn="1">
  <p:cSld name="Blank/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CorpoS (Body) 35 pt.</a:t>
            </a:r>
            <a:endParaRPr lang="en-GB" dirty="0"/>
          </a:p>
        </p:txBody>
      </p:sp>
      <p:sp>
        <p:nvSpPr>
          <p:cNvPr id="3" name="Footer Placeholder 2"/>
          <p:cNvSpPr>
            <a:spLocks noGrp="1"/>
          </p:cNvSpPr>
          <p:nvPr>
            <p:ph type="ftr" sz="quarter" idx="10"/>
          </p:nvPr>
        </p:nvSpPr>
        <p:spPr/>
        <p:txBody>
          <a:bodyPr/>
          <a:lstStyle/>
          <a:p>
            <a:r>
              <a:rPr lang="en" dirty="0">
                <a:solidFill>
                  <a:prstClr val="black"/>
                </a:solidFill>
              </a:rPr>
              <a:t>Title of presentation / Strategy DFS / XX.11.2018 /</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2354607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979.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de-DE" noProof="0" dirty="0"/>
              <a:t>Headline für Agenda in </a:t>
            </a:r>
            <a:r>
              <a:rPr lang="de-DE" noProof="0" dirty="0" err="1"/>
              <a:t>CorpoS</a:t>
            </a:r>
            <a:r>
              <a:rPr lang="de-DE" noProof="0" dirty="0"/>
              <a:t> (Textkörper) 35 pt. </a:t>
            </a:r>
            <a:br>
              <a:rPr lang="de-DE" noProof="0" dirty="0"/>
            </a:br>
            <a:r>
              <a:rPr lang="de-DE" noProof="0" dirty="0"/>
              <a:t>in ein oder zwei Zeilen</a:t>
            </a:r>
            <a:endParaRPr lang="de-DE" dirty="0"/>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baseline="0">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de-DE" dirty="0"/>
              <a:t>Agenda Punkt einfügen</a:t>
            </a:r>
          </a:p>
          <a:p>
            <a:pPr lvl="1"/>
            <a:r>
              <a:rPr lang="de-DE" dirty="0"/>
              <a:t>Zweite Ebene</a:t>
            </a:r>
          </a:p>
          <a:p>
            <a:pPr lvl="2"/>
            <a:r>
              <a:rPr lang="de-DE" dirty="0"/>
              <a:t>Dritte Ebene </a:t>
            </a:r>
          </a:p>
          <a:p>
            <a:pPr lvl="3"/>
            <a:r>
              <a:rPr lang="de-DE" dirty="0"/>
              <a:t>Vierte Ebene </a:t>
            </a:r>
          </a:p>
          <a:p>
            <a:pPr lvl="4"/>
            <a:r>
              <a:rPr lang="de-DE" dirty="0"/>
              <a:t>Fünfte Ebene </a:t>
            </a:r>
          </a:p>
          <a:p>
            <a:pPr lvl="5"/>
            <a:r>
              <a:rPr lang="de-DE" dirty="0"/>
              <a:t>Sechste Ebene </a:t>
            </a:r>
          </a:p>
          <a:p>
            <a:pPr lvl="6"/>
            <a:r>
              <a:rPr lang="de-DE" dirty="0"/>
              <a:t>Siebte Ebene </a:t>
            </a:r>
          </a:p>
          <a:p>
            <a:pPr lvl="7"/>
            <a:r>
              <a:rPr lang="de-DE" dirty="0"/>
              <a:t>Achte Ebene </a:t>
            </a:r>
          </a:p>
          <a:p>
            <a:pPr lvl="8"/>
            <a:r>
              <a:rPr lang="de-DE" dirty="0"/>
              <a:t>Neunte Ebene </a:t>
            </a:r>
          </a:p>
        </p:txBody>
      </p:sp>
      <p:sp>
        <p:nvSpPr>
          <p:cNvPr id="9" name="Slide Number Placeholder 11"/>
          <p:cNvSpPr>
            <a:spLocks noGrp="1"/>
          </p:cNvSpPr>
          <p:nvPr>
            <p:ph type="sldNum" sz="quarter" idx="13"/>
          </p:nvPr>
        </p:nvSpPr>
        <p:spPr>
          <a:xfrm>
            <a:off x="11036804" y="6564880"/>
            <a:ext cx="1155196" cy="215950"/>
          </a:xfrm>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68203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Headline two lines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a:t>
            </a:r>
            <a:r>
              <a:rPr lang="en-GB" noProof="0" dirty="0" err="1"/>
              <a:t>CorpoS</a:t>
            </a:r>
            <a:r>
              <a:rPr lang="en-GB" noProof="0" dirty="0"/>
              <a:t>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683164165"/>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980.xml><?xml version="1.0" encoding="utf-8"?>
<p:sldLayout xmlns:a="http://schemas.openxmlformats.org/drawingml/2006/main" xmlns:r="http://schemas.openxmlformats.org/officeDocument/2006/relationships" xmlns:p="http://schemas.openxmlformats.org/presentationml/2006/main" userDrawn="1">
  <p:cSld name="Headline two lines // Conten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197737"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9" y="1589"/>
                        <a:ext cx="1586" cy="1587"/>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8415">
              <a:lnSpc>
                <a:spcPct val="80000"/>
              </a:lnSpc>
              <a:spcBef>
                <a:spcPct val="0"/>
              </a:spcBef>
              <a:spcAft>
                <a:spcPct val="0"/>
              </a:spcAft>
            </a:pPr>
            <a:endParaRPr lang="en-GB" sz="3598" b="1" dirty="0">
              <a:solidFill>
                <a:prstClr val="white"/>
              </a:solidFill>
              <a:latin typeface="CorporateS-Regular"/>
              <a:sym typeface="CorporateS-Regular"/>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p:nvPr>
        </p:nvSpPr>
        <p:spPr>
          <a:xfrm>
            <a:off x="626738" y="1520472"/>
            <a:ext cx="10938528" cy="48598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Title 1"/>
          <p:cNvSpPr>
            <a:spLocks noGrp="1"/>
          </p:cNvSpPr>
          <p:nvPr>
            <p:ph type="title" hasCustomPrompt="1"/>
          </p:nvPr>
        </p:nvSpPr>
        <p:spPr>
          <a:xfrm>
            <a:off x="626737" y="298259"/>
            <a:ext cx="10939888" cy="934945"/>
          </a:xfrm>
        </p:spPr>
        <p:txBody>
          <a:bodyPr/>
          <a:lstStyle>
            <a:lvl1pPr>
              <a:defRPr/>
            </a:lvl1pPr>
          </a:lstStyle>
          <a:p>
            <a:r>
              <a:rPr lang="en-GB" noProof="0" dirty="0"/>
              <a:t>Headline in </a:t>
            </a:r>
            <a:r>
              <a:rPr lang="en-GB" noProof="0" dirty="0" err="1"/>
              <a:t>CorpoS</a:t>
            </a:r>
            <a:r>
              <a:rPr lang="en-GB" noProof="0" dirty="0"/>
              <a:t> (Body) 35 pt. </a:t>
            </a:r>
            <a:br>
              <a:rPr lang="en-GB" noProof="0" dirty="0"/>
            </a:br>
            <a:r>
              <a:rPr lang="en-GB" noProof="0" dirty="0"/>
              <a:t>one or two lines</a:t>
            </a:r>
            <a:endParaRPr lang="en-GB" dirty="0"/>
          </a:p>
        </p:txBody>
      </p:sp>
    </p:spTree>
    <p:extLst>
      <p:ext uri="{BB962C8B-B14F-4D97-AF65-F5344CB8AC3E}">
        <p14:creationId xmlns:p14="http://schemas.microsoft.com/office/powerpoint/2010/main" val="11269103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Layouts/slideLayout981.xml><?xml version="1.0" encoding="utf-8"?>
<p:sldLayout xmlns:a="http://schemas.openxmlformats.org/drawingml/2006/main" xmlns:r="http://schemas.openxmlformats.org/officeDocument/2006/relationships" xmlns:p="http://schemas.openxmlformats.org/presentationml/2006/main" userDrawn="1">
  <p:cSld name="Title Only ">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876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8415">
              <a:lnSpc>
                <a:spcPct val="90000"/>
              </a:lnSpc>
              <a:spcBef>
                <a:spcPct val="0"/>
              </a:spcBef>
              <a:spcAft>
                <a:spcPct val="0"/>
              </a:spcAft>
            </a:pPr>
            <a:endParaRPr lang="en-US" sz="3499" dirty="0">
              <a:solidFill>
                <a:prstClr val="white"/>
              </a:solidFill>
              <a:sym typeface="CorpoS" pitchFamily="2" charset="0"/>
            </a:endParaRPr>
          </a:p>
        </p:txBody>
      </p:sp>
      <p:sp>
        <p:nvSpPr>
          <p:cNvPr id="7" name="Copyright" hidden="1"/>
          <p:cNvSpPr txBox="1"/>
          <p:nvPr userDrawn="1"/>
        </p:nvSpPr>
        <p:spPr>
          <a:xfrm rot="16200000">
            <a:off x="9894760" y="3895344"/>
            <a:ext cx="4318256" cy="98745"/>
          </a:xfrm>
          <a:prstGeom prst="rect">
            <a:avLst/>
          </a:prstGeom>
          <a:noFill/>
        </p:spPr>
        <p:txBody>
          <a:bodyPr wrap="square" lIns="0" tIns="0" rIns="0" bIns="0" rtlCol="0" anchor="t">
            <a:noAutofit/>
          </a:bodyPr>
          <a:lstStyle/>
          <a:p>
            <a:pPr defTabSz="914126">
              <a:lnSpc>
                <a:spcPct val="90000"/>
              </a:lnSpc>
              <a:spcAft>
                <a:spcPts val="600"/>
              </a:spcAft>
            </a:pPr>
            <a:r>
              <a:rPr lang="en-US" sz="700" dirty="0">
                <a:solidFill>
                  <a:srgbClr val="FFFFFF">
                    <a:lumMod val="50000"/>
                  </a:srgbClr>
                </a:solidFill>
                <a:sym typeface="CorpoS" pitchFamily="2" charset="0"/>
              </a:rPr>
              <a:t>Copyright © 2017 by The Boston Consulting Group, Inc. All rights reserved.</a:t>
            </a:r>
          </a:p>
        </p:txBody>
      </p:sp>
      <p:sp>
        <p:nvSpPr>
          <p:cNvPr id="5" name="Title 4"/>
          <p:cNvSpPr>
            <a:spLocks noGrp="1"/>
          </p:cNvSpPr>
          <p:nvPr>
            <p:ph type="title" hasCustomPrompt="1"/>
          </p:nvPr>
        </p:nvSpPr>
        <p:spPr>
          <a:xfrm>
            <a:off x="630000" y="622800"/>
            <a:ext cx="10933200" cy="48474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99" b="0" i="0" u="none" kern="1200" spc="0">
                <a:solidFill>
                  <a:srgbClr val="000000"/>
                </a:solidFill>
                <a:latin typeface="CorpoS" pitchFamily="2" charset="0"/>
                <a:sym typeface="CorpoS" pitchFamily="2" charset="0"/>
              </a:defRPr>
            </a:lvl1pPr>
          </a:lstStyle>
          <a:p>
            <a:pPr lvl="0"/>
            <a:r>
              <a:rPr lang="en-US" dirty="0"/>
              <a:t>Click to add title</a:t>
            </a:r>
          </a:p>
        </p:txBody>
      </p:sp>
    </p:spTree>
    <p:extLst>
      <p:ext uri="{BB962C8B-B14F-4D97-AF65-F5344CB8AC3E}">
        <p14:creationId xmlns:p14="http://schemas.microsoft.com/office/powerpoint/2010/main" val="25390844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982.xml><?xml version="1.0" encoding="utf-8"?>
<p:sldLayout xmlns:a="http://schemas.openxmlformats.org/drawingml/2006/main" xmlns:r="http://schemas.openxmlformats.org/officeDocument/2006/relationships" xmlns:p="http://schemas.openxmlformats.org/presentationml/2006/main" userDrawn="1">
  <p:cSld name="DMS_Group_2">
    <p:spTree>
      <p:nvGrpSpPr>
        <p:cNvPr id="1" name=""/>
        <p:cNvGrpSpPr/>
        <p:nvPr/>
      </p:nvGrpSpPr>
      <p:grpSpPr>
        <a:xfrm>
          <a:off x="0" y="0"/>
          <a:ext cx="0" cy="0"/>
          <a:chOff x="0" y="0"/>
          <a:chExt cx="0" cy="0"/>
        </a:xfrm>
      </p:grpSpPr>
      <p:sp>
        <p:nvSpPr>
          <p:cNvPr id="12" name="Titel 5"/>
          <p:cNvSpPr>
            <a:spLocks noGrp="1"/>
          </p:cNvSpPr>
          <p:nvPr>
            <p:ph type="title"/>
          </p:nvPr>
        </p:nvSpPr>
        <p:spPr>
          <a:xfrm>
            <a:off x="543366" y="447535"/>
            <a:ext cx="10793494" cy="359957"/>
          </a:xfrm>
          <a:prstGeom prst="rect">
            <a:avLst/>
          </a:prstGeom>
        </p:spPr>
        <p:txBody>
          <a:bodyPr/>
          <a:lstStyle>
            <a:lvl1pPr>
              <a:lnSpc>
                <a:spcPct val="100000"/>
              </a:lnSpc>
              <a:spcAft>
                <a:spcPts val="0"/>
              </a:spcAft>
              <a:defRPr lang="en-US" sz="2399" b="1" kern="1200" baseline="0" dirty="0">
                <a:solidFill>
                  <a:srgbClr val="004355"/>
                </a:solidFill>
                <a:latin typeface="+mj-lt"/>
                <a:ea typeface="+mn-ea"/>
                <a:cs typeface="Daimler CS"/>
              </a:defRPr>
            </a:lvl1pPr>
          </a:lstStyle>
          <a:p>
            <a:r>
              <a:rPr lang="de-DE" dirty="0" smtClean="0"/>
              <a:t>Titelmasterformat durch Klicken bearbeiten</a:t>
            </a:r>
            <a:endParaRPr lang="en-US" dirty="0"/>
          </a:p>
        </p:txBody>
      </p:sp>
      <p:graphicFrame>
        <p:nvGraphicFramePr>
          <p:cNvPr id="8" name="Objekt 7" hidden="1"/>
          <p:cNvGraphicFramePr>
            <a:graphicFrameLocks noChangeAspect="1"/>
          </p:cNvGraphicFramePr>
          <p:nvPr userDrawn="1">
            <p:custDataLst>
              <p:tags r:id="rId2"/>
            </p:custDataLst>
            <p:extLst/>
          </p:nvPr>
        </p:nvGraphicFramePr>
        <p:xfrm>
          <a:off x="1587" y="1587"/>
          <a:ext cx="1587" cy="1588"/>
        </p:xfrm>
        <a:graphic>
          <a:graphicData uri="http://schemas.openxmlformats.org/presentationml/2006/ole">
            <mc:AlternateContent xmlns:mc="http://schemas.openxmlformats.org/markup-compatibility/2006">
              <mc:Choice xmlns:v="urn:schemas-microsoft-com:vml" Requires="v">
                <p:oleObj spid="_x0000_s199785"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7" y="1587"/>
                        <a:ext cx="1587"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2204">
              <a:spcBef>
                <a:spcPct val="0"/>
              </a:spcBef>
              <a:spcAft>
                <a:spcPct val="0"/>
              </a:spcAft>
            </a:pPr>
            <a:endParaRPr lang="de-DE" sz="2399" dirty="0">
              <a:solidFill>
                <a:prstClr val="white"/>
              </a:solidFill>
              <a:ea typeface="Segoe UI" panose="020B0502040204020203" pitchFamily="34" charset="0"/>
              <a:cs typeface="Segoe UI" panose="020B0502040204020203" pitchFamily="34" charset="0"/>
              <a:sym typeface="CorpoS" pitchFamily="2" charset="0"/>
            </a:endParaRPr>
          </a:p>
        </p:txBody>
      </p:sp>
      <p:sp>
        <p:nvSpPr>
          <p:cNvPr id="4" name="Foliennummernplatzhalter 3"/>
          <p:cNvSpPr>
            <a:spLocks noGrp="1"/>
          </p:cNvSpPr>
          <p:nvPr>
            <p:ph type="sldNum" sz="quarter" idx="11"/>
          </p:nvPr>
        </p:nvSpPr>
        <p:spPr>
          <a:xfrm>
            <a:off x="10989995" y="6524628"/>
            <a:ext cx="503794" cy="196879"/>
          </a:xfrm>
          <a:prstGeom prst="rect">
            <a:avLst/>
          </a:prstGeom>
        </p:spPr>
        <p:txBody>
          <a:bodyPr/>
          <a:lstStyle/>
          <a:p>
            <a:pPr defTabSz="1087599"/>
            <a:r>
              <a:rPr lang="en-GB" smtClean="0">
                <a:solidFill>
                  <a:prstClr val="black"/>
                </a:solidFill>
              </a:rPr>
              <a:t>Page </a:t>
            </a:r>
            <a:fld id="{52531704-8F80-415D-BD2B-6B9991AE822F}" type="slidenum">
              <a:rPr lang="en-GB" smtClean="0">
                <a:solidFill>
                  <a:prstClr val="black"/>
                </a:solidFill>
              </a:rPr>
              <a:pPr defTabSz="1087599"/>
              <a:t>‹#›</a:t>
            </a:fld>
            <a:endParaRPr lang="en-GB" dirty="0">
              <a:solidFill>
                <a:prstClr val="black"/>
              </a:solidFill>
            </a:endParaRPr>
          </a:p>
        </p:txBody>
      </p:sp>
    </p:spTree>
    <p:extLst>
      <p:ext uri="{BB962C8B-B14F-4D97-AF65-F5344CB8AC3E}">
        <p14:creationId xmlns:p14="http://schemas.microsoft.com/office/powerpoint/2010/main" val="1592415937"/>
      </p:ext>
    </p:extLst>
  </p:cSld>
  <p:clrMapOvr>
    <a:masterClrMapping/>
  </p:clrMapOvr>
  <p:timing>
    <p:tnLst>
      <p:par>
        <p:cTn id="1" dur="indefinite" restart="never" nodeType="tmRoot"/>
      </p:par>
    </p:tnLst>
  </p:timing>
</p:sldLayout>
</file>

<file path=ppt/slideLayouts/slideLayout983.xml><?xml version="1.0" encoding="utf-8"?>
<p:sldLayout xmlns:a="http://schemas.openxmlformats.org/drawingml/2006/main" xmlns:r="http://schemas.openxmlformats.org/officeDocument/2006/relationships" xmlns:p="http://schemas.openxmlformats.org/presentationml/2006/main" matchingName="1linepage">
  <p:cSld name="1linepage">
    <p:spTree>
      <p:nvGrpSpPr>
        <p:cNvPr id="1" name="Shape 94"/>
        <p:cNvGrpSpPr/>
        <p:nvPr/>
      </p:nvGrpSpPr>
      <p:grpSpPr>
        <a:xfrm>
          <a:off x="0" y="0"/>
          <a:ext cx="0" cy="0"/>
          <a:chOff x="0" y="0"/>
          <a:chExt cx="0" cy="0"/>
        </a:xfrm>
      </p:grpSpPr>
      <p:sp>
        <p:nvSpPr>
          <p:cNvPr id="97" name="Google Shape;97;p20"/>
          <p:cNvSpPr txBox="1">
            <a:spLocks noGrp="1"/>
          </p:cNvSpPr>
          <p:nvPr>
            <p:ph type="title"/>
          </p:nvPr>
        </p:nvSpPr>
        <p:spPr>
          <a:xfrm>
            <a:off x="166267" y="-67"/>
            <a:ext cx="11876400" cy="1105200"/>
          </a:xfrm>
          <a:prstGeom prst="rect">
            <a:avLst/>
          </a:prstGeom>
          <a:noFill/>
          <a:ln>
            <a:noFill/>
          </a:ln>
        </p:spPr>
        <p:txBody>
          <a:bodyPr spcFirstLastPara="1" wrap="square" lIns="91425" tIns="91425" rIns="91425" bIns="91425" anchor="ctr" anchorCtr="0"/>
          <a:lstStyle>
            <a:lvl1pPr marL="0" marR="0" lvl="0" indent="0" algn="ctr" rtl="0">
              <a:lnSpc>
                <a:spcPct val="85000"/>
              </a:lnSpc>
              <a:spcBef>
                <a:spcPts val="0"/>
              </a:spcBef>
              <a:spcAft>
                <a:spcPts val="0"/>
              </a:spcAft>
              <a:buClr>
                <a:srgbClr val="2C3C41"/>
              </a:buClr>
              <a:buSzPts val="1400"/>
              <a:buFont typeface="Helvetica Neue"/>
              <a:buNone/>
              <a:defRPr sz="1866" i="0" u="none" strike="noStrike" cap="none">
                <a:solidFill>
                  <a:srgbClr val="2C3C41"/>
                </a:solidFill>
                <a:latin typeface="Helvetica Neue"/>
                <a:ea typeface="Helvetica Neue"/>
                <a:cs typeface="Helvetica Neue"/>
                <a:sym typeface="Helvetica Neue"/>
              </a:defRPr>
            </a:lvl1pPr>
            <a:lvl2pPr marL="0" marR="0" lvl="1" indent="0" algn="ctr" rtl="0">
              <a:lnSpc>
                <a:spcPct val="100000"/>
              </a:lnSpc>
              <a:spcBef>
                <a:spcPts val="0"/>
              </a:spcBef>
              <a:spcAft>
                <a:spcPts val="0"/>
              </a:spcAft>
              <a:buClr>
                <a:srgbClr val="666666"/>
              </a:buClr>
              <a:buSzPts val="1400"/>
              <a:buNone/>
              <a:defRPr sz="1866" b="1" i="0" u="none" strike="noStrike" cap="none">
                <a:solidFill>
                  <a:srgbClr val="666666"/>
                </a:solidFill>
              </a:defRPr>
            </a:lvl2pPr>
            <a:lvl3pPr lvl="2" indent="0" algn="ctr" rtl="0">
              <a:spcBef>
                <a:spcPts val="0"/>
              </a:spcBef>
              <a:spcAft>
                <a:spcPts val="0"/>
              </a:spcAft>
              <a:buClr>
                <a:srgbClr val="666666"/>
              </a:buClr>
              <a:buSzPts val="1800"/>
              <a:buNone/>
              <a:defRPr sz="2399" b="1">
                <a:solidFill>
                  <a:srgbClr val="666666"/>
                </a:solidFill>
              </a:defRPr>
            </a:lvl3pPr>
            <a:lvl4pPr lvl="3" indent="0" algn="ctr" rtl="0">
              <a:spcBef>
                <a:spcPts val="0"/>
              </a:spcBef>
              <a:spcAft>
                <a:spcPts val="0"/>
              </a:spcAft>
              <a:buClr>
                <a:srgbClr val="666666"/>
              </a:buClr>
              <a:buSzPts val="1800"/>
              <a:buNone/>
              <a:defRPr sz="2399" b="1">
                <a:solidFill>
                  <a:srgbClr val="666666"/>
                </a:solidFill>
              </a:defRPr>
            </a:lvl4pPr>
            <a:lvl5pPr lvl="4" indent="0" algn="ctr" rtl="0">
              <a:spcBef>
                <a:spcPts val="0"/>
              </a:spcBef>
              <a:spcAft>
                <a:spcPts val="0"/>
              </a:spcAft>
              <a:buClr>
                <a:srgbClr val="666666"/>
              </a:buClr>
              <a:buSzPts val="1800"/>
              <a:buNone/>
              <a:defRPr sz="2399" b="1">
                <a:solidFill>
                  <a:srgbClr val="666666"/>
                </a:solidFill>
              </a:defRPr>
            </a:lvl5pPr>
            <a:lvl6pPr lvl="5" indent="0" algn="ctr" rtl="0">
              <a:spcBef>
                <a:spcPts val="0"/>
              </a:spcBef>
              <a:spcAft>
                <a:spcPts val="0"/>
              </a:spcAft>
              <a:buClr>
                <a:srgbClr val="666666"/>
              </a:buClr>
              <a:buSzPts val="1800"/>
              <a:buNone/>
              <a:defRPr sz="2399" b="1">
                <a:solidFill>
                  <a:srgbClr val="666666"/>
                </a:solidFill>
              </a:defRPr>
            </a:lvl6pPr>
            <a:lvl7pPr lvl="6" indent="0" algn="ctr" rtl="0">
              <a:spcBef>
                <a:spcPts val="0"/>
              </a:spcBef>
              <a:spcAft>
                <a:spcPts val="0"/>
              </a:spcAft>
              <a:buClr>
                <a:srgbClr val="666666"/>
              </a:buClr>
              <a:buSzPts val="1800"/>
              <a:buNone/>
              <a:defRPr sz="2399" b="1">
                <a:solidFill>
                  <a:srgbClr val="666666"/>
                </a:solidFill>
              </a:defRPr>
            </a:lvl7pPr>
            <a:lvl8pPr lvl="7" indent="0" algn="ctr" rtl="0">
              <a:spcBef>
                <a:spcPts val="0"/>
              </a:spcBef>
              <a:spcAft>
                <a:spcPts val="0"/>
              </a:spcAft>
              <a:buClr>
                <a:srgbClr val="666666"/>
              </a:buClr>
              <a:buSzPts val="1800"/>
              <a:buNone/>
              <a:defRPr sz="2399" b="1">
                <a:solidFill>
                  <a:srgbClr val="666666"/>
                </a:solidFill>
              </a:defRPr>
            </a:lvl8pPr>
            <a:lvl9pPr lvl="8" indent="0" algn="ctr" rtl="0">
              <a:spcBef>
                <a:spcPts val="0"/>
              </a:spcBef>
              <a:spcAft>
                <a:spcPts val="0"/>
              </a:spcAft>
              <a:buClr>
                <a:srgbClr val="666666"/>
              </a:buClr>
              <a:buSzPts val="1800"/>
              <a:buNone/>
              <a:defRPr sz="2399" b="1">
                <a:solidFill>
                  <a:srgbClr val="666666"/>
                </a:solidFill>
              </a:defRPr>
            </a:lvl9pPr>
          </a:lstStyle>
          <a:p>
            <a:endParaRPr/>
          </a:p>
        </p:txBody>
      </p:sp>
      <p:sp>
        <p:nvSpPr>
          <p:cNvPr id="8" name="Slide Number Placeholder 11"/>
          <p:cNvSpPr>
            <a:spLocks noGrp="1"/>
          </p:cNvSpPr>
          <p:nvPr>
            <p:ph type="sldNum" sz="quarter" idx="13"/>
          </p:nvPr>
        </p:nvSpPr>
        <p:spPr>
          <a:xfrm>
            <a:off x="11036804" y="6564880"/>
            <a:ext cx="1155196" cy="215950"/>
          </a:xfrm>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701092849"/>
      </p:ext>
    </p:extLst>
  </p:cSld>
  <p:clrMapOvr>
    <a:masterClrMapping/>
  </p:clrMapOvr>
  <p:extLst mod="1">
    <p:ext uri="{DCECCB84-F9BA-43D5-87BE-67443E8EF086}">
      <p15:sldGuideLst xmlns:p15="http://schemas.microsoft.com/office/powerpoint/2012/main">
        <p15:guide id="1" orient="horz" pos="585">
          <p15:clr>
            <a:srgbClr val="F9AD4C"/>
          </p15:clr>
        </p15:guide>
        <p15:guide id="2" pos="135">
          <p15:clr>
            <a:srgbClr val="F9AD4C"/>
          </p15:clr>
        </p15:guide>
        <p15:guide id="3" pos="5625">
          <p15:clr>
            <a:srgbClr val="F9AD4C"/>
          </p15:clr>
        </p15:guide>
      </p15:sldGuideLst>
    </p:ext>
  </p:extLst>
</p:sldLayout>
</file>

<file path=ppt/slideLayouts/slideLayout984.xml><?xml version="1.0" encoding="utf-8"?>
<p:sldLayout xmlns:a="http://schemas.openxmlformats.org/drawingml/2006/main" xmlns:r="http://schemas.openxmlformats.org/officeDocument/2006/relationships" xmlns:p="http://schemas.openxmlformats.org/presentationml/2006/main" userDrawn="1">
  <p:cSld name="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30801" y="432001"/>
            <a:ext cx="10730400" cy="307777"/>
          </a:xfrm>
        </p:spPr>
        <p:txBody>
          <a:bodyPr/>
          <a:lstStyle>
            <a:lvl1pPr>
              <a:defRPr sz="1999"/>
            </a:lvl1pPr>
          </a:lstStyle>
          <a:p>
            <a:r>
              <a:rPr lang="en-US" noProof="0" dirty="0" smtClean="0"/>
              <a:t>Headline</a:t>
            </a:r>
            <a:endParaRPr lang="en-US" noProof="0" dirty="0"/>
          </a:p>
        </p:txBody>
      </p:sp>
      <p:sp>
        <p:nvSpPr>
          <p:cNvPr id="3" name="Inhaltsplatzhalter 2"/>
          <p:cNvSpPr>
            <a:spLocks noGrp="1"/>
          </p:cNvSpPr>
          <p:nvPr>
            <p:ph idx="1" hasCustomPrompt="1"/>
          </p:nvPr>
        </p:nvSpPr>
        <p:spPr>
          <a:xfrm>
            <a:off x="730801" y="1584000"/>
            <a:ext cx="10730400" cy="1709314"/>
          </a:xfrm>
        </p:spPr>
        <p:txBody>
          <a:bodyPr numCol="1" spcCol="360000"/>
          <a:lstStyle>
            <a:lvl1pPr>
              <a:defRPr/>
            </a:lvl1pPr>
            <a:lvl2pPr>
              <a:defRPr/>
            </a:lvl2pPr>
            <a:lvl3pPr>
              <a:defRPr/>
            </a:lvl3pPr>
            <a:lvl4pPr>
              <a:defRPr/>
            </a:lvl4pPr>
            <a:lvl5pPr>
              <a:defRPr/>
            </a:lvl5pPr>
          </a:lstStyle>
          <a:p>
            <a:pPr lvl="0"/>
            <a:r>
              <a:rPr lang="en-US" noProof="0" dirty="0" smtClean="0"/>
              <a:t>Headline Copy</a:t>
            </a:r>
          </a:p>
          <a:p>
            <a:pPr lvl="1"/>
            <a:r>
              <a:rPr lang="en-US" noProof="0" dirty="0" smtClean="0"/>
              <a:t>Copy</a:t>
            </a:r>
          </a:p>
          <a:p>
            <a:pPr lvl="2"/>
            <a:r>
              <a:rPr lang="en-US" noProof="0" dirty="0" smtClean="0"/>
              <a:t>First Bullet</a:t>
            </a:r>
          </a:p>
          <a:p>
            <a:pPr lvl="3"/>
            <a:r>
              <a:rPr lang="en-US" noProof="0" dirty="0" smtClean="0"/>
              <a:t>Second Bullet</a:t>
            </a:r>
          </a:p>
          <a:p>
            <a:pPr lvl="4"/>
            <a:r>
              <a:rPr lang="en-US" noProof="0" dirty="0" smtClean="0"/>
              <a:t>Third Bullet</a:t>
            </a:r>
            <a:endParaRPr lang="en-US" noProof="0" dirty="0"/>
          </a:p>
        </p:txBody>
      </p:sp>
      <p:sp>
        <p:nvSpPr>
          <p:cNvPr id="17" name="Foliennummernplatzhalter 16"/>
          <p:cNvSpPr>
            <a:spLocks noGrp="1"/>
          </p:cNvSpPr>
          <p:nvPr>
            <p:ph type="sldNum" sz="quarter" idx="11"/>
          </p:nvPr>
        </p:nvSpPr>
        <p:spPr/>
        <p:txBody>
          <a:bodyPr/>
          <a:lstStyle>
            <a:lvl1pPr>
              <a:defRPr>
                <a:solidFill>
                  <a:schemeClr val="bg1"/>
                </a:solidFill>
              </a:defRPr>
            </a:lvl1pPr>
          </a:lstStyle>
          <a:p>
            <a:r>
              <a:rPr lang="en-US" dirty="0" smtClean="0">
                <a:solidFill>
                  <a:prstClr val="white"/>
                </a:solidFill>
              </a:rPr>
              <a:t>Page </a:t>
            </a:r>
            <a:fld id="{E12A6A0E-A234-428A-AE51-30303345D38B}" type="slidenum">
              <a:rPr lang="en-US" smtClean="0">
                <a:solidFill>
                  <a:prstClr val="white"/>
                </a:solidFill>
              </a:rPr>
              <a:pPr/>
              <a:t>‹#›</a:t>
            </a:fld>
            <a:endParaRPr lang="en-US" dirty="0">
              <a:solidFill>
                <a:prstClr val="white"/>
              </a:solidFill>
            </a:endParaRPr>
          </a:p>
        </p:txBody>
      </p:sp>
      <p:sp>
        <p:nvSpPr>
          <p:cNvPr id="18" name="Fußzeilenplatzhalter 17"/>
          <p:cNvSpPr>
            <a:spLocks noGrp="1"/>
          </p:cNvSpPr>
          <p:nvPr>
            <p:ph type="ftr" sz="quarter" idx="12"/>
          </p:nvPr>
        </p:nvSpPr>
        <p:spPr/>
        <p:txBody>
          <a:bodyPr/>
          <a:lstStyle>
            <a:lvl1pPr>
              <a:defRPr>
                <a:solidFill>
                  <a:schemeClr val="bg1"/>
                </a:solidFill>
              </a:defRPr>
            </a:lvl1pPr>
          </a:lstStyle>
          <a:p>
            <a:r>
              <a:rPr lang="en-US" smtClean="0">
                <a:solidFill>
                  <a:prstClr val="white"/>
                </a:solidFill>
              </a:rPr>
              <a:t>Presentation title (change via: Insert &gt; Header &amp; Footer &gt; Apply to all)</a:t>
            </a:r>
            <a:endParaRPr lang="en-US" dirty="0">
              <a:solidFill>
                <a:prstClr val="white"/>
              </a:solidFill>
            </a:endParaRPr>
          </a:p>
        </p:txBody>
      </p:sp>
      <p:cxnSp>
        <p:nvCxnSpPr>
          <p:cNvPr id="20" name="Gerader Verbinder 19"/>
          <p:cNvCxnSpPr/>
          <p:nvPr userDrawn="1"/>
        </p:nvCxnSpPr>
        <p:spPr>
          <a:xfrm flipV="1">
            <a:off x="1273640" y="6609601"/>
            <a:ext cx="0" cy="1384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Grafik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6604" y="6442856"/>
            <a:ext cx="488397" cy="326291"/>
          </a:xfrm>
          <a:prstGeom prst="rect">
            <a:avLst/>
          </a:prstGeom>
        </p:spPr>
      </p:pic>
      <p:sp>
        <p:nvSpPr>
          <p:cNvPr id="25" name="Textplatzhalter 24"/>
          <p:cNvSpPr>
            <a:spLocks noGrp="1"/>
          </p:cNvSpPr>
          <p:nvPr>
            <p:ph type="body" sz="quarter" idx="13" hasCustomPrompt="1"/>
          </p:nvPr>
        </p:nvSpPr>
        <p:spPr>
          <a:xfrm>
            <a:off x="730250" y="756001"/>
            <a:ext cx="10725150" cy="307777"/>
          </a:xfrm>
        </p:spPr>
        <p:txBody>
          <a:bodyPr/>
          <a:lstStyle>
            <a:lvl1pPr>
              <a:spcAft>
                <a:spcPts val="0"/>
              </a:spcAft>
              <a:defRPr sz="1999" b="0" cap="all" baseline="0"/>
            </a:lvl1pPr>
          </a:lstStyle>
          <a:p>
            <a:pPr lvl="0"/>
            <a:r>
              <a:rPr lang="de-DE" dirty="0" smtClean="0"/>
              <a:t>Subheadline</a:t>
            </a:r>
          </a:p>
        </p:txBody>
      </p:sp>
    </p:spTree>
    <p:extLst>
      <p:ext uri="{BB962C8B-B14F-4D97-AF65-F5344CB8AC3E}">
        <p14:creationId xmlns:p14="http://schemas.microsoft.com/office/powerpoint/2010/main" val="3530765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85.xml><?xml version="1.0" encoding="utf-8"?>
<p:sldLayout xmlns:a="http://schemas.openxmlformats.org/drawingml/2006/main" xmlns:r="http://schemas.openxmlformats.org/officeDocument/2006/relationships" xmlns:p="http://schemas.openxmlformats.org/presentationml/2006/main" showMasterSp="0" userDrawn="1">
  <p:cSld name="55_Text/ image/ Headline 1 line">
    <p:bg>
      <p:bgPr>
        <a:blipFill dpi="0" rotWithShape="1">
          <a:blip r:embed="rId4"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200809"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88" y="285982"/>
            <a:ext cx="10931106" cy="683842"/>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Confidential | January 2018 | </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7"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cs typeface="Daimler CS"/>
              </a:rPr>
              <a:t>Daimler Mobility Services GmbH</a:t>
            </a:r>
            <a:endParaRPr lang="de-DE" sz="1199" dirty="0">
              <a:solidFill>
                <a:prstClr val="black"/>
              </a:solidFill>
              <a:cs typeface="Daimler CS"/>
            </a:endParaRPr>
          </a:p>
        </p:txBody>
      </p:sp>
      <p:cxnSp>
        <p:nvCxnSpPr>
          <p:cNvPr id="16"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9" name="Rechteck 8"/>
          <p:cNvSpPr/>
          <p:nvPr userDrawn="1"/>
        </p:nvSpPr>
        <p:spPr>
          <a:xfrm>
            <a:off x="623979" y="1053286"/>
            <a:ext cx="5040198" cy="1547642"/>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15"/>
            <a:endParaRPr lang="en-US" sz="800" dirty="0">
              <a:solidFill>
                <a:prstClr val="black"/>
              </a:solidFill>
            </a:endParaRPr>
          </a:p>
        </p:txBody>
      </p:sp>
      <p:sp>
        <p:nvSpPr>
          <p:cNvPr id="10" name="Rechteck 9"/>
          <p:cNvSpPr/>
          <p:nvPr userDrawn="1"/>
        </p:nvSpPr>
        <p:spPr>
          <a:xfrm>
            <a:off x="623979" y="2924012"/>
            <a:ext cx="5040974" cy="1547642"/>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15"/>
            <a:endParaRPr lang="en-US" sz="800" dirty="0">
              <a:solidFill>
                <a:prstClr val="black"/>
              </a:solidFill>
            </a:endParaRPr>
          </a:p>
        </p:txBody>
      </p:sp>
      <p:sp>
        <p:nvSpPr>
          <p:cNvPr id="11" name="Rechteck 10"/>
          <p:cNvSpPr/>
          <p:nvPr userDrawn="1"/>
        </p:nvSpPr>
        <p:spPr>
          <a:xfrm>
            <a:off x="5757597" y="2932699"/>
            <a:ext cx="3180743" cy="1544382"/>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15"/>
            <a:endParaRPr lang="en-US" sz="800" dirty="0">
              <a:solidFill>
                <a:prstClr val="black"/>
              </a:solidFill>
            </a:endParaRPr>
          </a:p>
        </p:txBody>
      </p:sp>
      <p:sp>
        <p:nvSpPr>
          <p:cNvPr id="12" name="Rechteck 11"/>
          <p:cNvSpPr/>
          <p:nvPr userDrawn="1"/>
        </p:nvSpPr>
        <p:spPr>
          <a:xfrm>
            <a:off x="623979" y="4756581"/>
            <a:ext cx="5040974" cy="1547642"/>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15"/>
            <a:endParaRPr lang="en-US" sz="800" dirty="0">
              <a:solidFill>
                <a:prstClr val="black"/>
              </a:solidFill>
            </a:endParaRPr>
          </a:p>
        </p:txBody>
      </p:sp>
      <p:sp>
        <p:nvSpPr>
          <p:cNvPr id="13" name="Rechteck 12"/>
          <p:cNvSpPr/>
          <p:nvPr userDrawn="1"/>
        </p:nvSpPr>
        <p:spPr>
          <a:xfrm>
            <a:off x="5755188" y="4745784"/>
            <a:ext cx="3180743" cy="1558440"/>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15"/>
            <a:endParaRPr lang="en-US" sz="800" dirty="0">
              <a:solidFill>
                <a:prstClr val="black"/>
              </a:solidFill>
            </a:endParaRPr>
          </a:p>
        </p:txBody>
      </p:sp>
      <p:sp>
        <p:nvSpPr>
          <p:cNvPr id="14" name="Rechteck 13"/>
          <p:cNvSpPr/>
          <p:nvPr userDrawn="1"/>
        </p:nvSpPr>
        <p:spPr>
          <a:xfrm>
            <a:off x="5759626" y="1053286"/>
            <a:ext cx="3179693" cy="1545532"/>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15"/>
            <a:endParaRPr lang="en-US" sz="800" dirty="0">
              <a:solidFill>
                <a:prstClr val="black"/>
              </a:solidFill>
            </a:endParaRPr>
          </a:p>
        </p:txBody>
      </p:sp>
      <p:sp>
        <p:nvSpPr>
          <p:cNvPr id="15" name="Rechteck 14"/>
          <p:cNvSpPr/>
          <p:nvPr userDrawn="1"/>
        </p:nvSpPr>
        <p:spPr>
          <a:xfrm>
            <a:off x="9011140" y="1053286"/>
            <a:ext cx="2589451" cy="5250938"/>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1088415">
              <a:lnSpc>
                <a:spcPts val="1899"/>
              </a:lnSpc>
            </a:pPr>
            <a:endParaRPr lang="en-US" sz="1399" dirty="0" smtClean="0">
              <a:solidFill>
                <a:prstClr val="black"/>
              </a:solidFill>
            </a:endParaRPr>
          </a:p>
        </p:txBody>
      </p:sp>
      <p:cxnSp>
        <p:nvCxnSpPr>
          <p:cNvPr id="18" name="Gerader Verbinder 17"/>
          <p:cNvCxnSpPr/>
          <p:nvPr userDrawn="1"/>
        </p:nvCxnSpPr>
        <p:spPr bwMode="auto">
          <a:xfrm>
            <a:off x="3173" y="760145"/>
            <a:ext cx="11490615" cy="3651"/>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cxnSp>
        <p:nvCxnSpPr>
          <p:cNvPr id="19" name="Gerader Verbinder 18"/>
          <p:cNvCxnSpPr/>
          <p:nvPr userDrawn="1"/>
        </p:nvCxnSpPr>
        <p:spPr bwMode="auto">
          <a:xfrm flipH="1" flipV="1">
            <a:off x="11614404" y="45408"/>
            <a:ext cx="40165" cy="476463"/>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50800" dist="38100" dir="2700000" algn="tl" rotWithShape="0">
              <a:prstClr val="black">
                <a:alpha val="40000"/>
              </a:prstClr>
            </a:outerShdw>
          </a:effectLst>
          <a:extLst/>
        </p:spPr>
      </p:cxnSp>
      <p:cxnSp>
        <p:nvCxnSpPr>
          <p:cNvPr id="20" name="Gerader Verbinder 19"/>
          <p:cNvCxnSpPr/>
          <p:nvPr userDrawn="1"/>
        </p:nvCxnSpPr>
        <p:spPr bwMode="auto">
          <a:xfrm flipV="1">
            <a:off x="11654568" y="125986"/>
            <a:ext cx="61924" cy="395883"/>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cxnSp>
        <p:nvCxnSpPr>
          <p:cNvPr id="21" name="Gerader Verbinder 20"/>
          <p:cNvCxnSpPr/>
          <p:nvPr userDrawn="1"/>
        </p:nvCxnSpPr>
        <p:spPr bwMode="auto">
          <a:xfrm>
            <a:off x="11716492" y="125986"/>
            <a:ext cx="25153" cy="166277"/>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cxnSp>
        <p:nvCxnSpPr>
          <p:cNvPr id="22" name="Gerader Verbinder 21"/>
          <p:cNvCxnSpPr/>
          <p:nvPr userDrawn="1"/>
        </p:nvCxnSpPr>
        <p:spPr bwMode="auto">
          <a:xfrm flipV="1">
            <a:off x="11517562" y="45408"/>
            <a:ext cx="96843" cy="822788"/>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cxnSp>
        <p:nvCxnSpPr>
          <p:cNvPr id="23" name="Gerader Verbinder 22"/>
          <p:cNvCxnSpPr/>
          <p:nvPr userDrawn="1"/>
        </p:nvCxnSpPr>
        <p:spPr bwMode="auto">
          <a:xfrm>
            <a:off x="11741645" y="292263"/>
            <a:ext cx="443638" cy="0"/>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cxnSp>
        <p:nvCxnSpPr>
          <p:cNvPr id="24" name="Gerader Verbinder 23"/>
          <p:cNvCxnSpPr/>
          <p:nvPr userDrawn="1"/>
        </p:nvCxnSpPr>
        <p:spPr bwMode="auto">
          <a:xfrm>
            <a:off x="11489332" y="754068"/>
            <a:ext cx="28230" cy="114002"/>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sp>
        <p:nvSpPr>
          <p:cNvPr id="27" name="Bildplatzhalter 26"/>
          <p:cNvSpPr>
            <a:spLocks noGrp="1"/>
          </p:cNvSpPr>
          <p:nvPr>
            <p:ph type="pic" sz="quarter" idx="12"/>
          </p:nvPr>
        </p:nvSpPr>
        <p:spPr>
          <a:xfrm>
            <a:off x="10954070" y="178539"/>
            <a:ext cx="539719" cy="539875"/>
          </a:xfrm>
          <a:prstGeom prst="roundRect">
            <a:avLst/>
          </a:prstGeom>
          <a:solidFill>
            <a:schemeClr val="accent4"/>
          </a:solidFill>
        </p:spPr>
        <p:txBody>
          <a:bodyPr/>
          <a:lstStyle>
            <a:lvl1pPr marL="0" indent="0">
              <a:buNone/>
              <a:defRPr/>
            </a:lvl1pPr>
          </a:lstStyle>
          <a:p>
            <a:endParaRPr lang="en-US" dirty="0"/>
          </a:p>
        </p:txBody>
      </p:sp>
    </p:spTree>
    <p:extLst>
      <p:ext uri="{BB962C8B-B14F-4D97-AF65-F5344CB8AC3E}">
        <p14:creationId xmlns:p14="http://schemas.microsoft.com/office/powerpoint/2010/main" val="335273712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986.xml><?xml version="1.0" encoding="utf-8"?>
<p:sldLayout xmlns:a="http://schemas.openxmlformats.org/drawingml/2006/main" xmlns:r="http://schemas.openxmlformats.org/officeDocument/2006/relationships" xmlns:p="http://schemas.openxmlformats.org/presentationml/2006/main" showMasterSp="0" userDrawn="1">
  <p:cSld name="56_Text/ image/ Headline 1 line">
    <p:bg>
      <p:bgPr>
        <a:blipFill dpi="0" rotWithShape="1">
          <a:blip r:embed="rId4"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201833"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8" y="1588"/>
                        <a:ext cx="1586" cy="1587"/>
                      </a:xfrm>
                      <a:prstGeom prst="rect">
                        <a:avLst/>
                      </a:prstGeom>
                    </p:spPr>
                  </p:pic>
                </p:oleObj>
              </mc:Fallback>
            </mc:AlternateContent>
          </a:graphicData>
        </a:graphic>
      </p:graphicFrame>
      <p:sp>
        <p:nvSpPr>
          <p:cNvPr id="2" name="Title 1"/>
          <p:cNvSpPr>
            <a:spLocks noGrp="1"/>
          </p:cNvSpPr>
          <p:nvPr>
            <p:ph type="title" hasCustomPrompt="1"/>
          </p:nvPr>
        </p:nvSpPr>
        <p:spPr>
          <a:xfrm>
            <a:off x="629688" y="285982"/>
            <a:ext cx="10931106" cy="683842"/>
          </a:xfrm>
        </p:spPr>
        <p:txBody>
          <a:bodyPr/>
          <a:lstStyle/>
          <a:p>
            <a:r>
              <a:rPr lang="en-GB" noProof="0" dirty="0" smtClean="0"/>
              <a:t>Headline in CorpoS (Body) 35 pt.</a:t>
            </a:r>
            <a:endParaRPr lang="en-GB" dirty="0"/>
          </a:p>
        </p:txBody>
      </p:sp>
      <p:sp>
        <p:nvSpPr>
          <p:cNvPr id="3" name="Footer Placeholder 2"/>
          <p:cNvSpPr>
            <a:spLocks noGrp="1"/>
          </p:cNvSpPr>
          <p:nvPr>
            <p:ph type="ftr" sz="quarter" idx="10"/>
          </p:nvPr>
        </p:nvSpPr>
        <p:spPr/>
        <p:txBody>
          <a:bodyPr/>
          <a:lstStyle/>
          <a:p>
            <a:r>
              <a:rPr lang="en-US" smtClean="0">
                <a:solidFill>
                  <a:prstClr val="black"/>
                </a:solidFill>
              </a:rPr>
              <a:t>Confidential | January 2018 | </a:t>
            </a:r>
            <a:endParaRPr lang="en-GB" dirty="0" smtClean="0">
              <a:solidFill>
                <a:prstClr val="black"/>
              </a:solidFill>
            </a:endParaRPr>
          </a:p>
        </p:txBody>
      </p:sp>
      <p:sp>
        <p:nvSpPr>
          <p:cNvPr id="4" name="Slide Number Placeholder 3"/>
          <p:cNvSpPr>
            <a:spLocks noGrp="1"/>
          </p:cNvSpPr>
          <p:nvPr>
            <p:ph type="sldNum" sz="quarter" idx="11"/>
          </p:nvPr>
        </p:nvSpPr>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7" name="Daimler AG (Wortmarke)"/>
          <p:cNvSpPr>
            <a:spLocks noChangeArrowheads="1"/>
          </p:cNvSpPr>
          <p:nvPr userDrawn="1"/>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cs typeface="Daimler CS"/>
              </a:rPr>
              <a:t>Daimler Mobility Services GmbH</a:t>
            </a:r>
            <a:endParaRPr lang="de-DE" sz="1199" dirty="0">
              <a:solidFill>
                <a:prstClr val="black"/>
              </a:solidFill>
              <a:cs typeface="Daimler CS"/>
            </a:endParaRPr>
          </a:p>
        </p:txBody>
      </p:sp>
      <p:cxnSp>
        <p:nvCxnSpPr>
          <p:cNvPr id="16"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9" name="Rechteck 8"/>
          <p:cNvSpPr/>
          <p:nvPr userDrawn="1"/>
        </p:nvSpPr>
        <p:spPr>
          <a:xfrm>
            <a:off x="623979" y="985724"/>
            <a:ext cx="5040198" cy="1547642"/>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15"/>
            <a:endParaRPr lang="en-US" sz="800" dirty="0">
              <a:solidFill>
                <a:prstClr val="black"/>
              </a:solidFill>
            </a:endParaRPr>
          </a:p>
        </p:txBody>
      </p:sp>
      <p:sp>
        <p:nvSpPr>
          <p:cNvPr id="10" name="Rechteck 9"/>
          <p:cNvSpPr/>
          <p:nvPr userDrawn="1"/>
        </p:nvSpPr>
        <p:spPr>
          <a:xfrm>
            <a:off x="623979" y="2856449"/>
            <a:ext cx="5040974" cy="1547642"/>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15"/>
            <a:endParaRPr lang="en-US" sz="800" dirty="0">
              <a:solidFill>
                <a:prstClr val="black"/>
              </a:solidFill>
            </a:endParaRPr>
          </a:p>
        </p:txBody>
      </p:sp>
      <p:sp>
        <p:nvSpPr>
          <p:cNvPr id="11" name="Rechteck 10"/>
          <p:cNvSpPr/>
          <p:nvPr userDrawn="1"/>
        </p:nvSpPr>
        <p:spPr>
          <a:xfrm>
            <a:off x="5757597" y="2865137"/>
            <a:ext cx="3180743" cy="1544382"/>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15"/>
            <a:endParaRPr lang="en-US" sz="800" dirty="0">
              <a:solidFill>
                <a:prstClr val="black"/>
              </a:solidFill>
            </a:endParaRPr>
          </a:p>
        </p:txBody>
      </p:sp>
      <p:sp>
        <p:nvSpPr>
          <p:cNvPr id="12" name="Rechteck 11"/>
          <p:cNvSpPr/>
          <p:nvPr userDrawn="1"/>
        </p:nvSpPr>
        <p:spPr>
          <a:xfrm>
            <a:off x="623979" y="4689019"/>
            <a:ext cx="5040974" cy="1547642"/>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15"/>
            <a:endParaRPr lang="en-US" sz="800" dirty="0">
              <a:solidFill>
                <a:prstClr val="black"/>
              </a:solidFill>
            </a:endParaRPr>
          </a:p>
        </p:txBody>
      </p:sp>
      <p:sp>
        <p:nvSpPr>
          <p:cNvPr id="13" name="Rechteck 12"/>
          <p:cNvSpPr/>
          <p:nvPr userDrawn="1"/>
        </p:nvSpPr>
        <p:spPr>
          <a:xfrm>
            <a:off x="5755188" y="4678221"/>
            <a:ext cx="3180743" cy="1558440"/>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15"/>
            <a:endParaRPr lang="en-US" sz="800" dirty="0">
              <a:solidFill>
                <a:prstClr val="black"/>
              </a:solidFill>
            </a:endParaRPr>
          </a:p>
        </p:txBody>
      </p:sp>
      <p:sp>
        <p:nvSpPr>
          <p:cNvPr id="14" name="Rechteck 13"/>
          <p:cNvSpPr/>
          <p:nvPr userDrawn="1"/>
        </p:nvSpPr>
        <p:spPr>
          <a:xfrm>
            <a:off x="5759626" y="985724"/>
            <a:ext cx="3179693" cy="1545532"/>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8415"/>
            <a:endParaRPr lang="en-US" sz="800" dirty="0">
              <a:solidFill>
                <a:prstClr val="black"/>
              </a:solidFill>
            </a:endParaRPr>
          </a:p>
        </p:txBody>
      </p:sp>
      <p:sp>
        <p:nvSpPr>
          <p:cNvPr id="15" name="Rechteck 14"/>
          <p:cNvSpPr/>
          <p:nvPr userDrawn="1"/>
        </p:nvSpPr>
        <p:spPr>
          <a:xfrm>
            <a:off x="9011140" y="985724"/>
            <a:ext cx="2589451" cy="5250938"/>
          </a:xfrm>
          <a:prstGeom prst="rect">
            <a:avLst/>
          </a:prstGeom>
          <a:solidFill>
            <a:schemeClr val="bg1">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1088415">
              <a:lnSpc>
                <a:spcPts val="1899"/>
              </a:lnSpc>
            </a:pPr>
            <a:endParaRPr lang="en-US" sz="1399" dirty="0" smtClean="0">
              <a:solidFill>
                <a:prstClr val="black"/>
              </a:solidFill>
            </a:endParaRPr>
          </a:p>
        </p:txBody>
      </p:sp>
      <p:cxnSp>
        <p:nvCxnSpPr>
          <p:cNvPr id="18" name="Gerader Verbinder 17"/>
          <p:cNvCxnSpPr/>
          <p:nvPr userDrawn="1"/>
        </p:nvCxnSpPr>
        <p:spPr bwMode="auto">
          <a:xfrm>
            <a:off x="3173" y="760145"/>
            <a:ext cx="11490615" cy="3651"/>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cxnSp>
        <p:nvCxnSpPr>
          <p:cNvPr id="19" name="Gerader Verbinder 18"/>
          <p:cNvCxnSpPr/>
          <p:nvPr userDrawn="1"/>
        </p:nvCxnSpPr>
        <p:spPr bwMode="auto">
          <a:xfrm flipH="1" flipV="1">
            <a:off x="11614404" y="45408"/>
            <a:ext cx="40165" cy="476463"/>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50800" dist="38100" dir="2700000" algn="tl" rotWithShape="0">
              <a:prstClr val="black">
                <a:alpha val="40000"/>
              </a:prstClr>
            </a:outerShdw>
          </a:effectLst>
          <a:extLst/>
        </p:spPr>
      </p:cxnSp>
      <p:cxnSp>
        <p:nvCxnSpPr>
          <p:cNvPr id="20" name="Gerader Verbinder 19"/>
          <p:cNvCxnSpPr/>
          <p:nvPr userDrawn="1"/>
        </p:nvCxnSpPr>
        <p:spPr bwMode="auto">
          <a:xfrm flipV="1">
            <a:off x="11654568" y="125986"/>
            <a:ext cx="61924" cy="395883"/>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cxnSp>
        <p:nvCxnSpPr>
          <p:cNvPr id="21" name="Gerader Verbinder 20"/>
          <p:cNvCxnSpPr/>
          <p:nvPr userDrawn="1"/>
        </p:nvCxnSpPr>
        <p:spPr bwMode="auto">
          <a:xfrm>
            <a:off x="11716492" y="125986"/>
            <a:ext cx="25153" cy="166277"/>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cxnSp>
        <p:nvCxnSpPr>
          <p:cNvPr id="22" name="Gerader Verbinder 21"/>
          <p:cNvCxnSpPr/>
          <p:nvPr userDrawn="1"/>
        </p:nvCxnSpPr>
        <p:spPr bwMode="auto">
          <a:xfrm flipV="1">
            <a:off x="11517562" y="45408"/>
            <a:ext cx="96843" cy="822788"/>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cxnSp>
        <p:nvCxnSpPr>
          <p:cNvPr id="23" name="Gerader Verbinder 22"/>
          <p:cNvCxnSpPr/>
          <p:nvPr userDrawn="1"/>
        </p:nvCxnSpPr>
        <p:spPr bwMode="auto">
          <a:xfrm>
            <a:off x="11741645" y="292263"/>
            <a:ext cx="443638" cy="0"/>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cxnSp>
        <p:nvCxnSpPr>
          <p:cNvPr id="24" name="Gerader Verbinder 23"/>
          <p:cNvCxnSpPr/>
          <p:nvPr userDrawn="1"/>
        </p:nvCxnSpPr>
        <p:spPr bwMode="auto">
          <a:xfrm>
            <a:off x="11489332" y="902480"/>
            <a:ext cx="28230" cy="114002"/>
          </a:xfrm>
          <a:prstGeom prst="line">
            <a:avLst/>
          </a:prstGeom>
          <a:solidFill>
            <a:schemeClr val="bg1"/>
          </a:solidFill>
          <a:ln w="19050" cap="flat" cmpd="sng" algn="ctr">
            <a:solidFill>
              <a:schemeClr val="tx1"/>
            </a:solidFill>
            <a:prstDash val="solid"/>
            <a:miter lim="800000"/>
            <a:headEnd type="none" w="med" len="med"/>
            <a:tailEnd type="none" w="med" len="med"/>
          </a:ln>
          <a:effectLst>
            <a:outerShdw blurRad="63500" dist="38099" dir="2700000" algn="ctr" rotWithShape="0">
              <a:schemeClr val="bg2">
                <a:alpha val="74998"/>
              </a:schemeClr>
            </a:outerShdw>
          </a:effectLst>
          <a:extLst/>
        </p:spPr>
      </p:cxnSp>
      <p:sp>
        <p:nvSpPr>
          <p:cNvPr id="27" name="Bildplatzhalter 26"/>
          <p:cNvSpPr>
            <a:spLocks noGrp="1"/>
          </p:cNvSpPr>
          <p:nvPr>
            <p:ph type="pic" sz="quarter" idx="12"/>
          </p:nvPr>
        </p:nvSpPr>
        <p:spPr>
          <a:xfrm>
            <a:off x="10954070" y="178539"/>
            <a:ext cx="539719" cy="539875"/>
          </a:xfrm>
          <a:prstGeom prst="roundRect">
            <a:avLst/>
          </a:prstGeom>
          <a:solidFill>
            <a:schemeClr val="accent4"/>
          </a:solidFill>
        </p:spPr>
        <p:txBody>
          <a:bodyPr/>
          <a:lstStyle>
            <a:lvl1pPr marL="0" indent="0">
              <a:buNone/>
              <a:defRPr/>
            </a:lvl1pPr>
          </a:lstStyle>
          <a:p>
            <a:endParaRPr lang="en-US" dirty="0"/>
          </a:p>
        </p:txBody>
      </p:sp>
    </p:spTree>
    <p:extLst>
      <p:ext uri="{BB962C8B-B14F-4D97-AF65-F5344CB8AC3E}">
        <p14:creationId xmlns:p14="http://schemas.microsoft.com/office/powerpoint/2010/main" val="270775261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82">
          <p15:clr>
            <a:srgbClr val="FBAE40"/>
          </p15:clr>
        </p15:guide>
        <p15:guide id="2" orient="horz" pos="777">
          <p15:clr>
            <a:srgbClr val="FBAE40"/>
          </p15:clr>
        </p15:guide>
        <p15:guide id="3" orient="horz" pos="4020">
          <p15:clr>
            <a:srgbClr val="FBAE40"/>
          </p15:clr>
        </p15:guide>
      </p15:sldGuideLst>
    </p:ext>
  </p:extLst>
</p:sldLayout>
</file>

<file path=ppt/slideLayouts/slideLayout987.xml><?xml version="1.0" encoding="utf-8"?>
<p:sldLayout xmlns:a="http://schemas.openxmlformats.org/drawingml/2006/main" xmlns:r="http://schemas.openxmlformats.org/officeDocument/2006/relationships" xmlns:p="http://schemas.openxmlformats.org/presentationml/2006/main" matchingName="2_For Finance, white">
  <p:cSld name="2_For Finance, white">
    <p:bg>
      <p:bgPr>
        <a:solidFill>
          <a:schemeClr val="bg1"/>
        </a:solidFill>
        <a:effectLst/>
      </p:bgPr>
    </p:bg>
    <p:spTree>
      <p:nvGrpSpPr>
        <p:cNvPr id="1" name="Shape 16"/>
        <p:cNvGrpSpPr/>
        <p:nvPr/>
      </p:nvGrpSpPr>
      <p:grpSpPr>
        <a:xfrm>
          <a:off x="0" y="0"/>
          <a:ext cx="0" cy="0"/>
          <a:chOff x="0" y="0"/>
          <a:chExt cx="0" cy="0"/>
        </a:xfrm>
      </p:grpSpPr>
      <p:pic>
        <p:nvPicPr>
          <p:cNvPr id="17" name="Shape 17"/>
          <p:cNvPicPr preferRelativeResize="0"/>
          <p:nvPr/>
        </p:nvPicPr>
        <p:blipFill/>
        <p:spPr>
          <a:xfrm>
            <a:off x="1588" y="1590"/>
            <a:ext cx="1587" cy="1587"/>
          </a:xfrm>
          <a:prstGeom prst="rect">
            <a:avLst/>
          </a:prstGeom>
          <a:solidFill>
            <a:srgbClr val="FFFFFF"/>
          </a:solidFill>
          <a:ln>
            <a:noFill/>
          </a:ln>
        </p:spPr>
      </p:pic>
      <p:graphicFrame>
        <p:nvGraphicFramePr>
          <p:cNvPr id="2" name="Object 1" hidden="1"/>
          <p:cNvGraphicFramePr>
            <a:graphicFrameLocks noChangeAspect="1"/>
          </p:cNvGraphicFramePr>
          <p:nvPr userDrawn="1">
            <p:custDataLst>
              <p:tags r:id="rId2"/>
            </p:custDataLs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202857" name="think-cell Folie" r:id="rId4" imgW="631" imgH="631" progId="TCLayout.ActiveDocument.1">
                  <p:embed/>
                </p:oleObj>
              </mc:Choice>
              <mc:Fallback>
                <p:oleObj name="think-cell Folie" r:id="rId4" imgW="631" imgH="631" progId="TCLayout.ActiveDocument.1">
                  <p:embed/>
                  <p:pic>
                    <p:nvPicPr>
                      <p:cNvPr id="0" name=""/>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199"/>
            <a:endParaRPr lang="de-DE" sz="2099">
              <a:solidFill>
                <a:srgbClr val="FFFFFF"/>
              </a:solidFill>
            </a:endParaRPr>
          </a:p>
        </p:txBody>
      </p:sp>
      <p:sp>
        <p:nvSpPr>
          <p:cNvPr id="18" name="Shape 18"/>
          <p:cNvSpPr txBox="1">
            <a:spLocks noGrp="1"/>
          </p:cNvSpPr>
          <p:nvPr>
            <p:ph type="title"/>
          </p:nvPr>
        </p:nvSpPr>
        <p:spPr>
          <a:xfrm>
            <a:off x="420329" y="127948"/>
            <a:ext cx="11486326" cy="942097"/>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dk2"/>
              </a:buClr>
              <a:buSzPts val="3000"/>
              <a:buFont typeface="Arial"/>
              <a:buNone/>
              <a:defRPr sz="2999" b="0" i="0" u="none" strike="noStrike" cap="none">
                <a:solidFill>
                  <a:schemeClr val="dk2"/>
                </a:solidFill>
                <a:latin typeface="Arial"/>
                <a:ea typeface="Arial"/>
                <a:cs typeface="Arial"/>
                <a:sym typeface="Arial"/>
              </a:defRPr>
            </a:lvl1pPr>
            <a:lvl2pPr lvl="1">
              <a:spcBef>
                <a:spcPts val="0"/>
              </a:spcBef>
              <a:spcAft>
                <a:spcPts val="0"/>
              </a:spcAft>
              <a:buSzPts val="1400"/>
              <a:buNone/>
              <a:defRPr sz="1798"/>
            </a:lvl2pPr>
            <a:lvl3pPr lvl="2">
              <a:spcBef>
                <a:spcPts val="0"/>
              </a:spcBef>
              <a:spcAft>
                <a:spcPts val="0"/>
              </a:spcAft>
              <a:buSzPts val="1400"/>
              <a:buNone/>
              <a:defRPr sz="1798"/>
            </a:lvl3pPr>
            <a:lvl4pPr lvl="3">
              <a:spcBef>
                <a:spcPts val="0"/>
              </a:spcBef>
              <a:spcAft>
                <a:spcPts val="0"/>
              </a:spcAft>
              <a:buSzPts val="1400"/>
              <a:buNone/>
              <a:defRPr sz="1798"/>
            </a:lvl4pPr>
            <a:lvl5pPr lvl="4">
              <a:spcBef>
                <a:spcPts val="0"/>
              </a:spcBef>
              <a:spcAft>
                <a:spcPts val="0"/>
              </a:spcAft>
              <a:buSzPts val="1400"/>
              <a:buNone/>
              <a:defRPr sz="1798"/>
            </a:lvl5pPr>
            <a:lvl6pPr lvl="5">
              <a:spcBef>
                <a:spcPts val="0"/>
              </a:spcBef>
              <a:spcAft>
                <a:spcPts val="0"/>
              </a:spcAft>
              <a:buSzPts val="1400"/>
              <a:buNone/>
              <a:defRPr sz="1798"/>
            </a:lvl6pPr>
            <a:lvl7pPr lvl="6">
              <a:spcBef>
                <a:spcPts val="0"/>
              </a:spcBef>
              <a:spcAft>
                <a:spcPts val="0"/>
              </a:spcAft>
              <a:buSzPts val="1400"/>
              <a:buNone/>
              <a:defRPr sz="1798"/>
            </a:lvl7pPr>
            <a:lvl8pPr lvl="7">
              <a:spcBef>
                <a:spcPts val="0"/>
              </a:spcBef>
              <a:spcAft>
                <a:spcPts val="0"/>
              </a:spcAft>
              <a:buSzPts val="1400"/>
              <a:buNone/>
              <a:defRPr sz="1798"/>
            </a:lvl8pPr>
            <a:lvl9pPr lvl="8">
              <a:spcBef>
                <a:spcPts val="0"/>
              </a:spcBef>
              <a:spcAft>
                <a:spcPts val="0"/>
              </a:spcAft>
              <a:buSzPts val="1400"/>
              <a:buNone/>
              <a:defRPr sz="1798"/>
            </a:lvl9pPr>
          </a:lstStyle>
          <a:p>
            <a:endParaRPr dirty="0"/>
          </a:p>
        </p:txBody>
      </p:sp>
      <p:sp>
        <p:nvSpPr>
          <p:cNvPr id="19" name="Shape 19"/>
          <p:cNvSpPr txBox="1">
            <a:spLocks noGrp="1"/>
          </p:cNvSpPr>
          <p:nvPr>
            <p:ph type="sldNum" idx="12"/>
          </p:nvPr>
        </p:nvSpPr>
        <p:spPr>
          <a:xfrm>
            <a:off x="11048370" y="6543010"/>
            <a:ext cx="720000" cy="251927"/>
          </a:xfrm>
          <a:prstGeom prst="rect">
            <a:avLst/>
          </a:prstGeom>
          <a:noFill/>
          <a:ln>
            <a:noFill/>
          </a:ln>
        </p:spPr>
        <p:txBody>
          <a:bodyPr spcFirstLastPara="1" wrap="square" lIns="91425" tIns="0" rIns="0" bIns="45700" anchor="t" anchorCtr="0">
            <a:noAutofit/>
          </a:bodyPr>
          <a:lstStyle>
            <a:lvl1pPr marL="0" marR="0" lvl="0" indent="0" algn="r" rtl="0">
              <a:spcBef>
                <a:spcPts val="0"/>
              </a:spcBef>
              <a:buNone/>
              <a:defRPr sz="1198" b="0" i="0" u="none" strike="noStrike" cap="none">
                <a:solidFill>
                  <a:schemeClr val="dk2"/>
                </a:solidFill>
                <a:latin typeface="Arial"/>
                <a:ea typeface="Arial"/>
                <a:cs typeface="Arial"/>
                <a:sym typeface="Arial"/>
              </a:defRPr>
            </a:lvl1pPr>
            <a:lvl2pPr marL="0" marR="0" lvl="1" indent="0" algn="r" rtl="0">
              <a:spcBef>
                <a:spcPts val="0"/>
              </a:spcBef>
              <a:buNone/>
              <a:defRPr sz="1198" b="0" i="0" u="none" strike="noStrike" cap="none">
                <a:solidFill>
                  <a:schemeClr val="dk2"/>
                </a:solidFill>
                <a:latin typeface="Arial"/>
                <a:ea typeface="Arial"/>
                <a:cs typeface="Arial"/>
                <a:sym typeface="Arial"/>
              </a:defRPr>
            </a:lvl2pPr>
            <a:lvl3pPr marL="0" marR="0" lvl="2" indent="0" algn="r" rtl="0">
              <a:spcBef>
                <a:spcPts val="0"/>
              </a:spcBef>
              <a:buNone/>
              <a:defRPr sz="1198" b="0" i="0" u="none" strike="noStrike" cap="none">
                <a:solidFill>
                  <a:schemeClr val="dk2"/>
                </a:solidFill>
                <a:latin typeface="Arial"/>
                <a:ea typeface="Arial"/>
                <a:cs typeface="Arial"/>
                <a:sym typeface="Arial"/>
              </a:defRPr>
            </a:lvl3pPr>
            <a:lvl4pPr marL="0" marR="0" lvl="3" indent="0" algn="r" rtl="0">
              <a:spcBef>
                <a:spcPts val="0"/>
              </a:spcBef>
              <a:buNone/>
              <a:defRPr sz="1198" b="0" i="0" u="none" strike="noStrike" cap="none">
                <a:solidFill>
                  <a:schemeClr val="dk2"/>
                </a:solidFill>
                <a:latin typeface="Arial"/>
                <a:ea typeface="Arial"/>
                <a:cs typeface="Arial"/>
                <a:sym typeface="Arial"/>
              </a:defRPr>
            </a:lvl4pPr>
            <a:lvl5pPr marL="0" marR="0" lvl="4" indent="0" algn="r" rtl="0">
              <a:spcBef>
                <a:spcPts val="0"/>
              </a:spcBef>
              <a:buNone/>
              <a:defRPr sz="1198" b="0" i="0" u="none" strike="noStrike" cap="none">
                <a:solidFill>
                  <a:schemeClr val="dk2"/>
                </a:solidFill>
                <a:latin typeface="Arial"/>
                <a:ea typeface="Arial"/>
                <a:cs typeface="Arial"/>
                <a:sym typeface="Arial"/>
              </a:defRPr>
            </a:lvl5pPr>
            <a:lvl6pPr marL="0" marR="0" lvl="5" indent="0" algn="r" rtl="0">
              <a:spcBef>
                <a:spcPts val="0"/>
              </a:spcBef>
              <a:buNone/>
              <a:defRPr sz="1198" b="0" i="0" u="none" strike="noStrike" cap="none">
                <a:solidFill>
                  <a:schemeClr val="dk2"/>
                </a:solidFill>
                <a:latin typeface="Arial"/>
                <a:ea typeface="Arial"/>
                <a:cs typeface="Arial"/>
                <a:sym typeface="Arial"/>
              </a:defRPr>
            </a:lvl6pPr>
            <a:lvl7pPr marL="0" marR="0" lvl="6" indent="0" algn="r" rtl="0">
              <a:spcBef>
                <a:spcPts val="0"/>
              </a:spcBef>
              <a:buNone/>
              <a:defRPr sz="1198" b="0" i="0" u="none" strike="noStrike" cap="none">
                <a:solidFill>
                  <a:schemeClr val="dk2"/>
                </a:solidFill>
                <a:latin typeface="Arial"/>
                <a:ea typeface="Arial"/>
                <a:cs typeface="Arial"/>
                <a:sym typeface="Arial"/>
              </a:defRPr>
            </a:lvl7pPr>
            <a:lvl8pPr marL="0" marR="0" lvl="7" indent="0" algn="r" rtl="0">
              <a:spcBef>
                <a:spcPts val="0"/>
              </a:spcBef>
              <a:buNone/>
              <a:defRPr sz="1198" b="0" i="0" u="none" strike="noStrike" cap="none">
                <a:solidFill>
                  <a:schemeClr val="dk2"/>
                </a:solidFill>
                <a:latin typeface="Arial"/>
                <a:ea typeface="Arial"/>
                <a:cs typeface="Arial"/>
                <a:sym typeface="Arial"/>
              </a:defRPr>
            </a:lvl8pPr>
            <a:lvl9pPr marL="0" marR="0" lvl="8" indent="0" algn="r" rtl="0">
              <a:spcBef>
                <a:spcPts val="0"/>
              </a:spcBef>
              <a:buNone/>
              <a:defRPr sz="1198" b="0" i="0" u="none" strike="noStrike" cap="none">
                <a:solidFill>
                  <a:schemeClr val="dk2"/>
                </a:solidFill>
                <a:latin typeface="Arial"/>
                <a:ea typeface="Arial"/>
                <a:cs typeface="Arial"/>
                <a:sym typeface="Arial"/>
              </a:defRPr>
            </a:lvl9pPr>
          </a:lstStyle>
          <a:p>
            <a:fld id="{00000000-1234-1234-1234-123412341234}" type="slidenum">
              <a:rPr lang="de-DE" smtClean="0">
                <a:solidFill>
                  <a:srgbClr val="00B7BF"/>
                </a:solidFill>
              </a:rPr>
              <a:pPr/>
              <a:t>‹#›</a:t>
            </a:fld>
            <a:endParaRPr lang="de-DE">
              <a:solidFill>
                <a:srgbClr val="00B7BF"/>
              </a:solidFill>
            </a:endParaRPr>
          </a:p>
        </p:txBody>
      </p:sp>
      <p:pic>
        <p:nvPicPr>
          <p:cNvPr id="10" name="Grafik 3"/>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58551" y="6542160"/>
            <a:ext cx="1831021" cy="228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54824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p:transition spd="slow">
        <p:fade/>
      </p:transition>
    </mc:Fallback>
  </mc:AlternateContent>
</p:sldLayout>
</file>

<file path=ppt/slideLayouts/slideLayout988.xml><?xml version="1.0" encoding="utf-8"?>
<p:sldLayout xmlns:a="http://schemas.openxmlformats.org/drawingml/2006/main" xmlns:r="http://schemas.openxmlformats.org/officeDocument/2006/relationships" xmlns:p="http://schemas.openxmlformats.org/presentationml/2006/main" showMasterSp="0" userDrawn="1">
  <p:cSld name="3_For Finance, white">
    <p:spTree>
      <p:nvGrpSpPr>
        <p:cNvPr id="1" name=""/>
        <p:cNvGrpSpPr/>
        <p:nvPr/>
      </p:nvGrpSpPr>
      <p:grpSpPr>
        <a:xfrm>
          <a:off x="0" y="0"/>
          <a:ext cx="0" cy="0"/>
          <a:chOff x="0" y="0"/>
          <a:chExt cx="0" cy="0"/>
        </a:xfrm>
      </p:grpSpPr>
      <p:graphicFrame>
        <p:nvGraphicFramePr>
          <p:cNvPr id="3" name="Objekt 3" hidden="1">
            <a:extLst>
              <a:ext uri="{FF2B5EF4-FFF2-40B4-BE49-F238E27FC236}">
                <a16:creationId xmlns:a16="http://schemas.microsoft.com/office/drawing/2014/main" id="{97A7B276-F8EB-D64F-9212-870654293D44}"/>
              </a:ext>
            </a:extLst>
          </p:cNvPr>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3881" name="think-cell Folie" r:id="rId5" imgW="38100" imgH="38100" progId="TCLayout.ActiveDocument.1">
                  <p:embed/>
                </p:oleObj>
              </mc:Choice>
              <mc:Fallback>
                <p:oleObj name="think-cell Foli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hteck 1"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8415">
              <a:lnSpc>
                <a:spcPct val="80000"/>
              </a:lnSpc>
              <a:spcBef>
                <a:spcPct val="0"/>
              </a:spcBef>
              <a:spcAft>
                <a:spcPct val="0"/>
              </a:spcAft>
            </a:pPr>
            <a:endParaRPr lang="de-DE" sz="2999" b="1" dirty="0">
              <a:solidFill>
                <a:prstClr val="white"/>
              </a:solidFill>
              <a:sym typeface="CorpoS" pitchFamily="2" charset="0"/>
            </a:endParaRPr>
          </a:p>
        </p:txBody>
      </p:sp>
      <p:pic>
        <p:nvPicPr>
          <p:cNvPr id="5" name="Grafik 3">
            <a:extLst>
              <a:ext uri="{FF2B5EF4-FFF2-40B4-BE49-F238E27FC236}">
                <a16:creationId xmlns:a16="http://schemas.microsoft.com/office/drawing/2014/main" id="{0AAF8159-9AAB-3048-9E9E-0EFDB132B712}"/>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58789" y="6543675"/>
            <a:ext cx="183197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el 1"/>
          <p:cNvSpPr>
            <a:spLocks noGrp="1"/>
          </p:cNvSpPr>
          <p:nvPr>
            <p:ph type="title"/>
          </p:nvPr>
        </p:nvSpPr>
        <p:spPr>
          <a:xfrm>
            <a:off x="420329" y="127947"/>
            <a:ext cx="11486326" cy="942097"/>
          </a:xfrm>
        </p:spPr>
        <p:txBody>
          <a:bodyPr/>
          <a:lstStyle>
            <a:lvl1pPr>
              <a:defRPr sz="2999">
                <a:solidFill>
                  <a:schemeClr val="tx2"/>
                </a:solidFill>
              </a:defRPr>
            </a:lvl1pPr>
          </a:lstStyle>
          <a:p>
            <a:r>
              <a:rPr lang="de-DE"/>
              <a:t>Titelmasterformat durch Klicken bearbeiten</a:t>
            </a:r>
            <a:endParaRPr lang="de-DE" dirty="0"/>
          </a:p>
        </p:txBody>
      </p:sp>
      <p:sp>
        <p:nvSpPr>
          <p:cNvPr id="6" name="Foliennummernplatzhalter 5">
            <a:extLst>
              <a:ext uri="{FF2B5EF4-FFF2-40B4-BE49-F238E27FC236}">
                <a16:creationId xmlns:a16="http://schemas.microsoft.com/office/drawing/2014/main" id="{BA17B98E-BB26-6343-B711-56976493AD2D}"/>
              </a:ext>
            </a:extLst>
          </p:cNvPr>
          <p:cNvSpPr>
            <a:spLocks noGrp="1"/>
          </p:cNvSpPr>
          <p:nvPr>
            <p:ph type="sldNum" sz="quarter" idx="10"/>
          </p:nvPr>
        </p:nvSpPr>
        <p:spPr>
          <a:xfrm>
            <a:off x="11049000" y="6543676"/>
            <a:ext cx="719138" cy="250825"/>
          </a:xfrm>
        </p:spPr>
        <p:txBody>
          <a:bodyPr/>
          <a:lstStyle>
            <a:lvl1pPr>
              <a:defRPr>
                <a:solidFill>
                  <a:srgbClr val="00B7BF"/>
                </a:solidFill>
              </a:defRPr>
            </a:lvl1pPr>
          </a:lstStyle>
          <a:p>
            <a:pPr>
              <a:defRPr/>
            </a:pPr>
            <a:fld id="{41BED488-4622-0649-BB51-22E6251FA5C1}" type="slidenum">
              <a:rPr lang="de-DE"/>
              <a:pPr>
                <a:defRPr/>
              </a:pPr>
              <a:t>‹#›</a:t>
            </a:fld>
            <a:endParaRPr lang="de-DE" dirty="0"/>
          </a:p>
        </p:txBody>
      </p:sp>
    </p:spTree>
    <p:extLst>
      <p:ext uri="{BB962C8B-B14F-4D97-AF65-F5344CB8AC3E}">
        <p14:creationId xmlns:p14="http://schemas.microsoft.com/office/powerpoint/2010/main" val="4240522489"/>
      </p:ext>
    </p:extLst>
  </p:cSld>
  <p:clrMapOvr>
    <a:masterClrMapping/>
  </p:clrMapOvr>
  <p:transition spd="med">
    <p:fade/>
  </p:transition>
</p:sldLayout>
</file>

<file path=ppt/slideLayouts/slideLayout989.xml><?xml version="1.0" encoding="utf-8"?>
<p:sldLayout xmlns:a="http://schemas.openxmlformats.org/drawingml/2006/main" xmlns:r="http://schemas.openxmlformats.org/officeDocument/2006/relationships" xmlns:p="http://schemas.openxmlformats.org/presentationml/2006/main" showMasterSp="0" userDrawn="1">
  <p:cSld name="4_For Finance, white">
    <p:spTree>
      <p:nvGrpSpPr>
        <p:cNvPr id="1" name=""/>
        <p:cNvGrpSpPr/>
        <p:nvPr/>
      </p:nvGrpSpPr>
      <p:grpSpPr>
        <a:xfrm>
          <a:off x="0" y="0"/>
          <a:ext cx="0" cy="0"/>
          <a:chOff x="0" y="0"/>
          <a:chExt cx="0" cy="0"/>
        </a:xfrm>
      </p:grpSpPr>
      <p:graphicFrame>
        <p:nvGraphicFramePr>
          <p:cNvPr id="3" name="Objekt 3" hidden="1">
            <a:extLst>
              <a:ext uri="{FF2B5EF4-FFF2-40B4-BE49-F238E27FC236}">
                <a16:creationId xmlns:a16="http://schemas.microsoft.com/office/drawing/2014/main" id="{97A7B276-F8EB-D64F-9212-870654293D44}"/>
              </a:ext>
            </a:extLst>
          </p:cNvPr>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905" name="think-cell Folie" r:id="rId5" imgW="38100" imgH="38100" progId="TCLayout.ActiveDocument.1">
                  <p:embed/>
                </p:oleObj>
              </mc:Choice>
              <mc:Fallback>
                <p:oleObj name="think-cell Foli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hteck 1"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8415">
              <a:lnSpc>
                <a:spcPct val="80000"/>
              </a:lnSpc>
              <a:spcBef>
                <a:spcPct val="0"/>
              </a:spcBef>
              <a:spcAft>
                <a:spcPct val="0"/>
              </a:spcAft>
            </a:pPr>
            <a:endParaRPr lang="de-DE" sz="2999" b="1" dirty="0">
              <a:solidFill>
                <a:prstClr val="white"/>
              </a:solidFill>
              <a:sym typeface="CorpoS" pitchFamily="2" charset="0"/>
            </a:endParaRPr>
          </a:p>
        </p:txBody>
      </p:sp>
      <p:pic>
        <p:nvPicPr>
          <p:cNvPr id="5" name="Grafik 3">
            <a:extLst>
              <a:ext uri="{FF2B5EF4-FFF2-40B4-BE49-F238E27FC236}">
                <a16:creationId xmlns:a16="http://schemas.microsoft.com/office/drawing/2014/main" id="{0AAF8159-9AAB-3048-9E9E-0EFDB132B712}"/>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58789" y="6543675"/>
            <a:ext cx="183197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el 1"/>
          <p:cNvSpPr>
            <a:spLocks noGrp="1"/>
          </p:cNvSpPr>
          <p:nvPr>
            <p:ph type="title"/>
          </p:nvPr>
        </p:nvSpPr>
        <p:spPr>
          <a:xfrm>
            <a:off x="420329" y="127947"/>
            <a:ext cx="11486326" cy="942097"/>
          </a:xfrm>
        </p:spPr>
        <p:txBody>
          <a:bodyPr/>
          <a:lstStyle>
            <a:lvl1pPr>
              <a:defRPr sz="2999">
                <a:solidFill>
                  <a:schemeClr val="tx2"/>
                </a:solidFill>
              </a:defRPr>
            </a:lvl1pPr>
          </a:lstStyle>
          <a:p>
            <a:r>
              <a:rPr lang="de-DE"/>
              <a:t>Titelmasterformat durch Klicken bearbeiten</a:t>
            </a:r>
            <a:endParaRPr lang="de-DE" dirty="0"/>
          </a:p>
        </p:txBody>
      </p:sp>
      <p:sp>
        <p:nvSpPr>
          <p:cNvPr id="6" name="Foliennummernplatzhalter 5">
            <a:extLst>
              <a:ext uri="{FF2B5EF4-FFF2-40B4-BE49-F238E27FC236}">
                <a16:creationId xmlns:a16="http://schemas.microsoft.com/office/drawing/2014/main" id="{BA17B98E-BB26-6343-B711-56976493AD2D}"/>
              </a:ext>
            </a:extLst>
          </p:cNvPr>
          <p:cNvSpPr>
            <a:spLocks noGrp="1"/>
          </p:cNvSpPr>
          <p:nvPr>
            <p:ph type="sldNum" sz="quarter" idx="10"/>
          </p:nvPr>
        </p:nvSpPr>
        <p:spPr>
          <a:xfrm>
            <a:off x="11049000" y="6543676"/>
            <a:ext cx="719138" cy="250825"/>
          </a:xfrm>
        </p:spPr>
        <p:txBody>
          <a:bodyPr/>
          <a:lstStyle>
            <a:lvl1pPr>
              <a:defRPr>
                <a:solidFill>
                  <a:srgbClr val="00B7BF"/>
                </a:solidFill>
              </a:defRPr>
            </a:lvl1pPr>
          </a:lstStyle>
          <a:p>
            <a:pPr>
              <a:defRPr/>
            </a:pPr>
            <a:fld id="{41BED488-4622-0649-BB51-22E6251FA5C1}" type="slidenum">
              <a:rPr lang="de-DE"/>
              <a:pPr>
                <a:defRPr/>
              </a:pPr>
              <a:t>‹#›</a:t>
            </a:fld>
            <a:endParaRPr lang="de-DE" dirty="0"/>
          </a:p>
        </p:txBody>
      </p:sp>
    </p:spTree>
    <p:extLst>
      <p:ext uri="{BB962C8B-B14F-4D97-AF65-F5344CB8AC3E}">
        <p14:creationId xmlns:p14="http://schemas.microsoft.com/office/powerpoint/2010/main" val="3209036878"/>
      </p:ext>
    </p:extLst>
  </p:cSld>
  <p:clrMapOvr>
    <a:masterClrMapping/>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Headline // 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671" y="285982"/>
            <a:ext cx="10931106" cy="683842"/>
          </a:xfrm>
        </p:spPr>
        <p:txBody>
          <a:bodyPr/>
          <a:lstStyle/>
          <a:p>
            <a:r>
              <a:rPr lang="en-GB" noProof="0" dirty="0"/>
              <a:t>Headline in </a:t>
            </a:r>
            <a:r>
              <a:rPr lang="en-GB" noProof="0" dirty="0" err="1"/>
              <a:t>CorpoS</a:t>
            </a:r>
            <a:r>
              <a:rPr lang="en-GB" noProof="0" dirty="0"/>
              <a:t> (Body) 35 pt.</a:t>
            </a:r>
            <a:endParaRPr lang="en-GB" dirty="0"/>
          </a:p>
        </p:txBody>
      </p:sp>
      <p:sp>
        <p:nvSpPr>
          <p:cNvPr id="3" name="Footer Placeholder 2"/>
          <p:cNvSpPr>
            <a:spLocks noGrp="1"/>
          </p:cNvSpPr>
          <p:nvPr>
            <p:ph type="ftr" sz="quarter" idx="10"/>
          </p:nvPr>
        </p:nvSpPr>
        <p:spPr/>
        <p:txBody>
          <a:bodyPr/>
          <a:lstStyle/>
          <a:p>
            <a:r>
              <a:rPr lang="en-GB" dirty="0">
                <a:solidFill>
                  <a:prstClr val="black"/>
                </a:solidFill>
              </a:rPr>
              <a:t>Title of presentation / Department / Date /</a:t>
            </a: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400342718"/>
      </p:ext>
    </p:extLst>
  </p:cSld>
  <p:clrMapOvr>
    <a:masterClrMapping/>
  </p:clrMapOvr>
  <p:extLst mod="1">
    <p:ext uri="{DCECCB84-F9BA-43D5-87BE-67443E8EF086}">
      <p15:sldGuideLst xmlns:p15="http://schemas.microsoft.com/office/powerpoint/2012/main">
        <p15:guide id="1" orient="horz" pos="4020">
          <p15:clr>
            <a:srgbClr val="FBAE40"/>
          </p15:clr>
        </p15:guide>
        <p15:guide id="2" orient="horz" pos="182">
          <p15:clr>
            <a:srgbClr val="FBAE40"/>
          </p15:clr>
        </p15:guide>
      </p15:sldGuideLst>
    </p:ext>
  </p:extLst>
</p:sldLayout>
</file>

<file path=ppt/slideLayouts/slideLayout990.xml><?xml version="1.0" encoding="utf-8"?>
<p:sldLayout xmlns:a="http://schemas.openxmlformats.org/drawingml/2006/main" xmlns:r="http://schemas.openxmlformats.org/officeDocument/2006/relationships" xmlns:p="http://schemas.openxmlformats.org/presentationml/2006/main" showMasterSp="0" userDrawn="1">
  <p:cSld name="5_For Finance, white">
    <p:spTree>
      <p:nvGrpSpPr>
        <p:cNvPr id="1" name=""/>
        <p:cNvGrpSpPr/>
        <p:nvPr/>
      </p:nvGrpSpPr>
      <p:grpSpPr>
        <a:xfrm>
          <a:off x="0" y="0"/>
          <a:ext cx="0" cy="0"/>
          <a:chOff x="0" y="0"/>
          <a:chExt cx="0" cy="0"/>
        </a:xfrm>
      </p:grpSpPr>
      <p:graphicFrame>
        <p:nvGraphicFramePr>
          <p:cNvPr id="3" name="Objekt 3" hidden="1">
            <a:extLst>
              <a:ext uri="{FF2B5EF4-FFF2-40B4-BE49-F238E27FC236}">
                <a16:creationId xmlns:a16="http://schemas.microsoft.com/office/drawing/2014/main" id="{97A7B276-F8EB-D64F-9212-870654293D44}"/>
              </a:ext>
            </a:extLst>
          </p:cNvPr>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929" name="think-cell Folie" r:id="rId5" imgW="38100" imgH="38100" progId="TCLayout.ActiveDocument.1">
                  <p:embed/>
                </p:oleObj>
              </mc:Choice>
              <mc:Fallback>
                <p:oleObj name="think-cell Foli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hteck 1"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8415">
              <a:lnSpc>
                <a:spcPct val="80000"/>
              </a:lnSpc>
              <a:spcBef>
                <a:spcPct val="0"/>
              </a:spcBef>
              <a:spcAft>
                <a:spcPct val="0"/>
              </a:spcAft>
            </a:pPr>
            <a:endParaRPr lang="de-DE" sz="2999" b="1" dirty="0">
              <a:solidFill>
                <a:prstClr val="white"/>
              </a:solidFill>
              <a:sym typeface="CorpoS" pitchFamily="2" charset="0"/>
            </a:endParaRPr>
          </a:p>
        </p:txBody>
      </p:sp>
      <p:pic>
        <p:nvPicPr>
          <p:cNvPr id="5" name="Grafik 3">
            <a:extLst>
              <a:ext uri="{FF2B5EF4-FFF2-40B4-BE49-F238E27FC236}">
                <a16:creationId xmlns:a16="http://schemas.microsoft.com/office/drawing/2014/main" id="{0AAF8159-9AAB-3048-9E9E-0EFDB132B712}"/>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58789" y="6543675"/>
            <a:ext cx="183197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el 1"/>
          <p:cNvSpPr>
            <a:spLocks noGrp="1"/>
          </p:cNvSpPr>
          <p:nvPr>
            <p:ph type="title"/>
          </p:nvPr>
        </p:nvSpPr>
        <p:spPr>
          <a:xfrm>
            <a:off x="420329" y="127947"/>
            <a:ext cx="11486326" cy="942097"/>
          </a:xfrm>
        </p:spPr>
        <p:txBody>
          <a:bodyPr/>
          <a:lstStyle>
            <a:lvl1pPr>
              <a:defRPr sz="2999">
                <a:solidFill>
                  <a:schemeClr val="tx2"/>
                </a:solidFill>
              </a:defRPr>
            </a:lvl1pPr>
          </a:lstStyle>
          <a:p>
            <a:r>
              <a:rPr lang="de-DE"/>
              <a:t>Titelmasterformat durch Klicken bearbeiten</a:t>
            </a:r>
            <a:endParaRPr lang="de-DE" dirty="0"/>
          </a:p>
        </p:txBody>
      </p:sp>
      <p:sp>
        <p:nvSpPr>
          <p:cNvPr id="6" name="Foliennummernplatzhalter 5">
            <a:extLst>
              <a:ext uri="{FF2B5EF4-FFF2-40B4-BE49-F238E27FC236}">
                <a16:creationId xmlns:a16="http://schemas.microsoft.com/office/drawing/2014/main" id="{BA17B98E-BB26-6343-B711-56976493AD2D}"/>
              </a:ext>
            </a:extLst>
          </p:cNvPr>
          <p:cNvSpPr>
            <a:spLocks noGrp="1"/>
          </p:cNvSpPr>
          <p:nvPr>
            <p:ph type="sldNum" sz="quarter" idx="10"/>
          </p:nvPr>
        </p:nvSpPr>
        <p:spPr>
          <a:xfrm>
            <a:off x="11049000" y="6543676"/>
            <a:ext cx="719138" cy="250825"/>
          </a:xfrm>
        </p:spPr>
        <p:txBody>
          <a:bodyPr/>
          <a:lstStyle>
            <a:lvl1pPr>
              <a:defRPr>
                <a:solidFill>
                  <a:srgbClr val="00B7BF"/>
                </a:solidFill>
              </a:defRPr>
            </a:lvl1pPr>
          </a:lstStyle>
          <a:p>
            <a:pPr>
              <a:defRPr/>
            </a:pPr>
            <a:fld id="{41BED488-4622-0649-BB51-22E6251FA5C1}" type="slidenum">
              <a:rPr lang="de-DE"/>
              <a:pPr>
                <a:defRPr/>
              </a:pPr>
              <a:t>‹#›</a:t>
            </a:fld>
            <a:endParaRPr lang="de-DE" dirty="0"/>
          </a:p>
        </p:txBody>
      </p:sp>
    </p:spTree>
    <p:extLst>
      <p:ext uri="{BB962C8B-B14F-4D97-AF65-F5344CB8AC3E}">
        <p14:creationId xmlns:p14="http://schemas.microsoft.com/office/powerpoint/2010/main" val="672826096"/>
      </p:ext>
    </p:extLst>
  </p:cSld>
  <p:clrMapOvr>
    <a:masterClrMapping/>
  </p:clrMapOvr>
  <p:transition spd="med">
    <p:fade/>
  </p:transition>
</p:sldLayout>
</file>

<file path=ppt/slideLayouts/slideLayout991.xml><?xml version="1.0" encoding="utf-8"?>
<p:sldLayout xmlns:a="http://schemas.openxmlformats.org/drawingml/2006/main" xmlns:r="http://schemas.openxmlformats.org/officeDocument/2006/relationships" xmlns:p="http://schemas.openxmlformats.org/presentationml/2006/main" showMasterSp="0" userDrawn="1">
  <p:cSld name="6_For Finance, white">
    <p:spTree>
      <p:nvGrpSpPr>
        <p:cNvPr id="1" name=""/>
        <p:cNvGrpSpPr/>
        <p:nvPr/>
      </p:nvGrpSpPr>
      <p:grpSpPr>
        <a:xfrm>
          <a:off x="0" y="0"/>
          <a:ext cx="0" cy="0"/>
          <a:chOff x="0" y="0"/>
          <a:chExt cx="0" cy="0"/>
        </a:xfrm>
      </p:grpSpPr>
      <p:graphicFrame>
        <p:nvGraphicFramePr>
          <p:cNvPr id="3" name="Objekt 3" hidden="1">
            <a:extLst>
              <a:ext uri="{FF2B5EF4-FFF2-40B4-BE49-F238E27FC236}">
                <a16:creationId xmlns:a16="http://schemas.microsoft.com/office/drawing/2014/main" id="{97A7B276-F8EB-D64F-9212-870654293D44}"/>
              </a:ext>
            </a:extLst>
          </p:cNvPr>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6953" name="think-cell Folie" r:id="rId5" imgW="38100" imgH="38100" progId="TCLayout.ActiveDocument.1">
                  <p:embed/>
                </p:oleObj>
              </mc:Choice>
              <mc:Fallback>
                <p:oleObj name="think-cell Foli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hteck 1"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8415">
              <a:lnSpc>
                <a:spcPct val="80000"/>
              </a:lnSpc>
              <a:spcBef>
                <a:spcPct val="0"/>
              </a:spcBef>
              <a:spcAft>
                <a:spcPct val="0"/>
              </a:spcAft>
            </a:pPr>
            <a:endParaRPr lang="de-DE" sz="2999" b="1" dirty="0">
              <a:solidFill>
                <a:prstClr val="white"/>
              </a:solidFill>
              <a:sym typeface="CorpoS" pitchFamily="2" charset="0"/>
            </a:endParaRPr>
          </a:p>
        </p:txBody>
      </p:sp>
      <p:pic>
        <p:nvPicPr>
          <p:cNvPr id="5" name="Grafik 3">
            <a:extLst>
              <a:ext uri="{FF2B5EF4-FFF2-40B4-BE49-F238E27FC236}">
                <a16:creationId xmlns:a16="http://schemas.microsoft.com/office/drawing/2014/main" id="{0AAF8159-9AAB-3048-9E9E-0EFDB132B712}"/>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58789" y="6543675"/>
            <a:ext cx="183197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el 1"/>
          <p:cNvSpPr>
            <a:spLocks noGrp="1"/>
          </p:cNvSpPr>
          <p:nvPr>
            <p:ph type="title"/>
          </p:nvPr>
        </p:nvSpPr>
        <p:spPr>
          <a:xfrm>
            <a:off x="420329" y="127947"/>
            <a:ext cx="11486326" cy="942097"/>
          </a:xfrm>
        </p:spPr>
        <p:txBody>
          <a:bodyPr/>
          <a:lstStyle>
            <a:lvl1pPr>
              <a:defRPr sz="2999">
                <a:solidFill>
                  <a:schemeClr val="tx2"/>
                </a:solidFill>
              </a:defRPr>
            </a:lvl1pPr>
          </a:lstStyle>
          <a:p>
            <a:r>
              <a:rPr lang="de-DE"/>
              <a:t>Titelmasterformat durch Klicken bearbeiten</a:t>
            </a:r>
            <a:endParaRPr lang="de-DE" dirty="0"/>
          </a:p>
        </p:txBody>
      </p:sp>
      <p:sp>
        <p:nvSpPr>
          <p:cNvPr id="6" name="Foliennummernplatzhalter 5">
            <a:extLst>
              <a:ext uri="{FF2B5EF4-FFF2-40B4-BE49-F238E27FC236}">
                <a16:creationId xmlns:a16="http://schemas.microsoft.com/office/drawing/2014/main" id="{BA17B98E-BB26-6343-B711-56976493AD2D}"/>
              </a:ext>
            </a:extLst>
          </p:cNvPr>
          <p:cNvSpPr>
            <a:spLocks noGrp="1"/>
          </p:cNvSpPr>
          <p:nvPr>
            <p:ph type="sldNum" sz="quarter" idx="10"/>
          </p:nvPr>
        </p:nvSpPr>
        <p:spPr>
          <a:xfrm>
            <a:off x="11049000" y="6543676"/>
            <a:ext cx="719138" cy="250825"/>
          </a:xfrm>
        </p:spPr>
        <p:txBody>
          <a:bodyPr/>
          <a:lstStyle>
            <a:lvl1pPr>
              <a:defRPr>
                <a:solidFill>
                  <a:srgbClr val="00B7BF"/>
                </a:solidFill>
              </a:defRPr>
            </a:lvl1pPr>
          </a:lstStyle>
          <a:p>
            <a:pPr>
              <a:defRPr/>
            </a:pPr>
            <a:fld id="{41BED488-4622-0649-BB51-22E6251FA5C1}" type="slidenum">
              <a:rPr lang="de-DE"/>
              <a:pPr>
                <a:defRPr/>
              </a:pPr>
              <a:t>‹#›</a:t>
            </a:fld>
            <a:endParaRPr lang="de-DE" dirty="0"/>
          </a:p>
        </p:txBody>
      </p:sp>
    </p:spTree>
    <p:extLst>
      <p:ext uri="{BB962C8B-B14F-4D97-AF65-F5344CB8AC3E}">
        <p14:creationId xmlns:p14="http://schemas.microsoft.com/office/powerpoint/2010/main" val="1997298933"/>
      </p:ext>
    </p:extLst>
  </p:cSld>
  <p:clrMapOvr>
    <a:masterClrMapping/>
  </p:clrMapOvr>
  <p:transition spd="med">
    <p:fade/>
  </p:transition>
</p:sldLayout>
</file>

<file path=ppt/slideLayouts/slideLayout992.xml><?xml version="1.0" encoding="utf-8"?>
<p:sldLayout xmlns:a="http://schemas.openxmlformats.org/drawingml/2006/main" xmlns:r="http://schemas.openxmlformats.org/officeDocument/2006/relationships" xmlns:p="http://schemas.openxmlformats.org/presentationml/2006/main" showMasterSp="0" userDrawn="1">
  <p:cSld name="1_4. Brushing/ image 2 columns">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9" y="1589"/>
          <a:ext cx="1586" cy="1587"/>
        </p:xfrm>
        <a:graphic>
          <a:graphicData uri="http://schemas.openxmlformats.org/presentationml/2006/ole">
            <mc:AlternateContent xmlns:mc="http://schemas.openxmlformats.org/markup-compatibility/2006">
              <mc:Choice xmlns:v="urn:schemas-microsoft-com:vml" Requires="v">
                <p:oleObj spid="_x0000_s20797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89"/>
                        <a:ext cx="1586" cy="1587"/>
                      </a:xfrm>
                      <a:prstGeom prst="rect">
                        <a:avLst/>
                      </a:prstGeom>
                    </p:spPr>
                  </p:pic>
                </p:oleObj>
              </mc:Fallback>
            </mc:AlternateContent>
          </a:graphicData>
        </a:graphic>
      </p:graphicFrame>
      <p:sp>
        <p:nvSpPr>
          <p:cNvPr id="14" name="Picture Placeholder 3"/>
          <p:cNvSpPr>
            <a:spLocks noGrp="1"/>
          </p:cNvSpPr>
          <p:nvPr>
            <p:ph type="pic" sz="quarter" idx="13" hasCustomPrompt="1"/>
          </p:nvPr>
        </p:nvSpPr>
        <p:spPr bwMode="gray">
          <a:xfrm>
            <a:off x="-19039" y="0"/>
            <a:ext cx="12211833" cy="5588740"/>
          </a:xfrm>
          <a:custGeom>
            <a:avLst/>
            <a:gdLst>
              <a:gd name="connsiteX0" fmla="*/ 0 w 7178674"/>
              <a:gd name="connsiteY0" fmla="*/ 0 h 4086000"/>
              <a:gd name="connsiteX1" fmla="*/ 7178674 w 7178674"/>
              <a:gd name="connsiteY1" fmla="*/ 0 h 4086000"/>
              <a:gd name="connsiteX2" fmla="*/ 7178674 w 7178674"/>
              <a:gd name="connsiteY2" fmla="*/ 4086000 h 4086000"/>
              <a:gd name="connsiteX3" fmla="*/ 0 w 7178674"/>
              <a:gd name="connsiteY3" fmla="*/ 4086000 h 4086000"/>
              <a:gd name="connsiteX4" fmla="*/ 0 w 7178674"/>
              <a:gd name="connsiteY4" fmla="*/ 0 h 4086000"/>
              <a:gd name="connsiteX0" fmla="*/ 0 w 7179468"/>
              <a:gd name="connsiteY0" fmla="*/ 0 h 4086000"/>
              <a:gd name="connsiteX1" fmla="*/ 7178674 w 7179468"/>
              <a:gd name="connsiteY1" fmla="*/ 0 h 4086000"/>
              <a:gd name="connsiteX2" fmla="*/ 7179468 w 7179468"/>
              <a:gd name="connsiteY2" fmla="*/ 3455194 h 4086000"/>
              <a:gd name="connsiteX3" fmla="*/ 7178674 w 7179468"/>
              <a:gd name="connsiteY3" fmla="*/ 4086000 h 4086000"/>
              <a:gd name="connsiteX4" fmla="*/ 0 w 7179468"/>
              <a:gd name="connsiteY4" fmla="*/ 4086000 h 4086000"/>
              <a:gd name="connsiteX5" fmla="*/ 0 w 7179468"/>
              <a:gd name="connsiteY5" fmla="*/ 0 h 4086000"/>
              <a:gd name="connsiteX0" fmla="*/ 0 w 7179468"/>
              <a:gd name="connsiteY0" fmla="*/ 0 h 4332411"/>
              <a:gd name="connsiteX1" fmla="*/ 7178674 w 7179468"/>
              <a:gd name="connsiteY1" fmla="*/ 0 h 4332411"/>
              <a:gd name="connsiteX2" fmla="*/ 7179468 w 7179468"/>
              <a:gd name="connsiteY2" fmla="*/ 3455194 h 4332411"/>
              <a:gd name="connsiteX3" fmla="*/ 0 w 7179468"/>
              <a:gd name="connsiteY3" fmla="*/ 4086000 h 4332411"/>
              <a:gd name="connsiteX4" fmla="*/ 0 w 7179468"/>
              <a:gd name="connsiteY4" fmla="*/ 0 h 4332411"/>
              <a:gd name="connsiteX0" fmla="*/ 0 w 7179468"/>
              <a:gd name="connsiteY0" fmla="*/ 0 h 4086000"/>
              <a:gd name="connsiteX1" fmla="*/ 7178674 w 7179468"/>
              <a:gd name="connsiteY1" fmla="*/ 0 h 4086000"/>
              <a:gd name="connsiteX2" fmla="*/ 7179468 w 7179468"/>
              <a:gd name="connsiteY2" fmla="*/ 3455194 h 4086000"/>
              <a:gd name="connsiteX3" fmla="*/ 0 w 7179468"/>
              <a:gd name="connsiteY3" fmla="*/ 4086000 h 4086000"/>
              <a:gd name="connsiteX4" fmla="*/ 0 w 7179468"/>
              <a:gd name="connsiteY4" fmla="*/ 0 h 4086000"/>
              <a:gd name="connsiteX0" fmla="*/ 0 w 12218193"/>
              <a:gd name="connsiteY0" fmla="*/ 9525 h 4086000"/>
              <a:gd name="connsiteX1" fmla="*/ 12217399 w 12218193"/>
              <a:gd name="connsiteY1" fmla="*/ 0 h 4086000"/>
              <a:gd name="connsiteX2" fmla="*/ 12218193 w 12218193"/>
              <a:gd name="connsiteY2" fmla="*/ 3455194 h 4086000"/>
              <a:gd name="connsiteX3" fmla="*/ 5038725 w 12218193"/>
              <a:gd name="connsiteY3" fmla="*/ 4086000 h 4086000"/>
              <a:gd name="connsiteX4" fmla="*/ 0 w 12218193"/>
              <a:gd name="connsiteY4" fmla="*/ 9525 h 4086000"/>
              <a:gd name="connsiteX0" fmla="*/ 0 w 12218193"/>
              <a:gd name="connsiteY0" fmla="*/ 9525 h 4533675"/>
              <a:gd name="connsiteX1" fmla="*/ 12217399 w 12218193"/>
              <a:gd name="connsiteY1" fmla="*/ 0 h 4533675"/>
              <a:gd name="connsiteX2" fmla="*/ 12218193 w 12218193"/>
              <a:gd name="connsiteY2" fmla="*/ 3455194 h 4533675"/>
              <a:gd name="connsiteX3" fmla="*/ 28575 w 12218193"/>
              <a:gd name="connsiteY3" fmla="*/ 4533675 h 4533675"/>
              <a:gd name="connsiteX4" fmla="*/ 0 w 12218193"/>
              <a:gd name="connsiteY4" fmla="*/ 9525 h 4533675"/>
              <a:gd name="connsiteX0" fmla="*/ 0 w 12218193"/>
              <a:gd name="connsiteY0" fmla="*/ 9525 h 4543200"/>
              <a:gd name="connsiteX1" fmla="*/ 12217399 w 12218193"/>
              <a:gd name="connsiteY1" fmla="*/ 0 h 4543200"/>
              <a:gd name="connsiteX2" fmla="*/ 12218193 w 12218193"/>
              <a:gd name="connsiteY2" fmla="*/ 3455194 h 4543200"/>
              <a:gd name="connsiteX3" fmla="*/ 19050 w 12218193"/>
              <a:gd name="connsiteY3" fmla="*/ 4543200 h 4543200"/>
              <a:gd name="connsiteX4" fmla="*/ 0 w 12218193"/>
              <a:gd name="connsiteY4" fmla="*/ 9525 h 4543200"/>
              <a:gd name="connsiteX0" fmla="*/ 0 w 12218193"/>
              <a:gd name="connsiteY0" fmla="*/ 9525 h 3817485"/>
              <a:gd name="connsiteX1" fmla="*/ 12217399 w 12218193"/>
              <a:gd name="connsiteY1" fmla="*/ 0 h 3817485"/>
              <a:gd name="connsiteX2" fmla="*/ 12218193 w 12218193"/>
              <a:gd name="connsiteY2" fmla="*/ 3455194 h 3817485"/>
              <a:gd name="connsiteX3" fmla="*/ 4536 w 12218193"/>
              <a:gd name="connsiteY3" fmla="*/ 3817485 h 3817485"/>
              <a:gd name="connsiteX4" fmla="*/ 0 w 12218193"/>
              <a:gd name="connsiteY4" fmla="*/ 9525 h 3817485"/>
              <a:gd name="connsiteX0" fmla="*/ 0 w 12218193"/>
              <a:gd name="connsiteY0" fmla="*/ 9525 h 3875543"/>
              <a:gd name="connsiteX1" fmla="*/ 12217399 w 12218193"/>
              <a:gd name="connsiteY1" fmla="*/ 0 h 3875543"/>
              <a:gd name="connsiteX2" fmla="*/ 12218193 w 12218193"/>
              <a:gd name="connsiteY2" fmla="*/ 3455194 h 3875543"/>
              <a:gd name="connsiteX3" fmla="*/ 19050 w 12218193"/>
              <a:gd name="connsiteY3" fmla="*/ 3875543 h 3875543"/>
              <a:gd name="connsiteX4" fmla="*/ 0 w 12218193"/>
              <a:gd name="connsiteY4" fmla="*/ 9525 h 3875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8193" h="3875543">
                <a:moveTo>
                  <a:pt x="0" y="9525"/>
                </a:moveTo>
                <a:lnTo>
                  <a:pt x="12217399" y="0"/>
                </a:lnTo>
                <a:cubicBezTo>
                  <a:pt x="12217664" y="1151731"/>
                  <a:pt x="12217928" y="2303463"/>
                  <a:pt x="12218193" y="3455194"/>
                </a:cubicBezTo>
                <a:lnTo>
                  <a:pt x="19050" y="3875543"/>
                </a:lnTo>
                <a:lnTo>
                  <a:pt x="0" y="9525"/>
                </a:lnTo>
                <a:close/>
              </a:path>
            </a:pathLst>
          </a:custGeom>
          <a:solidFill>
            <a:srgbClr val="CFCFCF"/>
          </a:solidFill>
        </p:spPr>
        <p:txBody>
          <a:bodyPr/>
          <a:lstStyle>
            <a:lvl1pPr marL="0" indent="0" algn="ctr">
              <a:lnSpc>
                <a:spcPct val="100000"/>
              </a:lnSpc>
              <a:buNone/>
              <a:defRPr/>
            </a:lvl1pPr>
          </a:lstStyle>
          <a:p>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
            </a:r>
            <a:br>
              <a:rPr lang="de-DE" noProof="0" dirty="0"/>
            </a:br>
            <a:r>
              <a:rPr lang="de-DE" noProof="0" dirty="0"/>
              <a:t>Insert </a:t>
            </a:r>
            <a:r>
              <a:rPr lang="de-DE" noProof="0" dirty="0" err="1"/>
              <a:t>picture</a:t>
            </a:r>
            <a:endParaRPr lang="de-DE" noProof="0" dirty="0"/>
          </a:p>
        </p:txBody>
      </p:sp>
      <p:sp>
        <p:nvSpPr>
          <p:cNvPr id="13" name="Freihandform 12"/>
          <p:cNvSpPr/>
          <p:nvPr userDrawn="1"/>
        </p:nvSpPr>
        <p:spPr>
          <a:xfrm>
            <a:off x="-9518" y="4940818"/>
            <a:ext cx="12214213" cy="1917182"/>
          </a:xfrm>
          <a:custGeom>
            <a:avLst/>
            <a:gdLst>
              <a:gd name="connsiteX0" fmla="*/ 0 w 12220575"/>
              <a:gd name="connsiteY0" fmla="*/ 1066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0 w 12220575"/>
              <a:gd name="connsiteY4" fmla="*/ 1066800 h 3019425"/>
              <a:gd name="connsiteX0" fmla="*/ 19050 w 12220575"/>
              <a:gd name="connsiteY0" fmla="*/ 304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19050 w 12220575"/>
              <a:gd name="connsiteY4" fmla="*/ 304800 h 3019425"/>
              <a:gd name="connsiteX0" fmla="*/ 0 w 12220575"/>
              <a:gd name="connsiteY0" fmla="*/ 304800 h 3019425"/>
              <a:gd name="connsiteX1" fmla="*/ 0 w 12220575"/>
              <a:gd name="connsiteY1" fmla="*/ 3019425 h 3019425"/>
              <a:gd name="connsiteX2" fmla="*/ 12220575 w 12220575"/>
              <a:gd name="connsiteY2" fmla="*/ 3019425 h 3019425"/>
              <a:gd name="connsiteX3" fmla="*/ 12220575 w 12220575"/>
              <a:gd name="connsiteY3" fmla="*/ 0 h 3019425"/>
              <a:gd name="connsiteX4" fmla="*/ 0 w 12220575"/>
              <a:gd name="connsiteY4" fmla="*/ 304800 h 3019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20575" h="3019425">
                <a:moveTo>
                  <a:pt x="0" y="304800"/>
                </a:moveTo>
                <a:lnTo>
                  <a:pt x="0" y="3019425"/>
                </a:lnTo>
                <a:lnTo>
                  <a:pt x="12220575" y="3019425"/>
                </a:lnTo>
                <a:lnTo>
                  <a:pt x="12220575" y="0"/>
                </a:lnTo>
                <a:lnTo>
                  <a:pt x="0" y="30480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089"/>
            <a:endParaRPr lang="de-DE" sz="2098" dirty="0">
              <a:solidFill>
                <a:prstClr val="white"/>
              </a:solidFill>
            </a:endParaRPr>
          </a:p>
        </p:txBody>
      </p:sp>
    </p:spTree>
    <p:extLst>
      <p:ext uri="{BB962C8B-B14F-4D97-AF65-F5344CB8AC3E}">
        <p14:creationId xmlns:p14="http://schemas.microsoft.com/office/powerpoint/2010/main" val="42817490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16">
          <p15:clr>
            <a:srgbClr val="FBAE40"/>
          </p15:clr>
        </p15:guide>
        <p15:guide id="2" pos="3162">
          <p15:clr>
            <a:srgbClr val="FBAE40"/>
          </p15:clr>
        </p15:guide>
        <p15:guide id="3" orient="horz" pos="2990">
          <p15:clr>
            <a:srgbClr val="FBAE40"/>
          </p15:clr>
        </p15:guide>
        <p15:guide id="4" orient="horz" pos="4020">
          <p15:clr>
            <a:srgbClr val="FBAE40"/>
          </p15:clr>
        </p15:guide>
      </p15:sldGuideLst>
    </p:ext>
  </p:extLst>
</p:sldLayout>
</file>

<file path=ppt/slideLayouts/slideLayout993.xml><?xml version="1.0" encoding="utf-8"?>
<p:sldLayout xmlns:a="http://schemas.openxmlformats.org/drawingml/2006/main" xmlns:r="http://schemas.openxmlformats.org/officeDocument/2006/relationships" xmlns:p="http://schemas.openxmlformats.org/presentationml/2006/main" showMasterSp="0" preserve="1" userDrawn="1">
  <p:cSld name="3.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5" name="Regieanweisungen"/>
          <p:cNvGrpSpPr/>
          <p:nvPr userDrawn="1"/>
        </p:nvGrpSpPr>
        <p:grpSpPr>
          <a:xfrm>
            <a:off x="-2086913" y="-467892"/>
            <a:ext cx="13647691" cy="7792196"/>
            <a:chOff x="-2088000" y="-468000"/>
            <a:chExt cx="13654799" cy="7794000"/>
          </a:xfrm>
        </p:grpSpPr>
        <p:sp>
          <p:nvSpPr>
            <p:cNvPr id="16"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17"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28" name="Hinweise links"/>
            <p:cNvGrpSpPr/>
            <p:nvPr userDrawn="1"/>
          </p:nvGrpSpPr>
          <p:grpSpPr>
            <a:xfrm>
              <a:off x="-2088000" y="0"/>
              <a:ext cx="1980000" cy="3528000"/>
              <a:chOff x="-2088000" y="0"/>
              <a:chExt cx="1980000" cy="3528000"/>
            </a:xfrm>
          </p:grpSpPr>
          <p:sp>
            <p:nvSpPr>
              <p:cNvPr id="29"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1" name="Listenebenen"/>
              <p:cNvGrpSpPr/>
              <p:nvPr userDrawn="1"/>
            </p:nvGrpSpPr>
            <p:grpSpPr>
              <a:xfrm>
                <a:off x="-1692000" y="2232000"/>
                <a:ext cx="1548000" cy="792000"/>
                <a:chOff x="-1692000" y="2160000"/>
                <a:chExt cx="1548000" cy="792000"/>
              </a:xfrm>
            </p:grpSpPr>
            <p:sp>
              <p:nvSpPr>
                <p:cNvPr id="3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3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34" name="Listenebene erhöhen"/>
                <p:cNvPicPr>
                  <a:picLocks noChangeAspect="1"/>
                </p:cNvPicPr>
                <p:nvPr userDrawn="1"/>
              </p:nvPicPr>
              <p:blipFill>
                <a:blip r:embed="rId3"/>
                <a:stretch>
                  <a:fillRect/>
                </a:stretch>
              </p:blipFill>
              <p:spPr>
                <a:xfrm>
                  <a:off x="-900000" y="2160000"/>
                  <a:ext cx="756000" cy="324000"/>
                </a:xfrm>
                <a:prstGeom prst="rect">
                  <a:avLst/>
                </a:prstGeom>
              </p:spPr>
            </p:pic>
            <p:pic>
              <p:nvPicPr>
                <p:cNvPr id="35" name="Listenebene verringern"/>
                <p:cNvPicPr>
                  <a:picLocks noChangeAspect="1"/>
                </p:cNvPicPr>
                <p:nvPr userDrawn="1"/>
              </p:nvPicPr>
              <p:blipFill>
                <a:blip r:embed="rId4"/>
                <a:stretch>
                  <a:fillRect/>
                </a:stretch>
              </p:blipFill>
              <p:spPr>
                <a:xfrm>
                  <a:off x="-900000" y="2628000"/>
                  <a:ext cx="756000" cy="322369"/>
                </a:xfrm>
                <a:prstGeom prst="rect">
                  <a:avLst/>
                </a:prstGeom>
              </p:spPr>
            </p:pic>
          </p:grpSp>
        </p:grpSp>
      </p:grpSp>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29672" y="790853"/>
            <a:ext cx="3418220" cy="462728"/>
          </a:xfrm>
          <a:prstGeom prst="rect">
            <a:avLst/>
          </a:prstGeom>
        </p:spPr>
      </p:pic>
      <p:pic>
        <p:nvPicPr>
          <p:cNvPr id="18" name="Daimler Financial Service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18453" y="998931"/>
            <a:ext cx="3742051" cy="236996"/>
          </a:xfrm>
          <a:prstGeom prst="rect">
            <a:avLst/>
          </a:prstGeom>
        </p:spPr>
      </p:pic>
      <p:grpSp>
        <p:nvGrpSpPr>
          <p:cNvPr id="19" name="Gruppieren 18"/>
          <p:cNvGrpSpPr/>
          <p:nvPr userDrawn="1"/>
        </p:nvGrpSpPr>
        <p:grpSpPr>
          <a:xfrm>
            <a:off x="-2250855" y="3527183"/>
            <a:ext cx="2229361" cy="4638856"/>
            <a:chOff x="12221581" y="-62687"/>
            <a:chExt cx="2230522" cy="4639930"/>
          </a:xfrm>
        </p:grpSpPr>
        <p:sp>
          <p:nvSpPr>
            <p:cNvPr id="20" name="Rechteck 19"/>
            <p:cNvSpPr/>
            <p:nvPr userDrawn="1"/>
          </p:nvSpPr>
          <p:spPr>
            <a:xfrm>
              <a:off x="12266612" y="-62687"/>
              <a:ext cx="2185491" cy="1446550"/>
            </a:xfrm>
            <a:prstGeom prst="rect">
              <a:avLst/>
            </a:prstGeom>
          </p:spPr>
          <p:txBody>
            <a:bodyPr wrap="square">
              <a:spAutoFit/>
            </a:bodyPr>
            <a:lstStyle/>
            <a:p>
              <a:pPr algn="r" defTabSz="1088415"/>
              <a:r>
                <a:rPr lang="en-GB" sz="1099" b="1" dirty="0">
                  <a:solidFill>
                    <a:srgbClr val="444444"/>
                  </a:solidFill>
                </a:rPr>
                <a:t>Animation</a:t>
              </a:r>
            </a:p>
            <a:p>
              <a:pPr algn="r" defTabSz="1088415"/>
              <a:r>
                <a:rPr lang="en-GB" sz="1099" dirty="0">
                  <a:solidFill>
                    <a:srgbClr val="444444"/>
                  </a:solidFill>
                </a:rPr>
                <a:t>You can change animations via menu bar: animation.</a:t>
              </a:r>
            </a:p>
            <a:p>
              <a:pPr algn="r" defTabSz="1088415"/>
              <a:endParaRPr lang="en-GB" sz="1099" dirty="0">
                <a:solidFill>
                  <a:srgbClr val="444444"/>
                </a:solidFill>
              </a:endParaRPr>
            </a:p>
            <a:p>
              <a:pPr algn="r" defTabSz="1088415"/>
              <a:r>
                <a:rPr lang="en-GB" sz="1099" dirty="0">
                  <a:solidFill>
                    <a:srgbClr val="444444"/>
                  </a:solidFill>
                </a:rPr>
                <a:t>To remove the animation choose the menu bar animation and insert the animation pane by click on the following button.</a:t>
              </a:r>
            </a:p>
          </p:txBody>
        </p:sp>
        <p:pic>
          <p:nvPicPr>
            <p:cNvPr id="21" name="Grafik 2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2" name="Grafik 2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3" name="Rechteck 22"/>
            <p:cNvSpPr/>
            <p:nvPr userDrawn="1"/>
          </p:nvSpPr>
          <p:spPr>
            <a:xfrm>
              <a:off x="12221581" y="1896262"/>
              <a:ext cx="2185491" cy="938719"/>
            </a:xfrm>
            <a:prstGeom prst="rect">
              <a:avLst/>
            </a:prstGeom>
          </p:spPr>
          <p:txBody>
            <a:bodyPr wrap="square">
              <a:spAutoFit/>
            </a:bodyPr>
            <a:lstStyle/>
            <a:p>
              <a:pPr algn="r" defTabSz="1088415"/>
              <a:r>
                <a:rPr lang="en-GB" sz="1099" dirty="0">
                  <a:solidFill>
                    <a:srgbClr val="444444"/>
                  </a:solidFill>
                </a:rPr>
                <a:t>Within the window animation Pane you can choose the animated elements and by click on the blue arrow you can remove the animation.</a:t>
              </a:r>
            </a:p>
          </p:txBody>
        </p:sp>
      </p:grpSp>
      <p:grpSp>
        <p:nvGrpSpPr>
          <p:cNvPr id="24" name="Gruppieren 23"/>
          <p:cNvGrpSpPr/>
          <p:nvPr userDrawn="1"/>
        </p:nvGrpSpPr>
        <p:grpSpPr>
          <a:xfrm>
            <a:off x="12192001" y="-82363"/>
            <a:ext cx="2184353" cy="3786237"/>
            <a:chOff x="12266612" y="-62687"/>
            <a:chExt cx="2185491" cy="3787114"/>
          </a:xfrm>
        </p:grpSpPr>
        <p:sp>
          <p:nvSpPr>
            <p:cNvPr id="25" name="Rechteck 24"/>
            <p:cNvSpPr/>
            <p:nvPr userDrawn="1"/>
          </p:nvSpPr>
          <p:spPr>
            <a:xfrm>
              <a:off x="12266612" y="-62687"/>
              <a:ext cx="2185491" cy="769441"/>
            </a:xfrm>
            <a:prstGeom prst="rect">
              <a:avLst/>
            </a:prstGeom>
          </p:spPr>
          <p:txBody>
            <a:bodyPr wrap="square">
              <a:spAutoFit/>
            </a:bodyPr>
            <a:lstStyle/>
            <a:p>
              <a:pPr defTabSz="1088415"/>
              <a:r>
                <a:rPr lang="en-US" sz="1099" b="1" dirty="0">
                  <a:solidFill>
                    <a:srgbClr val="444444"/>
                  </a:solidFill>
                </a:rPr>
                <a:t>Change pictures</a:t>
              </a:r>
            </a:p>
            <a:p>
              <a:pPr defTabSz="1088415"/>
              <a:r>
                <a:rPr lang="en-US" sz="1099" dirty="0">
                  <a:solidFill>
                    <a:srgbClr val="444444"/>
                  </a:solidFill>
                </a:rPr>
                <a:t>Choose your desired picture, click right mouse button an choose change picture.</a:t>
              </a:r>
            </a:p>
          </p:txBody>
        </p:sp>
        <p:pic>
          <p:nvPicPr>
            <p:cNvPr id="26" name="Grafik 2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27" name="Gruppieren 26"/>
          <p:cNvGrpSpPr/>
          <p:nvPr userDrawn="1"/>
        </p:nvGrpSpPr>
        <p:grpSpPr>
          <a:xfrm>
            <a:off x="12192000" y="3909447"/>
            <a:ext cx="2383726" cy="3891078"/>
            <a:chOff x="12291863" y="5052225"/>
            <a:chExt cx="2384968" cy="3891979"/>
          </a:xfrm>
        </p:grpSpPr>
        <p:sp>
          <p:nvSpPr>
            <p:cNvPr id="36" name="Rechteck 35"/>
            <p:cNvSpPr/>
            <p:nvPr userDrawn="1"/>
          </p:nvSpPr>
          <p:spPr>
            <a:xfrm>
              <a:off x="12291863" y="5052225"/>
              <a:ext cx="2384968" cy="1107996"/>
            </a:xfrm>
            <a:prstGeom prst="rect">
              <a:avLst/>
            </a:prstGeom>
          </p:spPr>
          <p:txBody>
            <a:bodyPr wrap="square">
              <a:spAutoFit/>
            </a:bodyPr>
            <a:lstStyle/>
            <a:p>
              <a:pPr defTabSz="1088415"/>
              <a:r>
                <a:rPr lang="en-US" sz="1099" b="1" dirty="0">
                  <a:solidFill>
                    <a:srgbClr val="444444"/>
                  </a:solidFill>
                </a:rPr>
                <a:t>Align</a:t>
              </a:r>
            </a:p>
            <a:p>
              <a:pPr defTabSz="1088415"/>
              <a:r>
                <a:rPr lang="en-US" sz="1099" dirty="0">
                  <a:solidFill>
                    <a:srgbClr val="444444"/>
                  </a:solidFill>
                </a:rPr>
                <a:t>By using this tool you can align objects, pictures and text blocks with another:</a:t>
              </a:r>
            </a:p>
            <a:p>
              <a:pPr defTabSz="1088415"/>
              <a:r>
                <a:rPr lang="en-US" sz="1099" dirty="0">
                  <a:solidFill>
                    <a:srgbClr val="444444"/>
                  </a:solidFill>
                </a:rPr>
                <a:t>Choose desired objects // Format // Align</a:t>
              </a:r>
            </a:p>
          </p:txBody>
        </p:sp>
        <p:pic>
          <p:nvPicPr>
            <p:cNvPr id="37" name="Picture 2"/>
            <p:cNvPicPr>
              <a:picLocks noChangeAspect="1" noChangeArrowheads="1"/>
            </p:cNvPicPr>
            <p:nvPr userDrawn="1"/>
          </p:nvPicPr>
          <p:blipFill>
            <a:blip r:embed="rId10">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uppieren 37"/>
          <p:cNvGrpSpPr/>
          <p:nvPr userDrawn="1"/>
        </p:nvGrpSpPr>
        <p:grpSpPr>
          <a:xfrm>
            <a:off x="14575727" y="-67809"/>
            <a:ext cx="2184353" cy="5224601"/>
            <a:chOff x="14583318" y="4183"/>
            <a:chExt cx="2185491" cy="5225811"/>
          </a:xfrm>
        </p:grpSpPr>
        <p:sp>
          <p:nvSpPr>
            <p:cNvPr id="39" name="Rechteck 38"/>
            <p:cNvSpPr/>
            <p:nvPr userDrawn="1"/>
          </p:nvSpPr>
          <p:spPr>
            <a:xfrm>
              <a:off x="14583318" y="4183"/>
              <a:ext cx="2185491" cy="1107996"/>
            </a:xfrm>
            <a:prstGeom prst="rect">
              <a:avLst/>
            </a:prstGeom>
          </p:spPr>
          <p:txBody>
            <a:bodyPr wrap="square">
              <a:spAutoFit/>
            </a:bodyPr>
            <a:lstStyle/>
            <a:p>
              <a:pPr defTabSz="1088415">
                <a:defRPr/>
              </a:pPr>
              <a:r>
                <a:rPr lang="en-US" sz="1099" b="1" dirty="0">
                  <a:solidFill>
                    <a:srgbClr val="444444"/>
                  </a:solidFill>
                </a:rPr>
                <a:t>Crop pictures to shape</a:t>
              </a:r>
            </a:p>
            <a:p>
              <a:pPr defTabSz="1088415"/>
              <a:r>
                <a:rPr lang="en-US" sz="1099" dirty="0">
                  <a:solidFill>
                    <a:srgbClr val="444444"/>
                  </a:solidFill>
                </a:rPr>
                <a:t>To crop pictures in a circle in the first step they have to be square-shaped. </a:t>
              </a:r>
            </a:p>
            <a:p>
              <a:pPr defTabSz="1088415"/>
              <a:r>
                <a:rPr lang="en-US" sz="1099" dirty="0">
                  <a:solidFill>
                    <a:srgbClr val="444444"/>
                  </a:solidFill>
                </a:rPr>
                <a:t>Do this via menu bar:</a:t>
              </a:r>
            </a:p>
            <a:p>
              <a:pPr defTabSz="1088415"/>
              <a:r>
                <a:rPr lang="en-US" sz="1099" dirty="0">
                  <a:solidFill>
                    <a:srgbClr val="444444"/>
                  </a:solidFill>
                </a:rPr>
                <a:t>Picture Tool // Format // Crop</a:t>
              </a:r>
            </a:p>
          </p:txBody>
        </p:sp>
        <p:pic>
          <p:nvPicPr>
            <p:cNvPr id="40" name="Grafik 39"/>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1" name="Grafik 40"/>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2" name="Rechteck 41"/>
            <p:cNvSpPr/>
            <p:nvPr userDrawn="1"/>
          </p:nvSpPr>
          <p:spPr>
            <a:xfrm>
              <a:off x="14583318" y="2076199"/>
              <a:ext cx="2185491" cy="938719"/>
            </a:xfrm>
            <a:prstGeom prst="rect">
              <a:avLst/>
            </a:prstGeom>
          </p:spPr>
          <p:txBody>
            <a:bodyPr wrap="square">
              <a:spAutoFit/>
            </a:bodyPr>
            <a:lstStyle/>
            <a:p>
              <a:pPr defTabSz="1088415"/>
              <a:r>
                <a:rPr lang="en-US" sz="1099" dirty="0">
                  <a:solidFill>
                    <a:srgbClr val="444444"/>
                  </a:solidFill>
                </a:rPr>
                <a:t>Afterwards the picture can be cropped in a circle via following menu:</a:t>
              </a:r>
            </a:p>
            <a:p>
              <a:pPr defTabSz="1088415"/>
              <a:r>
                <a:rPr lang="en-US" sz="1099" dirty="0">
                  <a:solidFill>
                    <a:srgbClr val="444444"/>
                  </a:solidFill>
                </a:rPr>
                <a:t>Picture Tool // Format // Crop // Crop to Shape</a:t>
              </a:r>
            </a:p>
          </p:txBody>
        </p:sp>
        <p:pic>
          <p:nvPicPr>
            <p:cNvPr id="43" name="Grafik 4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2551907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1289">
          <p15:clr>
            <a:srgbClr val="FBAE40"/>
          </p15:clr>
        </p15:guide>
      </p15:sldGuideLst>
    </p:ext>
  </p:extLst>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p:txBody>
          <a:bodyPr/>
          <a:lstStyle/>
          <a:p>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Tree>
    <p:extLst>
      <p:ext uri="{BB962C8B-B14F-4D97-AF65-F5344CB8AC3E}">
        <p14:creationId xmlns:p14="http://schemas.microsoft.com/office/powerpoint/2010/main" val="3136537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995.xml><?xml version="1.0" encoding="utf-8"?>
<p:sldLayout xmlns:a="http://schemas.openxmlformats.org/drawingml/2006/main" xmlns:r="http://schemas.openxmlformats.org/officeDocument/2006/relationships" xmlns:p="http://schemas.openxmlformats.org/presentationml/2006/main" preserve="1"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p:txBody>
          <a:bodyPr/>
          <a:lstStyle/>
          <a:p>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730454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996.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900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Copyright" hidden="1"/>
          <p:cNvSpPr txBox="1"/>
          <p:nvPr userDrawn="1"/>
        </p:nvSpPr>
        <p:spPr>
          <a:xfrm rot="16200000">
            <a:off x="9894760" y="3895344"/>
            <a:ext cx="4318256" cy="98745"/>
          </a:xfrm>
          <a:prstGeom prst="rect">
            <a:avLst/>
          </a:prstGeom>
          <a:noFill/>
        </p:spPr>
        <p:txBody>
          <a:bodyPr wrap="square" lIns="0" tIns="0" rIns="0" bIns="0" rtlCol="0" anchor="t">
            <a:noAutofit/>
          </a:bodyPr>
          <a:lstStyle/>
          <a:p>
            <a:pPr defTabSz="1088415">
              <a:lnSpc>
                <a:spcPct val="90000"/>
              </a:lnSpc>
              <a:spcAft>
                <a:spcPts val="600"/>
              </a:spcAft>
            </a:pPr>
            <a:r>
              <a:rPr lang="en-US" sz="700" dirty="0">
                <a:solidFill>
                  <a:prstClr val="white">
                    <a:lumMod val="50000"/>
                  </a:prstClr>
                </a:solidFill>
                <a:sym typeface="CorpoS" pitchFamily="2" charset="0"/>
              </a:rPr>
              <a:t>Copyright © 2017 by The Boston Consulting Group, Inc.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9" b="0" i="0" u="none" kern="1200" spc="0">
                <a:solidFill>
                  <a:srgbClr val="000000"/>
                </a:solidFill>
                <a:latin typeface="CorpoS" pitchFamily="2" charset="0"/>
                <a:sym typeface="CorpoS" pitchFamily="2" charset="0"/>
              </a:defRPr>
            </a:lvl1pPr>
          </a:lstStyle>
          <a:p>
            <a:pPr lvl="0"/>
            <a:r>
              <a:rPr lang="en-US" dirty="0" smtClean="0"/>
              <a:t>Click to add title</a:t>
            </a:r>
            <a:endParaRPr lang="en-US" dirty="0"/>
          </a:p>
        </p:txBody>
      </p:sp>
      <p:sp>
        <p:nvSpPr>
          <p:cNvPr id="6" name="Slide Number Placeholder 3"/>
          <p:cNvSpPr>
            <a:spLocks noGrp="1"/>
          </p:cNvSpPr>
          <p:nvPr>
            <p:ph type="sldNum" sz="quarter" idx="11"/>
          </p:nvPr>
        </p:nvSpPr>
        <p:spPr>
          <a:xfrm>
            <a:off x="11036804" y="6564880"/>
            <a:ext cx="1155196" cy="215950"/>
          </a:xfrm>
        </p:spPr>
        <p:txBody>
          <a:bodyPr/>
          <a:lstStyle/>
          <a:p>
            <a:r>
              <a:rPr lang="en-GB" dirty="0" smtClean="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8" name="Footer Placeholder 2"/>
          <p:cNvSpPr>
            <a:spLocks noGrp="1"/>
          </p:cNvSpPr>
          <p:nvPr>
            <p:ph type="ftr" sz="quarter" idx="10"/>
          </p:nvPr>
        </p:nvSpPr>
        <p:spPr>
          <a:xfrm>
            <a:off x="2878500" y="6564881"/>
            <a:ext cx="8120970" cy="215949"/>
          </a:xfrm>
          <a:prstGeom prst="rect">
            <a:avLst/>
          </a:prstGeom>
        </p:spPr>
        <p:txBody>
          <a:bodyPr/>
          <a:lstStyle>
            <a:lvl1pPr>
              <a:defRPr sz="1199"/>
            </a:lvl1pPr>
          </a:lstStyle>
          <a:p>
            <a:endParaRPr lang="en-GB" dirty="0" smtClean="0">
              <a:solidFill>
                <a:prstClr val="black"/>
              </a:solidFill>
            </a:endParaRPr>
          </a:p>
        </p:txBody>
      </p:sp>
    </p:spTree>
    <p:extLst>
      <p:ext uri="{BB962C8B-B14F-4D97-AF65-F5344CB8AC3E}">
        <p14:creationId xmlns:p14="http://schemas.microsoft.com/office/powerpoint/2010/main" val="3964370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997.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7" y="1587"/>
          <a:ext cx="1587" cy="1588"/>
        </p:xfrm>
        <a:graphic>
          <a:graphicData uri="http://schemas.openxmlformats.org/presentationml/2006/ole">
            <mc:AlternateContent xmlns:mc="http://schemas.openxmlformats.org/markup-compatibility/2006">
              <mc:Choice xmlns:v="urn:schemas-microsoft-com:vml" Requires="v">
                <p:oleObj spid="_x0000_s213091"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7" y="1587"/>
                        <a:ext cx="1587" cy="1588"/>
                      </a:xfrm>
                      <a:prstGeom prst="rect">
                        <a:avLst/>
                      </a:prstGeom>
                    </p:spPr>
                  </p:pic>
                </p:oleObj>
              </mc:Fallback>
            </mc:AlternateContent>
          </a:graphicData>
        </a:graphic>
      </p:graphicFrame>
      <p:sp>
        <p:nvSpPr>
          <p:cNvPr id="4" name="Picture Placeholder 3"/>
          <p:cNvSpPr>
            <a:spLocks noGrp="1"/>
          </p:cNvSpPr>
          <p:nvPr>
            <p:ph type="pic" sz="quarter" idx="10" hasCustomPrompt="1"/>
          </p:nvPr>
        </p:nvSpPr>
        <p:spPr bwMode="auto">
          <a:xfrm>
            <a:off x="-2380" y="3429000"/>
            <a:ext cx="12192830" cy="3429000"/>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628323" y="2045814"/>
            <a:ext cx="10932181" cy="1619625"/>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err="1"/>
              <a:t>CorpoS</a:t>
            </a:r>
            <a:r>
              <a:rPr lang="en-GB" noProof="0" dirty="0"/>
              <a:t> </a:t>
            </a:r>
            <a:r>
              <a:rPr lang="en-GB" dirty="0"/>
              <a:t>(Body) 35 pt.</a:t>
            </a:r>
            <a:br>
              <a:rPr lang="en-GB" dirty="0"/>
            </a:br>
            <a:r>
              <a:rPr lang="en-GB" dirty="0"/>
              <a:t>Presentation title in two or three </a:t>
            </a:r>
            <a:br>
              <a:rPr lang="en-GB" dirty="0"/>
            </a:br>
            <a:r>
              <a:rPr lang="en-GB" dirty="0"/>
              <a:t>lines of text, dd. </a:t>
            </a:r>
            <a:r>
              <a:rPr lang="en-GB" dirty="0" err="1"/>
              <a:t>mmmm</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29672" y="790853"/>
            <a:ext cx="3418220" cy="462728"/>
          </a:xfrm>
          <a:prstGeom prst="rect">
            <a:avLst/>
          </a:prstGeom>
        </p:spPr>
      </p:pic>
    </p:spTree>
    <p:extLst>
      <p:ext uri="{BB962C8B-B14F-4D97-AF65-F5344CB8AC3E}">
        <p14:creationId xmlns:p14="http://schemas.microsoft.com/office/powerpoint/2010/main" val="1055092384"/>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1289">
          <p15:clr>
            <a:srgbClr val="FBAE40"/>
          </p15:clr>
        </p15:guide>
      </p15:sldGuideLst>
    </p:ext>
  </p:extLst>
</p:sldLayout>
</file>

<file path=ppt/slideLayouts/slideLayout998.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7" y="1587"/>
          <a:ext cx="1587" cy="1588"/>
        </p:xfrm>
        <a:graphic>
          <a:graphicData uri="http://schemas.openxmlformats.org/presentationml/2006/ole">
            <mc:AlternateContent xmlns:mc="http://schemas.openxmlformats.org/markup-compatibility/2006">
              <mc:Choice xmlns:v="urn:schemas-microsoft-com:vml" Requires="v">
                <p:oleObj spid="_x0000_s214115"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7" y="1587"/>
                        <a:ext cx="1587" cy="1588"/>
                      </a:xfrm>
                      <a:prstGeom prst="rect">
                        <a:avLst/>
                      </a:prstGeom>
                    </p:spPr>
                  </p:pic>
                </p:oleObj>
              </mc:Fallback>
            </mc:AlternateContent>
          </a:graphicData>
        </a:graphic>
      </p:graphicFrame>
      <p:sp>
        <p:nvSpPr>
          <p:cNvPr id="5" name="Rechteck 4"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088415">
              <a:lnSpc>
                <a:spcPts val="3998"/>
              </a:lnSpc>
              <a:spcBef>
                <a:spcPct val="0"/>
              </a:spcBef>
              <a:spcAft>
                <a:spcPct val="0"/>
              </a:spcAft>
            </a:pPr>
            <a:endParaRPr lang="en-GB" sz="3498" dirty="0">
              <a:solidFill>
                <a:prstClr val="white"/>
              </a:solidFill>
              <a:sym typeface="CorpoS" pitchFamily="2" charset="0"/>
            </a:endParaRPr>
          </a:p>
        </p:txBody>
      </p:sp>
      <p:sp>
        <p:nvSpPr>
          <p:cNvPr id="2" name="Title 1"/>
          <p:cNvSpPr>
            <a:spLocks noGrp="1"/>
          </p:cNvSpPr>
          <p:nvPr>
            <p:ph type="title" hasCustomPrompt="1"/>
          </p:nvPr>
        </p:nvSpPr>
        <p:spPr/>
        <p:txBody>
          <a:bodyPr/>
          <a:lstStyle>
            <a:lvl1pPr>
              <a:defRPr/>
            </a:lvl1pPr>
          </a:lstStyle>
          <a:p>
            <a:r>
              <a:rPr lang="en-GB" noProof="0" dirty="0"/>
              <a:t>Headline for Agenda in </a:t>
            </a:r>
            <a:r>
              <a:rPr lang="en-GB" noProof="0" dirty="0" err="1"/>
              <a:t>CorpoS</a:t>
            </a:r>
            <a:r>
              <a:rPr lang="en-GB" noProof="0" dirty="0"/>
              <a:t> (Body) 35 pt. </a:t>
            </a:r>
            <a:br>
              <a:rPr lang="en-GB" noProof="0" dirty="0"/>
            </a:br>
            <a:r>
              <a:rPr lang="en-GB" noProof="0" dirty="0"/>
              <a:t>one or two lines</a:t>
            </a:r>
          </a:p>
        </p:txBody>
      </p:sp>
      <p:sp>
        <p:nvSpPr>
          <p:cNvPr id="3" name="Footer Placeholder 2"/>
          <p:cNvSpPr>
            <a:spLocks noGrp="1"/>
          </p:cNvSpPr>
          <p:nvPr>
            <p:ph type="ftr" sz="quarter" idx="10"/>
          </p:nvPr>
        </p:nvSpPr>
        <p:spPr/>
        <p:txBody>
          <a:bodyPr/>
          <a:lstStyle/>
          <a:p>
            <a:r>
              <a:rPr lang="en-US" smtClean="0">
                <a:solidFill>
                  <a:prstClr val="black"/>
                </a:solidFill>
              </a:rPr>
              <a:t>Sustainability | Theme status report - Milestone 2 | 08.02.2019 | </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Text Placeholder 5"/>
          <p:cNvSpPr>
            <a:spLocks noGrp="1"/>
          </p:cNvSpPr>
          <p:nvPr>
            <p:ph type="body" sz="quarter" idx="12" hasCustomPrompt="1"/>
          </p:nvPr>
        </p:nvSpPr>
        <p:spPr>
          <a:xfrm>
            <a:off x="628324" y="1504602"/>
            <a:ext cx="10932180" cy="4875670"/>
          </a:xfrm>
        </p:spPr>
        <p:txBody>
          <a:bodyPr/>
          <a:lstStyle>
            <a:lvl1pPr marL="359820" indent="-359820">
              <a:buSzPct val="100000"/>
              <a:buFont typeface="+mj-lt"/>
              <a:buAutoNum type="arabicPeriod"/>
              <a:defRPr>
                <a:solidFill>
                  <a:schemeClr val="tx1"/>
                </a:solidFill>
              </a:defRPr>
            </a:lvl1pPr>
            <a:lvl2pPr marL="359820" indent="-359820">
              <a:buFont typeface="+mj-lt"/>
              <a:buAutoNum type="arabicPeriod"/>
              <a:defRPr>
                <a:solidFill>
                  <a:schemeClr val="tx1"/>
                </a:solidFill>
              </a:defRPr>
            </a:lvl2pPr>
            <a:lvl3pPr marL="359820" indent="-359820">
              <a:buFont typeface="+mj-lt"/>
              <a:buAutoNum type="arabicPeriod"/>
              <a:defRPr>
                <a:solidFill>
                  <a:schemeClr val="tx1"/>
                </a:solidFill>
              </a:defRPr>
            </a:lvl3pPr>
            <a:lvl4pPr marL="359820" indent="-359820">
              <a:buFont typeface="+mj-lt"/>
              <a:buAutoNum type="arabicPeriod"/>
              <a:defRPr>
                <a:solidFill>
                  <a:schemeClr val="tx1"/>
                </a:solidFill>
              </a:defRPr>
            </a:lvl4pPr>
            <a:lvl5pPr marL="359820" indent="-359820">
              <a:buFont typeface="+mj-lt"/>
              <a:buAutoNum type="arabicPeriod"/>
              <a:defRPr>
                <a:solidFill>
                  <a:schemeClr val="tx1"/>
                </a:solidFill>
              </a:defRPr>
            </a:lvl5pPr>
            <a:lvl6pPr marL="359820" indent="-359820">
              <a:buFont typeface="+mj-lt"/>
              <a:buAutoNum type="arabicPeriod"/>
              <a:defRPr>
                <a:solidFill>
                  <a:schemeClr val="tx1"/>
                </a:solidFill>
              </a:defRPr>
            </a:lvl6pPr>
            <a:lvl7pPr marL="359820" indent="-359820">
              <a:buFont typeface="+mj-lt"/>
              <a:buAutoNum type="arabicPeriod"/>
              <a:defRPr>
                <a:solidFill>
                  <a:schemeClr val="tx1"/>
                </a:solidFill>
              </a:defRPr>
            </a:lvl7pPr>
            <a:lvl8pPr marL="359820" indent="-359820">
              <a:buFont typeface="+mj-lt"/>
              <a:buAutoNum type="arabicPeriod"/>
              <a:defRPr>
                <a:solidFill>
                  <a:schemeClr val="tx1"/>
                </a:solidFill>
              </a:defRPr>
            </a:lvl8pPr>
            <a:lvl9pPr marL="359820" indent="-359820">
              <a:buFont typeface="+mj-lt"/>
              <a:buAutoNum type="arabicPeriod"/>
              <a:defRPr>
                <a:solidFill>
                  <a:schemeClr val="tx1"/>
                </a:solidFill>
              </a:defRPr>
            </a:lvl9pPr>
          </a:lstStyle>
          <a:p>
            <a:pPr lvl="0"/>
            <a:r>
              <a:rPr lang="en-GB" noProof="0" dirty="0"/>
              <a:t>Insert Agenda point</a:t>
            </a:r>
          </a:p>
          <a:p>
            <a:pPr lvl="1"/>
            <a:r>
              <a:rPr lang="en-GB" noProof="0" dirty="0"/>
              <a:t>Second level </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3471216057"/>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948">
          <p15:clr>
            <a:srgbClr val="FBAE40"/>
          </p15:clr>
        </p15:guide>
        <p15:guide id="3" orient="horz" pos="4020">
          <p15:clr>
            <a:srgbClr val="FBAE40"/>
          </p15:clr>
        </p15:guide>
      </p15:sldGuideLst>
    </p:ext>
  </p:extLst>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21513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6" cy="1587"/>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088415">
              <a:lnSpc>
                <a:spcPts val="3998"/>
              </a:lnSpc>
              <a:spcBef>
                <a:spcPct val="0"/>
              </a:spcBef>
              <a:spcAft>
                <a:spcPct val="0"/>
              </a:spcAft>
            </a:pPr>
            <a:endParaRPr lang="en-GB" sz="3498" dirty="0">
              <a:solidFill>
                <a:prstClr val="white"/>
              </a:solidFill>
              <a:sym typeface="CorpoS" pitchFamily="2" charset="0"/>
            </a:endParaRPr>
          </a:p>
        </p:txBody>
      </p:sp>
      <p:sp>
        <p:nvSpPr>
          <p:cNvPr id="2" name="Title 1"/>
          <p:cNvSpPr>
            <a:spLocks noGrp="1"/>
          </p:cNvSpPr>
          <p:nvPr>
            <p:ph type="title" hasCustomPrompt="1"/>
          </p:nvPr>
        </p:nvSpPr>
        <p:spPr/>
        <p:txBody>
          <a:bodyPr/>
          <a:lstStyle>
            <a:lvl1pPr>
              <a:defRPr/>
            </a:lvl1pPr>
          </a:lstStyle>
          <a:p>
            <a:r>
              <a:rPr lang="en-GB" noProof="0" dirty="0"/>
              <a:t>Headline in </a:t>
            </a:r>
            <a:r>
              <a:rPr lang="en-GB" noProof="0" dirty="0" err="1"/>
              <a:t>CorpoS</a:t>
            </a:r>
            <a:r>
              <a:rPr lang="en-GB" noProof="0" dirty="0"/>
              <a:t> (Body) 35 pt.</a:t>
            </a:r>
            <a:br>
              <a:rPr lang="en-GB" noProof="0" dirty="0"/>
            </a:br>
            <a:r>
              <a:rPr lang="en-GB" noProof="0" dirty="0"/>
              <a:t>in two lines</a:t>
            </a:r>
          </a:p>
        </p:txBody>
      </p:sp>
      <p:sp>
        <p:nvSpPr>
          <p:cNvPr id="3" name="Footer Placeholder 2"/>
          <p:cNvSpPr>
            <a:spLocks noGrp="1"/>
          </p:cNvSpPr>
          <p:nvPr>
            <p:ph type="ftr" sz="quarter" idx="10"/>
          </p:nvPr>
        </p:nvSpPr>
        <p:spPr/>
        <p:txBody>
          <a:bodyPr/>
          <a:lstStyle/>
          <a:p>
            <a:r>
              <a:rPr lang="en-US" smtClean="0">
                <a:solidFill>
                  <a:prstClr val="black"/>
                </a:solidFill>
              </a:rPr>
              <a:t>Sustainability | Theme status report - Milestone 2 | 08.02.2019 | </a:t>
            </a:r>
            <a:endParaRPr lang="en-GB" dirty="0">
              <a:solidFill>
                <a:prstClr val="black"/>
              </a:solidFill>
            </a:endParaRPr>
          </a:p>
        </p:txBody>
      </p:sp>
      <p:sp>
        <p:nvSpPr>
          <p:cNvPr id="4" name="Slide Number Placeholder 3"/>
          <p:cNvSpPr>
            <a:spLocks noGrp="1"/>
          </p:cNvSpPr>
          <p:nvPr>
            <p:ph type="sldNum" sz="quarter" idx="11"/>
          </p:nvPr>
        </p:nvSpPr>
        <p:spPr/>
        <p:txBody>
          <a:body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6" name="Content Placeholder 5"/>
          <p:cNvSpPr>
            <a:spLocks noGrp="1"/>
          </p:cNvSpPr>
          <p:nvPr>
            <p:ph sz="quarter" idx="12" hasCustomPrompt="1"/>
          </p:nvPr>
        </p:nvSpPr>
        <p:spPr>
          <a:xfrm>
            <a:off x="629909" y="1504602"/>
            <a:ext cx="10930594" cy="4983236"/>
          </a:xfrm>
        </p:spPr>
        <p:txBody>
          <a:bodyPr/>
          <a:lstStyle>
            <a:lvl1pPr>
              <a:defRPr baseline="0"/>
            </a:lvl1pPr>
          </a:lstStyle>
          <a:p>
            <a:pPr lvl="0"/>
            <a:r>
              <a:rPr lang="en-GB" noProof="0" dirty="0"/>
              <a:t>Insert content or text in </a:t>
            </a:r>
            <a:r>
              <a:rPr lang="en-GB" noProof="0" dirty="0" err="1"/>
              <a:t>CorpoS</a:t>
            </a:r>
            <a:r>
              <a:rPr lang="en-GB" noProof="0" dirty="0"/>
              <a:t> (Body) 24 pt. (Mark-ups in Bold) // for conclusion, summary or short highlight: Home // Paragraph// Increase List Level</a:t>
            </a:r>
          </a:p>
          <a:p>
            <a:pPr lvl="1"/>
            <a:r>
              <a:rPr lang="en-GB" noProof="0" dirty="0"/>
              <a:t>Second level (Conclusion, summary or short highlight)</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s level</a:t>
            </a:r>
          </a:p>
          <a:p>
            <a:pPr lvl="7"/>
            <a:r>
              <a:rPr lang="en-GB" noProof="0" dirty="0"/>
              <a:t>Eight level</a:t>
            </a:r>
          </a:p>
          <a:p>
            <a:pPr lvl="8"/>
            <a:r>
              <a:rPr lang="en-GB" noProof="0" dirty="0"/>
              <a:t>Ninth level</a:t>
            </a:r>
          </a:p>
        </p:txBody>
      </p:sp>
    </p:spTree>
    <p:extLst>
      <p:ext uri="{BB962C8B-B14F-4D97-AF65-F5344CB8AC3E}">
        <p14:creationId xmlns:p14="http://schemas.microsoft.com/office/powerpoint/2010/main" val="855827533"/>
      </p:ext>
    </p:extLst>
  </p:cSld>
  <p:clrMapOvr>
    <a:masterClrMapping/>
  </p:clrMapOvr>
  <p:extLst mod="1">
    <p:ext uri="{DCECCB84-F9BA-43D5-87BE-67443E8EF086}">
      <p15:sldGuideLst xmlns:p15="http://schemas.microsoft.com/office/powerpoint/2012/main">
        <p15:guide id="1" orient="horz" pos="182">
          <p15:clr>
            <a:srgbClr val="FBAE40"/>
          </p15:clr>
        </p15:guide>
        <p15:guide id="2" orient="horz" pos="4020">
          <p15:clr>
            <a:srgbClr val="FBAE40"/>
          </p15:clr>
        </p15:guide>
        <p15:guide id="3" orient="horz" pos="95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3.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24.xml"/><Relationship Id="rId18" Type="http://schemas.openxmlformats.org/officeDocument/2006/relationships/slideLayout" Target="../slideLayouts/slideLayout329.xml"/><Relationship Id="rId26" Type="http://schemas.openxmlformats.org/officeDocument/2006/relationships/slideLayout" Target="../slideLayouts/slideLayout337.xml"/><Relationship Id="rId39" Type="http://schemas.openxmlformats.org/officeDocument/2006/relationships/image" Target="../media/image15.emf"/><Relationship Id="rId21" Type="http://schemas.openxmlformats.org/officeDocument/2006/relationships/slideLayout" Target="../slideLayouts/slideLayout332.xml"/><Relationship Id="rId34" Type="http://schemas.openxmlformats.org/officeDocument/2006/relationships/slideLayout" Target="../slideLayouts/slideLayout345.xml"/><Relationship Id="rId7" Type="http://schemas.openxmlformats.org/officeDocument/2006/relationships/slideLayout" Target="../slideLayouts/slideLayout318.xml"/><Relationship Id="rId2" Type="http://schemas.openxmlformats.org/officeDocument/2006/relationships/slideLayout" Target="../slideLayouts/slideLayout313.xml"/><Relationship Id="rId16" Type="http://schemas.openxmlformats.org/officeDocument/2006/relationships/slideLayout" Target="../slideLayouts/slideLayout327.xml"/><Relationship Id="rId20" Type="http://schemas.openxmlformats.org/officeDocument/2006/relationships/slideLayout" Target="../slideLayouts/slideLayout331.xml"/><Relationship Id="rId29" Type="http://schemas.openxmlformats.org/officeDocument/2006/relationships/slideLayout" Target="../slideLayouts/slideLayout340.xml"/><Relationship Id="rId41" Type="http://schemas.openxmlformats.org/officeDocument/2006/relationships/image" Target="../media/image3.png"/><Relationship Id="rId1" Type="http://schemas.openxmlformats.org/officeDocument/2006/relationships/slideLayout" Target="../slideLayouts/slideLayout312.xml"/><Relationship Id="rId6" Type="http://schemas.openxmlformats.org/officeDocument/2006/relationships/slideLayout" Target="../slideLayouts/slideLayout317.xml"/><Relationship Id="rId11" Type="http://schemas.openxmlformats.org/officeDocument/2006/relationships/slideLayout" Target="../slideLayouts/slideLayout322.xml"/><Relationship Id="rId24" Type="http://schemas.openxmlformats.org/officeDocument/2006/relationships/slideLayout" Target="../slideLayouts/slideLayout335.xml"/><Relationship Id="rId32" Type="http://schemas.openxmlformats.org/officeDocument/2006/relationships/slideLayout" Target="../slideLayouts/slideLayout343.xml"/><Relationship Id="rId37" Type="http://schemas.openxmlformats.org/officeDocument/2006/relationships/tags" Target="../tags/tag42.xml"/><Relationship Id="rId40" Type="http://schemas.openxmlformats.org/officeDocument/2006/relationships/image" Target="../media/image2.png"/><Relationship Id="rId5" Type="http://schemas.openxmlformats.org/officeDocument/2006/relationships/slideLayout" Target="../slideLayouts/slideLayout316.xml"/><Relationship Id="rId15" Type="http://schemas.openxmlformats.org/officeDocument/2006/relationships/slideLayout" Target="../slideLayouts/slideLayout326.xml"/><Relationship Id="rId23" Type="http://schemas.openxmlformats.org/officeDocument/2006/relationships/slideLayout" Target="../slideLayouts/slideLayout334.xml"/><Relationship Id="rId28" Type="http://schemas.openxmlformats.org/officeDocument/2006/relationships/slideLayout" Target="../slideLayouts/slideLayout339.xml"/><Relationship Id="rId36" Type="http://schemas.openxmlformats.org/officeDocument/2006/relationships/vmlDrawing" Target="../drawings/vmlDrawing42.vml"/><Relationship Id="rId10" Type="http://schemas.openxmlformats.org/officeDocument/2006/relationships/slideLayout" Target="../slideLayouts/slideLayout321.xml"/><Relationship Id="rId19" Type="http://schemas.openxmlformats.org/officeDocument/2006/relationships/slideLayout" Target="../slideLayouts/slideLayout330.xml"/><Relationship Id="rId31" Type="http://schemas.openxmlformats.org/officeDocument/2006/relationships/slideLayout" Target="../slideLayouts/slideLayout342.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slideLayout" Target="../slideLayouts/slideLayout325.xml"/><Relationship Id="rId22" Type="http://schemas.openxmlformats.org/officeDocument/2006/relationships/slideLayout" Target="../slideLayouts/slideLayout333.xml"/><Relationship Id="rId27" Type="http://schemas.openxmlformats.org/officeDocument/2006/relationships/slideLayout" Target="../slideLayouts/slideLayout338.xml"/><Relationship Id="rId30" Type="http://schemas.openxmlformats.org/officeDocument/2006/relationships/slideLayout" Target="../slideLayouts/slideLayout341.xml"/><Relationship Id="rId35" Type="http://schemas.openxmlformats.org/officeDocument/2006/relationships/theme" Target="../theme/theme10.xml"/><Relationship Id="rId8" Type="http://schemas.openxmlformats.org/officeDocument/2006/relationships/slideLayout" Target="../slideLayouts/slideLayout319.xml"/><Relationship Id="rId3" Type="http://schemas.openxmlformats.org/officeDocument/2006/relationships/slideLayout" Target="../slideLayouts/slideLayout314.xml"/><Relationship Id="rId12" Type="http://schemas.openxmlformats.org/officeDocument/2006/relationships/slideLayout" Target="../slideLayouts/slideLayout323.xml"/><Relationship Id="rId17" Type="http://schemas.openxmlformats.org/officeDocument/2006/relationships/slideLayout" Target="../slideLayouts/slideLayout328.xml"/><Relationship Id="rId25" Type="http://schemas.openxmlformats.org/officeDocument/2006/relationships/slideLayout" Target="../slideLayouts/slideLayout336.xml"/><Relationship Id="rId33" Type="http://schemas.openxmlformats.org/officeDocument/2006/relationships/slideLayout" Target="../slideLayouts/slideLayout344.xml"/><Relationship Id="rId38" Type="http://schemas.openxmlformats.org/officeDocument/2006/relationships/oleObject" Target="../embeddings/oleObject42.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53.xml"/><Relationship Id="rId13" Type="http://schemas.openxmlformats.org/officeDocument/2006/relationships/slideLayout" Target="../slideLayouts/slideLayout358.xml"/><Relationship Id="rId18" Type="http://schemas.openxmlformats.org/officeDocument/2006/relationships/slideLayout" Target="../slideLayouts/slideLayout363.xml"/><Relationship Id="rId26" Type="http://schemas.openxmlformats.org/officeDocument/2006/relationships/theme" Target="../theme/theme11.xml"/><Relationship Id="rId3" Type="http://schemas.openxmlformats.org/officeDocument/2006/relationships/slideLayout" Target="../slideLayouts/slideLayout348.xml"/><Relationship Id="rId21" Type="http://schemas.openxmlformats.org/officeDocument/2006/relationships/slideLayout" Target="../slideLayouts/slideLayout366.xml"/><Relationship Id="rId7" Type="http://schemas.openxmlformats.org/officeDocument/2006/relationships/slideLayout" Target="../slideLayouts/slideLayout352.xml"/><Relationship Id="rId12" Type="http://schemas.openxmlformats.org/officeDocument/2006/relationships/slideLayout" Target="../slideLayouts/slideLayout357.xml"/><Relationship Id="rId17" Type="http://schemas.openxmlformats.org/officeDocument/2006/relationships/slideLayout" Target="../slideLayouts/slideLayout362.xml"/><Relationship Id="rId25" Type="http://schemas.openxmlformats.org/officeDocument/2006/relationships/slideLayout" Target="../slideLayouts/slideLayout370.xml"/><Relationship Id="rId2" Type="http://schemas.openxmlformats.org/officeDocument/2006/relationships/slideLayout" Target="../slideLayouts/slideLayout347.xml"/><Relationship Id="rId16" Type="http://schemas.openxmlformats.org/officeDocument/2006/relationships/slideLayout" Target="../slideLayouts/slideLayout361.xml"/><Relationship Id="rId20" Type="http://schemas.openxmlformats.org/officeDocument/2006/relationships/slideLayout" Target="../slideLayouts/slideLayout365.xml"/><Relationship Id="rId1" Type="http://schemas.openxmlformats.org/officeDocument/2006/relationships/slideLayout" Target="../slideLayouts/slideLayout346.xml"/><Relationship Id="rId6" Type="http://schemas.openxmlformats.org/officeDocument/2006/relationships/slideLayout" Target="../slideLayouts/slideLayout351.xml"/><Relationship Id="rId11" Type="http://schemas.openxmlformats.org/officeDocument/2006/relationships/slideLayout" Target="../slideLayouts/slideLayout356.xml"/><Relationship Id="rId24" Type="http://schemas.openxmlformats.org/officeDocument/2006/relationships/slideLayout" Target="../slideLayouts/slideLayout369.xml"/><Relationship Id="rId5" Type="http://schemas.openxmlformats.org/officeDocument/2006/relationships/slideLayout" Target="../slideLayouts/slideLayout350.xml"/><Relationship Id="rId15" Type="http://schemas.openxmlformats.org/officeDocument/2006/relationships/slideLayout" Target="../slideLayouts/slideLayout360.xml"/><Relationship Id="rId23" Type="http://schemas.openxmlformats.org/officeDocument/2006/relationships/slideLayout" Target="../slideLayouts/slideLayout368.xml"/><Relationship Id="rId10" Type="http://schemas.openxmlformats.org/officeDocument/2006/relationships/slideLayout" Target="../slideLayouts/slideLayout355.xml"/><Relationship Id="rId19" Type="http://schemas.openxmlformats.org/officeDocument/2006/relationships/slideLayout" Target="../slideLayouts/slideLayout364.xml"/><Relationship Id="rId4" Type="http://schemas.openxmlformats.org/officeDocument/2006/relationships/slideLayout" Target="../slideLayouts/slideLayout349.xml"/><Relationship Id="rId9" Type="http://schemas.openxmlformats.org/officeDocument/2006/relationships/slideLayout" Target="../slideLayouts/slideLayout354.xml"/><Relationship Id="rId14" Type="http://schemas.openxmlformats.org/officeDocument/2006/relationships/slideLayout" Target="../slideLayouts/slideLayout359.xml"/><Relationship Id="rId22" Type="http://schemas.openxmlformats.org/officeDocument/2006/relationships/slideLayout" Target="../slideLayouts/slideLayout367.xml"/><Relationship Id="rId27" Type="http://schemas.openxmlformats.org/officeDocument/2006/relationships/image" Target="../media/image23.emf"/></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83.xml"/><Relationship Id="rId18" Type="http://schemas.openxmlformats.org/officeDocument/2006/relationships/slideLayout" Target="../slideLayouts/slideLayout388.xml"/><Relationship Id="rId26" Type="http://schemas.openxmlformats.org/officeDocument/2006/relationships/slideLayout" Target="../slideLayouts/slideLayout396.xml"/><Relationship Id="rId39" Type="http://schemas.openxmlformats.org/officeDocument/2006/relationships/oleObject" Target="../embeddings/oleObject48.bin"/><Relationship Id="rId21" Type="http://schemas.openxmlformats.org/officeDocument/2006/relationships/slideLayout" Target="../slideLayouts/slideLayout391.xml"/><Relationship Id="rId34" Type="http://schemas.openxmlformats.org/officeDocument/2006/relationships/slideLayout" Target="../slideLayouts/slideLayout404.xml"/><Relationship Id="rId42" Type="http://schemas.openxmlformats.org/officeDocument/2006/relationships/image" Target="../media/image3.png"/><Relationship Id="rId7" Type="http://schemas.openxmlformats.org/officeDocument/2006/relationships/slideLayout" Target="../slideLayouts/slideLayout377.xml"/><Relationship Id="rId2" Type="http://schemas.openxmlformats.org/officeDocument/2006/relationships/slideLayout" Target="../slideLayouts/slideLayout372.xml"/><Relationship Id="rId16" Type="http://schemas.openxmlformats.org/officeDocument/2006/relationships/slideLayout" Target="../slideLayouts/slideLayout386.xml"/><Relationship Id="rId20" Type="http://schemas.openxmlformats.org/officeDocument/2006/relationships/slideLayout" Target="../slideLayouts/slideLayout390.xml"/><Relationship Id="rId29" Type="http://schemas.openxmlformats.org/officeDocument/2006/relationships/slideLayout" Target="../slideLayouts/slideLayout399.xml"/><Relationship Id="rId41" Type="http://schemas.openxmlformats.org/officeDocument/2006/relationships/image" Target="../media/image2.png"/><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slideLayout" Target="../slideLayouts/slideLayout381.xml"/><Relationship Id="rId24" Type="http://schemas.openxmlformats.org/officeDocument/2006/relationships/slideLayout" Target="../slideLayouts/slideLayout394.xml"/><Relationship Id="rId32" Type="http://schemas.openxmlformats.org/officeDocument/2006/relationships/slideLayout" Target="../slideLayouts/slideLayout402.xml"/><Relationship Id="rId37" Type="http://schemas.openxmlformats.org/officeDocument/2006/relationships/vmlDrawing" Target="../drawings/vmlDrawing48.vml"/><Relationship Id="rId40" Type="http://schemas.openxmlformats.org/officeDocument/2006/relationships/image" Target="../media/image15.emf"/><Relationship Id="rId5" Type="http://schemas.openxmlformats.org/officeDocument/2006/relationships/slideLayout" Target="../slideLayouts/slideLayout375.xml"/><Relationship Id="rId15" Type="http://schemas.openxmlformats.org/officeDocument/2006/relationships/slideLayout" Target="../slideLayouts/slideLayout385.xml"/><Relationship Id="rId23" Type="http://schemas.openxmlformats.org/officeDocument/2006/relationships/slideLayout" Target="../slideLayouts/slideLayout393.xml"/><Relationship Id="rId28" Type="http://schemas.openxmlformats.org/officeDocument/2006/relationships/slideLayout" Target="../slideLayouts/slideLayout398.xml"/><Relationship Id="rId36" Type="http://schemas.openxmlformats.org/officeDocument/2006/relationships/theme" Target="../theme/theme12.xml"/><Relationship Id="rId10" Type="http://schemas.openxmlformats.org/officeDocument/2006/relationships/slideLayout" Target="../slideLayouts/slideLayout380.xml"/><Relationship Id="rId19" Type="http://schemas.openxmlformats.org/officeDocument/2006/relationships/slideLayout" Target="../slideLayouts/slideLayout389.xml"/><Relationship Id="rId31" Type="http://schemas.openxmlformats.org/officeDocument/2006/relationships/slideLayout" Target="../slideLayouts/slideLayout401.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slideLayout" Target="../slideLayouts/slideLayout384.xml"/><Relationship Id="rId22" Type="http://schemas.openxmlformats.org/officeDocument/2006/relationships/slideLayout" Target="../slideLayouts/slideLayout392.xml"/><Relationship Id="rId27" Type="http://schemas.openxmlformats.org/officeDocument/2006/relationships/slideLayout" Target="../slideLayouts/slideLayout397.xml"/><Relationship Id="rId30" Type="http://schemas.openxmlformats.org/officeDocument/2006/relationships/slideLayout" Target="../slideLayouts/slideLayout400.xml"/><Relationship Id="rId35" Type="http://schemas.openxmlformats.org/officeDocument/2006/relationships/slideLayout" Target="../slideLayouts/slideLayout405.xml"/><Relationship Id="rId8" Type="http://schemas.openxmlformats.org/officeDocument/2006/relationships/slideLayout" Target="../slideLayouts/slideLayout378.xml"/><Relationship Id="rId3" Type="http://schemas.openxmlformats.org/officeDocument/2006/relationships/slideLayout" Target="../slideLayouts/slideLayout373.xml"/><Relationship Id="rId12" Type="http://schemas.openxmlformats.org/officeDocument/2006/relationships/slideLayout" Target="../slideLayouts/slideLayout382.xml"/><Relationship Id="rId17" Type="http://schemas.openxmlformats.org/officeDocument/2006/relationships/slideLayout" Target="../slideLayouts/slideLayout387.xml"/><Relationship Id="rId25" Type="http://schemas.openxmlformats.org/officeDocument/2006/relationships/slideLayout" Target="../slideLayouts/slideLayout395.xml"/><Relationship Id="rId33" Type="http://schemas.openxmlformats.org/officeDocument/2006/relationships/slideLayout" Target="../slideLayouts/slideLayout403.xml"/><Relationship Id="rId38" Type="http://schemas.openxmlformats.org/officeDocument/2006/relationships/tags" Target="../tags/tag48.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418.xml"/><Relationship Id="rId18" Type="http://schemas.openxmlformats.org/officeDocument/2006/relationships/slideLayout" Target="../slideLayouts/slideLayout423.xml"/><Relationship Id="rId26" Type="http://schemas.openxmlformats.org/officeDocument/2006/relationships/slideLayout" Target="../slideLayouts/slideLayout431.xml"/><Relationship Id="rId39" Type="http://schemas.openxmlformats.org/officeDocument/2006/relationships/image" Target="../media/image15.emf"/><Relationship Id="rId21" Type="http://schemas.openxmlformats.org/officeDocument/2006/relationships/slideLayout" Target="../slideLayouts/slideLayout426.xml"/><Relationship Id="rId34" Type="http://schemas.openxmlformats.org/officeDocument/2006/relationships/slideLayout" Target="../slideLayouts/slideLayout439.xml"/><Relationship Id="rId7" Type="http://schemas.openxmlformats.org/officeDocument/2006/relationships/slideLayout" Target="../slideLayouts/slideLayout412.xml"/><Relationship Id="rId2" Type="http://schemas.openxmlformats.org/officeDocument/2006/relationships/slideLayout" Target="../slideLayouts/slideLayout407.xml"/><Relationship Id="rId16" Type="http://schemas.openxmlformats.org/officeDocument/2006/relationships/slideLayout" Target="../slideLayouts/slideLayout421.xml"/><Relationship Id="rId20" Type="http://schemas.openxmlformats.org/officeDocument/2006/relationships/slideLayout" Target="../slideLayouts/slideLayout425.xml"/><Relationship Id="rId29" Type="http://schemas.openxmlformats.org/officeDocument/2006/relationships/slideLayout" Target="../slideLayouts/slideLayout434.xml"/><Relationship Id="rId41" Type="http://schemas.openxmlformats.org/officeDocument/2006/relationships/image" Target="../media/image3.png"/><Relationship Id="rId1" Type="http://schemas.openxmlformats.org/officeDocument/2006/relationships/slideLayout" Target="../slideLayouts/slideLayout406.xml"/><Relationship Id="rId6" Type="http://schemas.openxmlformats.org/officeDocument/2006/relationships/slideLayout" Target="../slideLayouts/slideLayout411.xml"/><Relationship Id="rId11" Type="http://schemas.openxmlformats.org/officeDocument/2006/relationships/slideLayout" Target="../slideLayouts/slideLayout416.xml"/><Relationship Id="rId24" Type="http://schemas.openxmlformats.org/officeDocument/2006/relationships/slideLayout" Target="../slideLayouts/slideLayout429.xml"/><Relationship Id="rId32" Type="http://schemas.openxmlformats.org/officeDocument/2006/relationships/slideLayout" Target="../slideLayouts/slideLayout437.xml"/><Relationship Id="rId37" Type="http://schemas.openxmlformats.org/officeDocument/2006/relationships/tags" Target="../tags/tag50.xml"/><Relationship Id="rId40" Type="http://schemas.openxmlformats.org/officeDocument/2006/relationships/image" Target="../media/image2.png"/><Relationship Id="rId5" Type="http://schemas.openxmlformats.org/officeDocument/2006/relationships/slideLayout" Target="../slideLayouts/slideLayout410.xml"/><Relationship Id="rId15" Type="http://schemas.openxmlformats.org/officeDocument/2006/relationships/slideLayout" Target="../slideLayouts/slideLayout420.xml"/><Relationship Id="rId23" Type="http://schemas.openxmlformats.org/officeDocument/2006/relationships/slideLayout" Target="../slideLayouts/slideLayout428.xml"/><Relationship Id="rId28" Type="http://schemas.openxmlformats.org/officeDocument/2006/relationships/slideLayout" Target="../slideLayouts/slideLayout433.xml"/><Relationship Id="rId36" Type="http://schemas.openxmlformats.org/officeDocument/2006/relationships/vmlDrawing" Target="../drawings/vmlDrawing50.vml"/><Relationship Id="rId10" Type="http://schemas.openxmlformats.org/officeDocument/2006/relationships/slideLayout" Target="../slideLayouts/slideLayout415.xml"/><Relationship Id="rId19" Type="http://schemas.openxmlformats.org/officeDocument/2006/relationships/slideLayout" Target="../slideLayouts/slideLayout424.xml"/><Relationship Id="rId31" Type="http://schemas.openxmlformats.org/officeDocument/2006/relationships/slideLayout" Target="../slideLayouts/slideLayout436.xml"/><Relationship Id="rId4" Type="http://schemas.openxmlformats.org/officeDocument/2006/relationships/slideLayout" Target="../slideLayouts/slideLayout409.xml"/><Relationship Id="rId9" Type="http://schemas.openxmlformats.org/officeDocument/2006/relationships/slideLayout" Target="../slideLayouts/slideLayout414.xml"/><Relationship Id="rId14" Type="http://schemas.openxmlformats.org/officeDocument/2006/relationships/slideLayout" Target="../slideLayouts/slideLayout419.xml"/><Relationship Id="rId22" Type="http://schemas.openxmlformats.org/officeDocument/2006/relationships/slideLayout" Target="../slideLayouts/slideLayout427.xml"/><Relationship Id="rId27" Type="http://schemas.openxmlformats.org/officeDocument/2006/relationships/slideLayout" Target="../slideLayouts/slideLayout432.xml"/><Relationship Id="rId30" Type="http://schemas.openxmlformats.org/officeDocument/2006/relationships/slideLayout" Target="../slideLayouts/slideLayout435.xml"/><Relationship Id="rId35" Type="http://schemas.openxmlformats.org/officeDocument/2006/relationships/theme" Target="../theme/theme13.xml"/><Relationship Id="rId8" Type="http://schemas.openxmlformats.org/officeDocument/2006/relationships/slideLayout" Target="../slideLayouts/slideLayout413.xml"/><Relationship Id="rId3" Type="http://schemas.openxmlformats.org/officeDocument/2006/relationships/slideLayout" Target="../slideLayouts/slideLayout408.xml"/><Relationship Id="rId12" Type="http://schemas.openxmlformats.org/officeDocument/2006/relationships/slideLayout" Target="../slideLayouts/slideLayout417.xml"/><Relationship Id="rId17" Type="http://schemas.openxmlformats.org/officeDocument/2006/relationships/slideLayout" Target="../slideLayouts/slideLayout422.xml"/><Relationship Id="rId25" Type="http://schemas.openxmlformats.org/officeDocument/2006/relationships/slideLayout" Target="../slideLayouts/slideLayout430.xml"/><Relationship Id="rId33" Type="http://schemas.openxmlformats.org/officeDocument/2006/relationships/slideLayout" Target="../slideLayouts/slideLayout438.xml"/><Relationship Id="rId38" Type="http://schemas.openxmlformats.org/officeDocument/2006/relationships/oleObject" Target="../embeddings/oleObject50.bin"/></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52.xml"/><Relationship Id="rId18" Type="http://schemas.openxmlformats.org/officeDocument/2006/relationships/slideLayout" Target="../slideLayouts/slideLayout457.xml"/><Relationship Id="rId26" Type="http://schemas.openxmlformats.org/officeDocument/2006/relationships/slideLayout" Target="../slideLayouts/slideLayout465.xml"/><Relationship Id="rId39" Type="http://schemas.openxmlformats.org/officeDocument/2006/relationships/oleObject" Target="../embeddings/oleObject51.bin"/><Relationship Id="rId21" Type="http://schemas.openxmlformats.org/officeDocument/2006/relationships/slideLayout" Target="../slideLayouts/slideLayout460.xml"/><Relationship Id="rId34" Type="http://schemas.openxmlformats.org/officeDocument/2006/relationships/slideLayout" Target="../slideLayouts/slideLayout473.xml"/><Relationship Id="rId42" Type="http://schemas.openxmlformats.org/officeDocument/2006/relationships/image" Target="../media/image3.png"/><Relationship Id="rId7" Type="http://schemas.openxmlformats.org/officeDocument/2006/relationships/slideLayout" Target="../slideLayouts/slideLayout446.xml"/><Relationship Id="rId2" Type="http://schemas.openxmlformats.org/officeDocument/2006/relationships/slideLayout" Target="../slideLayouts/slideLayout441.xml"/><Relationship Id="rId16" Type="http://schemas.openxmlformats.org/officeDocument/2006/relationships/slideLayout" Target="../slideLayouts/slideLayout455.xml"/><Relationship Id="rId20" Type="http://schemas.openxmlformats.org/officeDocument/2006/relationships/slideLayout" Target="../slideLayouts/slideLayout459.xml"/><Relationship Id="rId29" Type="http://schemas.openxmlformats.org/officeDocument/2006/relationships/slideLayout" Target="../slideLayouts/slideLayout468.xml"/><Relationship Id="rId41" Type="http://schemas.openxmlformats.org/officeDocument/2006/relationships/image" Target="../media/image2.png"/><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slideLayout" Target="../slideLayouts/slideLayout450.xml"/><Relationship Id="rId24" Type="http://schemas.openxmlformats.org/officeDocument/2006/relationships/slideLayout" Target="../slideLayouts/slideLayout463.xml"/><Relationship Id="rId32" Type="http://schemas.openxmlformats.org/officeDocument/2006/relationships/slideLayout" Target="../slideLayouts/slideLayout471.xml"/><Relationship Id="rId37" Type="http://schemas.openxmlformats.org/officeDocument/2006/relationships/vmlDrawing" Target="../drawings/vmlDrawing51.vml"/><Relationship Id="rId40" Type="http://schemas.openxmlformats.org/officeDocument/2006/relationships/image" Target="../media/image15.emf"/><Relationship Id="rId5" Type="http://schemas.openxmlformats.org/officeDocument/2006/relationships/slideLayout" Target="../slideLayouts/slideLayout444.xml"/><Relationship Id="rId15" Type="http://schemas.openxmlformats.org/officeDocument/2006/relationships/slideLayout" Target="../slideLayouts/slideLayout454.xml"/><Relationship Id="rId23" Type="http://schemas.openxmlformats.org/officeDocument/2006/relationships/slideLayout" Target="../slideLayouts/slideLayout462.xml"/><Relationship Id="rId28" Type="http://schemas.openxmlformats.org/officeDocument/2006/relationships/slideLayout" Target="../slideLayouts/slideLayout467.xml"/><Relationship Id="rId36" Type="http://schemas.openxmlformats.org/officeDocument/2006/relationships/theme" Target="../theme/theme14.xml"/><Relationship Id="rId10" Type="http://schemas.openxmlformats.org/officeDocument/2006/relationships/slideLayout" Target="../slideLayouts/slideLayout449.xml"/><Relationship Id="rId19" Type="http://schemas.openxmlformats.org/officeDocument/2006/relationships/slideLayout" Target="../slideLayouts/slideLayout458.xml"/><Relationship Id="rId31" Type="http://schemas.openxmlformats.org/officeDocument/2006/relationships/slideLayout" Target="../slideLayouts/slideLayout470.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slideLayout" Target="../slideLayouts/slideLayout453.xml"/><Relationship Id="rId22" Type="http://schemas.openxmlformats.org/officeDocument/2006/relationships/slideLayout" Target="../slideLayouts/slideLayout461.xml"/><Relationship Id="rId27" Type="http://schemas.openxmlformats.org/officeDocument/2006/relationships/slideLayout" Target="../slideLayouts/slideLayout466.xml"/><Relationship Id="rId30" Type="http://schemas.openxmlformats.org/officeDocument/2006/relationships/slideLayout" Target="../slideLayouts/slideLayout469.xml"/><Relationship Id="rId35" Type="http://schemas.openxmlformats.org/officeDocument/2006/relationships/slideLayout" Target="../slideLayouts/slideLayout474.xml"/><Relationship Id="rId8" Type="http://schemas.openxmlformats.org/officeDocument/2006/relationships/slideLayout" Target="../slideLayouts/slideLayout447.xml"/><Relationship Id="rId3" Type="http://schemas.openxmlformats.org/officeDocument/2006/relationships/slideLayout" Target="../slideLayouts/slideLayout442.xml"/><Relationship Id="rId12" Type="http://schemas.openxmlformats.org/officeDocument/2006/relationships/slideLayout" Target="../slideLayouts/slideLayout451.xml"/><Relationship Id="rId17" Type="http://schemas.openxmlformats.org/officeDocument/2006/relationships/slideLayout" Target="../slideLayouts/slideLayout456.xml"/><Relationship Id="rId25" Type="http://schemas.openxmlformats.org/officeDocument/2006/relationships/slideLayout" Target="../slideLayouts/slideLayout464.xml"/><Relationship Id="rId33" Type="http://schemas.openxmlformats.org/officeDocument/2006/relationships/slideLayout" Target="../slideLayouts/slideLayout472.xml"/><Relationship Id="rId38" Type="http://schemas.openxmlformats.org/officeDocument/2006/relationships/tags" Target="../tags/tag51.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487.xml"/><Relationship Id="rId18" Type="http://schemas.openxmlformats.org/officeDocument/2006/relationships/slideLayout" Target="../slideLayouts/slideLayout492.xml"/><Relationship Id="rId26" Type="http://schemas.openxmlformats.org/officeDocument/2006/relationships/slideLayout" Target="../slideLayouts/slideLayout500.xml"/><Relationship Id="rId39" Type="http://schemas.openxmlformats.org/officeDocument/2006/relationships/oleObject" Target="../embeddings/oleObject53.bin"/><Relationship Id="rId21" Type="http://schemas.openxmlformats.org/officeDocument/2006/relationships/slideLayout" Target="../slideLayouts/slideLayout495.xml"/><Relationship Id="rId34" Type="http://schemas.openxmlformats.org/officeDocument/2006/relationships/slideLayout" Target="../slideLayouts/slideLayout508.xml"/><Relationship Id="rId42" Type="http://schemas.openxmlformats.org/officeDocument/2006/relationships/image" Target="../media/image3.png"/><Relationship Id="rId47" Type="http://schemas.openxmlformats.org/officeDocument/2006/relationships/image" Target="../media/image36.PNG"/><Relationship Id="rId7" Type="http://schemas.openxmlformats.org/officeDocument/2006/relationships/slideLayout" Target="../slideLayouts/slideLayout481.xml"/><Relationship Id="rId2" Type="http://schemas.openxmlformats.org/officeDocument/2006/relationships/slideLayout" Target="../slideLayouts/slideLayout476.xml"/><Relationship Id="rId16" Type="http://schemas.openxmlformats.org/officeDocument/2006/relationships/slideLayout" Target="../slideLayouts/slideLayout490.xml"/><Relationship Id="rId29" Type="http://schemas.openxmlformats.org/officeDocument/2006/relationships/slideLayout" Target="../slideLayouts/slideLayout503.xml"/><Relationship Id="rId11" Type="http://schemas.openxmlformats.org/officeDocument/2006/relationships/slideLayout" Target="../slideLayouts/slideLayout485.xml"/><Relationship Id="rId24" Type="http://schemas.openxmlformats.org/officeDocument/2006/relationships/slideLayout" Target="../slideLayouts/slideLayout498.xml"/><Relationship Id="rId32" Type="http://schemas.openxmlformats.org/officeDocument/2006/relationships/slideLayout" Target="../slideLayouts/slideLayout506.xml"/><Relationship Id="rId37" Type="http://schemas.openxmlformats.org/officeDocument/2006/relationships/vmlDrawing" Target="../drawings/vmlDrawing53.vml"/><Relationship Id="rId40" Type="http://schemas.openxmlformats.org/officeDocument/2006/relationships/image" Target="../media/image39.emf"/><Relationship Id="rId45" Type="http://schemas.openxmlformats.org/officeDocument/2006/relationships/image" Target="../media/image34.png"/><Relationship Id="rId5" Type="http://schemas.openxmlformats.org/officeDocument/2006/relationships/slideLayout" Target="../slideLayouts/slideLayout479.xml"/><Relationship Id="rId15" Type="http://schemas.openxmlformats.org/officeDocument/2006/relationships/slideLayout" Target="../slideLayouts/slideLayout489.xml"/><Relationship Id="rId23" Type="http://schemas.openxmlformats.org/officeDocument/2006/relationships/slideLayout" Target="../slideLayouts/slideLayout497.xml"/><Relationship Id="rId28" Type="http://schemas.openxmlformats.org/officeDocument/2006/relationships/slideLayout" Target="../slideLayouts/slideLayout502.xml"/><Relationship Id="rId36" Type="http://schemas.openxmlformats.org/officeDocument/2006/relationships/theme" Target="../theme/theme15.xml"/><Relationship Id="rId49" Type="http://schemas.openxmlformats.org/officeDocument/2006/relationships/image" Target="../media/image38.png"/><Relationship Id="rId10" Type="http://schemas.openxmlformats.org/officeDocument/2006/relationships/slideLayout" Target="../slideLayouts/slideLayout484.xml"/><Relationship Id="rId19" Type="http://schemas.openxmlformats.org/officeDocument/2006/relationships/slideLayout" Target="../slideLayouts/slideLayout493.xml"/><Relationship Id="rId31" Type="http://schemas.openxmlformats.org/officeDocument/2006/relationships/slideLayout" Target="../slideLayouts/slideLayout505.xml"/><Relationship Id="rId44" Type="http://schemas.openxmlformats.org/officeDocument/2006/relationships/image" Target="../media/image33.png"/><Relationship Id="rId4" Type="http://schemas.openxmlformats.org/officeDocument/2006/relationships/slideLayout" Target="../slideLayouts/slideLayout478.xml"/><Relationship Id="rId9" Type="http://schemas.openxmlformats.org/officeDocument/2006/relationships/slideLayout" Target="../slideLayouts/slideLayout483.xml"/><Relationship Id="rId14" Type="http://schemas.openxmlformats.org/officeDocument/2006/relationships/slideLayout" Target="../slideLayouts/slideLayout488.xml"/><Relationship Id="rId22" Type="http://schemas.openxmlformats.org/officeDocument/2006/relationships/slideLayout" Target="../slideLayouts/slideLayout496.xml"/><Relationship Id="rId27" Type="http://schemas.openxmlformats.org/officeDocument/2006/relationships/slideLayout" Target="../slideLayouts/slideLayout501.xml"/><Relationship Id="rId30" Type="http://schemas.openxmlformats.org/officeDocument/2006/relationships/slideLayout" Target="../slideLayouts/slideLayout504.xml"/><Relationship Id="rId35" Type="http://schemas.openxmlformats.org/officeDocument/2006/relationships/slideLayout" Target="../slideLayouts/slideLayout509.xml"/><Relationship Id="rId43" Type="http://schemas.openxmlformats.org/officeDocument/2006/relationships/image" Target="../media/image32.PNG"/><Relationship Id="rId48" Type="http://schemas.openxmlformats.org/officeDocument/2006/relationships/image" Target="../media/image37.PNG"/><Relationship Id="rId8" Type="http://schemas.openxmlformats.org/officeDocument/2006/relationships/slideLayout" Target="../slideLayouts/slideLayout482.xml"/><Relationship Id="rId3" Type="http://schemas.openxmlformats.org/officeDocument/2006/relationships/slideLayout" Target="../slideLayouts/slideLayout477.xml"/><Relationship Id="rId12" Type="http://schemas.openxmlformats.org/officeDocument/2006/relationships/slideLayout" Target="../slideLayouts/slideLayout486.xml"/><Relationship Id="rId17" Type="http://schemas.openxmlformats.org/officeDocument/2006/relationships/slideLayout" Target="../slideLayouts/slideLayout491.xml"/><Relationship Id="rId25" Type="http://schemas.openxmlformats.org/officeDocument/2006/relationships/slideLayout" Target="../slideLayouts/slideLayout499.xml"/><Relationship Id="rId33" Type="http://schemas.openxmlformats.org/officeDocument/2006/relationships/slideLayout" Target="../slideLayouts/slideLayout507.xml"/><Relationship Id="rId38" Type="http://schemas.openxmlformats.org/officeDocument/2006/relationships/tags" Target="../tags/tag53.xml"/><Relationship Id="rId46" Type="http://schemas.openxmlformats.org/officeDocument/2006/relationships/image" Target="../media/image35.png"/><Relationship Id="rId20" Type="http://schemas.openxmlformats.org/officeDocument/2006/relationships/slideLayout" Target="../slideLayouts/slideLayout494.xml"/><Relationship Id="rId41" Type="http://schemas.openxmlformats.org/officeDocument/2006/relationships/image" Target="../media/image2.png"/><Relationship Id="rId1" Type="http://schemas.openxmlformats.org/officeDocument/2006/relationships/slideLayout" Target="../slideLayouts/slideLayout475.xml"/><Relationship Id="rId6" Type="http://schemas.openxmlformats.org/officeDocument/2006/relationships/slideLayout" Target="../slideLayouts/slideLayout480.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522.xml"/><Relationship Id="rId18" Type="http://schemas.openxmlformats.org/officeDocument/2006/relationships/slideLayout" Target="../slideLayouts/slideLayout527.xml"/><Relationship Id="rId26" Type="http://schemas.openxmlformats.org/officeDocument/2006/relationships/slideLayout" Target="../slideLayouts/slideLayout535.xml"/><Relationship Id="rId39" Type="http://schemas.openxmlformats.org/officeDocument/2006/relationships/image" Target="../media/image39.emf"/><Relationship Id="rId21" Type="http://schemas.openxmlformats.org/officeDocument/2006/relationships/slideLayout" Target="../slideLayouts/slideLayout530.xml"/><Relationship Id="rId34" Type="http://schemas.openxmlformats.org/officeDocument/2006/relationships/slideLayout" Target="../slideLayouts/slideLayout543.xml"/><Relationship Id="rId42" Type="http://schemas.openxmlformats.org/officeDocument/2006/relationships/image" Target="../media/image32.PNG"/><Relationship Id="rId47" Type="http://schemas.openxmlformats.org/officeDocument/2006/relationships/image" Target="../media/image37.PNG"/><Relationship Id="rId7" Type="http://schemas.openxmlformats.org/officeDocument/2006/relationships/slideLayout" Target="../slideLayouts/slideLayout516.xml"/><Relationship Id="rId2" Type="http://schemas.openxmlformats.org/officeDocument/2006/relationships/slideLayout" Target="../slideLayouts/slideLayout511.xml"/><Relationship Id="rId16" Type="http://schemas.openxmlformats.org/officeDocument/2006/relationships/slideLayout" Target="../slideLayouts/slideLayout525.xml"/><Relationship Id="rId29" Type="http://schemas.openxmlformats.org/officeDocument/2006/relationships/slideLayout" Target="../slideLayouts/slideLayout538.xml"/><Relationship Id="rId1" Type="http://schemas.openxmlformats.org/officeDocument/2006/relationships/slideLayout" Target="../slideLayouts/slideLayout510.xml"/><Relationship Id="rId6" Type="http://schemas.openxmlformats.org/officeDocument/2006/relationships/slideLayout" Target="../slideLayouts/slideLayout515.xml"/><Relationship Id="rId11" Type="http://schemas.openxmlformats.org/officeDocument/2006/relationships/slideLayout" Target="../slideLayouts/slideLayout520.xml"/><Relationship Id="rId24" Type="http://schemas.openxmlformats.org/officeDocument/2006/relationships/slideLayout" Target="../slideLayouts/slideLayout533.xml"/><Relationship Id="rId32" Type="http://schemas.openxmlformats.org/officeDocument/2006/relationships/slideLayout" Target="../slideLayouts/slideLayout541.xml"/><Relationship Id="rId37" Type="http://schemas.openxmlformats.org/officeDocument/2006/relationships/tags" Target="../tags/tag54.xml"/><Relationship Id="rId40" Type="http://schemas.openxmlformats.org/officeDocument/2006/relationships/image" Target="../media/image2.png"/><Relationship Id="rId45" Type="http://schemas.openxmlformats.org/officeDocument/2006/relationships/image" Target="../media/image35.png"/><Relationship Id="rId5" Type="http://schemas.openxmlformats.org/officeDocument/2006/relationships/slideLayout" Target="../slideLayouts/slideLayout514.xml"/><Relationship Id="rId15" Type="http://schemas.openxmlformats.org/officeDocument/2006/relationships/slideLayout" Target="../slideLayouts/slideLayout524.xml"/><Relationship Id="rId23" Type="http://schemas.openxmlformats.org/officeDocument/2006/relationships/slideLayout" Target="../slideLayouts/slideLayout532.xml"/><Relationship Id="rId28" Type="http://schemas.openxmlformats.org/officeDocument/2006/relationships/slideLayout" Target="../slideLayouts/slideLayout537.xml"/><Relationship Id="rId36" Type="http://schemas.openxmlformats.org/officeDocument/2006/relationships/vmlDrawing" Target="../drawings/vmlDrawing54.vml"/><Relationship Id="rId10" Type="http://schemas.openxmlformats.org/officeDocument/2006/relationships/slideLayout" Target="../slideLayouts/slideLayout519.xml"/><Relationship Id="rId19" Type="http://schemas.openxmlformats.org/officeDocument/2006/relationships/slideLayout" Target="../slideLayouts/slideLayout528.xml"/><Relationship Id="rId31" Type="http://schemas.openxmlformats.org/officeDocument/2006/relationships/slideLayout" Target="../slideLayouts/slideLayout540.xml"/><Relationship Id="rId44" Type="http://schemas.openxmlformats.org/officeDocument/2006/relationships/image" Target="../media/image34.png"/><Relationship Id="rId4" Type="http://schemas.openxmlformats.org/officeDocument/2006/relationships/slideLayout" Target="../slideLayouts/slideLayout513.xml"/><Relationship Id="rId9" Type="http://schemas.openxmlformats.org/officeDocument/2006/relationships/slideLayout" Target="../slideLayouts/slideLayout518.xml"/><Relationship Id="rId14" Type="http://schemas.openxmlformats.org/officeDocument/2006/relationships/slideLayout" Target="../slideLayouts/slideLayout523.xml"/><Relationship Id="rId22" Type="http://schemas.openxmlformats.org/officeDocument/2006/relationships/slideLayout" Target="../slideLayouts/slideLayout531.xml"/><Relationship Id="rId27" Type="http://schemas.openxmlformats.org/officeDocument/2006/relationships/slideLayout" Target="../slideLayouts/slideLayout536.xml"/><Relationship Id="rId30" Type="http://schemas.openxmlformats.org/officeDocument/2006/relationships/slideLayout" Target="../slideLayouts/slideLayout539.xml"/><Relationship Id="rId35" Type="http://schemas.openxmlformats.org/officeDocument/2006/relationships/theme" Target="../theme/theme16.xml"/><Relationship Id="rId43" Type="http://schemas.openxmlformats.org/officeDocument/2006/relationships/image" Target="../media/image33.png"/><Relationship Id="rId48" Type="http://schemas.openxmlformats.org/officeDocument/2006/relationships/image" Target="../media/image38.png"/><Relationship Id="rId8" Type="http://schemas.openxmlformats.org/officeDocument/2006/relationships/slideLayout" Target="../slideLayouts/slideLayout517.xml"/><Relationship Id="rId3" Type="http://schemas.openxmlformats.org/officeDocument/2006/relationships/slideLayout" Target="../slideLayouts/slideLayout512.xml"/><Relationship Id="rId12" Type="http://schemas.openxmlformats.org/officeDocument/2006/relationships/slideLayout" Target="../slideLayouts/slideLayout521.xml"/><Relationship Id="rId17" Type="http://schemas.openxmlformats.org/officeDocument/2006/relationships/slideLayout" Target="../slideLayouts/slideLayout526.xml"/><Relationship Id="rId25" Type="http://schemas.openxmlformats.org/officeDocument/2006/relationships/slideLayout" Target="../slideLayouts/slideLayout534.xml"/><Relationship Id="rId33" Type="http://schemas.openxmlformats.org/officeDocument/2006/relationships/slideLayout" Target="../slideLayouts/slideLayout542.xml"/><Relationship Id="rId38" Type="http://schemas.openxmlformats.org/officeDocument/2006/relationships/oleObject" Target="../embeddings/oleObject54.bin"/><Relationship Id="rId46" Type="http://schemas.openxmlformats.org/officeDocument/2006/relationships/image" Target="../media/image36.PNG"/><Relationship Id="rId20" Type="http://schemas.openxmlformats.org/officeDocument/2006/relationships/slideLayout" Target="../slideLayouts/slideLayout529.xml"/><Relationship Id="rId41" Type="http://schemas.openxmlformats.org/officeDocument/2006/relationships/image" Target="../media/image3.png"/></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556.xml"/><Relationship Id="rId18" Type="http://schemas.openxmlformats.org/officeDocument/2006/relationships/slideLayout" Target="../slideLayouts/slideLayout561.xml"/><Relationship Id="rId26" Type="http://schemas.openxmlformats.org/officeDocument/2006/relationships/slideLayout" Target="../slideLayouts/slideLayout569.xml"/><Relationship Id="rId39" Type="http://schemas.openxmlformats.org/officeDocument/2006/relationships/tags" Target="../tags/tag55.xml"/><Relationship Id="rId21" Type="http://schemas.openxmlformats.org/officeDocument/2006/relationships/slideLayout" Target="../slideLayouts/slideLayout564.xml"/><Relationship Id="rId34" Type="http://schemas.openxmlformats.org/officeDocument/2006/relationships/slideLayout" Target="../slideLayouts/slideLayout577.xml"/><Relationship Id="rId42" Type="http://schemas.openxmlformats.org/officeDocument/2006/relationships/image" Target="../media/image2.png"/><Relationship Id="rId7" Type="http://schemas.openxmlformats.org/officeDocument/2006/relationships/slideLayout" Target="../slideLayouts/slideLayout550.xml"/><Relationship Id="rId2" Type="http://schemas.openxmlformats.org/officeDocument/2006/relationships/slideLayout" Target="../slideLayouts/slideLayout545.xml"/><Relationship Id="rId16" Type="http://schemas.openxmlformats.org/officeDocument/2006/relationships/slideLayout" Target="../slideLayouts/slideLayout559.xml"/><Relationship Id="rId20" Type="http://schemas.openxmlformats.org/officeDocument/2006/relationships/slideLayout" Target="../slideLayouts/slideLayout563.xml"/><Relationship Id="rId29" Type="http://schemas.openxmlformats.org/officeDocument/2006/relationships/slideLayout" Target="../slideLayouts/slideLayout572.xml"/><Relationship Id="rId41" Type="http://schemas.openxmlformats.org/officeDocument/2006/relationships/image" Target="../media/image15.emf"/><Relationship Id="rId1" Type="http://schemas.openxmlformats.org/officeDocument/2006/relationships/slideLayout" Target="../slideLayouts/slideLayout544.xml"/><Relationship Id="rId6" Type="http://schemas.openxmlformats.org/officeDocument/2006/relationships/slideLayout" Target="../slideLayouts/slideLayout549.xml"/><Relationship Id="rId11" Type="http://schemas.openxmlformats.org/officeDocument/2006/relationships/slideLayout" Target="../slideLayouts/slideLayout554.xml"/><Relationship Id="rId24" Type="http://schemas.openxmlformats.org/officeDocument/2006/relationships/slideLayout" Target="../slideLayouts/slideLayout567.xml"/><Relationship Id="rId32" Type="http://schemas.openxmlformats.org/officeDocument/2006/relationships/slideLayout" Target="../slideLayouts/slideLayout575.xml"/><Relationship Id="rId37" Type="http://schemas.openxmlformats.org/officeDocument/2006/relationships/theme" Target="../theme/theme17.xml"/><Relationship Id="rId40" Type="http://schemas.openxmlformats.org/officeDocument/2006/relationships/oleObject" Target="../embeddings/oleObject55.bin"/><Relationship Id="rId5" Type="http://schemas.openxmlformats.org/officeDocument/2006/relationships/slideLayout" Target="../slideLayouts/slideLayout548.xml"/><Relationship Id="rId15" Type="http://schemas.openxmlformats.org/officeDocument/2006/relationships/slideLayout" Target="../slideLayouts/slideLayout558.xml"/><Relationship Id="rId23" Type="http://schemas.openxmlformats.org/officeDocument/2006/relationships/slideLayout" Target="../slideLayouts/slideLayout566.xml"/><Relationship Id="rId28" Type="http://schemas.openxmlformats.org/officeDocument/2006/relationships/slideLayout" Target="../slideLayouts/slideLayout571.xml"/><Relationship Id="rId36" Type="http://schemas.openxmlformats.org/officeDocument/2006/relationships/slideLayout" Target="../slideLayouts/slideLayout579.xml"/><Relationship Id="rId10" Type="http://schemas.openxmlformats.org/officeDocument/2006/relationships/slideLayout" Target="../slideLayouts/slideLayout553.xml"/><Relationship Id="rId19" Type="http://schemas.openxmlformats.org/officeDocument/2006/relationships/slideLayout" Target="../slideLayouts/slideLayout562.xml"/><Relationship Id="rId31" Type="http://schemas.openxmlformats.org/officeDocument/2006/relationships/slideLayout" Target="../slideLayouts/slideLayout574.xml"/><Relationship Id="rId4" Type="http://schemas.openxmlformats.org/officeDocument/2006/relationships/slideLayout" Target="../slideLayouts/slideLayout547.xml"/><Relationship Id="rId9" Type="http://schemas.openxmlformats.org/officeDocument/2006/relationships/slideLayout" Target="../slideLayouts/slideLayout552.xml"/><Relationship Id="rId14" Type="http://schemas.openxmlformats.org/officeDocument/2006/relationships/slideLayout" Target="../slideLayouts/slideLayout557.xml"/><Relationship Id="rId22" Type="http://schemas.openxmlformats.org/officeDocument/2006/relationships/slideLayout" Target="../slideLayouts/slideLayout565.xml"/><Relationship Id="rId27" Type="http://schemas.openxmlformats.org/officeDocument/2006/relationships/slideLayout" Target="../slideLayouts/slideLayout570.xml"/><Relationship Id="rId30" Type="http://schemas.openxmlformats.org/officeDocument/2006/relationships/slideLayout" Target="../slideLayouts/slideLayout573.xml"/><Relationship Id="rId35" Type="http://schemas.openxmlformats.org/officeDocument/2006/relationships/slideLayout" Target="../slideLayouts/slideLayout578.xml"/><Relationship Id="rId43" Type="http://schemas.openxmlformats.org/officeDocument/2006/relationships/image" Target="../media/image3.png"/><Relationship Id="rId8" Type="http://schemas.openxmlformats.org/officeDocument/2006/relationships/slideLayout" Target="../slideLayouts/slideLayout551.xml"/><Relationship Id="rId3" Type="http://schemas.openxmlformats.org/officeDocument/2006/relationships/slideLayout" Target="../slideLayouts/slideLayout546.xml"/><Relationship Id="rId12" Type="http://schemas.openxmlformats.org/officeDocument/2006/relationships/slideLayout" Target="../slideLayouts/slideLayout555.xml"/><Relationship Id="rId17" Type="http://schemas.openxmlformats.org/officeDocument/2006/relationships/slideLayout" Target="../slideLayouts/slideLayout560.xml"/><Relationship Id="rId25" Type="http://schemas.openxmlformats.org/officeDocument/2006/relationships/slideLayout" Target="../slideLayouts/slideLayout568.xml"/><Relationship Id="rId33" Type="http://schemas.openxmlformats.org/officeDocument/2006/relationships/slideLayout" Target="../slideLayouts/slideLayout576.xml"/><Relationship Id="rId38" Type="http://schemas.openxmlformats.org/officeDocument/2006/relationships/vmlDrawing" Target="../drawings/vmlDrawing55.v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592.xml"/><Relationship Id="rId18" Type="http://schemas.openxmlformats.org/officeDocument/2006/relationships/slideLayout" Target="../slideLayouts/slideLayout597.xml"/><Relationship Id="rId26" Type="http://schemas.openxmlformats.org/officeDocument/2006/relationships/slideLayout" Target="../slideLayouts/slideLayout605.xml"/><Relationship Id="rId21" Type="http://schemas.openxmlformats.org/officeDocument/2006/relationships/slideLayout" Target="../slideLayouts/slideLayout600.xml"/><Relationship Id="rId34" Type="http://schemas.openxmlformats.org/officeDocument/2006/relationships/slideLayout" Target="../slideLayouts/slideLayout613.xml"/><Relationship Id="rId7" Type="http://schemas.openxmlformats.org/officeDocument/2006/relationships/slideLayout" Target="../slideLayouts/slideLayout586.xml"/><Relationship Id="rId12" Type="http://schemas.openxmlformats.org/officeDocument/2006/relationships/slideLayout" Target="../slideLayouts/slideLayout591.xml"/><Relationship Id="rId17" Type="http://schemas.openxmlformats.org/officeDocument/2006/relationships/slideLayout" Target="../slideLayouts/slideLayout596.xml"/><Relationship Id="rId25" Type="http://schemas.openxmlformats.org/officeDocument/2006/relationships/slideLayout" Target="../slideLayouts/slideLayout604.xml"/><Relationship Id="rId33" Type="http://schemas.openxmlformats.org/officeDocument/2006/relationships/slideLayout" Target="../slideLayouts/slideLayout612.xml"/><Relationship Id="rId38" Type="http://schemas.openxmlformats.org/officeDocument/2006/relationships/theme" Target="../theme/theme18.xml"/><Relationship Id="rId2" Type="http://schemas.openxmlformats.org/officeDocument/2006/relationships/slideLayout" Target="../slideLayouts/slideLayout581.xml"/><Relationship Id="rId16" Type="http://schemas.openxmlformats.org/officeDocument/2006/relationships/slideLayout" Target="../slideLayouts/slideLayout595.xml"/><Relationship Id="rId20" Type="http://schemas.openxmlformats.org/officeDocument/2006/relationships/slideLayout" Target="../slideLayouts/slideLayout599.xml"/><Relationship Id="rId29" Type="http://schemas.openxmlformats.org/officeDocument/2006/relationships/slideLayout" Target="../slideLayouts/slideLayout608.xml"/><Relationship Id="rId1" Type="http://schemas.openxmlformats.org/officeDocument/2006/relationships/slideLayout" Target="../slideLayouts/slideLayout580.xml"/><Relationship Id="rId6" Type="http://schemas.openxmlformats.org/officeDocument/2006/relationships/slideLayout" Target="../slideLayouts/slideLayout585.xml"/><Relationship Id="rId11" Type="http://schemas.openxmlformats.org/officeDocument/2006/relationships/slideLayout" Target="../slideLayouts/slideLayout590.xml"/><Relationship Id="rId24" Type="http://schemas.openxmlformats.org/officeDocument/2006/relationships/slideLayout" Target="../slideLayouts/slideLayout603.xml"/><Relationship Id="rId32" Type="http://schemas.openxmlformats.org/officeDocument/2006/relationships/slideLayout" Target="../slideLayouts/slideLayout611.xml"/><Relationship Id="rId37" Type="http://schemas.openxmlformats.org/officeDocument/2006/relationships/slideLayout" Target="../slideLayouts/slideLayout616.xml"/><Relationship Id="rId5" Type="http://schemas.openxmlformats.org/officeDocument/2006/relationships/slideLayout" Target="../slideLayouts/slideLayout584.xml"/><Relationship Id="rId15" Type="http://schemas.openxmlformats.org/officeDocument/2006/relationships/slideLayout" Target="../slideLayouts/slideLayout594.xml"/><Relationship Id="rId23" Type="http://schemas.openxmlformats.org/officeDocument/2006/relationships/slideLayout" Target="../slideLayouts/slideLayout602.xml"/><Relationship Id="rId28" Type="http://schemas.openxmlformats.org/officeDocument/2006/relationships/slideLayout" Target="../slideLayouts/slideLayout607.xml"/><Relationship Id="rId36" Type="http://schemas.openxmlformats.org/officeDocument/2006/relationships/slideLayout" Target="../slideLayouts/slideLayout615.xml"/><Relationship Id="rId10" Type="http://schemas.openxmlformats.org/officeDocument/2006/relationships/slideLayout" Target="../slideLayouts/slideLayout589.xml"/><Relationship Id="rId19" Type="http://schemas.openxmlformats.org/officeDocument/2006/relationships/slideLayout" Target="../slideLayouts/slideLayout598.xml"/><Relationship Id="rId31" Type="http://schemas.openxmlformats.org/officeDocument/2006/relationships/slideLayout" Target="../slideLayouts/slideLayout610.xml"/><Relationship Id="rId4" Type="http://schemas.openxmlformats.org/officeDocument/2006/relationships/slideLayout" Target="../slideLayouts/slideLayout583.xml"/><Relationship Id="rId9" Type="http://schemas.openxmlformats.org/officeDocument/2006/relationships/slideLayout" Target="../slideLayouts/slideLayout588.xml"/><Relationship Id="rId14" Type="http://schemas.openxmlformats.org/officeDocument/2006/relationships/slideLayout" Target="../slideLayouts/slideLayout593.xml"/><Relationship Id="rId22" Type="http://schemas.openxmlformats.org/officeDocument/2006/relationships/slideLayout" Target="../slideLayouts/slideLayout601.xml"/><Relationship Id="rId27" Type="http://schemas.openxmlformats.org/officeDocument/2006/relationships/slideLayout" Target="../slideLayouts/slideLayout606.xml"/><Relationship Id="rId30" Type="http://schemas.openxmlformats.org/officeDocument/2006/relationships/slideLayout" Target="../slideLayouts/slideLayout609.xml"/><Relationship Id="rId35" Type="http://schemas.openxmlformats.org/officeDocument/2006/relationships/slideLayout" Target="../slideLayouts/slideLayout614.xml"/><Relationship Id="rId8" Type="http://schemas.openxmlformats.org/officeDocument/2006/relationships/slideLayout" Target="../slideLayouts/slideLayout587.xml"/><Relationship Id="rId3" Type="http://schemas.openxmlformats.org/officeDocument/2006/relationships/slideLayout" Target="../slideLayouts/slideLayout58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624.xml"/><Relationship Id="rId13" Type="http://schemas.openxmlformats.org/officeDocument/2006/relationships/slideLayout" Target="../slideLayouts/slideLayout629.xml"/><Relationship Id="rId18" Type="http://schemas.openxmlformats.org/officeDocument/2006/relationships/slideLayout" Target="../slideLayouts/slideLayout634.xml"/><Relationship Id="rId26" Type="http://schemas.openxmlformats.org/officeDocument/2006/relationships/slideLayout" Target="../slideLayouts/slideLayout642.xml"/><Relationship Id="rId3" Type="http://schemas.openxmlformats.org/officeDocument/2006/relationships/slideLayout" Target="../slideLayouts/slideLayout619.xml"/><Relationship Id="rId21" Type="http://schemas.openxmlformats.org/officeDocument/2006/relationships/slideLayout" Target="../slideLayouts/slideLayout637.xml"/><Relationship Id="rId7" Type="http://schemas.openxmlformats.org/officeDocument/2006/relationships/slideLayout" Target="../slideLayouts/slideLayout623.xml"/><Relationship Id="rId12" Type="http://schemas.openxmlformats.org/officeDocument/2006/relationships/slideLayout" Target="../slideLayouts/slideLayout628.xml"/><Relationship Id="rId17" Type="http://schemas.openxmlformats.org/officeDocument/2006/relationships/slideLayout" Target="../slideLayouts/slideLayout633.xml"/><Relationship Id="rId25" Type="http://schemas.openxmlformats.org/officeDocument/2006/relationships/slideLayout" Target="../slideLayouts/slideLayout641.xml"/><Relationship Id="rId2" Type="http://schemas.openxmlformats.org/officeDocument/2006/relationships/slideLayout" Target="../slideLayouts/slideLayout618.xml"/><Relationship Id="rId16" Type="http://schemas.openxmlformats.org/officeDocument/2006/relationships/slideLayout" Target="../slideLayouts/slideLayout632.xml"/><Relationship Id="rId20" Type="http://schemas.openxmlformats.org/officeDocument/2006/relationships/slideLayout" Target="../slideLayouts/slideLayout636.xml"/><Relationship Id="rId29" Type="http://schemas.openxmlformats.org/officeDocument/2006/relationships/slideLayout" Target="../slideLayouts/slideLayout645.xml"/><Relationship Id="rId1" Type="http://schemas.openxmlformats.org/officeDocument/2006/relationships/slideLayout" Target="../slideLayouts/slideLayout617.xml"/><Relationship Id="rId6" Type="http://schemas.openxmlformats.org/officeDocument/2006/relationships/slideLayout" Target="../slideLayouts/slideLayout622.xml"/><Relationship Id="rId11" Type="http://schemas.openxmlformats.org/officeDocument/2006/relationships/slideLayout" Target="../slideLayouts/slideLayout627.xml"/><Relationship Id="rId24" Type="http://schemas.openxmlformats.org/officeDocument/2006/relationships/slideLayout" Target="../slideLayouts/slideLayout640.xml"/><Relationship Id="rId32" Type="http://schemas.openxmlformats.org/officeDocument/2006/relationships/image" Target="../media/image3.png"/><Relationship Id="rId5" Type="http://schemas.openxmlformats.org/officeDocument/2006/relationships/slideLayout" Target="../slideLayouts/slideLayout621.xml"/><Relationship Id="rId15" Type="http://schemas.openxmlformats.org/officeDocument/2006/relationships/slideLayout" Target="../slideLayouts/slideLayout631.xml"/><Relationship Id="rId23" Type="http://schemas.openxmlformats.org/officeDocument/2006/relationships/slideLayout" Target="../slideLayouts/slideLayout639.xml"/><Relationship Id="rId28" Type="http://schemas.openxmlformats.org/officeDocument/2006/relationships/slideLayout" Target="../slideLayouts/slideLayout644.xml"/><Relationship Id="rId10" Type="http://schemas.openxmlformats.org/officeDocument/2006/relationships/slideLayout" Target="../slideLayouts/slideLayout626.xml"/><Relationship Id="rId19" Type="http://schemas.openxmlformats.org/officeDocument/2006/relationships/slideLayout" Target="../slideLayouts/slideLayout635.xml"/><Relationship Id="rId31" Type="http://schemas.openxmlformats.org/officeDocument/2006/relationships/image" Target="../media/image2.png"/><Relationship Id="rId4" Type="http://schemas.openxmlformats.org/officeDocument/2006/relationships/slideLayout" Target="../slideLayouts/slideLayout620.xml"/><Relationship Id="rId9" Type="http://schemas.openxmlformats.org/officeDocument/2006/relationships/slideLayout" Target="../slideLayouts/slideLayout625.xml"/><Relationship Id="rId14" Type="http://schemas.openxmlformats.org/officeDocument/2006/relationships/slideLayout" Target="../slideLayouts/slideLayout630.xml"/><Relationship Id="rId22" Type="http://schemas.openxmlformats.org/officeDocument/2006/relationships/slideLayout" Target="../slideLayouts/slideLayout638.xml"/><Relationship Id="rId27" Type="http://schemas.openxmlformats.org/officeDocument/2006/relationships/slideLayout" Target="../slideLayouts/slideLayout643.xml"/><Relationship Id="rId30"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tags" Target="../tags/tag6.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image" Target="../media/image2.png"/><Relationship Id="rId7" Type="http://schemas.openxmlformats.org/officeDocument/2006/relationships/slideLayout" Target="../slideLayouts/slideLayout4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41" Type="http://schemas.openxmlformats.org/officeDocument/2006/relationships/image" Target="../media/image1.emf"/><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theme" Target="../theme/theme2.xml"/><Relationship Id="rId40" Type="http://schemas.openxmlformats.org/officeDocument/2006/relationships/oleObject" Target="../embeddings/oleObject6.bin"/><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image" Target="../media/image3.png"/><Relationship Id="rId8" Type="http://schemas.openxmlformats.org/officeDocument/2006/relationships/slideLayout" Target="../slideLayouts/slideLayout44.xml"/><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vmlDrawing" Target="../drawings/vmlDrawing6.v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653.xml"/><Relationship Id="rId13" Type="http://schemas.openxmlformats.org/officeDocument/2006/relationships/slideLayout" Target="../slideLayouts/slideLayout658.xml"/><Relationship Id="rId18" Type="http://schemas.openxmlformats.org/officeDocument/2006/relationships/slideLayout" Target="../slideLayouts/slideLayout663.xml"/><Relationship Id="rId26" Type="http://schemas.openxmlformats.org/officeDocument/2006/relationships/slideLayout" Target="../slideLayouts/slideLayout671.xml"/><Relationship Id="rId3" Type="http://schemas.openxmlformats.org/officeDocument/2006/relationships/slideLayout" Target="../slideLayouts/slideLayout648.xml"/><Relationship Id="rId21" Type="http://schemas.openxmlformats.org/officeDocument/2006/relationships/slideLayout" Target="../slideLayouts/slideLayout666.xml"/><Relationship Id="rId7" Type="http://schemas.openxmlformats.org/officeDocument/2006/relationships/slideLayout" Target="../slideLayouts/slideLayout652.xml"/><Relationship Id="rId12" Type="http://schemas.openxmlformats.org/officeDocument/2006/relationships/slideLayout" Target="../slideLayouts/slideLayout657.xml"/><Relationship Id="rId17" Type="http://schemas.openxmlformats.org/officeDocument/2006/relationships/slideLayout" Target="../slideLayouts/slideLayout662.xml"/><Relationship Id="rId25" Type="http://schemas.openxmlformats.org/officeDocument/2006/relationships/slideLayout" Target="../slideLayouts/slideLayout670.xml"/><Relationship Id="rId2" Type="http://schemas.openxmlformats.org/officeDocument/2006/relationships/slideLayout" Target="../slideLayouts/slideLayout647.xml"/><Relationship Id="rId16" Type="http://schemas.openxmlformats.org/officeDocument/2006/relationships/slideLayout" Target="../slideLayouts/slideLayout661.xml"/><Relationship Id="rId20" Type="http://schemas.openxmlformats.org/officeDocument/2006/relationships/slideLayout" Target="../slideLayouts/slideLayout665.xml"/><Relationship Id="rId29" Type="http://schemas.openxmlformats.org/officeDocument/2006/relationships/slideLayout" Target="../slideLayouts/slideLayout674.xml"/><Relationship Id="rId1" Type="http://schemas.openxmlformats.org/officeDocument/2006/relationships/slideLayout" Target="../slideLayouts/slideLayout646.xml"/><Relationship Id="rId6" Type="http://schemas.openxmlformats.org/officeDocument/2006/relationships/slideLayout" Target="../slideLayouts/slideLayout651.xml"/><Relationship Id="rId11" Type="http://schemas.openxmlformats.org/officeDocument/2006/relationships/slideLayout" Target="../slideLayouts/slideLayout656.xml"/><Relationship Id="rId24" Type="http://schemas.openxmlformats.org/officeDocument/2006/relationships/slideLayout" Target="../slideLayouts/slideLayout669.xml"/><Relationship Id="rId32" Type="http://schemas.openxmlformats.org/officeDocument/2006/relationships/image" Target="../media/image3.png"/><Relationship Id="rId5" Type="http://schemas.openxmlformats.org/officeDocument/2006/relationships/slideLayout" Target="../slideLayouts/slideLayout650.xml"/><Relationship Id="rId15" Type="http://schemas.openxmlformats.org/officeDocument/2006/relationships/slideLayout" Target="../slideLayouts/slideLayout660.xml"/><Relationship Id="rId23" Type="http://schemas.openxmlformats.org/officeDocument/2006/relationships/slideLayout" Target="../slideLayouts/slideLayout668.xml"/><Relationship Id="rId28" Type="http://schemas.openxmlformats.org/officeDocument/2006/relationships/slideLayout" Target="../slideLayouts/slideLayout673.xml"/><Relationship Id="rId10" Type="http://schemas.openxmlformats.org/officeDocument/2006/relationships/slideLayout" Target="../slideLayouts/slideLayout655.xml"/><Relationship Id="rId19" Type="http://schemas.openxmlformats.org/officeDocument/2006/relationships/slideLayout" Target="../slideLayouts/slideLayout664.xml"/><Relationship Id="rId31" Type="http://schemas.openxmlformats.org/officeDocument/2006/relationships/image" Target="../media/image2.png"/><Relationship Id="rId4" Type="http://schemas.openxmlformats.org/officeDocument/2006/relationships/slideLayout" Target="../slideLayouts/slideLayout649.xml"/><Relationship Id="rId9" Type="http://schemas.openxmlformats.org/officeDocument/2006/relationships/slideLayout" Target="../slideLayouts/slideLayout654.xml"/><Relationship Id="rId14" Type="http://schemas.openxmlformats.org/officeDocument/2006/relationships/slideLayout" Target="../slideLayouts/slideLayout659.xml"/><Relationship Id="rId22" Type="http://schemas.openxmlformats.org/officeDocument/2006/relationships/slideLayout" Target="../slideLayouts/slideLayout667.xml"/><Relationship Id="rId27" Type="http://schemas.openxmlformats.org/officeDocument/2006/relationships/slideLayout" Target="../slideLayouts/slideLayout672.xml"/><Relationship Id="rId30"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13" Type="http://schemas.openxmlformats.org/officeDocument/2006/relationships/slideLayout" Target="../slideLayouts/slideLayout687.xml"/><Relationship Id="rId18" Type="http://schemas.openxmlformats.org/officeDocument/2006/relationships/slideLayout" Target="../slideLayouts/slideLayout692.xml"/><Relationship Id="rId26" Type="http://schemas.openxmlformats.org/officeDocument/2006/relationships/slideLayout" Target="../slideLayouts/slideLayout700.xml"/><Relationship Id="rId39" Type="http://schemas.openxmlformats.org/officeDocument/2006/relationships/oleObject" Target="../embeddings/oleObject65.bin"/><Relationship Id="rId21" Type="http://schemas.openxmlformats.org/officeDocument/2006/relationships/slideLayout" Target="../slideLayouts/slideLayout695.xml"/><Relationship Id="rId34" Type="http://schemas.openxmlformats.org/officeDocument/2006/relationships/slideLayout" Target="../slideLayouts/slideLayout708.xml"/><Relationship Id="rId42" Type="http://schemas.openxmlformats.org/officeDocument/2006/relationships/image" Target="../media/image3.png"/><Relationship Id="rId7" Type="http://schemas.openxmlformats.org/officeDocument/2006/relationships/slideLayout" Target="../slideLayouts/slideLayout681.xml"/><Relationship Id="rId2" Type="http://schemas.openxmlformats.org/officeDocument/2006/relationships/slideLayout" Target="../slideLayouts/slideLayout676.xml"/><Relationship Id="rId16" Type="http://schemas.openxmlformats.org/officeDocument/2006/relationships/slideLayout" Target="../slideLayouts/slideLayout690.xml"/><Relationship Id="rId20" Type="http://schemas.openxmlformats.org/officeDocument/2006/relationships/slideLayout" Target="../slideLayouts/slideLayout694.xml"/><Relationship Id="rId29" Type="http://schemas.openxmlformats.org/officeDocument/2006/relationships/slideLayout" Target="../slideLayouts/slideLayout703.xml"/><Relationship Id="rId41" Type="http://schemas.openxmlformats.org/officeDocument/2006/relationships/image" Target="../media/image2.png"/><Relationship Id="rId1" Type="http://schemas.openxmlformats.org/officeDocument/2006/relationships/slideLayout" Target="../slideLayouts/slideLayout675.xml"/><Relationship Id="rId6" Type="http://schemas.openxmlformats.org/officeDocument/2006/relationships/slideLayout" Target="../slideLayouts/slideLayout680.xml"/><Relationship Id="rId11" Type="http://schemas.openxmlformats.org/officeDocument/2006/relationships/slideLayout" Target="../slideLayouts/slideLayout685.xml"/><Relationship Id="rId24" Type="http://schemas.openxmlformats.org/officeDocument/2006/relationships/slideLayout" Target="../slideLayouts/slideLayout698.xml"/><Relationship Id="rId32" Type="http://schemas.openxmlformats.org/officeDocument/2006/relationships/slideLayout" Target="../slideLayouts/slideLayout706.xml"/><Relationship Id="rId37" Type="http://schemas.openxmlformats.org/officeDocument/2006/relationships/vmlDrawing" Target="../drawings/vmlDrawing65.vml"/><Relationship Id="rId40" Type="http://schemas.openxmlformats.org/officeDocument/2006/relationships/image" Target="../media/image15.emf"/><Relationship Id="rId5" Type="http://schemas.openxmlformats.org/officeDocument/2006/relationships/slideLayout" Target="../slideLayouts/slideLayout679.xml"/><Relationship Id="rId15" Type="http://schemas.openxmlformats.org/officeDocument/2006/relationships/slideLayout" Target="../slideLayouts/slideLayout689.xml"/><Relationship Id="rId23" Type="http://schemas.openxmlformats.org/officeDocument/2006/relationships/slideLayout" Target="../slideLayouts/slideLayout697.xml"/><Relationship Id="rId28" Type="http://schemas.openxmlformats.org/officeDocument/2006/relationships/slideLayout" Target="../slideLayouts/slideLayout702.xml"/><Relationship Id="rId36" Type="http://schemas.openxmlformats.org/officeDocument/2006/relationships/theme" Target="../theme/theme21.xml"/><Relationship Id="rId10" Type="http://schemas.openxmlformats.org/officeDocument/2006/relationships/slideLayout" Target="../slideLayouts/slideLayout684.xml"/><Relationship Id="rId19" Type="http://schemas.openxmlformats.org/officeDocument/2006/relationships/slideLayout" Target="../slideLayouts/slideLayout693.xml"/><Relationship Id="rId31" Type="http://schemas.openxmlformats.org/officeDocument/2006/relationships/slideLayout" Target="../slideLayouts/slideLayout705.xml"/><Relationship Id="rId4" Type="http://schemas.openxmlformats.org/officeDocument/2006/relationships/slideLayout" Target="../slideLayouts/slideLayout678.xml"/><Relationship Id="rId9" Type="http://schemas.openxmlformats.org/officeDocument/2006/relationships/slideLayout" Target="../slideLayouts/slideLayout683.xml"/><Relationship Id="rId14" Type="http://schemas.openxmlformats.org/officeDocument/2006/relationships/slideLayout" Target="../slideLayouts/slideLayout688.xml"/><Relationship Id="rId22" Type="http://schemas.openxmlformats.org/officeDocument/2006/relationships/slideLayout" Target="../slideLayouts/slideLayout696.xml"/><Relationship Id="rId27" Type="http://schemas.openxmlformats.org/officeDocument/2006/relationships/slideLayout" Target="../slideLayouts/slideLayout701.xml"/><Relationship Id="rId30" Type="http://schemas.openxmlformats.org/officeDocument/2006/relationships/slideLayout" Target="../slideLayouts/slideLayout704.xml"/><Relationship Id="rId35" Type="http://schemas.openxmlformats.org/officeDocument/2006/relationships/slideLayout" Target="../slideLayouts/slideLayout709.xml"/><Relationship Id="rId8" Type="http://schemas.openxmlformats.org/officeDocument/2006/relationships/slideLayout" Target="../slideLayouts/slideLayout682.xml"/><Relationship Id="rId3" Type="http://schemas.openxmlformats.org/officeDocument/2006/relationships/slideLayout" Target="../slideLayouts/slideLayout677.xml"/><Relationship Id="rId12" Type="http://schemas.openxmlformats.org/officeDocument/2006/relationships/slideLayout" Target="../slideLayouts/slideLayout686.xml"/><Relationship Id="rId17" Type="http://schemas.openxmlformats.org/officeDocument/2006/relationships/slideLayout" Target="../slideLayouts/slideLayout691.xml"/><Relationship Id="rId25" Type="http://schemas.openxmlformats.org/officeDocument/2006/relationships/slideLayout" Target="../slideLayouts/slideLayout699.xml"/><Relationship Id="rId33" Type="http://schemas.openxmlformats.org/officeDocument/2006/relationships/slideLayout" Target="../slideLayouts/slideLayout707.xml"/><Relationship Id="rId38" Type="http://schemas.openxmlformats.org/officeDocument/2006/relationships/tags" Target="../tags/tag65.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717.xml"/><Relationship Id="rId3" Type="http://schemas.openxmlformats.org/officeDocument/2006/relationships/slideLayout" Target="../slideLayouts/slideLayout712.xml"/><Relationship Id="rId7" Type="http://schemas.openxmlformats.org/officeDocument/2006/relationships/slideLayout" Target="../slideLayouts/slideLayout716.xml"/><Relationship Id="rId12" Type="http://schemas.openxmlformats.org/officeDocument/2006/relationships/theme" Target="../theme/theme22.xml"/><Relationship Id="rId2" Type="http://schemas.openxmlformats.org/officeDocument/2006/relationships/slideLayout" Target="../slideLayouts/slideLayout711.xml"/><Relationship Id="rId1" Type="http://schemas.openxmlformats.org/officeDocument/2006/relationships/slideLayout" Target="../slideLayouts/slideLayout710.xml"/><Relationship Id="rId6" Type="http://schemas.openxmlformats.org/officeDocument/2006/relationships/slideLayout" Target="../slideLayouts/slideLayout715.xml"/><Relationship Id="rId11" Type="http://schemas.openxmlformats.org/officeDocument/2006/relationships/slideLayout" Target="../slideLayouts/slideLayout720.xml"/><Relationship Id="rId5" Type="http://schemas.openxmlformats.org/officeDocument/2006/relationships/slideLayout" Target="../slideLayouts/slideLayout714.xml"/><Relationship Id="rId10" Type="http://schemas.openxmlformats.org/officeDocument/2006/relationships/slideLayout" Target="../slideLayouts/slideLayout719.xml"/><Relationship Id="rId4" Type="http://schemas.openxmlformats.org/officeDocument/2006/relationships/slideLayout" Target="../slideLayouts/slideLayout713.xml"/><Relationship Id="rId9" Type="http://schemas.openxmlformats.org/officeDocument/2006/relationships/slideLayout" Target="../slideLayouts/slideLayout718.xml"/></Relationships>
</file>

<file path=ppt/slideMasters/_rels/slideMaster23.xml.rels><?xml version="1.0" encoding="UTF-8" standalone="yes"?>
<Relationships xmlns="http://schemas.openxmlformats.org/package/2006/relationships"><Relationship Id="rId13" Type="http://schemas.openxmlformats.org/officeDocument/2006/relationships/slideLayout" Target="../slideLayouts/slideLayout733.xml"/><Relationship Id="rId18" Type="http://schemas.openxmlformats.org/officeDocument/2006/relationships/slideLayout" Target="../slideLayouts/slideLayout738.xml"/><Relationship Id="rId26" Type="http://schemas.openxmlformats.org/officeDocument/2006/relationships/slideLayout" Target="../slideLayouts/slideLayout746.xml"/><Relationship Id="rId39" Type="http://schemas.openxmlformats.org/officeDocument/2006/relationships/tags" Target="../tags/tag66.xml"/><Relationship Id="rId21" Type="http://schemas.openxmlformats.org/officeDocument/2006/relationships/slideLayout" Target="../slideLayouts/slideLayout741.xml"/><Relationship Id="rId34" Type="http://schemas.openxmlformats.org/officeDocument/2006/relationships/slideLayout" Target="../slideLayouts/slideLayout754.xml"/><Relationship Id="rId42" Type="http://schemas.openxmlformats.org/officeDocument/2006/relationships/image" Target="../media/image2.png"/><Relationship Id="rId7" Type="http://schemas.openxmlformats.org/officeDocument/2006/relationships/slideLayout" Target="../slideLayouts/slideLayout727.xml"/><Relationship Id="rId2" Type="http://schemas.openxmlformats.org/officeDocument/2006/relationships/slideLayout" Target="../slideLayouts/slideLayout722.xml"/><Relationship Id="rId16" Type="http://schemas.openxmlformats.org/officeDocument/2006/relationships/slideLayout" Target="../slideLayouts/slideLayout736.xml"/><Relationship Id="rId20" Type="http://schemas.openxmlformats.org/officeDocument/2006/relationships/slideLayout" Target="../slideLayouts/slideLayout740.xml"/><Relationship Id="rId29" Type="http://schemas.openxmlformats.org/officeDocument/2006/relationships/slideLayout" Target="../slideLayouts/slideLayout749.xml"/><Relationship Id="rId41" Type="http://schemas.openxmlformats.org/officeDocument/2006/relationships/image" Target="../media/image1.emf"/><Relationship Id="rId1" Type="http://schemas.openxmlformats.org/officeDocument/2006/relationships/slideLayout" Target="../slideLayouts/slideLayout721.xml"/><Relationship Id="rId6" Type="http://schemas.openxmlformats.org/officeDocument/2006/relationships/slideLayout" Target="../slideLayouts/slideLayout726.xml"/><Relationship Id="rId11" Type="http://schemas.openxmlformats.org/officeDocument/2006/relationships/slideLayout" Target="../slideLayouts/slideLayout731.xml"/><Relationship Id="rId24" Type="http://schemas.openxmlformats.org/officeDocument/2006/relationships/slideLayout" Target="../slideLayouts/slideLayout744.xml"/><Relationship Id="rId32" Type="http://schemas.openxmlformats.org/officeDocument/2006/relationships/slideLayout" Target="../slideLayouts/slideLayout752.xml"/><Relationship Id="rId37" Type="http://schemas.openxmlformats.org/officeDocument/2006/relationships/theme" Target="../theme/theme23.xml"/><Relationship Id="rId40" Type="http://schemas.openxmlformats.org/officeDocument/2006/relationships/oleObject" Target="../embeddings/oleObject66.bin"/><Relationship Id="rId5" Type="http://schemas.openxmlformats.org/officeDocument/2006/relationships/slideLayout" Target="../slideLayouts/slideLayout725.xml"/><Relationship Id="rId15" Type="http://schemas.openxmlformats.org/officeDocument/2006/relationships/slideLayout" Target="../slideLayouts/slideLayout735.xml"/><Relationship Id="rId23" Type="http://schemas.openxmlformats.org/officeDocument/2006/relationships/slideLayout" Target="../slideLayouts/slideLayout743.xml"/><Relationship Id="rId28" Type="http://schemas.openxmlformats.org/officeDocument/2006/relationships/slideLayout" Target="../slideLayouts/slideLayout748.xml"/><Relationship Id="rId36" Type="http://schemas.openxmlformats.org/officeDocument/2006/relationships/slideLayout" Target="../slideLayouts/slideLayout756.xml"/><Relationship Id="rId10" Type="http://schemas.openxmlformats.org/officeDocument/2006/relationships/slideLayout" Target="../slideLayouts/slideLayout730.xml"/><Relationship Id="rId19" Type="http://schemas.openxmlformats.org/officeDocument/2006/relationships/slideLayout" Target="../slideLayouts/slideLayout739.xml"/><Relationship Id="rId31" Type="http://schemas.openxmlformats.org/officeDocument/2006/relationships/slideLayout" Target="../slideLayouts/slideLayout751.xml"/><Relationship Id="rId4" Type="http://schemas.openxmlformats.org/officeDocument/2006/relationships/slideLayout" Target="../slideLayouts/slideLayout724.xml"/><Relationship Id="rId9" Type="http://schemas.openxmlformats.org/officeDocument/2006/relationships/slideLayout" Target="../slideLayouts/slideLayout729.xml"/><Relationship Id="rId14" Type="http://schemas.openxmlformats.org/officeDocument/2006/relationships/slideLayout" Target="../slideLayouts/slideLayout734.xml"/><Relationship Id="rId22" Type="http://schemas.openxmlformats.org/officeDocument/2006/relationships/slideLayout" Target="../slideLayouts/slideLayout742.xml"/><Relationship Id="rId27" Type="http://schemas.openxmlformats.org/officeDocument/2006/relationships/slideLayout" Target="../slideLayouts/slideLayout747.xml"/><Relationship Id="rId30" Type="http://schemas.openxmlformats.org/officeDocument/2006/relationships/slideLayout" Target="../slideLayouts/slideLayout750.xml"/><Relationship Id="rId35" Type="http://schemas.openxmlformats.org/officeDocument/2006/relationships/slideLayout" Target="../slideLayouts/slideLayout755.xml"/><Relationship Id="rId43" Type="http://schemas.openxmlformats.org/officeDocument/2006/relationships/image" Target="../media/image3.png"/><Relationship Id="rId8" Type="http://schemas.openxmlformats.org/officeDocument/2006/relationships/slideLayout" Target="../slideLayouts/slideLayout728.xml"/><Relationship Id="rId3" Type="http://schemas.openxmlformats.org/officeDocument/2006/relationships/slideLayout" Target="../slideLayouts/slideLayout723.xml"/><Relationship Id="rId12" Type="http://schemas.openxmlformats.org/officeDocument/2006/relationships/slideLayout" Target="../slideLayouts/slideLayout732.xml"/><Relationship Id="rId17" Type="http://schemas.openxmlformats.org/officeDocument/2006/relationships/slideLayout" Target="../slideLayouts/slideLayout737.xml"/><Relationship Id="rId25" Type="http://schemas.openxmlformats.org/officeDocument/2006/relationships/slideLayout" Target="../slideLayouts/slideLayout745.xml"/><Relationship Id="rId33" Type="http://schemas.openxmlformats.org/officeDocument/2006/relationships/slideLayout" Target="../slideLayouts/slideLayout753.xml"/><Relationship Id="rId38" Type="http://schemas.openxmlformats.org/officeDocument/2006/relationships/vmlDrawing" Target="../drawings/vmlDrawing66.vml"/></Relationships>
</file>

<file path=ppt/slideMasters/_rels/slideMaster24.xml.rels><?xml version="1.0" encoding="UTF-8" standalone="yes"?>
<Relationships xmlns="http://schemas.openxmlformats.org/package/2006/relationships"><Relationship Id="rId13" Type="http://schemas.openxmlformats.org/officeDocument/2006/relationships/slideLayout" Target="../slideLayouts/slideLayout769.xml"/><Relationship Id="rId18" Type="http://schemas.openxmlformats.org/officeDocument/2006/relationships/slideLayout" Target="../slideLayouts/slideLayout774.xml"/><Relationship Id="rId26" Type="http://schemas.openxmlformats.org/officeDocument/2006/relationships/slideLayout" Target="../slideLayouts/slideLayout782.xml"/><Relationship Id="rId39" Type="http://schemas.openxmlformats.org/officeDocument/2006/relationships/vmlDrawing" Target="../drawings/vmlDrawing76.vml"/><Relationship Id="rId21" Type="http://schemas.openxmlformats.org/officeDocument/2006/relationships/slideLayout" Target="../slideLayouts/slideLayout777.xml"/><Relationship Id="rId34" Type="http://schemas.openxmlformats.org/officeDocument/2006/relationships/slideLayout" Target="../slideLayouts/slideLayout790.xml"/><Relationship Id="rId42" Type="http://schemas.openxmlformats.org/officeDocument/2006/relationships/image" Target="../media/image1.emf"/><Relationship Id="rId7" Type="http://schemas.openxmlformats.org/officeDocument/2006/relationships/slideLayout" Target="../slideLayouts/slideLayout763.xml"/><Relationship Id="rId2" Type="http://schemas.openxmlformats.org/officeDocument/2006/relationships/slideLayout" Target="../slideLayouts/slideLayout758.xml"/><Relationship Id="rId16" Type="http://schemas.openxmlformats.org/officeDocument/2006/relationships/slideLayout" Target="../slideLayouts/slideLayout772.xml"/><Relationship Id="rId20" Type="http://schemas.openxmlformats.org/officeDocument/2006/relationships/slideLayout" Target="../slideLayouts/slideLayout776.xml"/><Relationship Id="rId29" Type="http://schemas.openxmlformats.org/officeDocument/2006/relationships/slideLayout" Target="../slideLayouts/slideLayout785.xml"/><Relationship Id="rId41" Type="http://schemas.openxmlformats.org/officeDocument/2006/relationships/oleObject" Target="../embeddings/oleObject76.bin"/><Relationship Id="rId1" Type="http://schemas.openxmlformats.org/officeDocument/2006/relationships/slideLayout" Target="../slideLayouts/slideLayout757.xml"/><Relationship Id="rId6" Type="http://schemas.openxmlformats.org/officeDocument/2006/relationships/slideLayout" Target="../slideLayouts/slideLayout762.xml"/><Relationship Id="rId11" Type="http://schemas.openxmlformats.org/officeDocument/2006/relationships/slideLayout" Target="../slideLayouts/slideLayout767.xml"/><Relationship Id="rId24" Type="http://schemas.openxmlformats.org/officeDocument/2006/relationships/slideLayout" Target="../slideLayouts/slideLayout780.xml"/><Relationship Id="rId32" Type="http://schemas.openxmlformats.org/officeDocument/2006/relationships/slideLayout" Target="../slideLayouts/slideLayout788.xml"/><Relationship Id="rId37" Type="http://schemas.openxmlformats.org/officeDocument/2006/relationships/slideLayout" Target="../slideLayouts/slideLayout793.xml"/><Relationship Id="rId40" Type="http://schemas.openxmlformats.org/officeDocument/2006/relationships/tags" Target="../tags/tag76.xml"/><Relationship Id="rId5" Type="http://schemas.openxmlformats.org/officeDocument/2006/relationships/slideLayout" Target="../slideLayouts/slideLayout761.xml"/><Relationship Id="rId15" Type="http://schemas.openxmlformats.org/officeDocument/2006/relationships/slideLayout" Target="../slideLayouts/slideLayout771.xml"/><Relationship Id="rId23" Type="http://schemas.openxmlformats.org/officeDocument/2006/relationships/slideLayout" Target="../slideLayouts/slideLayout779.xml"/><Relationship Id="rId28" Type="http://schemas.openxmlformats.org/officeDocument/2006/relationships/slideLayout" Target="../slideLayouts/slideLayout784.xml"/><Relationship Id="rId36" Type="http://schemas.openxmlformats.org/officeDocument/2006/relationships/slideLayout" Target="../slideLayouts/slideLayout792.xml"/><Relationship Id="rId10" Type="http://schemas.openxmlformats.org/officeDocument/2006/relationships/slideLayout" Target="../slideLayouts/slideLayout766.xml"/><Relationship Id="rId19" Type="http://schemas.openxmlformats.org/officeDocument/2006/relationships/slideLayout" Target="../slideLayouts/slideLayout775.xml"/><Relationship Id="rId31" Type="http://schemas.openxmlformats.org/officeDocument/2006/relationships/slideLayout" Target="../slideLayouts/slideLayout787.xml"/><Relationship Id="rId44" Type="http://schemas.openxmlformats.org/officeDocument/2006/relationships/image" Target="../media/image3.png"/><Relationship Id="rId4" Type="http://schemas.openxmlformats.org/officeDocument/2006/relationships/slideLayout" Target="../slideLayouts/slideLayout760.xml"/><Relationship Id="rId9" Type="http://schemas.openxmlformats.org/officeDocument/2006/relationships/slideLayout" Target="../slideLayouts/slideLayout765.xml"/><Relationship Id="rId14" Type="http://schemas.openxmlformats.org/officeDocument/2006/relationships/slideLayout" Target="../slideLayouts/slideLayout770.xml"/><Relationship Id="rId22" Type="http://schemas.openxmlformats.org/officeDocument/2006/relationships/slideLayout" Target="../slideLayouts/slideLayout778.xml"/><Relationship Id="rId27" Type="http://schemas.openxmlformats.org/officeDocument/2006/relationships/slideLayout" Target="../slideLayouts/slideLayout783.xml"/><Relationship Id="rId30" Type="http://schemas.openxmlformats.org/officeDocument/2006/relationships/slideLayout" Target="../slideLayouts/slideLayout786.xml"/><Relationship Id="rId35" Type="http://schemas.openxmlformats.org/officeDocument/2006/relationships/slideLayout" Target="../slideLayouts/slideLayout791.xml"/><Relationship Id="rId43" Type="http://schemas.openxmlformats.org/officeDocument/2006/relationships/image" Target="../media/image2.png"/><Relationship Id="rId8" Type="http://schemas.openxmlformats.org/officeDocument/2006/relationships/slideLayout" Target="../slideLayouts/slideLayout764.xml"/><Relationship Id="rId3" Type="http://schemas.openxmlformats.org/officeDocument/2006/relationships/slideLayout" Target="../slideLayouts/slideLayout759.xml"/><Relationship Id="rId12" Type="http://schemas.openxmlformats.org/officeDocument/2006/relationships/slideLayout" Target="../slideLayouts/slideLayout768.xml"/><Relationship Id="rId17" Type="http://schemas.openxmlformats.org/officeDocument/2006/relationships/slideLayout" Target="../slideLayouts/slideLayout773.xml"/><Relationship Id="rId25" Type="http://schemas.openxmlformats.org/officeDocument/2006/relationships/slideLayout" Target="../slideLayouts/slideLayout781.xml"/><Relationship Id="rId33" Type="http://schemas.openxmlformats.org/officeDocument/2006/relationships/slideLayout" Target="../slideLayouts/slideLayout789.xml"/><Relationship Id="rId38"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13" Type="http://schemas.openxmlformats.org/officeDocument/2006/relationships/slideLayout" Target="../slideLayouts/slideLayout806.xml"/><Relationship Id="rId18" Type="http://schemas.openxmlformats.org/officeDocument/2006/relationships/slideLayout" Target="../slideLayouts/slideLayout811.xml"/><Relationship Id="rId26" Type="http://schemas.openxmlformats.org/officeDocument/2006/relationships/slideLayout" Target="../slideLayouts/slideLayout819.xml"/><Relationship Id="rId39" Type="http://schemas.openxmlformats.org/officeDocument/2006/relationships/vmlDrawing" Target="../drawings/vmlDrawing87.vml"/><Relationship Id="rId21" Type="http://schemas.openxmlformats.org/officeDocument/2006/relationships/slideLayout" Target="../slideLayouts/slideLayout814.xml"/><Relationship Id="rId34" Type="http://schemas.openxmlformats.org/officeDocument/2006/relationships/slideLayout" Target="../slideLayouts/slideLayout827.xml"/><Relationship Id="rId42" Type="http://schemas.openxmlformats.org/officeDocument/2006/relationships/image" Target="../media/image1.emf"/><Relationship Id="rId7" Type="http://schemas.openxmlformats.org/officeDocument/2006/relationships/slideLayout" Target="../slideLayouts/slideLayout800.xml"/><Relationship Id="rId2" Type="http://schemas.openxmlformats.org/officeDocument/2006/relationships/slideLayout" Target="../slideLayouts/slideLayout795.xml"/><Relationship Id="rId16" Type="http://schemas.openxmlformats.org/officeDocument/2006/relationships/slideLayout" Target="../slideLayouts/slideLayout809.xml"/><Relationship Id="rId20" Type="http://schemas.openxmlformats.org/officeDocument/2006/relationships/slideLayout" Target="../slideLayouts/slideLayout813.xml"/><Relationship Id="rId29" Type="http://schemas.openxmlformats.org/officeDocument/2006/relationships/slideLayout" Target="../slideLayouts/slideLayout822.xml"/><Relationship Id="rId41" Type="http://schemas.openxmlformats.org/officeDocument/2006/relationships/oleObject" Target="../embeddings/oleObject87.bin"/><Relationship Id="rId1" Type="http://schemas.openxmlformats.org/officeDocument/2006/relationships/slideLayout" Target="../slideLayouts/slideLayout794.xml"/><Relationship Id="rId6" Type="http://schemas.openxmlformats.org/officeDocument/2006/relationships/slideLayout" Target="../slideLayouts/slideLayout799.xml"/><Relationship Id="rId11" Type="http://schemas.openxmlformats.org/officeDocument/2006/relationships/slideLayout" Target="../slideLayouts/slideLayout804.xml"/><Relationship Id="rId24" Type="http://schemas.openxmlformats.org/officeDocument/2006/relationships/slideLayout" Target="../slideLayouts/slideLayout817.xml"/><Relationship Id="rId32" Type="http://schemas.openxmlformats.org/officeDocument/2006/relationships/slideLayout" Target="../slideLayouts/slideLayout825.xml"/><Relationship Id="rId37" Type="http://schemas.openxmlformats.org/officeDocument/2006/relationships/slideLayout" Target="../slideLayouts/slideLayout830.xml"/><Relationship Id="rId40" Type="http://schemas.openxmlformats.org/officeDocument/2006/relationships/tags" Target="../tags/tag87.xml"/><Relationship Id="rId5" Type="http://schemas.openxmlformats.org/officeDocument/2006/relationships/slideLayout" Target="../slideLayouts/slideLayout798.xml"/><Relationship Id="rId15" Type="http://schemas.openxmlformats.org/officeDocument/2006/relationships/slideLayout" Target="../slideLayouts/slideLayout808.xml"/><Relationship Id="rId23" Type="http://schemas.openxmlformats.org/officeDocument/2006/relationships/slideLayout" Target="../slideLayouts/slideLayout816.xml"/><Relationship Id="rId28" Type="http://schemas.openxmlformats.org/officeDocument/2006/relationships/slideLayout" Target="../slideLayouts/slideLayout821.xml"/><Relationship Id="rId36" Type="http://schemas.openxmlformats.org/officeDocument/2006/relationships/slideLayout" Target="../slideLayouts/slideLayout829.xml"/><Relationship Id="rId10" Type="http://schemas.openxmlformats.org/officeDocument/2006/relationships/slideLayout" Target="../slideLayouts/slideLayout803.xml"/><Relationship Id="rId19" Type="http://schemas.openxmlformats.org/officeDocument/2006/relationships/slideLayout" Target="../slideLayouts/slideLayout812.xml"/><Relationship Id="rId31" Type="http://schemas.openxmlformats.org/officeDocument/2006/relationships/slideLayout" Target="../slideLayouts/slideLayout824.xml"/><Relationship Id="rId44" Type="http://schemas.openxmlformats.org/officeDocument/2006/relationships/image" Target="../media/image3.png"/><Relationship Id="rId4" Type="http://schemas.openxmlformats.org/officeDocument/2006/relationships/slideLayout" Target="../slideLayouts/slideLayout797.xml"/><Relationship Id="rId9" Type="http://schemas.openxmlformats.org/officeDocument/2006/relationships/slideLayout" Target="../slideLayouts/slideLayout802.xml"/><Relationship Id="rId14" Type="http://schemas.openxmlformats.org/officeDocument/2006/relationships/slideLayout" Target="../slideLayouts/slideLayout807.xml"/><Relationship Id="rId22" Type="http://schemas.openxmlformats.org/officeDocument/2006/relationships/slideLayout" Target="../slideLayouts/slideLayout815.xml"/><Relationship Id="rId27" Type="http://schemas.openxmlformats.org/officeDocument/2006/relationships/slideLayout" Target="../slideLayouts/slideLayout820.xml"/><Relationship Id="rId30" Type="http://schemas.openxmlformats.org/officeDocument/2006/relationships/slideLayout" Target="../slideLayouts/slideLayout823.xml"/><Relationship Id="rId35" Type="http://schemas.openxmlformats.org/officeDocument/2006/relationships/slideLayout" Target="../slideLayouts/slideLayout828.xml"/><Relationship Id="rId43" Type="http://schemas.openxmlformats.org/officeDocument/2006/relationships/image" Target="../media/image2.png"/><Relationship Id="rId8" Type="http://schemas.openxmlformats.org/officeDocument/2006/relationships/slideLayout" Target="../slideLayouts/slideLayout801.xml"/><Relationship Id="rId3" Type="http://schemas.openxmlformats.org/officeDocument/2006/relationships/slideLayout" Target="../slideLayouts/slideLayout796.xml"/><Relationship Id="rId12" Type="http://schemas.openxmlformats.org/officeDocument/2006/relationships/slideLayout" Target="../slideLayouts/slideLayout805.xml"/><Relationship Id="rId17" Type="http://schemas.openxmlformats.org/officeDocument/2006/relationships/slideLayout" Target="../slideLayouts/slideLayout810.xml"/><Relationship Id="rId25" Type="http://schemas.openxmlformats.org/officeDocument/2006/relationships/slideLayout" Target="../slideLayouts/slideLayout818.xml"/><Relationship Id="rId33" Type="http://schemas.openxmlformats.org/officeDocument/2006/relationships/slideLayout" Target="../slideLayouts/slideLayout826.xml"/><Relationship Id="rId38"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13" Type="http://schemas.openxmlformats.org/officeDocument/2006/relationships/slideLayout" Target="../slideLayouts/slideLayout843.xml"/><Relationship Id="rId18" Type="http://schemas.openxmlformats.org/officeDocument/2006/relationships/slideLayout" Target="../slideLayouts/slideLayout848.xml"/><Relationship Id="rId26" Type="http://schemas.openxmlformats.org/officeDocument/2006/relationships/slideLayout" Target="../slideLayouts/slideLayout856.xml"/><Relationship Id="rId39" Type="http://schemas.openxmlformats.org/officeDocument/2006/relationships/tags" Target="../tags/tag98.xml"/><Relationship Id="rId21" Type="http://schemas.openxmlformats.org/officeDocument/2006/relationships/slideLayout" Target="../slideLayouts/slideLayout851.xml"/><Relationship Id="rId34" Type="http://schemas.openxmlformats.org/officeDocument/2006/relationships/slideLayout" Target="../slideLayouts/slideLayout864.xml"/><Relationship Id="rId42" Type="http://schemas.openxmlformats.org/officeDocument/2006/relationships/image" Target="../media/image2.png"/><Relationship Id="rId7" Type="http://schemas.openxmlformats.org/officeDocument/2006/relationships/slideLayout" Target="../slideLayouts/slideLayout837.xml"/><Relationship Id="rId2" Type="http://schemas.openxmlformats.org/officeDocument/2006/relationships/slideLayout" Target="../slideLayouts/slideLayout832.xml"/><Relationship Id="rId16" Type="http://schemas.openxmlformats.org/officeDocument/2006/relationships/slideLayout" Target="../slideLayouts/slideLayout846.xml"/><Relationship Id="rId20" Type="http://schemas.openxmlformats.org/officeDocument/2006/relationships/slideLayout" Target="../slideLayouts/slideLayout850.xml"/><Relationship Id="rId29" Type="http://schemas.openxmlformats.org/officeDocument/2006/relationships/slideLayout" Target="../slideLayouts/slideLayout859.xml"/><Relationship Id="rId41" Type="http://schemas.openxmlformats.org/officeDocument/2006/relationships/image" Target="../media/image1.emf"/><Relationship Id="rId1" Type="http://schemas.openxmlformats.org/officeDocument/2006/relationships/slideLayout" Target="../slideLayouts/slideLayout831.xml"/><Relationship Id="rId6" Type="http://schemas.openxmlformats.org/officeDocument/2006/relationships/slideLayout" Target="../slideLayouts/slideLayout836.xml"/><Relationship Id="rId11" Type="http://schemas.openxmlformats.org/officeDocument/2006/relationships/slideLayout" Target="../slideLayouts/slideLayout841.xml"/><Relationship Id="rId24" Type="http://schemas.openxmlformats.org/officeDocument/2006/relationships/slideLayout" Target="../slideLayouts/slideLayout854.xml"/><Relationship Id="rId32" Type="http://schemas.openxmlformats.org/officeDocument/2006/relationships/slideLayout" Target="../slideLayouts/slideLayout862.xml"/><Relationship Id="rId37" Type="http://schemas.openxmlformats.org/officeDocument/2006/relationships/theme" Target="../theme/theme26.xml"/><Relationship Id="rId40" Type="http://schemas.openxmlformats.org/officeDocument/2006/relationships/oleObject" Target="../embeddings/oleObject98.bin"/><Relationship Id="rId5" Type="http://schemas.openxmlformats.org/officeDocument/2006/relationships/slideLayout" Target="../slideLayouts/slideLayout835.xml"/><Relationship Id="rId15" Type="http://schemas.openxmlformats.org/officeDocument/2006/relationships/slideLayout" Target="../slideLayouts/slideLayout845.xml"/><Relationship Id="rId23" Type="http://schemas.openxmlformats.org/officeDocument/2006/relationships/slideLayout" Target="../slideLayouts/slideLayout853.xml"/><Relationship Id="rId28" Type="http://schemas.openxmlformats.org/officeDocument/2006/relationships/slideLayout" Target="../slideLayouts/slideLayout858.xml"/><Relationship Id="rId36" Type="http://schemas.openxmlformats.org/officeDocument/2006/relationships/slideLayout" Target="../slideLayouts/slideLayout866.xml"/><Relationship Id="rId10" Type="http://schemas.openxmlformats.org/officeDocument/2006/relationships/slideLayout" Target="../slideLayouts/slideLayout840.xml"/><Relationship Id="rId19" Type="http://schemas.openxmlformats.org/officeDocument/2006/relationships/slideLayout" Target="../slideLayouts/slideLayout849.xml"/><Relationship Id="rId31" Type="http://schemas.openxmlformats.org/officeDocument/2006/relationships/slideLayout" Target="../slideLayouts/slideLayout861.xml"/><Relationship Id="rId4" Type="http://schemas.openxmlformats.org/officeDocument/2006/relationships/slideLayout" Target="../slideLayouts/slideLayout834.xml"/><Relationship Id="rId9" Type="http://schemas.openxmlformats.org/officeDocument/2006/relationships/slideLayout" Target="../slideLayouts/slideLayout839.xml"/><Relationship Id="rId14" Type="http://schemas.openxmlformats.org/officeDocument/2006/relationships/slideLayout" Target="../slideLayouts/slideLayout844.xml"/><Relationship Id="rId22" Type="http://schemas.openxmlformats.org/officeDocument/2006/relationships/slideLayout" Target="../slideLayouts/slideLayout852.xml"/><Relationship Id="rId27" Type="http://schemas.openxmlformats.org/officeDocument/2006/relationships/slideLayout" Target="../slideLayouts/slideLayout857.xml"/><Relationship Id="rId30" Type="http://schemas.openxmlformats.org/officeDocument/2006/relationships/slideLayout" Target="../slideLayouts/slideLayout860.xml"/><Relationship Id="rId35" Type="http://schemas.openxmlformats.org/officeDocument/2006/relationships/slideLayout" Target="../slideLayouts/slideLayout865.xml"/><Relationship Id="rId43" Type="http://schemas.openxmlformats.org/officeDocument/2006/relationships/image" Target="../media/image3.png"/><Relationship Id="rId8" Type="http://schemas.openxmlformats.org/officeDocument/2006/relationships/slideLayout" Target="../slideLayouts/slideLayout838.xml"/><Relationship Id="rId3" Type="http://schemas.openxmlformats.org/officeDocument/2006/relationships/slideLayout" Target="../slideLayouts/slideLayout833.xml"/><Relationship Id="rId12" Type="http://schemas.openxmlformats.org/officeDocument/2006/relationships/slideLayout" Target="../slideLayouts/slideLayout842.xml"/><Relationship Id="rId17" Type="http://schemas.openxmlformats.org/officeDocument/2006/relationships/slideLayout" Target="../slideLayouts/slideLayout847.xml"/><Relationship Id="rId25" Type="http://schemas.openxmlformats.org/officeDocument/2006/relationships/slideLayout" Target="../slideLayouts/slideLayout855.xml"/><Relationship Id="rId33" Type="http://schemas.openxmlformats.org/officeDocument/2006/relationships/slideLayout" Target="../slideLayouts/slideLayout863.xml"/><Relationship Id="rId38" Type="http://schemas.openxmlformats.org/officeDocument/2006/relationships/vmlDrawing" Target="../drawings/vmlDrawing98.vml"/></Relationships>
</file>

<file path=ppt/slideMasters/_rels/slideMaster27.xml.rels><?xml version="1.0" encoding="UTF-8" standalone="yes"?>
<Relationships xmlns="http://schemas.openxmlformats.org/package/2006/relationships"><Relationship Id="rId13" Type="http://schemas.openxmlformats.org/officeDocument/2006/relationships/slideLayout" Target="../slideLayouts/slideLayout879.xml"/><Relationship Id="rId18" Type="http://schemas.openxmlformats.org/officeDocument/2006/relationships/slideLayout" Target="../slideLayouts/slideLayout884.xml"/><Relationship Id="rId26" Type="http://schemas.openxmlformats.org/officeDocument/2006/relationships/slideLayout" Target="../slideLayouts/slideLayout892.xml"/><Relationship Id="rId39" Type="http://schemas.openxmlformats.org/officeDocument/2006/relationships/tags" Target="../tags/tag108.xml"/><Relationship Id="rId21" Type="http://schemas.openxmlformats.org/officeDocument/2006/relationships/slideLayout" Target="../slideLayouts/slideLayout887.xml"/><Relationship Id="rId34" Type="http://schemas.openxmlformats.org/officeDocument/2006/relationships/slideLayout" Target="../slideLayouts/slideLayout900.xml"/><Relationship Id="rId42" Type="http://schemas.openxmlformats.org/officeDocument/2006/relationships/image" Target="../media/image2.png"/><Relationship Id="rId7" Type="http://schemas.openxmlformats.org/officeDocument/2006/relationships/slideLayout" Target="../slideLayouts/slideLayout873.xml"/><Relationship Id="rId2" Type="http://schemas.openxmlformats.org/officeDocument/2006/relationships/slideLayout" Target="../slideLayouts/slideLayout868.xml"/><Relationship Id="rId16" Type="http://schemas.openxmlformats.org/officeDocument/2006/relationships/slideLayout" Target="../slideLayouts/slideLayout882.xml"/><Relationship Id="rId20" Type="http://schemas.openxmlformats.org/officeDocument/2006/relationships/slideLayout" Target="../slideLayouts/slideLayout886.xml"/><Relationship Id="rId29" Type="http://schemas.openxmlformats.org/officeDocument/2006/relationships/slideLayout" Target="../slideLayouts/slideLayout895.xml"/><Relationship Id="rId41" Type="http://schemas.openxmlformats.org/officeDocument/2006/relationships/image" Target="../media/image1.emf"/><Relationship Id="rId1" Type="http://schemas.openxmlformats.org/officeDocument/2006/relationships/slideLayout" Target="../slideLayouts/slideLayout867.xml"/><Relationship Id="rId6" Type="http://schemas.openxmlformats.org/officeDocument/2006/relationships/slideLayout" Target="../slideLayouts/slideLayout872.xml"/><Relationship Id="rId11" Type="http://schemas.openxmlformats.org/officeDocument/2006/relationships/slideLayout" Target="../slideLayouts/slideLayout877.xml"/><Relationship Id="rId24" Type="http://schemas.openxmlformats.org/officeDocument/2006/relationships/slideLayout" Target="../slideLayouts/slideLayout890.xml"/><Relationship Id="rId32" Type="http://schemas.openxmlformats.org/officeDocument/2006/relationships/slideLayout" Target="../slideLayouts/slideLayout898.xml"/><Relationship Id="rId37" Type="http://schemas.openxmlformats.org/officeDocument/2006/relationships/theme" Target="../theme/theme27.xml"/><Relationship Id="rId40" Type="http://schemas.openxmlformats.org/officeDocument/2006/relationships/oleObject" Target="../embeddings/oleObject108.bin"/><Relationship Id="rId5" Type="http://schemas.openxmlformats.org/officeDocument/2006/relationships/slideLayout" Target="../slideLayouts/slideLayout871.xml"/><Relationship Id="rId15" Type="http://schemas.openxmlformats.org/officeDocument/2006/relationships/slideLayout" Target="../slideLayouts/slideLayout881.xml"/><Relationship Id="rId23" Type="http://schemas.openxmlformats.org/officeDocument/2006/relationships/slideLayout" Target="../slideLayouts/slideLayout889.xml"/><Relationship Id="rId28" Type="http://schemas.openxmlformats.org/officeDocument/2006/relationships/slideLayout" Target="../slideLayouts/slideLayout894.xml"/><Relationship Id="rId36" Type="http://schemas.openxmlformats.org/officeDocument/2006/relationships/slideLayout" Target="../slideLayouts/slideLayout902.xml"/><Relationship Id="rId10" Type="http://schemas.openxmlformats.org/officeDocument/2006/relationships/slideLayout" Target="../slideLayouts/slideLayout876.xml"/><Relationship Id="rId19" Type="http://schemas.openxmlformats.org/officeDocument/2006/relationships/slideLayout" Target="../slideLayouts/slideLayout885.xml"/><Relationship Id="rId31" Type="http://schemas.openxmlformats.org/officeDocument/2006/relationships/slideLayout" Target="../slideLayouts/slideLayout897.xml"/><Relationship Id="rId4" Type="http://schemas.openxmlformats.org/officeDocument/2006/relationships/slideLayout" Target="../slideLayouts/slideLayout870.xml"/><Relationship Id="rId9" Type="http://schemas.openxmlformats.org/officeDocument/2006/relationships/slideLayout" Target="../slideLayouts/slideLayout875.xml"/><Relationship Id="rId14" Type="http://schemas.openxmlformats.org/officeDocument/2006/relationships/slideLayout" Target="../slideLayouts/slideLayout880.xml"/><Relationship Id="rId22" Type="http://schemas.openxmlformats.org/officeDocument/2006/relationships/slideLayout" Target="../slideLayouts/slideLayout888.xml"/><Relationship Id="rId27" Type="http://schemas.openxmlformats.org/officeDocument/2006/relationships/slideLayout" Target="../slideLayouts/slideLayout893.xml"/><Relationship Id="rId30" Type="http://schemas.openxmlformats.org/officeDocument/2006/relationships/slideLayout" Target="../slideLayouts/slideLayout896.xml"/><Relationship Id="rId35" Type="http://schemas.openxmlformats.org/officeDocument/2006/relationships/slideLayout" Target="../slideLayouts/slideLayout901.xml"/><Relationship Id="rId43" Type="http://schemas.openxmlformats.org/officeDocument/2006/relationships/image" Target="../media/image3.png"/><Relationship Id="rId8" Type="http://schemas.openxmlformats.org/officeDocument/2006/relationships/slideLayout" Target="../slideLayouts/slideLayout874.xml"/><Relationship Id="rId3" Type="http://schemas.openxmlformats.org/officeDocument/2006/relationships/slideLayout" Target="../slideLayouts/slideLayout869.xml"/><Relationship Id="rId12" Type="http://schemas.openxmlformats.org/officeDocument/2006/relationships/slideLayout" Target="../slideLayouts/slideLayout878.xml"/><Relationship Id="rId17" Type="http://schemas.openxmlformats.org/officeDocument/2006/relationships/slideLayout" Target="../slideLayouts/slideLayout883.xml"/><Relationship Id="rId25" Type="http://schemas.openxmlformats.org/officeDocument/2006/relationships/slideLayout" Target="../slideLayouts/slideLayout891.xml"/><Relationship Id="rId33" Type="http://schemas.openxmlformats.org/officeDocument/2006/relationships/slideLayout" Target="../slideLayouts/slideLayout899.xml"/><Relationship Id="rId38" Type="http://schemas.openxmlformats.org/officeDocument/2006/relationships/vmlDrawing" Target="../drawings/vmlDrawing108.vml"/></Relationships>
</file>

<file path=ppt/slideMasters/_rels/slideMaster28.xml.rels><?xml version="1.0" encoding="UTF-8" standalone="yes"?>
<Relationships xmlns="http://schemas.openxmlformats.org/package/2006/relationships"><Relationship Id="rId13" Type="http://schemas.openxmlformats.org/officeDocument/2006/relationships/slideLayout" Target="../slideLayouts/slideLayout915.xml"/><Relationship Id="rId18" Type="http://schemas.openxmlformats.org/officeDocument/2006/relationships/slideLayout" Target="../slideLayouts/slideLayout920.xml"/><Relationship Id="rId26" Type="http://schemas.openxmlformats.org/officeDocument/2006/relationships/slideLayout" Target="../slideLayouts/slideLayout928.xml"/><Relationship Id="rId39" Type="http://schemas.openxmlformats.org/officeDocument/2006/relationships/tags" Target="../tags/tag118.xml"/><Relationship Id="rId21" Type="http://schemas.openxmlformats.org/officeDocument/2006/relationships/slideLayout" Target="../slideLayouts/slideLayout923.xml"/><Relationship Id="rId34" Type="http://schemas.openxmlformats.org/officeDocument/2006/relationships/slideLayout" Target="../slideLayouts/slideLayout936.xml"/><Relationship Id="rId42" Type="http://schemas.openxmlformats.org/officeDocument/2006/relationships/image" Target="../media/image2.png"/><Relationship Id="rId7" Type="http://schemas.openxmlformats.org/officeDocument/2006/relationships/slideLayout" Target="../slideLayouts/slideLayout909.xml"/><Relationship Id="rId2" Type="http://schemas.openxmlformats.org/officeDocument/2006/relationships/slideLayout" Target="../slideLayouts/slideLayout904.xml"/><Relationship Id="rId16" Type="http://schemas.openxmlformats.org/officeDocument/2006/relationships/slideLayout" Target="../slideLayouts/slideLayout918.xml"/><Relationship Id="rId20" Type="http://schemas.openxmlformats.org/officeDocument/2006/relationships/slideLayout" Target="../slideLayouts/slideLayout922.xml"/><Relationship Id="rId29" Type="http://schemas.openxmlformats.org/officeDocument/2006/relationships/slideLayout" Target="../slideLayouts/slideLayout931.xml"/><Relationship Id="rId41" Type="http://schemas.openxmlformats.org/officeDocument/2006/relationships/image" Target="../media/image1.emf"/><Relationship Id="rId1" Type="http://schemas.openxmlformats.org/officeDocument/2006/relationships/slideLayout" Target="../slideLayouts/slideLayout903.xml"/><Relationship Id="rId6" Type="http://schemas.openxmlformats.org/officeDocument/2006/relationships/slideLayout" Target="../slideLayouts/slideLayout908.xml"/><Relationship Id="rId11" Type="http://schemas.openxmlformats.org/officeDocument/2006/relationships/slideLayout" Target="../slideLayouts/slideLayout913.xml"/><Relationship Id="rId24" Type="http://schemas.openxmlformats.org/officeDocument/2006/relationships/slideLayout" Target="../slideLayouts/slideLayout926.xml"/><Relationship Id="rId32" Type="http://schemas.openxmlformats.org/officeDocument/2006/relationships/slideLayout" Target="../slideLayouts/slideLayout934.xml"/><Relationship Id="rId37" Type="http://schemas.openxmlformats.org/officeDocument/2006/relationships/theme" Target="../theme/theme28.xml"/><Relationship Id="rId40" Type="http://schemas.openxmlformats.org/officeDocument/2006/relationships/oleObject" Target="../embeddings/oleObject118.bin"/><Relationship Id="rId5" Type="http://schemas.openxmlformats.org/officeDocument/2006/relationships/slideLayout" Target="../slideLayouts/slideLayout907.xml"/><Relationship Id="rId15" Type="http://schemas.openxmlformats.org/officeDocument/2006/relationships/slideLayout" Target="../slideLayouts/slideLayout917.xml"/><Relationship Id="rId23" Type="http://schemas.openxmlformats.org/officeDocument/2006/relationships/slideLayout" Target="../slideLayouts/slideLayout925.xml"/><Relationship Id="rId28" Type="http://schemas.openxmlformats.org/officeDocument/2006/relationships/slideLayout" Target="../slideLayouts/slideLayout930.xml"/><Relationship Id="rId36" Type="http://schemas.openxmlformats.org/officeDocument/2006/relationships/slideLayout" Target="../slideLayouts/slideLayout938.xml"/><Relationship Id="rId10" Type="http://schemas.openxmlformats.org/officeDocument/2006/relationships/slideLayout" Target="../slideLayouts/slideLayout912.xml"/><Relationship Id="rId19" Type="http://schemas.openxmlformats.org/officeDocument/2006/relationships/slideLayout" Target="../slideLayouts/slideLayout921.xml"/><Relationship Id="rId31" Type="http://schemas.openxmlformats.org/officeDocument/2006/relationships/slideLayout" Target="../slideLayouts/slideLayout933.xml"/><Relationship Id="rId4" Type="http://schemas.openxmlformats.org/officeDocument/2006/relationships/slideLayout" Target="../slideLayouts/slideLayout906.xml"/><Relationship Id="rId9" Type="http://schemas.openxmlformats.org/officeDocument/2006/relationships/slideLayout" Target="../slideLayouts/slideLayout911.xml"/><Relationship Id="rId14" Type="http://schemas.openxmlformats.org/officeDocument/2006/relationships/slideLayout" Target="../slideLayouts/slideLayout916.xml"/><Relationship Id="rId22" Type="http://schemas.openxmlformats.org/officeDocument/2006/relationships/slideLayout" Target="../slideLayouts/slideLayout924.xml"/><Relationship Id="rId27" Type="http://schemas.openxmlformats.org/officeDocument/2006/relationships/slideLayout" Target="../slideLayouts/slideLayout929.xml"/><Relationship Id="rId30" Type="http://schemas.openxmlformats.org/officeDocument/2006/relationships/slideLayout" Target="../slideLayouts/slideLayout932.xml"/><Relationship Id="rId35" Type="http://schemas.openxmlformats.org/officeDocument/2006/relationships/slideLayout" Target="../slideLayouts/slideLayout937.xml"/><Relationship Id="rId43" Type="http://schemas.openxmlformats.org/officeDocument/2006/relationships/image" Target="../media/image3.png"/><Relationship Id="rId8" Type="http://schemas.openxmlformats.org/officeDocument/2006/relationships/slideLayout" Target="../slideLayouts/slideLayout910.xml"/><Relationship Id="rId3" Type="http://schemas.openxmlformats.org/officeDocument/2006/relationships/slideLayout" Target="../slideLayouts/slideLayout905.xml"/><Relationship Id="rId12" Type="http://schemas.openxmlformats.org/officeDocument/2006/relationships/slideLayout" Target="../slideLayouts/slideLayout914.xml"/><Relationship Id="rId17" Type="http://schemas.openxmlformats.org/officeDocument/2006/relationships/slideLayout" Target="../slideLayouts/slideLayout919.xml"/><Relationship Id="rId25" Type="http://schemas.openxmlformats.org/officeDocument/2006/relationships/slideLayout" Target="../slideLayouts/slideLayout927.xml"/><Relationship Id="rId33" Type="http://schemas.openxmlformats.org/officeDocument/2006/relationships/slideLayout" Target="../slideLayouts/slideLayout935.xml"/><Relationship Id="rId38" Type="http://schemas.openxmlformats.org/officeDocument/2006/relationships/vmlDrawing" Target="../drawings/vmlDrawing118.vml"/></Relationships>
</file>

<file path=ppt/slideMasters/_rels/slideMaster29.xml.rels><?xml version="1.0" encoding="UTF-8" standalone="yes"?>
<Relationships xmlns="http://schemas.openxmlformats.org/package/2006/relationships"><Relationship Id="rId13" Type="http://schemas.openxmlformats.org/officeDocument/2006/relationships/slideLayout" Target="../slideLayouts/slideLayout951.xml"/><Relationship Id="rId18" Type="http://schemas.openxmlformats.org/officeDocument/2006/relationships/slideLayout" Target="../slideLayouts/slideLayout956.xml"/><Relationship Id="rId26" Type="http://schemas.openxmlformats.org/officeDocument/2006/relationships/slideLayout" Target="../slideLayouts/slideLayout964.xml"/><Relationship Id="rId39" Type="http://schemas.openxmlformats.org/officeDocument/2006/relationships/tags" Target="../tags/tag128.xml"/><Relationship Id="rId21" Type="http://schemas.openxmlformats.org/officeDocument/2006/relationships/slideLayout" Target="../slideLayouts/slideLayout959.xml"/><Relationship Id="rId34" Type="http://schemas.openxmlformats.org/officeDocument/2006/relationships/slideLayout" Target="../slideLayouts/slideLayout972.xml"/><Relationship Id="rId42" Type="http://schemas.openxmlformats.org/officeDocument/2006/relationships/image" Target="../media/image2.png"/><Relationship Id="rId7" Type="http://schemas.openxmlformats.org/officeDocument/2006/relationships/slideLayout" Target="../slideLayouts/slideLayout945.xml"/><Relationship Id="rId2" Type="http://schemas.openxmlformats.org/officeDocument/2006/relationships/slideLayout" Target="../slideLayouts/slideLayout940.xml"/><Relationship Id="rId16" Type="http://schemas.openxmlformats.org/officeDocument/2006/relationships/slideLayout" Target="../slideLayouts/slideLayout954.xml"/><Relationship Id="rId20" Type="http://schemas.openxmlformats.org/officeDocument/2006/relationships/slideLayout" Target="../slideLayouts/slideLayout958.xml"/><Relationship Id="rId29" Type="http://schemas.openxmlformats.org/officeDocument/2006/relationships/slideLayout" Target="../slideLayouts/slideLayout967.xml"/><Relationship Id="rId41" Type="http://schemas.openxmlformats.org/officeDocument/2006/relationships/image" Target="../media/image1.emf"/><Relationship Id="rId1" Type="http://schemas.openxmlformats.org/officeDocument/2006/relationships/slideLayout" Target="../slideLayouts/slideLayout939.xml"/><Relationship Id="rId6" Type="http://schemas.openxmlformats.org/officeDocument/2006/relationships/slideLayout" Target="../slideLayouts/slideLayout944.xml"/><Relationship Id="rId11" Type="http://schemas.openxmlformats.org/officeDocument/2006/relationships/slideLayout" Target="../slideLayouts/slideLayout949.xml"/><Relationship Id="rId24" Type="http://schemas.openxmlformats.org/officeDocument/2006/relationships/slideLayout" Target="../slideLayouts/slideLayout962.xml"/><Relationship Id="rId32" Type="http://schemas.openxmlformats.org/officeDocument/2006/relationships/slideLayout" Target="../slideLayouts/slideLayout970.xml"/><Relationship Id="rId37" Type="http://schemas.openxmlformats.org/officeDocument/2006/relationships/theme" Target="../theme/theme29.xml"/><Relationship Id="rId40" Type="http://schemas.openxmlformats.org/officeDocument/2006/relationships/oleObject" Target="../embeddings/oleObject128.bin"/><Relationship Id="rId5" Type="http://schemas.openxmlformats.org/officeDocument/2006/relationships/slideLayout" Target="../slideLayouts/slideLayout943.xml"/><Relationship Id="rId15" Type="http://schemas.openxmlformats.org/officeDocument/2006/relationships/slideLayout" Target="../slideLayouts/slideLayout953.xml"/><Relationship Id="rId23" Type="http://schemas.openxmlformats.org/officeDocument/2006/relationships/slideLayout" Target="../slideLayouts/slideLayout961.xml"/><Relationship Id="rId28" Type="http://schemas.openxmlformats.org/officeDocument/2006/relationships/slideLayout" Target="../slideLayouts/slideLayout966.xml"/><Relationship Id="rId36" Type="http://schemas.openxmlformats.org/officeDocument/2006/relationships/slideLayout" Target="../slideLayouts/slideLayout974.xml"/><Relationship Id="rId10" Type="http://schemas.openxmlformats.org/officeDocument/2006/relationships/slideLayout" Target="../slideLayouts/slideLayout948.xml"/><Relationship Id="rId19" Type="http://schemas.openxmlformats.org/officeDocument/2006/relationships/slideLayout" Target="../slideLayouts/slideLayout957.xml"/><Relationship Id="rId31" Type="http://schemas.openxmlformats.org/officeDocument/2006/relationships/slideLayout" Target="../slideLayouts/slideLayout969.xml"/><Relationship Id="rId4" Type="http://schemas.openxmlformats.org/officeDocument/2006/relationships/slideLayout" Target="../slideLayouts/slideLayout942.xml"/><Relationship Id="rId9" Type="http://schemas.openxmlformats.org/officeDocument/2006/relationships/slideLayout" Target="../slideLayouts/slideLayout947.xml"/><Relationship Id="rId14" Type="http://schemas.openxmlformats.org/officeDocument/2006/relationships/slideLayout" Target="../slideLayouts/slideLayout952.xml"/><Relationship Id="rId22" Type="http://schemas.openxmlformats.org/officeDocument/2006/relationships/slideLayout" Target="../slideLayouts/slideLayout960.xml"/><Relationship Id="rId27" Type="http://schemas.openxmlformats.org/officeDocument/2006/relationships/slideLayout" Target="../slideLayouts/slideLayout965.xml"/><Relationship Id="rId30" Type="http://schemas.openxmlformats.org/officeDocument/2006/relationships/slideLayout" Target="../slideLayouts/slideLayout968.xml"/><Relationship Id="rId35" Type="http://schemas.openxmlformats.org/officeDocument/2006/relationships/slideLayout" Target="../slideLayouts/slideLayout973.xml"/><Relationship Id="rId43" Type="http://schemas.openxmlformats.org/officeDocument/2006/relationships/image" Target="../media/image3.png"/><Relationship Id="rId8" Type="http://schemas.openxmlformats.org/officeDocument/2006/relationships/slideLayout" Target="../slideLayouts/slideLayout946.xml"/><Relationship Id="rId3" Type="http://schemas.openxmlformats.org/officeDocument/2006/relationships/slideLayout" Target="../slideLayouts/slideLayout941.xml"/><Relationship Id="rId12" Type="http://schemas.openxmlformats.org/officeDocument/2006/relationships/slideLayout" Target="../slideLayouts/slideLayout950.xml"/><Relationship Id="rId17" Type="http://schemas.openxmlformats.org/officeDocument/2006/relationships/slideLayout" Target="../slideLayouts/slideLayout955.xml"/><Relationship Id="rId25" Type="http://schemas.openxmlformats.org/officeDocument/2006/relationships/slideLayout" Target="../slideLayouts/slideLayout963.xml"/><Relationship Id="rId33" Type="http://schemas.openxmlformats.org/officeDocument/2006/relationships/slideLayout" Target="../slideLayouts/slideLayout971.xml"/><Relationship Id="rId38" Type="http://schemas.openxmlformats.org/officeDocument/2006/relationships/vmlDrawing" Target="../drawings/vmlDrawing128.v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9" Type="http://schemas.openxmlformats.org/officeDocument/2006/relationships/tags" Target="../tags/tag11.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42" Type="http://schemas.openxmlformats.org/officeDocument/2006/relationships/image" Target="../media/image2.png"/><Relationship Id="rId7" Type="http://schemas.openxmlformats.org/officeDocument/2006/relationships/slideLayout" Target="../slideLayouts/slideLayout7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41" Type="http://schemas.openxmlformats.org/officeDocument/2006/relationships/image" Target="../media/image1.emf"/><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theme" Target="../theme/theme3.xml"/><Relationship Id="rId40" Type="http://schemas.openxmlformats.org/officeDocument/2006/relationships/oleObject" Target="../embeddings/oleObject11.bin"/><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43" Type="http://schemas.openxmlformats.org/officeDocument/2006/relationships/image" Target="../media/image3.png"/><Relationship Id="rId8" Type="http://schemas.openxmlformats.org/officeDocument/2006/relationships/slideLayout" Target="../slideLayouts/slideLayout80.xml"/><Relationship Id="rId3" Type="http://schemas.openxmlformats.org/officeDocument/2006/relationships/slideLayout" Target="../slideLayouts/slideLayout75.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vmlDrawing" Target="../drawings/vmlDrawing11.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982.xml"/><Relationship Id="rId13" Type="http://schemas.openxmlformats.org/officeDocument/2006/relationships/slideLayout" Target="../slideLayouts/slideLayout987.xml"/><Relationship Id="rId18" Type="http://schemas.openxmlformats.org/officeDocument/2006/relationships/slideLayout" Target="../slideLayouts/slideLayout992.xml"/><Relationship Id="rId26" Type="http://schemas.openxmlformats.org/officeDocument/2006/relationships/image" Target="../media/image35.png"/><Relationship Id="rId3" Type="http://schemas.openxmlformats.org/officeDocument/2006/relationships/slideLayout" Target="../slideLayouts/slideLayout977.xml"/><Relationship Id="rId21" Type="http://schemas.openxmlformats.org/officeDocument/2006/relationships/image" Target="../media/image2.png"/><Relationship Id="rId7" Type="http://schemas.openxmlformats.org/officeDocument/2006/relationships/slideLayout" Target="../slideLayouts/slideLayout981.xml"/><Relationship Id="rId12" Type="http://schemas.openxmlformats.org/officeDocument/2006/relationships/slideLayout" Target="../slideLayouts/slideLayout986.xml"/><Relationship Id="rId17" Type="http://schemas.openxmlformats.org/officeDocument/2006/relationships/slideLayout" Target="../slideLayouts/slideLayout991.xml"/><Relationship Id="rId25" Type="http://schemas.openxmlformats.org/officeDocument/2006/relationships/image" Target="../media/image34.png"/><Relationship Id="rId2" Type="http://schemas.openxmlformats.org/officeDocument/2006/relationships/slideLayout" Target="../slideLayouts/slideLayout976.xml"/><Relationship Id="rId16" Type="http://schemas.openxmlformats.org/officeDocument/2006/relationships/slideLayout" Target="../slideLayouts/slideLayout990.xml"/><Relationship Id="rId20" Type="http://schemas.openxmlformats.org/officeDocument/2006/relationships/tags" Target="../tags/tag139.xml"/><Relationship Id="rId29" Type="http://schemas.openxmlformats.org/officeDocument/2006/relationships/image" Target="../media/image38.png"/><Relationship Id="rId1" Type="http://schemas.openxmlformats.org/officeDocument/2006/relationships/slideLayout" Target="../slideLayouts/slideLayout975.xml"/><Relationship Id="rId6" Type="http://schemas.openxmlformats.org/officeDocument/2006/relationships/slideLayout" Target="../slideLayouts/slideLayout980.xml"/><Relationship Id="rId11" Type="http://schemas.openxmlformats.org/officeDocument/2006/relationships/slideLayout" Target="../slideLayouts/slideLayout985.xml"/><Relationship Id="rId24" Type="http://schemas.openxmlformats.org/officeDocument/2006/relationships/image" Target="../media/image33.png"/><Relationship Id="rId5" Type="http://schemas.openxmlformats.org/officeDocument/2006/relationships/slideLayout" Target="../slideLayouts/slideLayout979.xml"/><Relationship Id="rId15" Type="http://schemas.openxmlformats.org/officeDocument/2006/relationships/slideLayout" Target="../slideLayouts/slideLayout989.xml"/><Relationship Id="rId23" Type="http://schemas.openxmlformats.org/officeDocument/2006/relationships/image" Target="../media/image32.PNG"/><Relationship Id="rId28" Type="http://schemas.openxmlformats.org/officeDocument/2006/relationships/image" Target="../media/image37.PNG"/><Relationship Id="rId10" Type="http://schemas.openxmlformats.org/officeDocument/2006/relationships/slideLayout" Target="../slideLayouts/slideLayout984.xml"/><Relationship Id="rId19" Type="http://schemas.openxmlformats.org/officeDocument/2006/relationships/theme" Target="../theme/theme30.xml"/><Relationship Id="rId4" Type="http://schemas.openxmlformats.org/officeDocument/2006/relationships/slideLayout" Target="../slideLayouts/slideLayout978.xml"/><Relationship Id="rId9" Type="http://schemas.openxmlformats.org/officeDocument/2006/relationships/slideLayout" Target="../slideLayouts/slideLayout983.xml"/><Relationship Id="rId14" Type="http://schemas.openxmlformats.org/officeDocument/2006/relationships/slideLayout" Target="../slideLayouts/slideLayout988.xml"/><Relationship Id="rId22" Type="http://schemas.openxmlformats.org/officeDocument/2006/relationships/image" Target="../media/image3.png"/><Relationship Id="rId27" Type="http://schemas.openxmlformats.org/officeDocument/2006/relationships/image" Target="../media/image36.PNG"/></Relationships>
</file>

<file path=ppt/slideMasters/_rels/slideMaster31.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slideLayout" Target="../slideLayouts/slideLayout995.xml"/><Relationship Id="rId7" Type="http://schemas.openxmlformats.org/officeDocument/2006/relationships/image" Target="../media/image3.png"/><Relationship Id="rId12" Type="http://schemas.openxmlformats.org/officeDocument/2006/relationships/image" Target="../media/image36.PNG"/><Relationship Id="rId2" Type="http://schemas.openxmlformats.org/officeDocument/2006/relationships/slideLayout" Target="../slideLayouts/slideLayout994.xml"/><Relationship Id="rId1" Type="http://schemas.openxmlformats.org/officeDocument/2006/relationships/slideLayout" Target="../slideLayouts/slideLayout993.xml"/><Relationship Id="rId6" Type="http://schemas.openxmlformats.org/officeDocument/2006/relationships/image" Target="../media/image2.png"/><Relationship Id="rId11" Type="http://schemas.openxmlformats.org/officeDocument/2006/relationships/image" Target="../media/image35.png"/><Relationship Id="rId5" Type="http://schemas.openxmlformats.org/officeDocument/2006/relationships/theme" Target="../theme/theme31.xml"/><Relationship Id="rId10" Type="http://schemas.openxmlformats.org/officeDocument/2006/relationships/image" Target="../media/image34.png"/><Relationship Id="rId4" Type="http://schemas.openxmlformats.org/officeDocument/2006/relationships/slideLayout" Target="../slideLayouts/slideLayout996.xml"/><Relationship Id="rId9" Type="http://schemas.openxmlformats.org/officeDocument/2006/relationships/image" Target="../media/image33.png"/><Relationship Id="rId14" Type="http://schemas.openxmlformats.org/officeDocument/2006/relationships/image" Target="../media/image38.png"/></Relationships>
</file>

<file path=ppt/slideMasters/_rels/slideMaster32.xml.rels><?xml version="1.0" encoding="UTF-8" standalone="yes"?>
<Relationships xmlns="http://schemas.openxmlformats.org/package/2006/relationships"><Relationship Id="rId8" Type="http://schemas.openxmlformats.org/officeDocument/2006/relationships/tags" Target="../tags/tag160.xml"/><Relationship Id="rId3" Type="http://schemas.openxmlformats.org/officeDocument/2006/relationships/slideLayout" Target="../slideLayouts/slideLayout999.xml"/><Relationship Id="rId7" Type="http://schemas.openxmlformats.org/officeDocument/2006/relationships/tags" Target="../tags/tag159.xml"/><Relationship Id="rId2" Type="http://schemas.openxmlformats.org/officeDocument/2006/relationships/slideLayout" Target="../slideLayouts/slideLayout998.xml"/><Relationship Id="rId1" Type="http://schemas.openxmlformats.org/officeDocument/2006/relationships/slideLayout" Target="../slideLayouts/slideLayout997.xml"/><Relationship Id="rId6" Type="http://schemas.openxmlformats.org/officeDocument/2006/relationships/vmlDrawing" Target="../drawings/vmlDrawing151.vml"/><Relationship Id="rId5" Type="http://schemas.openxmlformats.org/officeDocument/2006/relationships/theme" Target="../theme/theme32.xml"/><Relationship Id="rId10" Type="http://schemas.openxmlformats.org/officeDocument/2006/relationships/image" Target="../media/image1.emf"/><Relationship Id="rId4" Type="http://schemas.openxmlformats.org/officeDocument/2006/relationships/slideLayout" Target="../slideLayouts/slideLayout1000.xml"/><Relationship Id="rId9" Type="http://schemas.openxmlformats.org/officeDocument/2006/relationships/oleObject" Target="../embeddings/oleObject151.bin"/></Relationships>
</file>

<file path=ppt/slideMasters/_rels/slideMaster33.xml.rels><?xml version="1.0" encoding="UTF-8" standalone="yes"?>
<Relationships xmlns="http://schemas.openxmlformats.org/package/2006/relationships"><Relationship Id="rId8" Type="http://schemas.openxmlformats.org/officeDocument/2006/relationships/tags" Target="../tags/tag168.xml"/><Relationship Id="rId3" Type="http://schemas.openxmlformats.org/officeDocument/2006/relationships/slideLayout" Target="../slideLayouts/slideLayout1003.xml"/><Relationship Id="rId7" Type="http://schemas.openxmlformats.org/officeDocument/2006/relationships/vmlDrawing" Target="../drawings/vmlDrawing156.vml"/><Relationship Id="rId2" Type="http://schemas.openxmlformats.org/officeDocument/2006/relationships/slideLayout" Target="../slideLayouts/slideLayout1002.xml"/><Relationship Id="rId1" Type="http://schemas.openxmlformats.org/officeDocument/2006/relationships/slideLayout" Target="../slideLayouts/slideLayout1001.xml"/><Relationship Id="rId6" Type="http://schemas.openxmlformats.org/officeDocument/2006/relationships/theme" Target="../theme/theme33.xml"/><Relationship Id="rId11" Type="http://schemas.openxmlformats.org/officeDocument/2006/relationships/image" Target="../media/image1.emf"/><Relationship Id="rId5" Type="http://schemas.openxmlformats.org/officeDocument/2006/relationships/slideLayout" Target="../slideLayouts/slideLayout1005.xml"/><Relationship Id="rId10" Type="http://schemas.openxmlformats.org/officeDocument/2006/relationships/oleObject" Target="../embeddings/oleObject156.bin"/><Relationship Id="rId4" Type="http://schemas.openxmlformats.org/officeDocument/2006/relationships/slideLayout" Target="../slideLayouts/slideLayout1004.xml"/><Relationship Id="rId9" Type="http://schemas.openxmlformats.org/officeDocument/2006/relationships/tags" Target="../tags/tag169.xml"/></Relationships>
</file>

<file path=ppt/slideMasters/_rels/slideMaster34.xml.rels><?xml version="1.0" encoding="UTF-8" standalone="yes"?>
<Relationships xmlns="http://schemas.openxmlformats.org/package/2006/relationships"><Relationship Id="rId8" Type="http://schemas.openxmlformats.org/officeDocument/2006/relationships/tags" Target="../tags/tag178.xml"/><Relationship Id="rId3" Type="http://schemas.openxmlformats.org/officeDocument/2006/relationships/slideLayout" Target="../slideLayouts/slideLayout1008.xml"/><Relationship Id="rId7" Type="http://schemas.openxmlformats.org/officeDocument/2006/relationships/tags" Target="../tags/tag177.xml"/><Relationship Id="rId2" Type="http://schemas.openxmlformats.org/officeDocument/2006/relationships/slideLayout" Target="../slideLayouts/slideLayout1007.xml"/><Relationship Id="rId1" Type="http://schemas.openxmlformats.org/officeDocument/2006/relationships/slideLayout" Target="../slideLayouts/slideLayout1006.xml"/><Relationship Id="rId6" Type="http://schemas.openxmlformats.org/officeDocument/2006/relationships/vmlDrawing" Target="../drawings/vmlDrawing161.vml"/><Relationship Id="rId5" Type="http://schemas.openxmlformats.org/officeDocument/2006/relationships/theme" Target="../theme/theme34.xml"/><Relationship Id="rId10" Type="http://schemas.openxmlformats.org/officeDocument/2006/relationships/image" Target="../media/image1.emf"/><Relationship Id="rId4" Type="http://schemas.openxmlformats.org/officeDocument/2006/relationships/slideLayout" Target="../slideLayouts/slideLayout1009.xml"/><Relationship Id="rId9" Type="http://schemas.openxmlformats.org/officeDocument/2006/relationships/oleObject" Target="../embeddings/oleObject161.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1017.xml"/><Relationship Id="rId13" Type="http://schemas.openxmlformats.org/officeDocument/2006/relationships/slideLayout" Target="../slideLayouts/slideLayout1022.xml"/><Relationship Id="rId18" Type="http://schemas.openxmlformats.org/officeDocument/2006/relationships/slideLayout" Target="../slideLayouts/slideLayout1027.xml"/><Relationship Id="rId26" Type="http://schemas.openxmlformats.org/officeDocument/2006/relationships/slideLayout" Target="../slideLayouts/slideLayout1035.xml"/><Relationship Id="rId3" Type="http://schemas.openxmlformats.org/officeDocument/2006/relationships/slideLayout" Target="../slideLayouts/slideLayout1012.xml"/><Relationship Id="rId21" Type="http://schemas.openxmlformats.org/officeDocument/2006/relationships/slideLayout" Target="../slideLayouts/slideLayout1030.xml"/><Relationship Id="rId7" Type="http://schemas.openxmlformats.org/officeDocument/2006/relationships/slideLayout" Target="../slideLayouts/slideLayout1016.xml"/><Relationship Id="rId12" Type="http://schemas.openxmlformats.org/officeDocument/2006/relationships/slideLayout" Target="../slideLayouts/slideLayout1021.xml"/><Relationship Id="rId17" Type="http://schemas.openxmlformats.org/officeDocument/2006/relationships/slideLayout" Target="../slideLayouts/slideLayout1026.xml"/><Relationship Id="rId25" Type="http://schemas.openxmlformats.org/officeDocument/2006/relationships/slideLayout" Target="../slideLayouts/slideLayout1034.xml"/><Relationship Id="rId2" Type="http://schemas.openxmlformats.org/officeDocument/2006/relationships/slideLayout" Target="../slideLayouts/slideLayout1011.xml"/><Relationship Id="rId16" Type="http://schemas.openxmlformats.org/officeDocument/2006/relationships/slideLayout" Target="../slideLayouts/slideLayout1025.xml"/><Relationship Id="rId20" Type="http://schemas.openxmlformats.org/officeDocument/2006/relationships/slideLayout" Target="../slideLayouts/slideLayout1029.xml"/><Relationship Id="rId29" Type="http://schemas.openxmlformats.org/officeDocument/2006/relationships/theme" Target="../theme/theme35.xml"/><Relationship Id="rId1" Type="http://schemas.openxmlformats.org/officeDocument/2006/relationships/slideLayout" Target="../slideLayouts/slideLayout1010.xml"/><Relationship Id="rId6" Type="http://schemas.openxmlformats.org/officeDocument/2006/relationships/slideLayout" Target="../slideLayouts/slideLayout1015.xml"/><Relationship Id="rId11" Type="http://schemas.openxmlformats.org/officeDocument/2006/relationships/slideLayout" Target="../slideLayouts/slideLayout1020.xml"/><Relationship Id="rId24" Type="http://schemas.openxmlformats.org/officeDocument/2006/relationships/slideLayout" Target="../slideLayouts/slideLayout1033.xml"/><Relationship Id="rId5" Type="http://schemas.openxmlformats.org/officeDocument/2006/relationships/slideLayout" Target="../slideLayouts/slideLayout1014.xml"/><Relationship Id="rId15" Type="http://schemas.openxmlformats.org/officeDocument/2006/relationships/slideLayout" Target="../slideLayouts/slideLayout1024.xml"/><Relationship Id="rId23" Type="http://schemas.openxmlformats.org/officeDocument/2006/relationships/slideLayout" Target="../slideLayouts/slideLayout1032.xml"/><Relationship Id="rId28" Type="http://schemas.openxmlformats.org/officeDocument/2006/relationships/slideLayout" Target="../slideLayouts/slideLayout1037.xml"/><Relationship Id="rId10" Type="http://schemas.openxmlformats.org/officeDocument/2006/relationships/slideLayout" Target="../slideLayouts/slideLayout1019.xml"/><Relationship Id="rId19" Type="http://schemas.openxmlformats.org/officeDocument/2006/relationships/slideLayout" Target="../slideLayouts/slideLayout1028.xml"/><Relationship Id="rId31" Type="http://schemas.openxmlformats.org/officeDocument/2006/relationships/image" Target="../media/image3.png"/><Relationship Id="rId4" Type="http://schemas.openxmlformats.org/officeDocument/2006/relationships/slideLayout" Target="../slideLayouts/slideLayout1013.xml"/><Relationship Id="rId9" Type="http://schemas.openxmlformats.org/officeDocument/2006/relationships/slideLayout" Target="../slideLayouts/slideLayout1018.xml"/><Relationship Id="rId14" Type="http://schemas.openxmlformats.org/officeDocument/2006/relationships/slideLayout" Target="../slideLayouts/slideLayout1023.xml"/><Relationship Id="rId22" Type="http://schemas.openxmlformats.org/officeDocument/2006/relationships/slideLayout" Target="../slideLayouts/slideLayout1031.xml"/><Relationship Id="rId27" Type="http://schemas.openxmlformats.org/officeDocument/2006/relationships/slideLayout" Target="../slideLayouts/slideLayout1036.xml"/><Relationship Id="rId30" Type="http://schemas.openxmlformats.org/officeDocument/2006/relationships/image" Target="../media/image2.png"/></Relationships>
</file>

<file path=ppt/slideMasters/_rels/slideMaster36.xml.rels><?xml version="1.0" encoding="UTF-8" standalone="yes"?>
<Relationships xmlns="http://schemas.openxmlformats.org/package/2006/relationships"><Relationship Id="rId13" Type="http://schemas.openxmlformats.org/officeDocument/2006/relationships/slideLayout" Target="../slideLayouts/slideLayout1050.xml"/><Relationship Id="rId18" Type="http://schemas.openxmlformats.org/officeDocument/2006/relationships/slideLayout" Target="../slideLayouts/slideLayout1055.xml"/><Relationship Id="rId26" Type="http://schemas.openxmlformats.org/officeDocument/2006/relationships/slideLayout" Target="../slideLayouts/slideLayout1063.xml"/><Relationship Id="rId39" Type="http://schemas.openxmlformats.org/officeDocument/2006/relationships/slideLayout" Target="../slideLayouts/slideLayout1076.xml"/><Relationship Id="rId21" Type="http://schemas.openxmlformats.org/officeDocument/2006/relationships/slideLayout" Target="../slideLayouts/slideLayout1058.xml"/><Relationship Id="rId34" Type="http://schemas.openxmlformats.org/officeDocument/2006/relationships/slideLayout" Target="../slideLayouts/slideLayout1071.xml"/><Relationship Id="rId42" Type="http://schemas.openxmlformats.org/officeDocument/2006/relationships/slideLayout" Target="../slideLayouts/slideLayout1079.xml"/><Relationship Id="rId47" Type="http://schemas.openxmlformats.org/officeDocument/2006/relationships/image" Target="../media/image2.png"/><Relationship Id="rId7" Type="http://schemas.openxmlformats.org/officeDocument/2006/relationships/slideLayout" Target="../slideLayouts/slideLayout1044.xml"/><Relationship Id="rId2" Type="http://schemas.openxmlformats.org/officeDocument/2006/relationships/slideLayout" Target="../slideLayouts/slideLayout1039.xml"/><Relationship Id="rId16" Type="http://schemas.openxmlformats.org/officeDocument/2006/relationships/slideLayout" Target="../slideLayouts/slideLayout1053.xml"/><Relationship Id="rId29" Type="http://schemas.openxmlformats.org/officeDocument/2006/relationships/slideLayout" Target="../slideLayouts/slideLayout1066.xml"/><Relationship Id="rId1" Type="http://schemas.openxmlformats.org/officeDocument/2006/relationships/slideLayout" Target="../slideLayouts/slideLayout1038.xml"/><Relationship Id="rId6" Type="http://schemas.openxmlformats.org/officeDocument/2006/relationships/slideLayout" Target="../slideLayouts/slideLayout1043.xml"/><Relationship Id="rId11" Type="http://schemas.openxmlformats.org/officeDocument/2006/relationships/slideLayout" Target="../slideLayouts/slideLayout1048.xml"/><Relationship Id="rId24" Type="http://schemas.openxmlformats.org/officeDocument/2006/relationships/slideLayout" Target="../slideLayouts/slideLayout1061.xml"/><Relationship Id="rId32" Type="http://schemas.openxmlformats.org/officeDocument/2006/relationships/slideLayout" Target="../slideLayouts/slideLayout1069.xml"/><Relationship Id="rId37" Type="http://schemas.openxmlformats.org/officeDocument/2006/relationships/slideLayout" Target="../slideLayouts/slideLayout1074.xml"/><Relationship Id="rId40" Type="http://schemas.openxmlformats.org/officeDocument/2006/relationships/slideLayout" Target="../slideLayouts/slideLayout1077.xml"/><Relationship Id="rId45" Type="http://schemas.openxmlformats.org/officeDocument/2006/relationships/slideLayout" Target="../slideLayouts/slideLayout1082.xml"/><Relationship Id="rId5" Type="http://schemas.openxmlformats.org/officeDocument/2006/relationships/slideLayout" Target="../slideLayouts/slideLayout1042.xml"/><Relationship Id="rId15" Type="http://schemas.openxmlformats.org/officeDocument/2006/relationships/slideLayout" Target="../slideLayouts/slideLayout1052.xml"/><Relationship Id="rId23" Type="http://schemas.openxmlformats.org/officeDocument/2006/relationships/slideLayout" Target="../slideLayouts/slideLayout1060.xml"/><Relationship Id="rId28" Type="http://schemas.openxmlformats.org/officeDocument/2006/relationships/slideLayout" Target="../slideLayouts/slideLayout1065.xml"/><Relationship Id="rId36" Type="http://schemas.openxmlformats.org/officeDocument/2006/relationships/slideLayout" Target="../slideLayouts/slideLayout1073.xml"/><Relationship Id="rId10" Type="http://schemas.openxmlformats.org/officeDocument/2006/relationships/slideLayout" Target="../slideLayouts/slideLayout1047.xml"/><Relationship Id="rId19" Type="http://schemas.openxmlformats.org/officeDocument/2006/relationships/slideLayout" Target="../slideLayouts/slideLayout1056.xml"/><Relationship Id="rId31" Type="http://schemas.openxmlformats.org/officeDocument/2006/relationships/slideLayout" Target="../slideLayouts/slideLayout1068.xml"/><Relationship Id="rId44" Type="http://schemas.openxmlformats.org/officeDocument/2006/relationships/slideLayout" Target="../slideLayouts/slideLayout1081.xml"/><Relationship Id="rId4" Type="http://schemas.openxmlformats.org/officeDocument/2006/relationships/slideLayout" Target="../slideLayouts/slideLayout1041.xml"/><Relationship Id="rId9" Type="http://schemas.openxmlformats.org/officeDocument/2006/relationships/slideLayout" Target="../slideLayouts/slideLayout1046.xml"/><Relationship Id="rId14" Type="http://schemas.openxmlformats.org/officeDocument/2006/relationships/slideLayout" Target="../slideLayouts/slideLayout1051.xml"/><Relationship Id="rId22" Type="http://schemas.openxmlformats.org/officeDocument/2006/relationships/slideLayout" Target="../slideLayouts/slideLayout1059.xml"/><Relationship Id="rId27" Type="http://schemas.openxmlformats.org/officeDocument/2006/relationships/slideLayout" Target="../slideLayouts/slideLayout1064.xml"/><Relationship Id="rId30" Type="http://schemas.openxmlformats.org/officeDocument/2006/relationships/slideLayout" Target="../slideLayouts/slideLayout1067.xml"/><Relationship Id="rId35" Type="http://schemas.openxmlformats.org/officeDocument/2006/relationships/slideLayout" Target="../slideLayouts/slideLayout1072.xml"/><Relationship Id="rId43" Type="http://schemas.openxmlformats.org/officeDocument/2006/relationships/slideLayout" Target="../slideLayouts/slideLayout1080.xml"/><Relationship Id="rId48" Type="http://schemas.openxmlformats.org/officeDocument/2006/relationships/image" Target="../media/image3.png"/><Relationship Id="rId8" Type="http://schemas.openxmlformats.org/officeDocument/2006/relationships/slideLayout" Target="../slideLayouts/slideLayout1045.xml"/><Relationship Id="rId3" Type="http://schemas.openxmlformats.org/officeDocument/2006/relationships/slideLayout" Target="../slideLayouts/slideLayout1040.xml"/><Relationship Id="rId12" Type="http://schemas.openxmlformats.org/officeDocument/2006/relationships/slideLayout" Target="../slideLayouts/slideLayout1049.xml"/><Relationship Id="rId17" Type="http://schemas.openxmlformats.org/officeDocument/2006/relationships/slideLayout" Target="../slideLayouts/slideLayout1054.xml"/><Relationship Id="rId25" Type="http://schemas.openxmlformats.org/officeDocument/2006/relationships/slideLayout" Target="../slideLayouts/slideLayout1062.xml"/><Relationship Id="rId33" Type="http://schemas.openxmlformats.org/officeDocument/2006/relationships/slideLayout" Target="../slideLayouts/slideLayout1070.xml"/><Relationship Id="rId38" Type="http://schemas.openxmlformats.org/officeDocument/2006/relationships/slideLayout" Target="../slideLayouts/slideLayout1075.xml"/><Relationship Id="rId46" Type="http://schemas.openxmlformats.org/officeDocument/2006/relationships/theme" Target="../theme/theme36.xml"/><Relationship Id="rId20" Type="http://schemas.openxmlformats.org/officeDocument/2006/relationships/slideLayout" Target="../slideLayouts/slideLayout1057.xml"/><Relationship Id="rId41" Type="http://schemas.openxmlformats.org/officeDocument/2006/relationships/slideLayout" Target="../slideLayouts/slideLayout1078.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1090.xml"/><Relationship Id="rId13" Type="http://schemas.openxmlformats.org/officeDocument/2006/relationships/slideLayout" Target="../slideLayouts/slideLayout1095.xml"/><Relationship Id="rId18" Type="http://schemas.openxmlformats.org/officeDocument/2006/relationships/theme" Target="../theme/theme37.xml"/><Relationship Id="rId26" Type="http://schemas.openxmlformats.org/officeDocument/2006/relationships/image" Target="../media/image36.PNG"/><Relationship Id="rId3" Type="http://schemas.openxmlformats.org/officeDocument/2006/relationships/slideLayout" Target="../slideLayouts/slideLayout1085.xml"/><Relationship Id="rId21" Type="http://schemas.openxmlformats.org/officeDocument/2006/relationships/image" Target="../media/image3.png"/><Relationship Id="rId7" Type="http://schemas.openxmlformats.org/officeDocument/2006/relationships/slideLayout" Target="../slideLayouts/slideLayout1089.xml"/><Relationship Id="rId12" Type="http://schemas.openxmlformats.org/officeDocument/2006/relationships/slideLayout" Target="../slideLayouts/slideLayout1094.xml"/><Relationship Id="rId17" Type="http://schemas.openxmlformats.org/officeDocument/2006/relationships/slideLayout" Target="../slideLayouts/slideLayout1099.xml"/><Relationship Id="rId25" Type="http://schemas.openxmlformats.org/officeDocument/2006/relationships/image" Target="../media/image35.png"/><Relationship Id="rId2" Type="http://schemas.openxmlformats.org/officeDocument/2006/relationships/slideLayout" Target="../slideLayouts/slideLayout1084.xml"/><Relationship Id="rId16" Type="http://schemas.openxmlformats.org/officeDocument/2006/relationships/slideLayout" Target="../slideLayouts/slideLayout1098.xml"/><Relationship Id="rId20" Type="http://schemas.openxmlformats.org/officeDocument/2006/relationships/image" Target="../media/image2.png"/><Relationship Id="rId1" Type="http://schemas.openxmlformats.org/officeDocument/2006/relationships/slideLayout" Target="../slideLayouts/slideLayout1083.xml"/><Relationship Id="rId6" Type="http://schemas.openxmlformats.org/officeDocument/2006/relationships/slideLayout" Target="../slideLayouts/slideLayout1088.xml"/><Relationship Id="rId11" Type="http://schemas.openxmlformats.org/officeDocument/2006/relationships/slideLayout" Target="../slideLayouts/slideLayout1093.xml"/><Relationship Id="rId24" Type="http://schemas.openxmlformats.org/officeDocument/2006/relationships/image" Target="../media/image34.png"/><Relationship Id="rId5" Type="http://schemas.openxmlformats.org/officeDocument/2006/relationships/slideLayout" Target="../slideLayouts/slideLayout1087.xml"/><Relationship Id="rId15" Type="http://schemas.openxmlformats.org/officeDocument/2006/relationships/slideLayout" Target="../slideLayouts/slideLayout1097.xml"/><Relationship Id="rId23" Type="http://schemas.openxmlformats.org/officeDocument/2006/relationships/image" Target="../media/image33.png"/><Relationship Id="rId28" Type="http://schemas.openxmlformats.org/officeDocument/2006/relationships/image" Target="../media/image38.png"/><Relationship Id="rId10" Type="http://schemas.openxmlformats.org/officeDocument/2006/relationships/slideLayout" Target="../slideLayouts/slideLayout1092.xml"/><Relationship Id="rId19" Type="http://schemas.openxmlformats.org/officeDocument/2006/relationships/tags" Target="../tags/tag198.xml"/><Relationship Id="rId4" Type="http://schemas.openxmlformats.org/officeDocument/2006/relationships/slideLayout" Target="../slideLayouts/slideLayout1086.xml"/><Relationship Id="rId9" Type="http://schemas.openxmlformats.org/officeDocument/2006/relationships/slideLayout" Target="../slideLayouts/slideLayout1091.xml"/><Relationship Id="rId14" Type="http://schemas.openxmlformats.org/officeDocument/2006/relationships/slideLayout" Target="../slideLayouts/slideLayout1096.xml"/><Relationship Id="rId22" Type="http://schemas.openxmlformats.org/officeDocument/2006/relationships/image" Target="../media/image32.PNG"/><Relationship Id="rId27" Type="http://schemas.openxmlformats.org/officeDocument/2006/relationships/image" Target="../media/image37.PNG"/></Relationships>
</file>

<file path=ppt/slideMasters/_rels/slideMaster38.xml.rels><?xml version="1.0" encoding="UTF-8" standalone="yes"?>
<Relationships xmlns="http://schemas.openxmlformats.org/package/2006/relationships"><Relationship Id="rId13" Type="http://schemas.openxmlformats.org/officeDocument/2006/relationships/slideLayout" Target="../slideLayouts/slideLayout1112.xml"/><Relationship Id="rId18" Type="http://schemas.openxmlformats.org/officeDocument/2006/relationships/slideLayout" Target="../slideLayouts/slideLayout1117.xml"/><Relationship Id="rId26" Type="http://schemas.openxmlformats.org/officeDocument/2006/relationships/slideLayout" Target="../slideLayouts/slideLayout1125.xml"/><Relationship Id="rId39" Type="http://schemas.openxmlformats.org/officeDocument/2006/relationships/slideLayout" Target="../slideLayouts/slideLayout1138.xml"/><Relationship Id="rId21" Type="http://schemas.openxmlformats.org/officeDocument/2006/relationships/slideLayout" Target="../slideLayouts/slideLayout1120.xml"/><Relationship Id="rId34" Type="http://schemas.openxmlformats.org/officeDocument/2006/relationships/slideLayout" Target="../slideLayouts/slideLayout1133.xml"/><Relationship Id="rId42" Type="http://schemas.openxmlformats.org/officeDocument/2006/relationships/slideLayout" Target="../slideLayouts/slideLayout1141.xml"/><Relationship Id="rId7" Type="http://schemas.openxmlformats.org/officeDocument/2006/relationships/slideLayout" Target="../slideLayouts/slideLayout1106.xml"/><Relationship Id="rId2" Type="http://schemas.openxmlformats.org/officeDocument/2006/relationships/slideLayout" Target="../slideLayouts/slideLayout1101.xml"/><Relationship Id="rId16" Type="http://schemas.openxmlformats.org/officeDocument/2006/relationships/slideLayout" Target="../slideLayouts/slideLayout1115.xml"/><Relationship Id="rId29" Type="http://schemas.openxmlformats.org/officeDocument/2006/relationships/slideLayout" Target="../slideLayouts/slideLayout1128.xml"/><Relationship Id="rId1" Type="http://schemas.openxmlformats.org/officeDocument/2006/relationships/slideLayout" Target="../slideLayouts/slideLayout1100.xml"/><Relationship Id="rId6" Type="http://schemas.openxmlformats.org/officeDocument/2006/relationships/slideLayout" Target="../slideLayouts/slideLayout1105.xml"/><Relationship Id="rId11" Type="http://schemas.openxmlformats.org/officeDocument/2006/relationships/slideLayout" Target="../slideLayouts/slideLayout1110.xml"/><Relationship Id="rId24" Type="http://schemas.openxmlformats.org/officeDocument/2006/relationships/slideLayout" Target="../slideLayouts/slideLayout1123.xml"/><Relationship Id="rId32" Type="http://schemas.openxmlformats.org/officeDocument/2006/relationships/slideLayout" Target="../slideLayouts/slideLayout1131.xml"/><Relationship Id="rId37" Type="http://schemas.openxmlformats.org/officeDocument/2006/relationships/slideLayout" Target="../slideLayouts/slideLayout1136.xml"/><Relationship Id="rId40" Type="http://schemas.openxmlformats.org/officeDocument/2006/relationships/slideLayout" Target="../slideLayouts/slideLayout1139.xml"/><Relationship Id="rId45" Type="http://schemas.openxmlformats.org/officeDocument/2006/relationships/image" Target="../media/image60.emf"/><Relationship Id="rId5" Type="http://schemas.openxmlformats.org/officeDocument/2006/relationships/slideLayout" Target="../slideLayouts/slideLayout1104.xml"/><Relationship Id="rId15" Type="http://schemas.openxmlformats.org/officeDocument/2006/relationships/slideLayout" Target="../slideLayouts/slideLayout1114.xml"/><Relationship Id="rId23" Type="http://schemas.openxmlformats.org/officeDocument/2006/relationships/slideLayout" Target="../slideLayouts/slideLayout1122.xml"/><Relationship Id="rId28" Type="http://schemas.openxmlformats.org/officeDocument/2006/relationships/slideLayout" Target="../slideLayouts/slideLayout1127.xml"/><Relationship Id="rId36" Type="http://schemas.openxmlformats.org/officeDocument/2006/relationships/slideLayout" Target="../slideLayouts/slideLayout1135.xml"/><Relationship Id="rId10" Type="http://schemas.openxmlformats.org/officeDocument/2006/relationships/slideLayout" Target="../slideLayouts/slideLayout1109.xml"/><Relationship Id="rId19" Type="http://schemas.openxmlformats.org/officeDocument/2006/relationships/slideLayout" Target="../slideLayouts/slideLayout1118.xml"/><Relationship Id="rId31" Type="http://schemas.openxmlformats.org/officeDocument/2006/relationships/slideLayout" Target="../slideLayouts/slideLayout1130.xml"/><Relationship Id="rId44" Type="http://schemas.openxmlformats.org/officeDocument/2006/relationships/theme" Target="../theme/theme38.xml"/><Relationship Id="rId4" Type="http://schemas.openxmlformats.org/officeDocument/2006/relationships/slideLayout" Target="../slideLayouts/slideLayout1103.xml"/><Relationship Id="rId9" Type="http://schemas.openxmlformats.org/officeDocument/2006/relationships/slideLayout" Target="../slideLayouts/slideLayout1108.xml"/><Relationship Id="rId14" Type="http://schemas.openxmlformats.org/officeDocument/2006/relationships/slideLayout" Target="../slideLayouts/slideLayout1113.xml"/><Relationship Id="rId22" Type="http://schemas.openxmlformats.org/officeDocument/2006/relationships/slideLayout" Target="../slideLayouts/slideLayout1121.xml"/><Relationship Id="rId27" Type="http://schemas.openxmlformats.org/officeDocument/2006/relationships/slideLayout" Target="../slideLayouts/slideLayout1126.xml"/><Relationship Id="rId30" Type="http://schemas.openxmlformats.org/officeDocument/2006/relationships/slideLayout" Target="../slideLayouts/slideLayout1129.xml"/><Relationship Id="rId35" Type="http://schemas.openxmlformats.org/officeDocument/2006/relationships/slideLayout" Target="../slideLayouts/slideLayout1134.xml"/><Relationship Id="rId43" Type="http://schemas.openxmlformats.org/officeDocument/2006/relationships/slideLayout" Target="../slideLayouts/slideLayout1142.xml"/><Relationship Id="rId8" Type="http://schemas.openxmlformats.org/officeDocument/2006/relationships/slideLayout" Target="../slideLayouts/slideLayout1107.xml"/><Relationship Id="rId3" Type="http://schemas.openxmlformats.org/officeDocument/2006/relationships/slideLayout" Target="../slideLayouts/slideLayout1102.xml"/><Relationship Id="rId12" Type="http://schemas.openxmlformats.org/officeDocument/2006/relationships/slideLayout" Target="../slideLayouts/slideLayout1111.xml"/><Relationship Id="rId17" Type="http://schemas.openxmlformats.org/officeDocument/2006/relationships/slideLayout" Target="../slideLayouts/slideLayout1116.xml"/><Relationship Id="rId25" Type="http://schemas.openxmlformats.org/officeDocument/2006/relationships/slideLayout" Target="../slideLayouts/slideLayout1124.xml"/><Relationship Id="rId33" Type="http://schemas.openxmlformats.org/officeDocument/2006/relationships/slideLayout" Target="../slideLayouts/slideLayout1132.xml"/><Relationship Id="rId38" Type="http://schemas.openxmlformats.org/officeDocument/2006/relationships/slideLayout" Target="../slideLayouts/slideLayout1137.xml"/><Relationship Id="rId20" Type="http://schemas.openxmlformats.org/officeDocument/2006/relationships/slideLayout" Target="../slideLayouts/slideLayout1119.xml"/><Relationship Id="rId41" Type="http://schemas.openxmlformats.org/officeDocument/2006/relationships/slideLayout" Target="../slideLayouts/slideLayout1140.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1150.xml"/><Relationship Id="rId13" Type="http://schemas.openxmlformats.org/officeDocument/2006/relationships/image" Target="../media/image45.emf"/><Relationship Id="rId3" Type="http://schemas.openxmlformats.org/officeDocument/2006/relationships/slideLayout" Target="../slideLayouts/slideLayout1145.xml"/><Relationship Id="rId7" Type="http://schemas.openxmlformats.org/officeDocument/2006/relationships/slideLayout" Target="../slideLayouts/slideLayout1149.xml"/><Relationship Id="rId12" Type="http://schemas.openxmlformats.org/officeDocument/2006/relationships/oleObject" Target="../embeddings/oleObject184.bin"/><Relationship Id="rId2" Type="http://schemas.openxmlformats.org/officeDocument/2006/relationships/slideLayout" Target="../slideLayouts/slideLayout1144.xml"/><Relationship Id="rId1" Type="http://schemas.openxmlformats.org/officeDocument/2006/relationships/slideLayout" Target="../slideLayouts/slideLayout1143.xml"/><Relationship Id="rId6" Type="http://schemas.openxmlformats.org/officeDocument/2006/relationships/slideLayout" Target="../slideLayouts/slideLayout1148.xml"/><Relationship Id="rId11" Type="http://schemas.openxmlformats.org/officeDocument/2006/relationships/tags" Target="../tags/tag216.xml"/><Relationship Id="rId5" Type="http://schemas.openxmlformats.org/officeDocument/2006/relationships/slideLayout" Target="../slideLayouts/slideLayout1147.xml"/><Relationship Id="rId10" Type="http://schemas.openxmlformats.org/officeDocument/2006/relationships/vmlDrawing" Target="../drawings/vmlDrawing184.vml"/><Relationship Id="rId4" Type="http://schemas.openxmlformats.org/officeDocument/2006/relationships/slideLayout" Target="../slideLayouts/slideLayout1146.xml"/><Relationship Id="rId9" Type="http://schemas.openxmlformats.org/officeDocument/2006/relationships/theme" Target="../theme/theme3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9" Type="http://schemas.openxmlformats.org/officeDocument/2006/relationships/image" Target="../media/image1.emf"/><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7" Type="http://schemas.openxmlformats.org/officeDocument/2006/relationships/slideLayout" Target="../slideLayouts/slideLayout11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29" Type="http://schemas.openxmlformats.org/officeDocument/2006/relationships/slideLayout" Target="../slideLayouts/slideLayout137.xml"/><Relationship Id="rId41" Type="http://schemas.openxmlformats.org/officeDocument/2006/relationships/image" Target="../media/image3.png"/><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37" Type="http://schemas.openxmlformats.org/officeDocument/2006/relationships/tags" Target="../tags/tag16.xml"/><Relationship Id="rId40" Type="http://schemas.openxmlformats.org/officeDocument/2006/relationships/image" Target="../media/image2.png"/><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vmlDrawing" Target="../drawings/vmlDrawing16.v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theme" Target="../theme/theme4.xml"/><Relationship Id="rId8" Type="http://schemas.openxmlformats.org/officeDocument/2006/relationships/slideLayout" Target="../slideLayouts/slideLayout116.xml"/><Relationship Id="rId3" Type="http://schemas.openxmlformats.org/officeDocument/2006/relationships/slideLayout" Target="../slideLayouts/slideLayout111.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38" Type="http://schemas.openxmlformats.org/officeDocument/2006/relationships/oleObject" Target="../embeddings/oleObject16.bin"/></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26" Type="http://schemas.openxmlformats.org/officeDocument/2006/relationships/slideLayout" Target="../slideLayouts/slideLayout168.xml"/><Relationship Id="rId39" Type="http://schemas.openxmlformats.org/officeDocument/2006/relationships/vmlDrawing" Target="../drawings/vmlDrawing20.vml"/><Relationship Id="rId21" Type="http://schemas.openxmlformats.org/officeDocument/2006/relationships/slideLayout" Target="../slideLayouts/slideLayout163.xml"/><Relationship Id="rId34" Type="http://schemas.openxmlformats.org/officeDocument/2006/relationships/slideLayout" Target="../slideLayouts/slideLayout176.xml"/><Relationship Id="rId42" Type="http://schemas.openxmlformats.org/officeDocument/2006/relationships/image" Target="../media/image1.emf"/><Relationship Id="rId7" Type="http://schemas.openxmlformats.org/officeDocument/2006/relationships/slideLayout" Target="../slideLayouts/slideLayout14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29" Type="http://schemas.openxmlformats.org/officeDocument/2006/relationships/slideLayout" Target="../slideLayouts/slideLayout171.xml"/><Relationship Id="rId41" Type="http://schemas.openxmlformats.org/officeDocument/2006/relationships/oleObject" Target="../embeddings/oleObject20.bin"/><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slideLayout" Target="../slideLayouts/slideLayout166.xml"/><Relationship Id="rId32" Type="http://schemas.openxmlformats.org/officeDocument/2006/relationships/slideLayout" Target="../slideLayouts/slideLayout174.xml"/><Relationship Id="rId37" Type="http://schemas.openxmlformats.org/officeDocument/2006/relationships/slideLayout" Target="../slideLayouts/slideLayout179.xml"/><Relationship Id="rId40" Type="http://schemas.openxmlformats.org/officeDocument/2006/relationships/tags" Target="../tags/tag20.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slideLayout" Target="../slideLayouts/slideLayout165.xml"/><Relationship Id="rId28" Type="http://schemas.openxmlformats.org/officeDocument/2006/relationships/slideLayout" Target="../slideLayouts/slideLayout170.xml"/><Relationship Id="rId36" Type="http://schemas.openxmlformats.org/officeDocument/2006/relationships/slideLayout" Target="../slideLayouts/slideLayout178.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31" Type="http://schemas.openxmlformats.org/officeDocument/2006/relationships/slideLayout" Target="../slideLayouts/slideLayout173.xml"/><Relationship Id="rId44" Type="http://schemas.openxmlformats.org/officeDocument/2006/relationships/image" Target="../media/image3.png"/><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 Id="rId27" Type="http://schemas.openxmlformats.org/officeDocument/2006/relationships/slideLayout" Target="../slideLayouts/slideLayout169.xml"/><Relationship Id="rId30" Type="http://schemas.openxmlformats.org/officeDocument/2006/relationships/slideLayout" Target="../slideLayouts/slideLayout172.xml"/><Relationship Id="rId35" Type="http://schemas.openxmlformats.org/officeDocument/2006/relationships/slideLayout" Target="../slideLayouts/slideLayout177.xml"/><Relationship Id="rId43" Type="http://schemas.openxmlformats.org/officeDocument/2006/relationships/image" Target="../media/image2.png"/><Relationship Id="rId8" Type="http://schemas.openxmlformats.org/officeDocument/2006/relationships/slideLayout" Target="../slideLayouts/slideLayout150.xml"/><Relationship Id="rId3" Type="http://schemas.openxmlformats.org/officeDocument/2006/relationships/slideLayout" Target="../slideLayouts/slideLayout145.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slideLayout" Target="../slideLayouts/slideLayout167.xml"/><Relationship Id="rId33" Type="http://schemas.openxmlformats.org/officeDocument/2006/relationships/slideLayout" Target="../slideLayouts/slideLayout175.xml"/><Relationship Id="rId38"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92.xml"/><Relationship Id="rId18" Type="http://schemas.openxmlformats.org/officeDocument/2006/relationships/slideLayout" Target="../slideLayouts/slideLayout197.xml"/><Relationship Id="rId26" Type="http://schemas.openxmlformats.org/officeDocument/2006/relationships/slideLayout" Target="../slideLayouts/slideLayout205.xml"/><Relationship Id="rId39" Type="http://schemas.openxmlformats.org/officeDocument/2006/relationships/vmlDrawing" Target="../drawings/vmlDrawing26.vml"/><Relationship Id="rId21" Type="http://schemas.openxmlformats.org/officeDocument/2006/relationships/slideLayout" Target="../slideLayouts/slideLayout200.xml"/><Relationship Id="rId34" Type="http://schemas.openxmlformats.org/officeDocument/2006/relationships/slideLayout" Target="../slideLayouts/slideLayout213.xml"/><Relationship Id="rId42" Type="http://schemas.openxmlformats.org/officeDocument/2006/relationships/image" Target="../media/image1.emf"/><Relationship Id="rId7" Type="http://schemas.openxmlformats.org/officeDocument/2006/relationships/slideLayout" Target="../slideLayouts/slideLayout186.xml"/><Relationship Id="rId2" Type="http://schemas.openxmlformats.org/officeDocument/2006/relationships/slideLayout" Target="../slideLayouts/slideLayout181.xml"/><Relationship Id="rId16" Type="http://schemas.openxmlformats.org/officeDocument/2006/relationships/slideLayout" Target="../slideLayouts/slideLayout195.xml"/><Relationship Id="rId20" Type="http://schemas.openxmlformats.org/officeDocument/2006/relationships/slideLayout" Target="../slideLayouts/slideLayout199.xml"/><Relationship Id="rId29" Type="http://schemas.openxmlformats.org/officeDocument/2006/relationships/slideLayout" Target="../slideLayouts/slideLayout208.xml"/><Relationship Id="rId41" Type="http://schemas.openxmlformats.org/officeDocument/2006/relationships/oleObject" Target="../embeddings/oleObject26.bin"/><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24" Type="http://schemas.openxmlformats.org/officeDocument/2006/relationships/slideLayout" Target="../slideLayouts/slideLayout203.xml"/><Relationship Id="rId32" Type="http://schemas.openxmlformats.org/officeDocument/2006/relationships/slideLayout" Target="../slideLayouts/slideLayout211.xml"/><Relationship Id="rId37" Type="http://schemas.openxmlformats.org/officeDocument/2006/relationships/slideLayout" Target="../slideLayouts/slideLayout216.xml"/><Relationship Id="rId40" Type="http://schemas.openxmlformats.org/officeDocument/2006/relationships/tags" Target="../tags/tag26.xml"/><Relationship Id="rId5" Type="http://schemas.openxmlformats.org/officeDocument/2006/relationships/slideLayout" Target="../slideLayouts/slideLayout184.xml"/><Relationship Id="rId15" Type="http://schemas.openxmlformats.org/officeDocument/2006/relationships/slideLayout" Target="../slideLayouts/slideLayout194.xml"/><Relationship Id="rId23" Type="http://schemas.openxmlformats.org/officeDocument/2006/relationships/slideLayout" Target="../slideLayouts/slideLayout202.xml"/><Relationship Id="rId28" Type="http://schemas.openxmlformats.org/officeDocument/2006/relationships/slideLayout" Target="../slideLayouts/slideLayout207.xml"/><Relationship Id="rId36" Type="http://schemas.openxmlformats.org/officeDocument/2006/relationships/slideLayout" Target="../slideLayouts/slideLayout215.xml"/><Relationship Id="rId10" Type="http://schemas.openxmlformats.org/officeDocument/2006/relationships/slideLayout" Target="../slideLayouts/slideLayout189.xml"/><Relationship Id="rId19" Type="http://schemas.openxmlformats.org/officeDocument/2006/relationships/slideLayout" Target="../slideLayouts/slideLayout198.xml"/><Relationship Id="rId31" Type="http://schemas.openxmlformats.org/officeDocument/2006/relationships/slideLayout" Target="../slideLayouts/slideLayout210.xml"/><Relationship Id="rId44" Type="http://schemas.openxmlformats.org/officeDocument/2006/relationships/image" Target="../media/image3.png"/><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 Id="rId22" Type="http://schemas.openxmlformats.org/officeDocument/2006/relationships/slideLayout" Target="../slideLayouts/slideLayout201.xml"/><Relationship Id="rId27" Type="http://schemas.openxmlformats.org/officeDocument/2006/relationships/slideLayout" Target="../slideLayouts/slideLayout206.xml"/><Relationship Id="rId30" Type="http://schemas.openxmlformats.org/officeDocument/2006/relationships/slideLayout" Target="../slideLayouts/slideLayout209.xml"/><Relationship Id="rId35" Type="http://schemas.openxmlformats.org/officeDocument/2006/relationships/slideLayout" Target="../slideLayouts/slideLayout214.xml"/><Relationship Id="rId43" Type="http://schemas.openxmlformats.org/officeDocument/2006/relationships/image" Target="../media/image2.png"/><Relationship Id="rId8" Type="http://schemas.openxmlformats.org/officeDocument/2006/relationships/slideLayout" Target="../slideLayouts/slideLayout187.xml"/><Relationship Id="rId3" Type="http://schemas.openxmlformats.org/officeDocument/2006/relationships/slideLayout" Target="../slideLayouts/slideLayout182.xml"/><Relationship Id="rId12" Type="http://schemas.openxmlformats.org/officeDocument/2006/relationships/slideLayout" Target="../slideLayouts/slideLayout191.xml"/><Relationship Id="rId17" Type="http://schemas.openxmlformats.org/officeDocument/2006/relationships/slideLayout" Target="../slideLayouts/slideLayout196.xml"/><Relationship Id="rId25" Type="http://schemas.openxmlformats.org/officeDocument/2006/relationships/slideLayout" Target="../slideLayouts/slideLayout204.xml"/><Relationship Id="rId33" Type="http://schemas.openxmlformats.org/officeDocument/2006/relationships/slideLayout" Target="../slideLayouts/slideLayout212.xml"/><Relationship Id="rId38"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slideLayout" Target="../slideLayouts/slideLayout242.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29" Type="http://schemas.openxmlformats.org/officeDocument/2006/relationships/slideLayout" Target="../slideLayouts/slideLayout245.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32" Type="http://schemas.openxmlformats.org/officeDocument/2006/relationships/image" Target="../media/image3.png"/><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slideLayout" Target="../slideLayouts/slideLayout244.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31" Type="http://schemas.openxmlformats.org/officeDocument/2006/relationships/image" Target="../media/image2.png"/><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slideLayout" Target="../slideLayouts/slideLayout243.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58.xml"/><Relationship Id="rId18" Type="http://schemas.openxmlformats.org/officeDocument/2006/relationships/slideLayout" Target="../slideLayouts/slideLayout263.xml"/><Relationship Id="rId26" Type="http://schemas.openxmlformats.org/officeDocument/2006/relationships/slideLayout" Target="../slideLayouts/slideLayout271.xml"/><Relationship Id="rId39" Type="http://schemas.openxmlformats.org/officeDocument/2006/relationships/image" Target="../media/image2.png"/><Relationship Id="rId21" Type="http://schemas.openxmlformats.org/officeDocument/2006/relationships/slideLayout" Target="../slideLayouts/slideLayout266.xml"/><Relationship Id="rId34" Type="http://schemas.openxmlformats.org/officeDocument/2006/relationships/theme" Target="../theme/theme8.xml"/><Relationship Id="rId7" Type="http://schemas.openxmlformats.org/officeDocument/2006/relationships/slideLayout" Target="../slideLayouts/slideLayout252.xml"/><Relationship Id="rId12" Type="http://schemas.openxmlformats.org/officeDocument/2006/relationships/slideLayout" Target="../slideLayouts/slideLayout257.xml"/><Relationship Id="rId17" Type="http://schemas.openxmlformats.org/officeDocument/2006/relationships/slideLayout" Target="../slideLayouts/slideLayout262.xml"/><Relationship Id="rId25" Type="http://schemas.openxmlformats.org/officeDocument/2006/relationships/slideLayout" Target="../slideLayouts/slideLayout270.xml"/><Relationship Id="rId33" Type="http://schemas.openxmlformats.org/officeDocument/2006/relationships/slideLayout" Target="../slideLayouts/slideLayout278.xml"/><Relationship Id="rId38" Type="http://schemas.openxmlformats.org/officeDocument/2006/relationships/image" Target="../media/image15.emf"/><Relationship Id="rId2" Type="http://schemas.openxmlformats.org/officeDocument/2006/relationships/slideLayout" Target="../slideLayouts/slideLayout247.xml"/><Relationship Id="rId16" Type="http://schemas.openxmlformats.org/officeDocument/2006/relationships/slideLayout" Target="../slideLayouts/slideLayout261.xml"/><Relationship Id="rId20" Type="http://schemas.openxmlformats.org/officeDocument/2006/relationships/slideLayout" Target="../slideLayouts/slideLayout265.xml"/><Relationship Id="rId29" Type="http://schemas.openxmlformats.org/officeDocument/2006/relationships/slideLayout" Target="../slideLayouts/slideLayout274.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24" Type="http://schemas.openxmlformats.org/officeDocument/2006/relationships/slideLayout" Target="../slideLayouts/slideLayout269.xml"/><Relationship Id="rId32" Type="http://schemas.openxmlformats.org/officeDocument/2006/relationships/slideLayout" Target="../slideLayouts/slideLayout277.xml"/><Relationship Id="rId37" Type="http://schemas.openxmlformats.org/officeDocument/2006/relationships/oleObject" Target="../embeddings/oleObject32.bin"/><Relationship Id="rId40" Type="http://schemas.openxmlformats.org/officeDocument/2006/relationships/image" Target="../media/image3.png"/><Relationship Id="rId5" Type="http://schemas.openxmlformats.org/officeDocument/2006/relationships/slideLayout" Target="../slideLayouts/slideLayout250.xml"/><Relationship Id="rId15" Type="http://schemas.openxmlformats.org/officeDocument/2006/relationships/slideLayout" Target="../slideLayouts/slideLayout260.xml"/><Relationship Id="rId23" Type="http://schemas.openxmlformats.org/officeDocument/2006/relationships/slideLayout" Target="../slideLayouts/slideLayout268.xml"/><Relationship Id="rId28" Type="http://schemas.openxmlformats.org/officeDocument/2006/relationships/slideLayout" Target="../slideLayouts/slideLayout273.xml"/><Relationship Id="rId36" Type="http://schemas.openxmlformats.org/officeDocument/2006/relationships/tags" Target="../tags/tag32.xml"/><Relationship Id="rId10" Type="http://schemas.openxmlformats.org/officeDocument/2006/relationships/slideLayout" Target="../slideLayouts/slideLayout255.xml"/><Relationship Id="rId19" Type="http://schemas.openxmlformats.org/officeDocument/2006/relationships/slideLayout" Target="../slideLayouts/slideLayout264.xml"/><Relationship Id="rId31" Type="http://schemas.openxmlformats.org/officeDocument/2006/relationships/slideLayout" Target="../slideLayouts/slideLayout276.x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slideLayout" Target="../slideLayouts/slideLayout259.xml"/><Relationship Id="rId22" Type="http://schemas.openxmlformats.org/officeDocument/2006/relationships/slideLayout" Target="../slideLayouts/slideLayout267.xml"/><Relationship Id="rId27" Type="http://schemas.openxmlformats.org/officeDocument/2006/relationships/slideLayout" Target="../slideLayouts/slideLayout272.xml"/><Relationship Id="rId30" Type="http://schemas.openxmlformats.org/officeDocument/2006/relationships/slideLayout" Target="../slideLayouts/slideLayout275.xml"/><Relationship Id="rId35" Type="http://schemas.openxmlformats.org/officeDocument/2006/relationships/vmlDrawing" Target="../drawings/vmlDrawing32.vml"/><Relationship Id="rId8" Type="http://schemas.openxmlformats.org/officeDocument/2006/relationships/slideLayout" Target="../slideLayouts/slideLayout253.xml"/><Relationship Id="rId3" Type="http://schemas.openxmlformats.org/officeDocument/2006/relationships/slideLayout" Target="../slideLayouts/slideLayout24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91.xml"/><Relationship Id="rId18" Type="http://schemas.openxmlformats.org/officeDocument/2006/relationships/slideLayout" Target="../slideLayouts/slideLayout296.xml"/><Relationship Id="rId26" Type="http://schemas.openxmlformats.org/officeDocument/2006/relationships/slideLayout" Target="../slideLayouts/slideLayout304.xml"/><Relationship Id="rId39" Type="http://schemas.openxmlformats.org/officeDocument/2006/relationships/image" Target="../media/image2.png"/><Relationship Id="rId21" Type="http://schemas.openxmlformats.org/officeDocument/2006/relationships/slideLayout" Target="../slideLayouts/slideLayout299.xml"/><Relationship Id="rId34" Type="http://schemas.openxmlformats.org/officeDocument/2006/relationships/theme" Target="../theme/theme9.xml"/><Relationship Id="rId7" Type="http://schemas.openxmlformats.org/officeDocument/2006/relationships/slideLayout" Target="../slideLayouts/slideLayout285.xml"/><Relationship Id="rId12" Type="http://schemas.openxmlformats.org/officeDocument/2006/relationships/slideLayout" Target="../slideLayouts/slideLayout290.xml"/><Relationship Id="rId17" Type="http://schemas.openxmlformats.org/officeDocument/2006/relationships/slideLayout" Target="../slideLayouts/slideLayout295.xml"/><Relationship Id="rId25" Type="http://schemas.openxmlformats.org/officeDocument/2006/relationships/slideLayout" Target="../slideLayouts/slideLayout303.xml"/><Relationship Id="rId33" Type="http://schemas.openxmlformats.org/officeDocument/2006/relationships/slideLayout" Target="../slideLayouts/slideLayout311.xml"/><Relationship Id="rId38" Type="http://schemas.openxmlformats.org/officeDocument/2006/relationships/image" Target="../media/image15.emf"/><Relationship Id="rId2" Type="http://schemas.openxmlformats.org/officeDocument/2006/relationships/slideLayout" Target="../slideLayouts/slideLayout280.xml"/><Relationship Id="rId16" Type="http://schemas.openxmlformats.org/officeDocument/2006/relationships/slideLayout" Target="../slideLayouts/slideLayout294.xml"/><Relationship Id="rId20" Type="http://schemas.openxmlformats.org/officeDocument/2006/relationships/slideLayout" Target="../slideLayouts/slideLayout298.xml"/><Relationship Id="rId29" Type="http://schemas.openxmlformats.org/officeDocument/2006/relationships/slideLayout" Target="../slideLayouts/slideLayout307.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24" Type="http://schemas.openxmlformats.org/officeDocument/2006/relationships/slideLayout" Target="../slideLayouts/slideLayout302.xml"/><Relationship Id="rId32" Type="http://schemas.openxmlformats.org/officeDocument/2006/relationships/slideLayout" Target="../slideLayouts/slideLayout310.xml"/><Relationship Id="rId37" Type="http://schemas.openxmlformats.org/officeDocument/2006/relationships/oleObject" Target="../embeddings/oleObject37.bin"/><Relationship Id="rId40" Type="http://schemas.openxmlformats.org/officeDocument/2006/relationships/image" Target="../media/image3.png"/><Relationship Id="rId5" Type="http://schemas.openxmlformats.org/officeDocument/2006/relationships/slideLayout" Target="../slideLayouts/slideLayout283.xml"/><Relationship Id="rId15" Type="http://schemas.openxmlformats.org/officeDocument/2006/relationships/slideLayout" Target="../slideLayouts/slideLayout293.xml"/><Relationship Id="rId23" Type="http://schemas.openxmlformats.org/officeDocument/2006/relationships/slideLayout" Target="../slideLayouts/slideLayout301.xml"/><Relationship Id="rId28" Type="http://schemas.openxmlformats.org/officeDocument/2006/relationships/slideLayout" Target="../slideLayouts/slideLayout306.xml"/><Relationship Id="rId36" Type="http://schemas.openxmlformats.org/officeDocument/2006/relationships/tags" Target="../tags/tag37.xml"/><Relationship Id="rId10" Type="http://schemas.openxmlformats.org/officeDocument/2006/relationships/slideLayout" Target="../slideLayouts/slideLayout288.xml"/><Relationship Id="rId19" Type="http://schemas.openxmlformats.org/officeDocument/2006/relationships/slideLayout" Target="../slideLayouts/slideLayout297.xml"/><Relationship Id="rId31" Type="http://schemas.openxmlformats.org/officeDocument/2006/relationships/slideLayout" Target="../slideLayouts/slideLayout309.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slideLayout" Target="../slideLayouts/slideLayout292.xml"/><Relationship Id="rId22" Type="http://schemas.openxmlformats.org/officeDocument/2006/relationships/slideLayout" Target="../slideLayouts/slideLayout300.xml"/><Relationship Id="rId27" Type="http://schemas.openxmlformats.org/officeDocument/2006/relationships/slideLayout" Target="../slideLayouts/slideLayout305.xml"/><Relationship Id="rId30" Type="http://schemas.openxmlformats.org/officeDocument/2006/relationships/slideLayout" Target="../slideLayouts/slideLayout308.xml"/><Relationship Id="rId35" Type="http://schemas.openxmlformats.org/officeDocument/2006/relationships/vmlDrawing" Target="../drawings/vmlDrawing37.vml"/><Relationship Id="rId8" Type="http://schemas.openxmlformats.org/officeDocument/2006/relationships/slideLayout" Target="../slideLayouts/slideLayout286.xml"/><Relationship Id="rId3" Type="http://schemas.openxmlformats.org/officeDocument/2006/relationships/slideLayout" Target="../slideLayouts/slideLayout2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9"/>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317" name="think-cell Folie" r:id="rId40" imgW="216" imgH="216" progId="TCLayout.ActiveDocument.1">
                  <p:embed/>
                </p:oleObj>
              </mc:Choice>
              <mc:Fallback>
                <p:oleObj name="think-cell Folie" r:id="rId40" imgW="216" imgH="216" progId="TCLayout.ActiveDocument.1">
                  <p:embed/>
                  <p:pic>
                    <p:nvPicPr>
                      <p:cNvPr id="0" name=""/>
                      <p:cNvPicPr/>
                      <p:nvPr/>
                    </p:nvPicPr>
                    <p:blipFill>
                      <a:blip r:embed="rId41"/>
                      <a:stretch>
                        <a:fillRect/>
                      </a:stretch>
                    </p:blipFill>
                    <p:spPr>
                      <a:xfrm>
                        <a:off x="1588" y="1588"/>
                        <a:ext cx="1586" cy="1587"/>
                      </a:xfrm>
                      <a:prstGeom prst="rect">
                        <a:avLst/>
                      </a:prstGeom>
                    </p:spPr>
                  </p:pic>
                </p:oleObj>
              </mc:Fallback>
            </mc:AlternateContent>
          </a:graphicData>
        </a:graphic>
      </p:graphicFrame>
      <p:grpSp>
        <p:nvGrpSpPr>
          <p:cNvPr id="37" name="Regieanweisungen"/>
          <p:cNvGrpSpPr/>
          <p:nvPr userDrawn="1"/>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7" name="Listenebene erhöhen"/>
                <p:cNvPicPr>
                  <a:picLocks noChangeAspect="1"/>
                </p:cNvPicPr>
                <p:nvPr userDrawn="1"/>
              </p:nvPicPr>
              <p:blipFill>
                <a:blip r:embed="rId42"/>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3"/>
                <a:stretch>
                  <a:fillRect/>
                </a:stretch>
              </p:blipFill>
              <p:spPr>
                <a:xfrm>
                  <a:off x="-900000" y="2628000"/>
                  <a:ext cx="756000" cy="322369"/>
                </a:xfrm>
                <a:prstGeom prst="rect">
                  <a:avLst/>
                </a:prstGeom>
              </p:spPr>
            </p:pic>
          </p:grpSp>
        </p:grpSp>
      </p:gr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cxnSp>
        <p:nvCxnSpPr>
          <p:cNvPr id="14"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117" y="1504603"/>
            <a:ext cx="10930387" cy="4875670"/>
          </a:xfrm>
          <a:prstGeom prst="rect">
            <a:avLst/>
          </a:prstGeom>
        </p:spPr>
        <p:txBody>
          <a:bodyPr vert="horz" lIns="0" tIns="0" rIns="0" bIns="0" rtlCol="0" anchor="t" anchorCtr="0">
            <a:noAutofit/>
          </a:body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userDrawn="1">
            <p:ph type="title"/>
          </p:nvPr>
        </p:nvSpPr>
        <p:spPr>
          <a:xfrm>
            <a:off x="628324" y="285982"/>
            <a:ext cx="10932454" cy="1151733"/>
          </a:xfrm>
          <a:prstGeom prst="rect">
            <a:avLst/>
          </a:prstGeom>
        </p:spPr>
        <p:txBody>
          <a:bodyPr vert="horz" lIns="0" tIns="0" rIns="0" bIns="0" rtlCol="0" anchor="t" anchorCtr="0">
            <a:noAutofit/>
          </a:bodyPr>
          <a:lstStyle/>
          <a:p>
            <a:r>
              <a:rPr lang="en-GB" noProof="0" dirty="0"/>
              <a:t>Headline in CorpoS (Body) 35 pt.</a:t>
            </a:r>
            <a:br>
              <a:rPr lang="en-GB" noProof="0" dirty="0"/>
            </a:br>
            <a:r>
              <a:rPr lang="en-GB" noProof="0" dirty="0"/>
              <a:t>in two lines</a:t>
            </a:r>
          </a:p>
        </p:txBody>
      </p:sp>
      <p:sp>
        <p:nvSpPr>
          <p:cNvPr id="5" name="Fußzeilenplatzhalter 4"/>
          <p:cNvSpPr>
            <a:spLocks noGrp="1"/>
          </p:cNvSpPr>
          <p:nvPr userDrawn="1">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r>
              <a:rPr lang="en-GB" smtClean="0">
                <a:solidFill>
                  <a:prstClr val="black"/>
                </a:solidFill>
              </a:rPr>
              <a:t>Title of presentation / Department / Date /</a:t>
            </a:r>
            <a:endParaRPr lang="en-GB" dirty="0">
              <a:solidFill>
                <a:prstClr val="black"/>
              </a:solidFill>
            </a:endParaRPr>
          </a:p>
        </p:txBody>
      </p:sp>
      <p:sp>
        <p:nvSpPr>
          <p:cNvPr id="6" name="Foliennummernplatzhalter 5"/>
          <p:cNvSpPr>
            <a:spLocks noGrp="1"/>
          </p:cNvSpPr>
          <p:nvPr userDrawn="1">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en-GB" smtClean="0">
                <a:solidFill>
                  <a:prstClr val="black"/>
                </a:solidFill>
              </a:rPr>
              <a:t>Page </a:t>
            </a:r>
            <a:fld id="{52531704-8F80-415D-BD2B-6B9991AE822F}" type="slidenum">
              <a:rPr lang="en-GB" smtClean="0">
                <a:solidFill>
                  <a:prstClr val="black"/>
                </a:solidFill>
              </a:rPr>
              <a:pPr defTabSz="1088415"/>
              <a:t>‹#›</a:t>
            </a:fld>
            <a:endParaRPr lang="en-GB" dirty="0">
              <a:solidFill>
                <a:prstClr val="black"/>
              </a:solidFill>
            </a:endParaRPr>
          </a:p>
        </p:txBody>
      </p:sp>
    </p:spTree>
    <p:extLst>
      <p:ext uri="{BB962C8B-B14F-4D97-AF65-F5344CB8AC3E}">
        <p14:creationId xmlns:p14="http://schemas.microsoft.com/office/powerpoint/2010/main" val="329907633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90" r:id="rId28"/>
    <p:sldLayoutId id="2147483691" r:id="rId29"/>
    <p:sldLayoutId id="2147483692" r:id="rId30"/>
    <p:sldLayoutId id="2147483693" r:id="rId31"/>
    <p:sldLayoutId id="2147483694" r:id="rId32"/>
    <p:sldLayoutId id="2147483695" r:id="rId33"/>
    <p:sldLayoutId id="2147483696" r:id="rId34"/>
    <p:sldLayoutId id="2147483697" r:id="rId35"/>
    <p:sldLayoutId id="2147483698" r:id="rId36"/>
  </p:sldLayoutIdLst>
  <p:hf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37"/>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51490"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1588" y="1588"/>
                        <a:ext cx="1586" cy="1587"/>
                      </a:xfrm>
                      <a:prstGeom prst="rect">
                        <a:avLst/>
                      </a:prstGeom>
                    </p:spPr>
                  </p:pic>
                </p:oleObj>
              </mc:Fallback>
            </mc:AlternateContent>
          </a:graphicData>
        </a:graphic>
      </p:graphicFrame>
      <p:grpSp>
        <p:nvGrpSpPr>
          <p:cNvPr id="37" name="Regieanweisungen"/>
          <p:cNvGrpSpPr/>
          <p:nvPr/>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7" name="Listenebene erhöhen"/>
                <p:cNvPicPr>
                  <a:picLocks noChangeAspect="1"/>
                </p:cNvPicPr>
                <p:nvPr userDrawn="1"/>
              </p:nvPicPr>
              <p:blipFill>
                <a:blip r:embed="rId40"/>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1"/>
                <a:stretch>
                  <a:fillRect/>
                </a:stretch>
              </p:blipFill>
              <p:spPr>
                <a:xfrm>
                  <a:off x="-900000" y="2628000"/>
                  <a:ext cx="756000" cy="322369"/>
                </a:xfrm>
                <a:prstGeom prst="rect">
                  <a:avLst/>
                </a:prstGeom>
              </p:spPr>
            </p:pic>
          </p:grpSp>
        </p:grpSp>
      </p:grpSp>
      <p:cxnSp>
        <p:nvCxnSpPr>
          <p:cNvPr id="14" name="Footerline"/>
          <p:cNvCxnSpPr/>
          <p:nvPr/>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630117" y="1504603"/>
            <a:ext cx="10930387" cy="4875670"/>
          </a:xfrm>
          <a:prstGeom prst="rect">
            <a:avLst/>
          </a:prstGeom>
        </p:spPr>
        <p:txBody>
          <a:bodyPr vert="horz" lIns="0" tIns="0" rIns="0" bIns="0" rtlCol="0" anchor="t" anchorCtr="0">
            <a:noAutofit/>
          </a:body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p:ph type="title"/>
          </p:nvPr>
        </p:nvSpPr>
        <p:spPr>
          <a:xfrm>
            <a:off x="628324" y="285982"/>
            <a:ext cx="10932454" cy="1151733"/>
          </a:xfrm>
          <a:prstGeom prst="rect">
            <a:avLst/>
          </a:prstGeom>
        </p:spPr>
        <p:txBody>
          <a:bodyPr vert="horz" lIns="0" tIns="0" rIns="0" bIns="0" rtlCol="0" anchor="t" anchorCtr="0">
            <a:noAutofit/>
          </a:bodyPr>
          <a:lstStyle/>
          <a:p>
            <a:r>
              <a:rPr lang="en-GB" noProof="0" dirty="0"/>
              <a:t>Headline in CorpoS (Body) 35 pt.</a:t>
            </a:r>
            <a:br>
              <a:rPr lang="en-GB" noProof="0" dirty="0"/>
            </a:br>
            <a:r>
              <a:rPr lang="en-GB" noProof="0" dirty="0"/>
              <a:t>in two lines</a:t>
            </a:r>
          </a:p>
        </p:txBody>
      </p:sp>
      <p:sp>
        <p:nvSpPr>
          <p:cNvPr id="5" name="Fußzeilenplatzhalter 4"/>
          <p:cNvSpPr>
            <a:spLocks noGrp="1"/>
          </p:cNvSpPr>
          <p:nvPr>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r>
              <a:rPr lang="en-US">
                <a:solidFill>
                  <a:prstClr val="black"/>
                </a:solidFill>
              </a:rPr>
              <a:t>DFS Capital Market Day</a:t>
            </a:r>
            <a:endParaRPr lang="en-GB" dirty="0">
              <a:solidFill>
                <a:prstClr val="black"/>
              </a:solidFill>
            </a:endParaRPr>
          </a:p>
        </p:txBody>
      </p:sp>
      <p:sp>
        <p:nvSpPr>
          <p:cNvPr id="6" name="Foliennummernplatzhalter 5"/>
          <p:cNvSpPr>
            <a:spLocks noGrp="1"/>
          </p:cNvSpPr>
          <p:nvPr>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9" name="Daimler AG (Wortmarke)"/>
          <p:cNvSpPr>
            <a:spLocks noChangeArrowheads="1"/>
          </p:cNvSpPr>
          <p:nvPr/>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033872602"/>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 id="2147484017" r:id="rId22"/>
    <p:sldLayoutId id="2147484018" r:id="rId23"/>
    <p:sldLayoutId id="2147484019" r:id="rId24"/>
    <p:sldLayoutId id="2147484020" r:id="rId25"/>
    <p:sldLayoutId id="2147484021" r:id="rId26"/>
    <p:sldLayoutId id="2147484022" r:id="rId27"/>
    <p:sldLayoutId id="2147484023" r:id="rId28"/>
    <p:sldLayoutId id="2147484024" r:id="rId29"/>
    <p:sldLayoutId id="2147484025" r:id="rId30"/>
    <p:sldLayoutId id="2147484026" r:id="rId31"/>
    <p:sldLayoutId id="2147484027" r:id="rId32"/>
    <p:sldLayoutId id="2147484028" r:id="rId33"/>
    <p:sldLayoutId id="2147484029" r:id="rId34"/>
  </p:sldLayoutIdLst>
  <p:hf sldNum="0"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2" name="Titelplatzhalter 1"/>
          <p:cNvSpPr>
            <a:spLocks noGrp="1"/>
          </p:cNvSpPr>
          <p:nvPr>
            <p:ph type="title"/>
          </p:nvPr>
        </p:nvSpPr>
        <p:spPr bwMode="black">
          <a:xfrm>
            <a:off x="395289" y="368302"/>
            <a:ext cx="11406187" cy="1008360"/>
          </a:xfrm>
          <a:prstGeom prst="rect">
            <a:avLst/>
          </a:prstGeom>
        </p:spPr>
        <p:txBody>
          <a:bodyPr vert="horz" lIns="0" tIns="0" rIns="0" bIns="0" rtlCol="0" anchor="t" anchorCtr="0">
            <a:noAutofit/>
          </a:bodyPr>
          <a:lstStyle/>
          <a:p>
            <a:r>
              <a:rPr lang="de-DE" noProof="0" dirty="0" smtClean="0"/>
              <a:t>Headline zweizeilig in CorpoA (Überschriften) 30 pt. </a:t>
            </a:r>
            <a:br>
              <a:rPr lang="de-DE" noProof="0" dirty="0" smtClean="0"/>
            </a:br>
            <a:r>
              <a:rPr lang="de-DE" noProof="0" dirty="0" smtClean="0"/>
              <a:t>Lorem ipsum dolor sit amet.</a:t>
            </a:r>
            <a:endParaRPr lang="de-DE" noProof="0" dirty="0"/>
          </a:p>
        </p:txBody>
      </p:sp>
      <p:sp>
        <p:nvSpPr>
          <p:cNvPr id="57" name="Textplatzhalter 2"/>
          <p:cNvSpPr>
            <a:spLocks noGrp="1"/>
          </p:cNvSpPr>
          <p:nvPr>
            <p:ph type="body" idx="1"/>
          </p:nvPr>
        </p:nvSpPr>
        <p:spPr bwMode="black">
          <a:xfrm>
            <a:off x="395290" y="1511302"/>
            <a:ext cx="11406188" cy="4914899"/>
          </a:xfrm>
          <a:prstGeom prst="rect">
            <a:avLst/>
          </a:prstGeom>
        </p:spPr>
        <p:txBody>
          <a:bodyPr vert="horz" lIns="0" tIns="0" rIns="0" bIns="0" rtlCol="0" anchor="t" anchorCtr="0">
            <a:noAutofit/>
          </a:bodyPr>
          <a:lstStyle/>
          <a:p>
            <a:pPr lvl="0"/>
            <a:r>
              <a:rPr lang="de-DE" noProof="0" dirty="0" smtClean="0"/>
              <a:t>Text in CorpoS (Textkörper) in 20 pt. einfügen // für Aufzählungen: Start // Absatz // Listenebene erhöh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a:p>
            <a:pPr lvl="5"/>
            <a:r>
              <a:rPr lang="de-DE" noProof="0" dirty="0" smtClean="0"/>
              <a:t>Sechste Ebene</a:t>
            </a:r>
          </a:p>
          <a:p>
            <a:pPr lvl="6"/>
            <a:r>
              <a:rPr lang="de-DE" noProof="0" dirty="0" smtClean="0"/>
              <a:t>Siebte Ebene</a:t>
            </a:r>
          </a:p>
          <a:p>
            <a:pPr lvl="7"/>
            <a:r>
              <a:rPr lang="de-DE" noProof="0" dirty="0" smtClean="0"/>
              <a:t>Achte Ebene</a:t>
            </a:r>
          </a:p>
          <a:p>
            <a:pPr lvl="8"/>
            <a:r>
              <a:rPr lang="de-DE" noProof="0" dirty="0" smtClean="0"/>
              <a:t>Neunte Ebene</a:t>
            </a:r>
          </a:p>
        </p:txBody>
      </p:sp>
      <p:sp>
        <p:nvSpPr>
          <p:cNvPr id="59" name="Fußzeilenplatzhalter 4"/>
          <p:cNvSpPr>
            <a:spLocks noGrp="1"/>
          </p:cNvSpPr>
          <p:nvPr>
            <p:ph type="ftr" sz="quarter" idx="3"/>
          </p:nvPr>
        </p:nvSpPr>
        <p:spPr bwMode="black">
          <a:xfrm>
            <a:off x="3578400" y="6552000"/>
            <a:ext cx="7848000" cy="306000"/>
          </a:xfrm>
          <a:prstGeom prst="rect">
            <a:avLst/>
          </a:prstGeom>
        </p:spPr>
        <p:txBody>
          <a:bodyPr vert="horz" lIns="0" tIns="0" rIns="0" bIns="0" rtlCol="0" anchor="ctr" anchorCtr="0">
            <a:noAutofit/>
          </a:bodyPr>
          <a:lstStyle>
            <a:lvl1pPr marL="0" indent="0" algn="r">
              <a:spcBef>
                <a:spcPts val="0"/>
              </a:spcBef>
              <a:buFont typeface="+mj-lt"/>
              <a:buNone/>
              <a:defRPr sz="1000" b="0" i="0">
                <a:solidFill>
                  <a:schemeClr val="tx1"/>
                </a:solidFill>
                <a:latin typeface="+mn-lt"/>
              </a:defRPr>
            </a:lvl1pPr>
            <a:lvl2pPr marL="0" indent="0" algn="r">
              <a:spcBef>
                <a:spcPts val="0"/>
              </a:spcBef>
              <a:defRPr sz="1000"/>
            </a:lvl2pPr>
            <a:lvl3pPr marL="0" indent="0" algn="r">
              <a:spcBef>
                <a:spcPts val="0"/>
              </a:spcBef>
              <a:defRPr sz="1000"/>
            </a:lvl3pPr>
            <a:lvl4pPr marL="0" indent="0" algn="r">
              <a:spcBef>
                <a:spcPts val="0"/>
              </a:spcBef>
              <a:defRPr sz="1000"/>
            </a:lvl4pPr>
            <a:lvl5pPr marL="0" indent="0" algn="r">
              <a:spcBef>
                <a:spcPts val="0"/>
              </a:spcBef>
              <a:defRPr sz="1000"/>
            </a:lvl5pPr>
            <a:lvl6pPr marL="0" indent="0" algn="r">
              <a:spcBef>
                <a:spcPts val="0"/>
              </a:spcBef>
              <a:defRPr sz="1000"/>
            </a:lvl6pPr>
            <a:lvl7pPr marL="0" indent="0" algn="r">
              <a:spcBef>
                <a:spcPts val="0"/>
              </a:spcBef>
              <a:defRPr sz="1000"/>
            </a:lvl7pPr>
            <a:lvl8pPr marL="0" indent="0" algn="r">
              <a:spcBef>
                <a:spcPts val="0"/>
              </a:spcBef>
              <a:defRPr sz="1000"/>
            </a:lvl8pPr>
            <a:lvl9pPr marL="0" indent="0" algn="r">
              <a:spcBef>
                <a:spcPts val="0"/>
              </a:spcBef>
              <a:defRPr sz="1000"/>
            </a:lvl9pPr>
          </a:lstStyle>
          <a:p>
            <a:pPr defTabSz="914089"/>
            <a:r>
              <a:rPr lang="de-DE" dirty="0" smtClean="0">
                <a:solidFill>
                  <a:prstClr val="white"/>
                </a:solidFill>
              </a:rPr>
              <a:t>Titel der Präsentation in CorpoS (Textkörper) 10pt | Abteilung | Datum</a:t>
            </a:r>
            <a:endParaRPr lang="de-DE" dirty="0">
              <a:solidFill>
                <a:prstClr val="white"/>
              </a:solidFill>
            </a:endParaRPr>
          </a:p>
        </p:txBody>
      </p:sp>
      <p:sp>
        <p:nvSpPr>
          <p:cNvPr id="60" name="Foliennummernplatzhalter 5"/>
          <p:cNvSpPr>
            <a:spLocks noGrp="1"/>
          </p:cNvSpPr>
          <p:nvPr>
            <p:ph type="sldNum" sz="quarter" idx="4"/>
          </p:nvPr>
        </p:nvSpPr>
        <p:spPr bwMode="black">
          <a:xfrm>
            <a:off x="11800803" y="6552000"/>
            <a:ext cx="323999" cy="306000"/>
          </a:xfrm>
          <a:prstGeom prst="rect">
            <a:avLst/>
          </a:prstGeom>
        </p:spPr>
        <p:txBody>
          <a:bodyPr vert="horz" lIns="0" tIns="0" rIns="0" bIns="0" rtlCol="0" anchor="ctr" anchorCtr="0">
            <a:noAutofit/>
          </a:bodyPr>
          <a:lstStyle>
            <a:lvl1pPr marL="0" indent="0" algn="l">
              <a:spcBef>
                <a:spcPts val="0"/>
              </a:spcBef>
              <a:buFont typeface="+mj-lt"/>
              <a:buNone/>
              <a:defRPr sz="1000" b="0" i="0">
                <a:solidFill>
                  <a:schemeClr val="tx1"/>
                </a:solidFill>
                <a:latin typeface="+mn-lt"/>
              </a:defRPr>
            </a:lvl1pPr>
            <a:lvl2pPr marL="0" indent="0" algn="l">
              <a:spcBef>
                <a:spcPts val="0"/>
              </a:spcBef>
              <a:defRPr sz="1000"/>
            </a:lvl2pPr>
            <a:lvl3pPr marL="0" indent="0" algn="l">
              <a:spcBef>
                <a:spcPts val="0"/>
              </a:spcBef>
              <a:defRPr sz="1000"/>
            </a:lvl3pPr>
            <a:lvl4pPr marL="0" indent="0" algn="l">
              <a:spcBef>
                <a:spcPts val="0"/>
              </a:spcBef>
              <a:defRPr sz="1000"/>
            </a:lvl4pPr>
            <a:lvl5pPr marL="0" indent="0" algn="l">
              <a:spcBef>
                <a:spcPts val="0"/>
              </a:spcBef>
              <a:defRPr sz="1000"/>
            </a:lvl5pPr>
            <a:lvl6pPr marL="0" indent="0" algn="l">
              <a:spcBef>
                <a:spcPts val="0"/>
              </a:spcBef>
              <a:defRPr sz="1000"/>
            </a:lvl6pPr>
            <a:lvl7pPr marL="0" indent="0" algn="l">
              <a:spcBef>
                <a:spcPts val="0"/>
              </a:spcBef>
              <a:defRPr sz="1000"/>
            </a:lvl7pPr>
            <a:lvl8pPr marL="0" indent="0" algn="l">
              <a:spcBef>
                <a:spcPts val="0"/>
              </a:spcBef>
              <a:defRPr sz="1000"/>
            </a:lvl8pPr>
            <a:lvl9pPr marL="0" indent="0" algn="l">
              <a:spcBef>
                <a:spcPts val="0"/>
              </a:spcBef>
              <a:defRPr sz="1000"/>
            </a:lvl9pPr>
          </a:lstStyle>
          <a:p>
            <a:pPr defTabSz="914089"/>
            <a:fld id="{AD1D1349-391B-44DC-865F-5996B3E40F26}" type="slidenum">
              <a:rPr lang="de-DE" smtClean="0">
                <a:solidFill>
                  <a:prstClr val="white"/>
                </a:solidFill>
              </a:rPr>
              <a:pPr defTabSz="914089"/>
              <a:t>‹#›</a:t>
            </a:fld>
            <a:endParaRPr lang="de-DE" dirty="0">
              <a:solidFill>
                <a:prstClr val="white"/>
              </a:solidFill>
            </a:endParaRPr>
          </a:p>
        </p:txBody>
      </p:sp>
      <p:cxnSp>
        <p:nvCxnSpPr>
          <p:cNvPr id="33" name="32,78 // 15,84"/>
          <p:cNvCxnSpPr/>
          <p:nvPr userDrawn="1"/>
        </p:nvCxnSpPr>
        <p:spPr bwMode="black">
          <a:xfrm>
            <a:off x="11801476" y="-454243"/>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4" name="1,1 // 15,84"/>
          <p:cNvCxnSpPr/>
          <p:nvPr userDrawn="1"/>
        </p:nvCxnSpPr>
        <p:spPr bwMode="black">
          <a:xfrm>
            <a:off x="397669" y="-447100"/>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5" name="32,78 // 15,84"/>
          <p:cNvCxnSpPr/>
          <p:nvPr userDrawn="1"/>
        </p:nvCxnSpPr>
        <p:spPr bwMode="black">
          <a:xfrm>
            <a:off x="11801475" y="6979755"/>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 name="1,1 // 15,84"/>
          <p:cNvCxnSpPr/>
          <p:nvPr userDrawn="1"/>
        </p:nvCxnSpPr>
        <p:spPr bwMode="black">
          <a:xfrm>
            <a:off x="397669" y="6984517"/>
            <a:ext cx="0" cy="36000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17,85 // 8,32"/>
          <p:cNvCxnSpPr/>
          <p:nvPr userDrawn="1"/>
        </p:nvCxnSpPr>
        <p:spPr bwMode="black">
          <a:xfrm>
            <a:off x="12307182" y="6427785"/>
            <a:ext cx="360000"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 name="4,2 // 5,33"/>
          <p:cNvCxnSpPr/>
          <p:nvPr userDrawn="1"/>
        </p:nvCxnSpPr>
        <p:spPr bwMode="black">
          <a:xfrm>
            <a:off x="12307182" y="1510673"/>
            <a:ext cx="360000"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9" name="1,02 // 8,5"/>
          <p:cNvCxnSpPr/>
          <p:nvPr userDrawn="1"/>
        </p:nvCxnSpPr>
        <p:spPr bwMode="black">
          <a:xfrm>
            <a:off x="12307182" y="365917"/>
            <a:ext cx="360000"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0" name="17,85 // 8,32"/>
          <p:cNvCxnSpPr/>
          <p:nvPr userDrawn="1"/>
        </p:nvCxnSpPr>
        <p:spPr bwMode="black">
          <a:xfrm>
            <a:off x="-460856" y="6427785"/>
            <a:ext cx="360000"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1" name="4,2 // 5,33"/>
          <p:cNvCxnSpPr/>
          <p:nvPr userDrawn="1"/>
        </p:nvCxnSpPr>
        <p:spPr bwMode="black">
          <a:xfrm>
            <a:off x="-463236" y="1510673"/>
            <a:ext cx="360000"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2" name="1,02 // 8,5"/>
          <p:cNvCxnSpPr/>
          <p:nvPr userDrawn="1"/>
        </p:nvCxnSpPr>
        <p:spPr bwMode="black">
          <a:xfrm>
            <a:off x="-463236" y="365917"/>
            <a:ext cx="360000" cy="0"/>
          </a:xfrm>
          <a:prstGeom prst="line">
            <a:avLst/>
          </a:prstGeom>
          <a:ln w="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7" name="Wortmarke Mercedes-Benz"/>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bwMode="black">
          <a:xfrm>
            <a:off x="396000" y="6613202"/>
            <a:ext cx="1188000" cy="148997"/>
          </a:xfrm>
          <a:prstGeom prst="rect">
            <a:avLst/>
          </a:prstGeom>
        </p:spPr>
      </p:pic>
    </p:spTree>
    <p:extLst>
      <p:ext uri="{BB962C8B-B14F-4D97-AF65-F5344CB8AC3E}">
        <p14:creationId xmlns:p14="http://schemas.microsoft.com/office/powerpoint/2010/main" val="1605809360"/>
      </p:ext>
    </p:extLst>
  </p:cSld>
  <p:clrMap bg1="dk1" tx1="lt1" bg2="dk2" tx2="lt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 id="2147484044" r:id="rId14"/>
    <p:sldLayoutId id="2147484045" r:id="rId15"/>
    <p:sldLayoutId id="2147484046" r:id="rId16"/>
    <p:sldLayoutId id="2147484047" r:id="rId17"/>
    <p:sldLayoutId id="2147484048" r:id="rId18"/>
    <p:sldLayoutId id="2147484049" r:id="rId19"/>
    <p:sldLayoutId id="2147484050" r:id="rId20"/>
    <p:sldLayoutId id="2147484051" r:id="rId21"/>
    <p:sldLayoutId id="2147484052" r:id="rId22"/>
    <p:sldLayoutId id="2147484053" r:id="rId23"/>
    <p:sldLayoutId id="2147484054" r:id="rId24"/>
    <p:sldLayoutId id="2147484055" r:id="rId25"/>
  </p:sldLayoutIdLst>
  <p:timing>
    <p:tnLst>
      <p:par>
        <p:cTn id="1" dur="indefinite" restart="never" nodeType="tmRoot"/>
      </p:par>
    </p:tnLst>
  </p:timing>
  <p:hf hdr="0" dt="0"/>
  <p:txStyles>
    <p:titleStyle>
      <a:lvl1pPr marL="0" indent="0" algn="l" defTabSz="914089" rtl="0" eaLnBrk="1" latinLnBrk="0" hangingPunct="1">
        <a:spcBef>
          <a:spcPts val="0"/>
        </a:spcBef>
        <a:buFont typeface="+mj-lt"/>
        <a:buNone/>
        <a:defRPr sz="3000" b="0" i="0" kern="1200">
          <a:solidFill>
            <a:schemeClr val="tx1"/>
          </a:solidFill>
          <a:latin typeface="+mj-lt"/>
          <a:ea typeface="+mj-ea"/>
          <a:cs typeface="+mj-cs"/>
        </a:defRPr>
      </a:lvl1pPr>
    </p:titleStyle>
    <p:bodyStyle>
      <a:lvl1pPr marL="0" indent="0" algn="l" defTabSz="914089" rtl="0" eaLnBrk="1" latinLnBrk="0" hangingPunct="1">
        <a:lnSpc>
          <a:spcPct val="108000"/>
        </a:lnSpc>
        <a:spcBef>
          <a:spcPts val="0"/>
        </a:spcBef>
        <a:spcAft>
          <a:spcPts val="1006"/>
        </a:spcAft>
        <a:buFont typeface="+mj-lt"/>
        <a:buNone/>
        <a:defRPr sz="2000" b="0" i="0" kern="1200">
          <a:solidFill>
            <a:schemeClr val="tx1"/>
          </a:solidFill>
          <a:latin typeface="+mn-lt"/>
          <a:ea typeface="+mn-ea"/>
          <a:cs typeface="+mn-cs"/>
        </a:defRPr>
      </a:lvl1pPr>
      <a:lvl2pPr marL="341884" indent="-341884" algn="l" defTabSz="914089" rtl="0" eaLnBrk="1" latinLnBrk="0" hangingPunct="1">
        <a:lnSpc>
          <a:spcPct val="108000"/>
        </a:lnSpc>
        <a:spcBef>
          <a:spcPts val="0"/>
        </a:spcBef>
        <a:spcAft>
          <a:spcPts val="1006"/>
        </a:spcAft>
        <a:buFont typeface="Arial" panose="020B0604020202020204" pitchFamily="34" charset="0"/>
        <a:buChar char="•"/>
        <a:defRPr sz="2000" b="0" i="0" kern="1200">
          <a:solidFill>
            <a:schemeClr val="tx1"/>
          </a:solidFill>
          <a:latin typeface="+mn-lt"/>
          <a:ea typeface="+mn-ea"/>
          <a:cs typeface="+mn-cs"/>
        </a:defRPr>
      </a:lvl2pPr>
      <a:lvl3pPr marL="539816" indent="-197932" algn="l" defTabSz="914089" rtl="0" eaLnBrk="1" latinLnBrk="0" hangingPunct="1">
        <a:lnSpc>
          <a:spcPct val="108000"/>
        </a:lnSpc>
        <a:spcBef>
          <a:spcPts val="0"/>
        </a:spcBef>
        <a:spcAft>
          <a:spcPts val="1006"/>
        </a:spcAft>
        <a:buFont typeface="Symbol" panose="05050102010706020507" pitchFamily="18" charset="2"/>
        <a:buChar char="-"/>
        <a:defRPr sz="1500" b="0" i="0" kern="1200">
          <a:solidFill>
            <a:schemeClr val="tx1"/>
          </a:solidFill>
          <a:latin typeface="+mn-lt"/>
          <a:ea typeface="+mn-ea"/>
          <a:cs typeface="+mn-cs"/>
        </a:defRPr>
      </a:lvl3pPr>
      <a:lvl4pPr marL="539816" indent="-197932" algn="l" defTabSz="914089" rtl="0" eaLnBrk="1" latinLnBrk="0" hangingPunct="1">
        <a:lnSpc>
          <a:spcPct val="108000"/>
        </a:lnSpc>
        <a:spcBef>
          <a:spcPts val="0"/>
        </a:spcBef>
        <a:spcAft>
          <a:spcPts val="1006"/>
        </a:spcAft>
        <a:buFont typeface="Symbol" panose="05050102010706020507" pitchFamily="18" charset="2"/>
        <a:buChar char="-"/>
        <a:defRPr sz="1500" b="0" i="0" kern="1200">
          <a:solidFill>
            <a:schemeClr val="tx1"/>
          </a:solidFill>
          <a:latin typeface="+mn-lt"/>
          <a:ea typeface="+mn-ea"/>
          <a:cs typeface="+mn-cs"/>
        </a:defRPr>
      </a:lvl4pPr>
      <a:lvl5pPr marL="539816" indent="-197932" algn="l" defTabSz="914089" rtl="0" eaLnBrk="1" latinLnBrk="0" hangingPunct="1">
        <a:lnSpc>
          <a:spcPct val="108000"/>
        </a:lnSpc>
        <a:spcBef>
          <a:spcPts val="0"/>
        </a:spcBef>
        <a:spcAft>
          <a:spcPts val="1006"/>
        </a:spcAft>
        <a:buFont typeface="Symbol" panose="05050102010706020507" pitchFamily="18" charset="2"/>
        <a:buChar char="-"/>
        <a:defRPr sz="1500" b="0" i="0" kern="1200">
          <a:solidFill>
            <a:schemeClr val="tx1"/>
          </a:solidFill>
          <a:latin typeface="+mn-lt"/>
          <a:ea typeface="+mn-ea"/>
          <a:cs typeface="+mn-cs"/>
        </a:defRPr>
      </a:lvl5pPr>
      <a:lvl6pPr marL="539816" indent="-197932" algn="l" defTabSz="914089" rtl="0" eaLnBrk="1" latinLnBrk="0" hangingPunct="1">
        <a:lnSpc>
          <a:spcPct val="108000"/>
        </a:lnSpc>
        <a:spcBef>
          <a:spcPts val="0"/>
        </a:spcBef>
        <a:spcAft>
          <a:spcPts val="1006"/>
        </a:spcAft>
        <a:buFont typeface="Symbol" panose="05050102010706020507" pitchFamily="18" charset="2"/>
        <a:buChar char="-"/>
        <a:defRPr sz="1500" b="0" i="0" kern="1200">
          <a:solidFill>
            <a:schemeClr val="tx1"/>
          </a:solidFill>
          <a:latin typeface="+mn-lt"/>
          <a:ea typeface="+mn-ea"/>
          <a:cs typeface="+mn-cs"/>
        </a:defRPr>
      </a:lvl6pPr>
      <a:lvl7pPr marL="539816" indent="-197932" algn="l" defTabSz="914089" rtl="0" eaLnBrk="1" latinLnBrk="0" hangingPunct="1">
        <a:lnSpc>
          <a:spcPct val="108000"/>
        </a:lnSpc>
        <a:spcBef>
          <a:spcPts val="0"/>
        </a:spcBef>
        <a:spcAft>
          <a:spcPts val="1006"/>
        </a:spcAft>
        <a:buFont typeface="Symbol" panose="05050102010706020507" pitchFamily="18" charset="2"/>
        <a:buChar char="-"/>
        <a:defRPr sz="1500" b="0" i="0" kern="1200">
          <a:solidFill>
            <a:schemeClr val="tx1"/>
          </a:solidFill>
          <a:latin typeface="+mn-lt"/>
          <a:ea typeface="+mn-ea"/>
          <a:cs typeface="+mn-cs"/>
        </a:defRPr>
      </a:lvl7pPr>
      <a:lvl8pPr marL="539816" indent="-197932" algn="l" defTabSz="914089" rtl="0" eaLnBrk="1" latinLnBrk="0" hangingPunct="1">
        <a:lnSpc>
          <a:spcPct val="108000"/>
        </a:lnSpc>
        <a:spcBef>
          <a:spcPts val="0"/>
        </a:spcBef>
        <a:spcAft>
          <a:spcPts val="1006"/>
        </a:spcAft>
        <a:buFont typeface="Symbol" panose="05050102010706020507" pitchFamily="18" charset="2"/>
        <a:buChar char="-"/>
        <a:defRPr sz="1500" b="0" i="0" kern="1200">
          <a:solidFill>
            <a:schemeClr val="tx1"/>
          </a:solidFill>
          <a:latin typeface="+mn-lt"/>
          <a:ea typeface="+mn-ea"/>
          <a:cs typeface="+mn-cs"/>
        </a:defRPr>
      </a:lvl8pPr>
      <a:lvl9pPr marL="539816" indent="-197932" algn="l" defTabSz="914089" rtl="0" eaLnBrk="1" latinLnBrk="0" hangingPunct="1">
        <a:lnSpc>
          <a:spcPct val="108000"/>
        </a:lnSpc>
        <a:spcBef>
          <a:spcPts val="0"/>
        </a:spcBef>
        <a:spcAft>
          <a:spcPts val="1006"/>
        </a:spcAft>
        <a:buFont typeface="Symbol" panose="05050102010706020507" pitchFamily="18" charset="2"/>
        <a:buChar char="-"/>
        <a:defRPr sz="1500" b="0" i="0" kern="1200">
          <a:solidFill>
            <a:schemeClr val="tx1"/>
          </a:solidFill>
          <a:latin typeface="+mn-lt"/>
          <a:ea typeface="+mn-ea"/>
          <a:cs typeface="+mn-cs"/>
        </a:defRPr>
      </a:lvl9pPr>
    </p:bodyStyle>
    <p:otherStyle>
      <a:defPPr>
        <a:defRPr lang="de-DE"/>
      </a:defPPr>
      <a:lvl1pPr marL="0" algn="l" defTabSz="914089" rtl="0" eaLnBrk="1" latinLnBrk="0" hangingPunct="1">
        <a:defRPr sz="1800" kern="1200">
          <a:solidFill>
            <a:schemeClr val="tx1"/>
          </a:solidFill>
          <a:latin typeface="+mn-lt"/>
          <a:ea typeface="+mn-ea"/>
          <a:cs typeface="+mn-cs"/>
        </a:defRPr>
      </a:lvl1pPr>
      <a:lvl2pPr marL="457043" algn="l" defTabSz="914089" rtl="0" eaLnBrk="1" latinLnBrk="0" hangingPunct="1">
        <a:defRPr sz="1800" kern="1200">
          <a:solidFill>
            <a:schemeClr val="tx1"/>
          </a:solidFill>
          <a:latin typeface="+mn-lt"/>
          <a:ea typeface="+mn-ea"/>
          <a:cs typeface="+mn-cs"/>
        </a:defRPr>
      </a:lvl2pPr>
      <a:lvl3pPr marL="914089" algn="l" defTabSz="914089" rtl="0" eaLnBrk="1" latinLnBrk="0" hangingPunct="1">
        <a:defRPr sz="1800" kern="1200">
          <a:solidFill>
            <a:schemeClr val="tx1"/>
          </a:solidFill>
          <a:latin typeface="+mn-lt"/>
          <a:ea typeface="+mn-ea"/>
          <a:cs typeface="+mn-cs"/>
        </a:defRPr>
      </a:lvl3pPr>
      <a:lvl4pPr marL="1371132" algn="l" defTabSz="914089" rtl="0" eaLnBrk="1" latinLnBrk="0" hangingPunct="1">
        <a:defRPr sz="1800" kern="1200">
          <a:solidFill>
            <a:schemeClr val="tx1"/>
          </a:solidFill>
          <a:latin typeface="+mn-lt"/>
          <a:ea typeface="+mn-ea"/>
          <a:cs typeface="+mn-cs"/>
        </a:defRPr>
      </a:lvl4pPr>
      <a:lvl5pPr marL="1828174" algn="l" defTabSz="914089" rtl="0" eaLnBrk="1" latinLnBrk="0" hangingPunct="1">
        <a:defRPr sz="1800" kern="1200">
          <a:solidFill>
            <a:schemeClr val="tx1"/>
          </a:solidFill>
          <a:latin typeface="+mn-lt"/>
          <a:ea typeface="+mn-ea"/>
          <a:cs typeface="+mn-cs"/>
        </a:defRPr>
      </a:lvl5pPr>
      <a:lvl6pPr marL="2285220" algn="l" defTabSz="914089" rtl="0" eaLnBrk="1" latinLnBrk="0" hangingPunct="1">
        <a:defRPr sz="1800" kern="1200">
          <a:solidFill>
            <a:schemeClr val="tx1"/>
          </a:solidFill>
          <a:latin typeface="+mn-lt"/>
          <a:ea typeface="+mn-ea"/>
          <a:cs typeface="+mn-cs"/>
        </a:defRPr>
      </a:lvl6pPr>
      <a:lvl7pPr marL="2742264" algn="l" defTabSz="914089" rtl="0" eaLnBrk="1" latinLnBrk="0" hangingPunct="1">
        <a:defRPr sz="1800" kern="1200">
          <a:solidFill>
            <a:schemeClr val="tx1"/>
          </a:solidFill>
          <a:latin typeface="+mn-lt"/>
          <a:ea typeface="+mn-ea"/>
          <a:cs typeface="+mn-cs"/>
        </a:defRPr>
      </a:lvl7pPr>
      <a:lvl8pPr marL="3199308" algn="l" defTabSz="914089" rtl="0" eaLnBrk="1" latinLnBrk="0" hangingPunct="1">
        <a:defRPr sz="1800" kern="1200">
          <a:solidFill>
            <a:schemeClr val="tx1"/>
          </a:solidFill>
          <a:latin typeface="+mn-lt"/>
          <a:ea typeface="+mn-ea"/>
          <a:cs typeface="+mn-cs"/>
        </a:defRPr>
      </a:lvl8pPr>
      <a:lvl9pPr marL="3656353" algn="l" defTabSz="914089"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38"/>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57634" name="think-cell Folie" r:id="rId39" imgW="270" imgH="270" progId="TCLayout.ActiveDocument.1">
                  <p:embed/>
                </p:oleObj>
              </mc:Choice>
              <mc:Fallback>
                <p:oleObj name="think-cell Folie" r:id="rId39" imgW="270" imgH="270" progId="TCLayout.ActiveDocument.1">
                  <p:embed/>
                  <p:pic>
                    <p:nvPicPr>
                      <p:cNvPr id="0" name=""/>
                      <p:cNvPicPr/>
                      <p:nvPr/>
                    </p:nvPicPr>
                    <p:blipFill>
                      <a:blip r:embed="rId40"/>
                      <a:stretch>
                        <a:fillRect/>
                      </a:stretch>
                    </p:blipFill>
                    <p:spPr>
                      <a:xfrm>
                        <a:off x="1588" y="1588"/>
                        <a:ext cx="1586" cy="1587"/>
                      </a:xfrm>
                      <a:prstGeom prst="rect">
                        <a:avLst/>
                      </a:prstGeom>
                    </p:spPr>
                  </p:pic>
                </p:oleObj>
              </mc:Fallback>
            </mc:AlternateContent>
          </a:graphicData>
        </a:graphic>
      </p:graphicFrame>
      <p:grpSp>
        <p:nvGrpSpPr>
          <p:cNvPr id="37" name="Regieanweisungen"/>
          <p:cNvGrpSpPr/>
          <p:nvPr/>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7" name="Listenebene erhöhen"/>
                <p:cNvPicPr>
                  <a:picLocks noChangeAspect="1"/>
                </p:cNvPicPr>
                <p:nvPr userDrawn="1"/>
              </p:nvPicPr>
              <p:blipFill>
                <a:blip r:embed="rId41"/>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2"/>
                <a:stretch>
                  <a:fillRect/>
                </a:stretch>
              </p:blipFill>
              <p:spPr>
                <a:xfrm>
                  <a:off x="-900000" y="2628000"/>
                  <a:ext cx="756000" cy="322369"/>
                </a:xfrm>
                <a:prstGeom prst="rect">
                  <a:avLst/>
                </a:prstGeom>
              </p:spPr>
            </p:pic>
          </p:grpSp>
        </p:grpSp>
      </p:grpSp>
      <p:cxnSp>
        <p:nvCxnSpPr>
          <p:cNvPr id="14" name="Footerline"/>
          <p:cNvCxnSpPr/>
          <p:nvPr/>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630117" y="1504603"/>
            <a:ext cx="10930387" cy="4875670"/>
          </a:xfrm>
          <a:prstGeom prst="rect">
            <a:avLst/>
          </a:prstGeom>
        </p:spPr>
        <p:txBody>
          <a:bodyPr vert="horz" lIns="0" tIns="0" rIns="0" bIns="0" rtlCol="0" anchor="t" anchorCtr="0">
            <a:noAutofit/>
          </a:body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p:ph type="title"/>
          </p:nvPr>
        </p:nvSpPr>
        <p:spPr>
          <a:xfrm>
            <a:off x="628324" y="285982"/>
            <a:ext cx="10932454" cy="1151733"/>
          </a:xfrm>
          <a:prstGeom prst="rect">
            <a:avLst/>
          </a:prstGeom>
        </p:spPr>
        <p:txBody>
          <a:bodyPr vert="horz" lIns="0" tIns="0" rIns="0" bIns="0" rtlCol="0" anchor="t" anchorCtr="0">
            <a:noAutofit/>
          </a:bodyPr>
          <a:lstStyle/>
          <a:p>
            <a:r>
              <a:rPr lang="en-GB" noProof="0" dirty="0"/>
              <a:t>Headline in CorpoS (Body) 35 pt.</a:t>
            </a:r>
            <a:br>
              <a:rPr lang="en-GB" noProof="0" dirty="0"/>
            </a:br>
            <a:r>
              <a:rPr lang="en-GB" noProof="0" dirty="0"/>
              <a:t>in two lines</a:t>
            </a:r>
          </a:p>
        </p:txBody>
      </p:sp>
      <p:sp>
        <p:nvSpPr>
          <p:cNvPr id="5" name="Fußzeilenplatzhalter 4"/>
          <p:cNvSpPr>
            <a:spLocks noGrp="1"/>
          </p:cNvSpPr>
          <p:nvPr>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r>
              <a:rPr lang="en-US">
                <a:solidFill>
                  <a:prstClr val="black"/>
                </a:solidFill>
              </a:rPr>
              <a:t>DFS Capital Market Day</a:t>
            </a:r>
            <a:endParaRPr lang="en-GB" dirty="0">
              <a:solidFill>
                <a:prstClr val="black"/>
              </a:solidFill>
            </a:endParaRPr>
          </a:p>
        </p:txBody>
      </p:sp>
      <p:sp>
        <p:nvSpPr>
          <p:cNvPr id="6" name="Foliennummernplatzhalter 5"/>
          <p:cNvSpPr>
            <a:spLocks noGrp="1"/>
          </p:cNvSpPr>
          <p:nvPr>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9" name="Daimler AG (Wortmarke)"/>
          <p:cNvSpPr>
            <a:spLocks noChangeArrowheads="1"/>
          </p:cNvSpPr>
          <p:nvPr/>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29073409"/>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 id="2147484073" r:id="rId17"/>
    <p:sldLayoutId id="2147484074" r:id="rId18"/>
    <p:sldLayoutId id="2147484075" r:id="rId19"/>
    <p:sldLayoutId id="2147484076" r:id="rId20"/>
    <p:sldLayoutId id="2147484077" r:id="rId21"/>
    <p:sldLayoutId id="2147484078" r:id="rId22"/>
    <p:sldLayoutId id="2147484079" r:id="rId23"/>
    <p:sldLayoutId id="2147484080" r:id="rId24"/>
    <p:sldLayoutId id="2147484081" r:id="rId25"/>
    <p:sldLayoutId id="2147484082" r:id="rId26"/>
    <p:sldLayoutId id="2147484083" r:id="rId27"/>
    <p:sldLayoutId id="2147484084" r:id="rId28"/>
    <p:sldLayoutId id="2147484085" r:id="rId29"/>
    <p:sldLayoutId id="2147484086" r:id="rId30"/>
    <p:sldLayoutId id="2147484087" r:id="rId31"/>
    <p:sldLayoutId id="2147484088" r:id="rId32"/>
    <p:sldLayoutId id="2147484089" r:id="rId33"/>
    <p:sldLayoutId id="2147484091" r:id="rId34"/>
    <p:sldLayoutId id="2147484092" r:id="rId35"/>
  </p:sldLayoutIdLst>
  <p:hf sldNum="0"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37"/>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59682" name="think-cell Folie" r:id="rId38" imgW="270" imgH="270" progId="TCLayout.ActiveDocument.1">
                  <p:embed/>
                </p:oleObj>
              </mc:Choice>
              <mc:Fallback>
                <p:oleObj name="think-cell Folie" r:id="rId38" imgW="270" imgH="270" progId="TCLayout.ActiveDocument.1">
                  <p:embed/>
                  <p:pic>
                    <p:nvPicPr>
                      <p:cNvPr id="0" name=""/>
                      <p:cNvPicPr/>
                      <p:nvPr/>
                    </p:nvPicPr>
                    <p:blipFill>
                      <a:blip r:embed="rId39"/>
                      <a:stretch>
                        <a:fillRect/>
                      </a:stretch>
                    </p:blipFill>
                    <p:spPr>
                      <a:xfrm>
                        <a:off x="1588" y="1588"/>
                        <a:ext cx="1586" cy="1587"/>
                      </a:xfrm>
                      <a:prstGeom prst="rect">
                        <a:avLst/>
                      </a:prstGeom>
                    </p:spPr>
                  </p:pic>
                </p:oleObj>
              </mc:Fallback>
            </mc:AlternateContent>
          </a:graphicData>
        </a:graphic>
      </p:graphicFrame>
      <p:grpSp>
        <p:nvGrpSpPr>
          <p:cNvPr id="37" name="Regieanweisungen"/>
          <p:cNvGrpSpPr/>
          <p:nvPr/>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7" name="Listenebene erhöhen"/>
                <p:cNvPicPr>
                  <a:picLocks noChangeAspect="1"/>
                </p:cNvPicPr>
                <p:nvPr userDrawn="1"/>
              </p:nvPicPr>
              <p:blipFill>
                <a:blip r:embed="rId40"/>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1"/>
                <a:stretch>
                  <a:fillRect/>
                </a:stretch>
              </p:blipFill>
              <p:spPr>
                <a:xfrm>
                  <a:off x="-900000" y="2628000"/>
                  <a:ext cx="756000" cy="322369"/>
                </a:xfrm>
                <a:prstGeom prst="rect">
                  <a:avLst/>
                </a:prstGeom>
              </p:spPr>
            </p:pic>
          </p:grpSp>
        </p:grpSp>
      </p:grpSp>
      <p:cxnSp>
        <p:nvCxnSpPr>
          <p:cNvPr id="14" name="Footerline"/>
          <p:cNvCxnSpPr/>
          <p:nvPr/>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630117" y="1504603"/>
            <a:ext cx="10930387" cy="4875670"/>
          </a:xfrm>
          <a:prstGeom prst="rect">
            <a:avLst/>
          </a:prstGeom>
        </p:spPr>
        <p:txBody>
          <a:bodyPr vert="horz" lIns="0" tIns="0" rIns="0" bIns="0" rtlCol="0" anchor="t" anchorCtr="0">
            <a:noAutofit/>
          </a:body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p:ph type="title"/>
          </p:nvPr>
        </p:nvSpPr>
        <p:spPr>
          <a:xfrm>
            <a:off x="628324" y="285982"/>
            <a:ext cx="10932454" cy="1151733"/>
          </a:xfrm>
          <a:prstGeom prst="rect">
            <a:avLst/>
          </a:prstGeom>
        </p:spPr>
        <p:txBody>
          <a:bodyPr vert="horz" lIns="0" tIns="0" rIns="0" bIns="0" rtlCol="0" anchor="t" anchorCtr="0">
            <a:noAutofit/>
          </a:bodyPr>
          <a:lstStyle/>
          <a:p>
            <a:r>
              <a:rPr lang="en-GB" noProof="0" dirty="0"/>
              <a:t>Headline in CorpoS (Body) 35 pt.</a:t>
            </a:r>
            <a:br>
              <a:rPr lang="en-GB" noProof="0" dirty="0"/>
            </a:br>
            <a:r>
              <a:rPr lang="en-GB" noProof="0" dirty="0"/>
              <a:t>in two lines</a:t>
            </a:r>
          </a:p>
        </p:txBody>
      </p:sp>
      <p:sp>
        <p:nvSpPr>
          <p:cNvPr id="5" name="Fußzeilenplatzhalter 4"/>
          <p:cNvSpPr>
            <a:spLocks noGrp="1"/>
          </p:cNvSpPr>
          <p:nvPr>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r>
              <a:rPr lang="en-US">
                <a:solidFill>
                  <a:prstClr val="black"/>
                </a:solidFill>
              </a:rPr>
              <a:t>DFS Capital Market Day</a:t>
            </a:r>
            <a:endParaRPr lang="en-GB" dirty="0">
              <a:solidFill>
                <a:prstClr val="black"/>
              </a:solidFill>
            </a:endParaRPr>
          </a:p>
        </p:txBody>
      </p:sp>
      <p:sp>
        <p:nvSpPr>
          <p:cNvPr id="6" name="Foliennummernplatzhalter 5"/>
          <p:cNvSpPr>
            <a:spLocks noGrp="1"/>
          </p:cNvSpPr>
          <p:nvPr>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9" name="Daimler AG (Wortmarke)"/>
          <p:cNvSpPr>
            <a:spLocks noChangeArrowheads="1"/>
          </p:cNvSpPr>
          <p:nvPr/>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822448010"/>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 id="2147484104" r:id="rId11"/>
    <p:sldLayoutId id="2147484105" r:id="rId12"/>
    <p:sldLayoutId id="2147484106" r:id="rId13"/>
    <p:sldLayoutId id="2147484107" r:id="rId14"/>
    <p:sldLayoutId id="2147484108" r:id="rId15"/>
    <p:sldLayoutId id="2147484109" r:id="rId16"/>
    <p:sldLayoutId id="2147484110" r:id="rId17"/>
    <p:sldLayoutId id="2147484111" r:id="rId18"/>
    <p:sldLayoutId id="2147484112" r:id="rId19"/>
    <p:sldLayoutId id="2147484113" r:id="rId20"/>
    <p:sldLayoutId id="2147484114" r:id="rId21"/>
    <p:sldLayoutId id="2147484115" r:id="rId22"/>
    <p:sldLayoutId id="2147484116" r:id="rId23"/>
    <p:sldLayoutId id="2147484117" r:id="rId24"/>
    <p:sldLayoutId id="2147484118" r:id="rId25"/>
    <p:sldLayoutId id="2147484119" r:id="rId26"/>
    <p:sldLayoutId id="2147484120" r:id="rId27"/>
    <p:sldLayoutId id="2147484121" r:id="rId28"/>
    <p:sldLayoutId id="2147484122" r:id="rId29"/>
    <p:sldLayoutId id="2147484123" r:id="rId30"/>
    <p:sldLayoutId id="2147484124" r:id="rId31"/>
    <p:sldLayoutId id="2147484125" r:id="rId32"/>
    <p:sldLayoutId id="2147484126" r:id="rId33"/>
    <p:sldLayoutId id="2147484129" r:id="rId34"/>
  </p:sldLayoutIdLst>
  <p:hf sldNum="0"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38"/>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61730" name="think-cell Folie" r:id="rId39" imgW="270" imgH="270" progId="TCLayout.ActiveDocument.1">
                  <p:embed/>
                </p:oleObj>
              </mc:Choice>
              <mc:Fallback>
                <p:oleObj name="think-cell Folie" r:id="rId39" imgW="270" imgH="270" progId="TCLayout.ActiveDocument.1">
                  <p:embed/>
                  <p:pic>
                    <p:nvPicPr>
                      <p:cNvPr id="0" name=""/>
                      <p:cNvPicPr/>
                      <p:nvPr/>
                    </p:nvPicPr>
                    <p:blipFill>
                      <a:blip r:embed="rId40"/>
                      <a:stretch>
                        <a:fillRect/>
                      </a:stretch>
                    </p:blipFill>
                    <p:spPr>
                      <a:xfrm>
                        <a:off x="1588" y="1588"/>
                        <a:ext cx="1586" cy="1587"/>
                      </a:xfrm>
                      <a:prstGeom prst="rect">
                        <a:avLst/>
                      </a:prstGeom>
                    </p:spPr>
                  </p:pic>
                </p:oleObj>
              </mc:Fallback>
            </mc:AlternateContent>
          </a:graphicData>
        </a:graphic>
      </p:graphicFrame>
      <p:grpSp>
        <p:nvGrpSpPr>
          <p:cNvPr id="37" name="Regieanweisungen"/>
          <p:cNvGrpSpPr/>
          <p:nvPr/>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7" name="Listenebene erhöhen"/>
                <p:cNvPicPr>
                  <a:picLocks noChangeAspect="1"/>
                </p:cNvPicPr>
                <p:nvPr userDrawn="1"/>
              </p:nvPicPr>
              <p:blipFill>
                <a:blip r:embed="rId41"/>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2"/>
                <a:stretch>
                  <a:fillRect/>
                </a:stretch>
              </p:blipFill>
              <p:spPr>
                <a:xfrm>
                  <a:off x="-900000" y="2628000"/>
                  <a:ext cx="756000" cy="322369"/>
                </a:xfrm>
                <a:prstGeom prst="rect">
                  <a:avLst/>
                </a:prstGeom>
              </p:spPr>
            </p:pic>
          </p:grpSp>
        </p:grpSp>
      </p:grpSp>
      <p:cxnSp>
        <p:nvCxnSpPr>
          <p:cNvPr id="14" name="Footerline"/>
          <p:cNvCxnSpPr/>
          <p:nvPr/>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630117" y="1504603"/>
            <a:ext cx="10930387" cy="4875670"/>
          </a:xfrm>
          <a:prstGeom prst="rect">
            <a:avLst/>
          </a:prstGeom>
        </p:spPr>
        <p:txBody>
          <a:bodyPr vert="horz" lIns="0" tIns="0" rIns="0" bIns="0" rtlCol="0" anchor="t" anchorCtr="0">
            <a:noAutofit/>
          </a:body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p:ph type="title"/>
          </p:nvPr>
        </p:nvSpPr>
        <p:spPr>
          <a:xfrm>
            <a:off x="628324" y="285982"/>
            <a:ext cx="10932454" cy="1151733"/>
          </a:xfrm>
          <a:prstGeom prst="rect">
            <a:avLst/>
          </a:prstGeom>
        </p:spPr>
        <p:txBody>
          <a:bodyPr vert="horz" lIns="0" tIns="0" rIns="0" bIns="0" rtlCol="0" anchor="t" anchorCtr="0">
            <a:noAutofit/>
          </a:bodyPr>
          <a:lstStyle/>
          <a:p>
            <a:r>
              <a:rPr lang="en-GB" noProof="0" dirty="0"/>
              <a:t>Headline in CorpoS (Body) 35 pt.</a:t>
            </a:r>
            <a:br>
              <a:rPr lang="en-GB" noProof="0" dirty="0"/>
            </a:br>
            <a:r>
              <a:rPr lang="en-GB" noProof="0" dirty="0"/>
              <a:t>in two lines</a:t>
            </a:r>
          </a:p>
        </p:txBody>
      </p:sp>
      <p:sp>
        <p:nvSpPr>
          <p:cNvPr id="5" name="Fußzeilenplatzhalter 4"/>
          <p:cNvSpPr>
            <a:spLocks noGrp="1"/>
          </p:cNvSpPr>
          <p:nvPr>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r>
              <a:rPr lang="en-US">
                <a:solidFill>
                  <a:prstClr val="black"/>
                </a:solidFill>
              </a:rPr>
              <a:t>DFS Capital Market Day</a:t>
            </a:r>
            <a:endParaRPr lang="en-GB" dirty="0">
              <a:solidFill>
                <a:prstClr val="black"/>
              </a:solidFill>
            </a:endParaRPr>
          </a:p>
        </p:txBody>
      </p:sp>
      <p:sp>
        <p:nvSpPr>
          <p:cNvPr id="6" name="Foliennummernplatzhalter 5"/>
          <p:cNvSpPr>
            <a:spLocks noGrp="1"/>
          </p:cNvSpPr>
          <p:nvPr>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9" name="Daimler AG (Wortmarke)"/>
          <p:cNvSpPr>
            <a:spLocks noChangeArrowheads="1"/>
          </p:cNvSpPr>
          <p:nvPr/>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2159040456"/>
      </p:ext>
    </p:extLst>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 id="2147484141" r:id="rId11"/>
    <p:sldLayoutId id="2147484142" r:id="rId12"/>
    <p:sldLayoutId id="2147484143" r:id="rId13"/>
    <p:sldLayoutId id="2147484144" r:id="rId14"/>
    <p:sldLayoutId id="2147484145" r:id="rId15"/>
    <p:sldLayoutId id="2147484146" r:id="rId16"/>
    <p:sldLayoutId id="2147484147" r:id="rId17"/>
    <p:sldLayoutId id="2147484148" r:id="rId18"/>
    <p:sldLayoutId id="2147484149" r:id="rId19"/>
    <p:sldLayoutId id="2147484150" r:id="rId20"/>
    <p:sldLayoutId id="2147484151" r:id="rId21"/>
    <p:sldLayoutId id="2147484152" r:id="rId22"/>
    <p:sldLayoutId id="2147484153" r:id="rId23"/>
    <p:sldLayoutId id="2147484154" r:id="rId24"/>
    <p:sldLayoutId id="2147484155" r:id="rId25"/>
    <p:sldLayoutId id="2147484156" r:id="rId26"/>
    <p:sldLayoutId id="2147484157" r:id="rId27"/>
    <p:sldLayoutId id="2147484158" r:id="rId28"/>
    <p:sldLayoutId id="2147484159" r:id="rId29"/>
    <p:sldLayoutId id="2147484160" r:id="rId30"/>
    <p:sldLayoutId id="2147484161" r:id="rId31"/>
    <p:sldLayoutId id="2147484162" r:id="rId32"/>
    <p:sldLayoutId id="2147484163" r:id="rId33"/>
    <p:sldLayoutId id="2147484164" r:id="rId34"/>
    <p:sldLayoutId id="2147484165" r:id="rId35"/>
  </p:sldLayoutIdLst>
  <p:hf sldNum="0"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8"/>
            </p:custDataLst>
            <p:extLst/>
          </p:nvPr>
        </p:nvGraphicFramePr>
        <p:xfrm>
          <a:off x="1589" y="1588"/>
          <a:ext cx="1586" cy="1587"/>
        </p:xfrm>
        <a:graphic>
          <a:graphicData uri="http://schemas.openxmlformats.org/presentationml/2006/ole">
            <mc:AlternateContent xmlns:mc="http://schemas.openxmlformats.org/markup-compatibility/2006">
              <mc:Choice xmlns:v="urn:schemas-microsoft-com:vml" Requires="v">
                <p:oleObj spid="_x0000_s65826" name="think-cell Folie" r:id="rId39" imgW="270" imgH="270" progId="TCLayout.ActiveDocument.1">
                  <p:embed/>
                </p:oleObj>
              </mc:Choice>
              <mc:Fallback>
                <p:oleObj name="think-cell Folie" r:id="rId39" imgW="270" imgH="270" progId="TCLayout.ActiveDocument.1">
                  <p:embed/>
                  <p:pic>
                    <p:nvPicPr>
                      <p:cNvPr id="0" name=""/>
                      <p:cNvPicPr/>
                      <p:nvPr/>
                    </p:nvPicPr>
                    <p:blipFill>
                      <a:blip r:embed="rId40"/>
                      <a:stretch>
                        <a:fillRect/>
                      </a:stretch>
                    </p:blipFill>
                    <p:spPr>
                      <a:xfrm>
                        <a:off x="1589" y="1588"/>
                        <a:ext cx="1586" cy="1587"/>
                      </a:xfrm>
                      <a:prstGeom prst="rect">
                        <a:avLst/>
                      </a:prstGeom>
                    </p:spPr>
                  </p:pic>
                </p:oleObj>
              </mc:Fallback>
            </mc:AlternateContent>
          </a:graphicData>
        </a:graphic>
      </p:graphicFrame>
      <p:grpSp>
        <p:nvGrpSpPr>
          <p:cNvPr id="37" name="Regieanweisungen"/>
          <p:cNvGrpSpPr/>
          <p:nvPr/>
        </p:nvGrpSpPr>
        <p:grpSpPr>
          <a:xfrm>
            <a:off x="-2086912"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7" name="Listenebene erhöhen"/>
                <p:cNvPicPr>
                  <a:picLocks noChangeAspect="1"/>
                </p:cNvPicPr>
                <p:nvPr userDrawn="1"/>
              </p:nvPicPr>
              <p:blipFill>
                <a:blip r:embed="rId41"/>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2"/>
                <a:stretch>
                  <a:fillRect/>
                </a:stretch>
              </p:blipFill>
              <p:spPr>
                <a:xfrm>
                  <a:off x="-900000" y="2628000"/>
                  <a:ext cx="756000" cy="322369"/>
                </a:xfrm>
                <a:prstGeom prst="rect">
                  <a:avLst/>
                </a:prstGeom>
              </p:spPr>
            </p:pic>
          </p:grpSp>
        </p:grpSp>
      </p:grpSp>
      <p:cxnSp>
        <p:nvCxnSpPr>
          <p:cNvPr id="14" name="Footerline"/>
          <p:cNvCxnSpPr/>
          <p:nvPr/>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630119" y="1504606"/>
            <a:ext cx="10930387" cy="4875671"/>
          </a:xfrm>
          <a:prstGeom prst="rect">
            <a:avLst/>
          </a:prstGeom>
        </p:spPr>
        <p:txBody>
          <a:bodyPr vert="horz" lIns="0" tIns="0" rIns="0" bIns="0" rtlCol="0" anchor="t" anchorCtr="0">
            <a:noAutofit/>
          </a:bodyPr>
          <a:lstStyle/>
          <a:p>
            <a:pPr lvl="0"/>
            <a:r>
              <a:rPr lang="en-GB" dirty="0" smtClean="0"/>
              <a:t>Insert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a:p>
            <a:pPr lvl="8"/>
            <a:r>
              <a:rPr lang="en-GB" dirty="0" smtClean="0"/>
              <a:t>Ninth level</a:t>
            </a:r>
          </a:p>
        </p:txBody>
      </p:sp>
      <p:sp>
        <p:nvSpPr>
          <p:cNvPr id="2" name="Titelplatzhalter 1"/>
          <p:cNvSpPr>
            <a:spLocks noGrp="1"/>
          </p:cNvSpPr>
          <p:nvPr>
            <p:ph type="title"/>
          </p:nvPr>
        </p:nvSpPr>
        <p:spPr>
          <a:xfrm>
            <a:off x="628370" y="285983"/>
            <a:ext cx="10932455" cy="1151733"/>
          </a:xfrm>
          <a:prstGeom prst="rect">
            <a:avLst/>
          </a:prstGeom>
        </p:spPr>
        <p:txBody>
          <a:bodyPr vert="horz" lIns="0" tIns="0" rIns="0" bIns="0" rtlCol="0" anchor="t" anchorCtr="0">
            <a:noAutofit/>
          </a:bodyPr>
          <a:lstStyle/>
          <a:p>
            <a:r>
              <a:rPr lang="en-GB" noProof="0" dirty="0" smtClean="0"/>
              <a:t>Headline in CorpoS (Body) 35 pt.</a:t>
            </a:r>
            <a:br>
              <a:rPr lang="en-GB" noProof="0" dirty="0" smtClean="0"/>
            </a:br>
            <a:r>
              <a:rPr lang="en-GB" noProof="0" dirty="0" smtClean="0"/>
              <a:t>in two lines</a:t>
            </a:r>
          </a:p>
        </p:txBody>
      </p:sp>
      <p:sp>
        <p:nvSpPr>
          <p:cNvPr id="5" name="Fußzeilenplatzhalter 4"/>
          <p:cNvSpPr>
            <a:spLocks noGrp="1"/>
          </p:cNvSpPr>
          <p:nvPr>
            <p:ph type="ftr" sz="quarter" idx="3"/>
          </p:nvPr>
        </p:nvSpPr>
        <p:spPr>
          <a:xfrm>
            <a:off x="2878500" y="6564880"/>
            <a:ext cx="8120970" cy="215949"/>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1330"/>
            <a:r>
              <a:rPr lang="en-US" smtClean="0">
                <a:solidFill>
                  <a:prstClr val="black"/>
                </a:solidFill>
              </a:rPr>
              <a:t>Global Leadership Meeting – June 2015</a:t>
            </a:r>
            <a:endParaRPr lang="en-GB" dirty="0" smtClean="0">
              <a:solidFill>
                <a:prstClr val="black"/>
              </a:solidFill>
            </a:endParaRPr>
          </a:p>
        </p:txBody>
      </p:sp>
      <p:sp>
        <p:nvSpPr>
          <p:cNvPr id="6" name="Foliennummernplatzhalter 5"/>
          <p:cNvSpPr>
            <a:spLocks noGrp="1"/>
          </p:cNvSpPr>
          <p:nvPr>
            <p:ph type="sldNum" sz="quarter" idx="4"/>
          </p:nvPr>
        </p:nvSpPr>
        <p:spPr>
          <a:xfrm>
            <a:off x="11036806" y="6564880"/>
            <a:ext cx="1155196" cy="215949"/>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1330"/>
            <a:r>
              <a:rPr lang="en-GB" smtClean="0">
                <a:solidFill>
                  <a:prstClr val="black"/>
                </a:solidFill>
              </a:rPr>
              <a:t>Page </a:t>
            </a:r>
            <a:fld id="{52531704-8F80-415D-BD2B-6B9991AE822F}" type="slidenum">
              <a:rPr lang="en-GB" smtClean="0">
                <a:solidFill>
                  <a:prstClr val="black"/>
                </a:solidFill>
              </a:rPr>
              <a:pPr defTabSz="1081330"/>
              <a:t>‹#›</a:t>
            </a:fld>
            <a:endParaRPr lang="en-GB" dirty="0">
              <a:solidFill>
                <a:prstClr val="black"/>
              </a:solidFill>
            </a:endParaRPr>
          </a:p>
        </p:txBody>
      </p:sp>
      <p:sp>
        <p:nvSpPr>
          <p:cNvPr id="19" name="Daimler AG (Wortmarke)"/>
          <p:cNvSpPr>
            <a:spLocks noChangeArrowheads="1"/>
          </p:cNvSpPr>
          <p:nvPr/>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18" name="Gruppieren 17"/>
          <p:cNvGrpSpPr/>
          <p:nvPr/>
        </p:nvGrpSpPr>
        <p:grpSpPr>
          <a:xfrm>
            <a:off x="-2250853" y="3527182"/>
            <a:ext cx="2229361" cy="4638856"/>
            <a:chOff x="12221581" y="-62687"/>
            <a:chExt cx="2230522" cy="4639930"/>
          </a:xfrm>
        </p:grpSpPr>
        <p:sp>
          <p:nvSpPr>
            <p:cNvPr id="20" name="Rechteck 19"/>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1" name="Grafik 20"/>
            <p:cNvPicPr>
              <a:picLocks noChangeAspect="1"/>
            </p:cNvPicPr>
            <p:nvPr userDrawn="1"/>
          </p:nvPicPr>
          <p:blipFill>
            <a:blip r:embed="rId43">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4" name="Grafik 23"/>
            <p:cNvPicPr>
              <a:picLocks noChangeAspect="1"/>
            </p:cNvPicPr>
            <p:nvPr userDrawn="1"/>
          </p:nvPicPr>
          <p:blipFill>
            <a:blip r:embed="rId44">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5" name="Rechteck 24"/>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6" name="Gruppieren 25"/>
          <p:cNvGrpSpPr/>
          <p:nvPr/>
        </p:nvGrpSpPr>
        <p:grpSpPr>
          <a:xfrm>
            <a:off x="12192048" y="-82363"/>
            <a:ext cx="2184353" cy="3786237"/>
            <a:chOff x="12266612" y="-62687"/>
            <a:chExt cx="2185491" cy="3787114"/>
          </a:xfrm>
        </p:grpSpPr>
        <p:sp>
          <p:nvSpPr>
            <p:cNvPr id="27" name="Rechteck 26"/>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29" name="Grafik 28"/>
            <p:cNvPicPr>
              <a:picLocks noChangeAspect="1"/>
            </p:cNvPicPr>
            <p:nvPr userDrawn="1"/>
          </p:nvPicPr>
          <p:blipFill>
            <a:blip r:embed="rId45">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0" name="Gruppieren 29"/>
          <p:cNvGrpSpPr/>
          <p:nvPr/>
        </p:nvGrpSpPr>
        <p:grpSpPr>
          <a:xfrm>
            <a:off x="12192002" y="3909447"/>
            <a:ext cx="2383726" cy="3891079"/>
            <a:chOff x="12291863" y="5052225"/>
            <a:chExt cx="2384968" cy="3891979"/>
          </a:xfrm>
        </p:grpSpPr>
        <p:sp>
          <p:nvSpPr>
            <p:cNvPr id="32" name="Rechteck 31"/>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33" name="Picture 2"/>
            <p:cNvPicPr>
              <a:picLocks noChangeAspect="1" noChangeArrowheads="1"/>
            </p:cNvPicPr>
            <p:nvPr userDrawn="1"/>
          </p:nvPicPr>
          <p:blipFill>
            <a:blip r:embed="rId46">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uppieren 37"/>
          <p:cNvGrpSpPr/>
          <p:nvPr/>
        </p:nvGrpSpPr>
        <p:grpSpPr>
          <a:xfrm>
            <a:off x="14575773" y="-67762"/>
            <a:ext cx="2184353" cy="5224601"/>
            <a:chOff x="14583318" y="4183"/>
            <a:chExt cx="2185491" cy="5225811"/>
          </a:xfrm>
        </p:grpSpPr>
        <p:sp>
          <p:nvSpPr>
            <p:cNvPr id="39" name="Rechteck 38"/>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0" name="Grafik 39"/>
            <p:cNvPicPr>
              <a:picLocks noChangeAspect="1"/>
            </p:cNvPicPr>
            <p:nvPr userDrawn="1"/>
          </p:nvPicPr>
          <p:blipFill>
            <a:blip r:embed="rId47">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1" name="Grafik 40"/>
            <p:cNvPicPr>
              <a:picLocks noChangeAspect="1"/>
            </p:cNvPicPr>
            <p:nvPr userDrawn="1"/>
          </p:nvPicPr>
          <p:blipFill>
            <a:blip r:embed="rId48">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2" name="Rechteck 41"/>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3" name="Grafik 42"/>
            <p:cNvPicPr>
              <a:picLocks noChangeAspect="1"/>
            </p:cNvPicPr>
            <p:nvPr userDrawn="1"/>
          </p:nvPicPr>
          <p:blipFill>
            <a:blip r:embed="rId49">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2229627721"/>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 id="2147484191" r:id="rId24"/>
    <p:sldLayoutId id="2147484192" r:id="rId25"/>
    <p:sldLayoutId id="2147484193" r:id="rId26"/>
    <p:sldLayoutId id="2147484194" r:id="rId27"/>
    <p:sldLayoutId id="2147484195" r:id="rId28"/>
    <p:sldLayoutId id="2147484196" r:id="rId29"/>
    <p:sldLayoutId id="2147484197" r:id="rId30"/>
    <p:sldLayoutId id="2147484198" r:id="rId31"/>
    <p:sldLayoutId id="2147484199" r:id="rId32"/>
    <p:sldLayoutId id="2147484200" r:id="rId33"/>
    <p:sldLayoutId id="2147484201" r:id="rId34"/>
    <p:sldLayoutId id="2147484202" r:id="rId3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hf hdr="0" ftr="0" dt="0"/>
  <p:txStyles>
    <p:titleStyle>
      <a:lvl1pPr marL="0" indent="0" algn="l" defTabSz="1081330" rtl="0" eaLnBrk="1" latinLnBrk="0" hangingPunct="1">
        <a:lnSpc>
          <a:spcPts val="3997"/>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5919" indent="-235919" algn="l" defTabSz="1081330"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1330"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1330"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1330"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1330"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1330"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1330"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1330"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1330"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1330" rtl="0" eaLnBrk="1" latinLnBrk="0" hangingPunct="1">
        <a:defRPr sz="2099" kern="1200">
          <a:solidFill>
            <a:schemeClr val="tx1"/>
          </a:solidFill>
          <a:latin typeface="+mn-lt"/>
          <a:ea typeface="+mn-ea"/>
          <a:cs typeface="+mn-cs"/>
        </a:defRPr>
      </a:lvl1pPr>
      <a:lvl2pPr marL="540659" algn="l" defTabSz="1081330" rtl="0" eaLnBrk="1" latinLnBrk="0" hangingPunct="1">
        <a:defRPr sz="2099" kern="1200">
          <a:solidFill>
            <a:schemeClr val="tx1"/>
          </a:solidFill>
          <a:latin typeface="+mn-lt"/>
          <a:ea typeface="+mn-ea"/>
          <a:cs typeface="+mn-cs"/>
        </a:defRPr>
      </a:lvl2pPr>
      <a:lvl3pPr marL="1081330" algn="l" defTabSz="1081330" rtl="0" eaLnBrk="1" latinLnBrk="0" hangingPunct="1">
        <a:defRPr sz="2099" kern="1200">
          <a:solidFill>
            <a:schemeClr val="tx1"/>
          </a:solidFill>
          <a:latin typeface="+mn-lt"/>
          <a:ea typeface="+mn-ea"/>
          <a:cs typeface="+mn-cs"/>
        </a:defRPr>
      </a:lvl3pPr>
      <a:lvl4pPr marL="1622005" algn="l" defTabSz="1081330" rtl="0" eaLnBrk="1" latinLnBrk="0" hangingPunct="1">
        <a:defRPr sz="2099" kern="1200">
          <a:solidFill>
            <a:schemeClr val="tx1"/>
          </a:solidFill>
          <a:latin typeface="+mn-lt"/>
          <a:ea typeface="+mn-ea"/>
          <a:cs typeface="+mn-cs"/>
        </a:defRPr>
      </a:lvl4pPr>
      <a:lvl5pPr marL="2162668" algn="l" defTabSz="1081330" rtl="0" eaLnBrk="1" latinLnBrk="0" hangingPunct="1">
        <a:defRPr sz="2099" kern="1200">
          <a:solidFill>
            <a:schemeClr val="tx1"/>
          </a:solidFill>
          <a:latin typeface="+mn-lt"/>
          <a:ea typeface="+mn-ea"/>
          <a:cs typeface="+mn-cs"/>
        </a:defRPr>
      </a:lvl5pPr>
      <a:lvl6pPr marL="2703340" algn="l" defTabSz="1081330" rtl="0" eaLnBrk="1" latinLnBrk="0" hangingPunct="1">
        <a:defRPr sz="2099" kern="1200">
          <a:solidFill>
            <a:schemeClr val="tx1"/>
          </a:solidFill>
          <a:latin typeface="+mn-lt"/>
          <a:ea typeface="+mn-ea"/>
          <a:cs typeface="+mn-cs"/>
        </a:defRPr>
      </a:lvl6pPr>
      <a:lvl7pPr marL="3244010" algn="l" defTabSz="1081330" rtl="0" eaLnBrk="1" latinLnBrk="0" hangingPunct="1">
        <a:defRPr sz="2099" kern="1200">
          <a:solidFill>
            <a:schemeClr val="tx1"/>
          </a:solidFill>
          <a:latin typeface="+mn-lt"/>
          <a:ea typeface="+mn-ea"/>
          <a:cs typeface="+mn-cs"/>
        </a:defRPr>
      </a:lvl7pPr>
      <a:lvl8pPr marL="3784677" algn="l" defTabSz="1081330" rtl="0" eaLnBrk="1" latinLnBrk="0" hangingPunct="1">
        <a:defRPr sz="2099" kern="1200">
          <a:solidFill>
            <a:schemeClr val="tx1"/>
          </a:solidFill>
          <a:latin typeface="+mn-lt"/>
          <a:ea typeface="+mn-ea"/>
          <a:cs typeface="+mn-cs"/>
        </a:defRPr>
      </a:lvl8pPr>
      <a:lvl9pPr marL="4325343" algn="l" defTabSz="1081330"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7"/>
            </p:custDataLst>
            <p:extLst/>
          </p:nvPr>
        </p:nvGraphicFramePr>
        <p:xfrm>
          <a:off x="1589" y="1588"/>
          <a:ext cx="1586" cy="1587"/>
        </p:xfrm>
        <a:graphic>
          <a:graphicData uri="http://schemas.openxmlformats.org/presentationml/2006/ole">
            <mc:AlternateContent xmlns:mc="http://schemas.openxmlformats.org/markup-compatibility/2006">
              <mc:Choice xmlns:v="urn:schemas-microsoft-com:vml" Requires="v">
                <p:oleObj spid="_x0000_s66850" name="think-cell Folie" r:id="rId38" imgW="270" imgH="270" progId="TCLayout.ActiveDocument.1">
                  <p:embed/>
                </p:oleObj>
              </mc:Choice>
              <mc:Fallback>
                <p:oleObj name="think-cell Folie" r:id="rId38" imgW="270" imgH="270" progId="TCLayout.ActiveDocument.1">
                  <p:embed/>
                  <p:pic>
                    <p:nvPicPr>
                      <p:cNvPr id="0" name=""/>
                      <p:cNvPicPr/>
                      <p:nvPr/>
                    </p:nvPicPr>
                    <p:blipFill>
                      <a:blip r:embed="rId39"/>
                      <a:stretch>
                        <a:fillRect/>
                      </a:stretch>
                    </p:blipFill>
                    <p:spPr>
                      <a:xfrm>
                        <a:off x="1589" y="1588"/>
                        <a:ext cx="1586" cy="1587"/>
                      </a:xfrm>
                      <a:prstGeom prst="rect">
                        <a:avLst/>
                      </a:prstGeom>
                    </p:spPr>
                  </p:pic>
                </p:oleObj>
              </mc:Fallback>
            </mc:AlternateContent>
          </a:graphicData>
        </a:graphic>
      </p:graphicFrame>
      <p:grpSp>
        <p:nvGrpSpPr>
          <p:cNvPr id="37" name="Regieanweisungen"/>
          <p:cNvGrpSpPr/>
          <p:nvPr/>
        </p:nvGrpSpPr>
        <p:grpSpPr>
          <a:xfrm>
            <a:off x="-2086912"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35609">
                <a:defRPr/>
              </a:pPr>
              <a:r>
                <a:rPr lang="en-GB" sz="1099" dirty="0" smtClean="0">
                  <a:solidFill>
                    <a:srgbClr val="444444"/>
                  </a:solidFill>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35609">
                <a:defRPr/>
              </a:pPr>
              <a:r>
                <a:rPr lang="en-GB" sz="1099" dirty="0" smtClean="0">
                  <a:solidFill>
                    <a:srgbClr val="444444"/>
                  </a:solidFill>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Increase</a:t>
                  </a:r>
                </a:p>
                <a:p>
                  <a:pPr algn="r" defTabSz="907868">
                    <a:defRPr/>
                  </a:pPr>
                  <a:r>
                    <a:rPr lang="en-GB" sz="900" dirty="0" smtClean="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07868">
                    <a:defRPr/>
                  </a:pPr>
                  <a:r>
                    <a:rPr lang="en-GB" sz="900" dirty="0" smtClean="0">
                      <a:solidFill>
                        <a:srgbClr val="444444"/>
                      </a:solidFill>
                    </a:rPr>
                    <a:t>Decrease </a:t>
                  </a:r>
                </a:p>
                <a:p>
                  <a:pPr algn="r" defTabSz="907868">
                    <a:defRPr/>
                  </a:pPr>
                  <a:r>
                    <a:rPr lang="en-GB" sz="900" dirty="0" smtClean="0">
                      <a:solidFill>
                        <a:srgbClr val="444444"/>
                      </a:solidFill>
                    </a:rPr>
                    <a:t>List Level</a:t>
                  </a:r>
                </a:p>
              </p:txBody>
            </p:sp>
            <p:pic>
              <p:nvPicPr>
                <p:cNvPr id="7" name="Listenebene erhöhen"/>
                <p:cNvPicPr>
                  <a:picLocks noChangeAspect="1"/>
                </p:cNvPicPr>
                <p:nvPr userDrawn="1"/>
              </p:nvPicPr>
              <p:blipFill>
                <a:blip r:embed="rId40"/>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1"/>
                <a:stretch>
                  <a:fillRect/>
                </a:stretch>
              </p:blipFill>
              <p:spPr>
                <a:xfrm>
                  <a:off x="-900000" y="2628000"/>
                  <a:ext cx="756000" cy="322369"/>
                </a:xfrm>
                <a:prstGeom prst="rect">
                  <a:avLst/>
                </a:prstGeom>
              </p:spPr>
            </p:pic>
          </p:grpSp>
        </p:grpSp>
      </p:grpSp>
      <p:cxnSp>
        <p:nvCxnSpPr>
          <p:cNvPr id="14" name="Footerline"/>
          <p:cNvCxnSpPr/>
          <p:nvPr/>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630119" y="1504606"/>
            <a:ext cx="10930387" cy="4875671"/>
          </a:xfrm>
          <a:prstGeom prst="rect">
            <a:avLst/>
          </a:prstGeom>
        </p:spPr>
        <p:txBody>
          <a:bodyPr vert="horz" lIns="0" tIns="0" rIns="0" bIns="0" rtlCol="0" anchor="t" anchorCtr="0">
            <a:noAutofit/>
          </a:bodyPr>
          <a:lstStyle/>
          <a:p>
            <a:pPr lvl="0"/>
            <a:r>
              <a:rPr lang="en-GB" dirty="0" smtClean="0"/>
              <a:t>Insert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a:p>
            <a:pPr lvl="8"/>
            <a:r>
              <a:rPr lang="en-GB" dirty="0" smtClean="0"/>
              <a:t>Ninth level</a:t>
            </a:r>
          </a:p>
        </p:txBody>
      </p:sp>
      <p:sp>
        <p:nvSpPr>
          <p:cNvPr id="2" name="Titelplatzhalter 1"/>
          <p:cNvSpPr>
            <a:spLocks noGrp="1"/>
          </p:cNvSpPr>
          <p:nvPr>
            <p:ph type="title"/>
          </p:nvPr>
        </p:nvSpPr>
        <p:spPr>
          <a:xfrm>
            <a:off x="628370" y="285983"/>
            <a:ext cx="10932455" cy="1151733"/>
          </a:xfrm>
          <a:prstGeom prst="rect">
            <a:avLst/>
          </a:prstGeom>
        </p:spPr>
        <p:txBody>
          <a:bodyPr vert="horz" lIns="0" tIns="0" rIns="0" bIns="0" rtlCol="0" anchor="t" anchorCtr="0">
            <a:noAutofit/>
          </a:bodyPr>
          <a:lstStyle/>
          <a:p>
            <a:r>
              <a:rPr lang="en-GB" noProof="0" dirty="0" smtClean="0"/>
              <a:t>Headline in CorpoS (Body) 35 pt.</a:t>
            </a:r>
            <a:br>
              <a:rPr lang="en-GB" noProof="0" dirty="0" smtClean="0"/>
            </a:br>
            <a:r>
              <a:rPr lang="en-GB" noProof="0" dirty="0" smtClean="0"/>
              <a:t>in two lines</a:t>
            </a:r>
          </a:p>
        </p:txBody>
      </p:sp>
      <p:sp>
        <p:nvSpPr>
          <p:cNvPr id="5" name="Fußzeilenplatzhalter 4"/>
          <p:cNvSpPr>
            <a:spLocks noGrp="1"/>
          </p:cNvSpPr>
          <p:nvPr>
            <p:ph type="ftr" sz="quarter" idx="3"/>
          </p:nvPr>
        </p:nvSpPr>
        <p:spPr>
          <a:xfrm>
            <a:off x="2878500" y="6564880"/>
            <a:ext cx="8120970" cy="215949"/>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1330"/>
            <a:r>
              <a:rPr lang="en-US" smtClean="0">
                <a:solidFill>
                  <a:prstClr val="black"/>
                </a:solidFill>
              </a:rPr>
              <a:t>Global Leadership Meeting – June 2015</a:t>
            </a:r>
            <a:endParaRPr lang="en-GB" dirty="0" smtClean="0">
              <a:solidFill>
                <a:prstClr val="black"/>
              </a:solidFill>
            </a:endParaRPr>
          </a:p>
        </p:txBody>
      </p:sp>
      <p:sp>
        <p:nvSpPr>
          <p:cNvPr id="6" name="Foliennummernplatzhalter 5"/>
          <p:cNvSpPr>
            <a:spLocks noGrp="1"/>
          </p:cNvSpPr>
          <p:nvPr>
            <p:ph type="sldNum" sz="quarter" idx="4"/>
          </p:nvPr>
        </p:nvSpPr>
        <p:spPr>
          <a:xfrm>
            <a:off x="11036806" y="6564880"/>
            <a:ext cx="1155196" cy="215949"/>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1330"/>
            <a:r>
              <a:rPr lang="en-GB" smtClean="0">
                <a:solidFill>
                  <a:prstClr val="black"/>
                </a:solidFill>
              </a:rPr>
              <a:t>Page </a:t>
            </a:r>
            <a:fld id="{52531704-8F80-415D-BD2B-6B9991AE822F}" type="slidenum">
              <a:rPr lang="en-GB" smtClean="0">
                <a:solidFill>
                  <a:prstClr val="black"/>
                </a:solidFill>
              </a:rPr>
              <a:pPr defTabSz="1081330"/>
              <a:t>‹#›</a:t>
            </a:fld>
            <a:endParaRPr lang="en-GB" dirty="0">
              <a:solidFill>
                <a:prstClr val="black"/>
              </a:solidFill>
            </a:endParaRPr>
          </a:p>
        </p:txBody>
      </p:sp>
      <p:sp>
        <p:nvSpPr>
          <p:cNvPr id="19" name="Daimler AG (Wortmarke)"/>
          <p:cNvSpPr>
            <a:spLocks noChangeArrowheads="1"/>
          </p:cNvSpPr>
          <p:nvPr/>
        </p:nvSpPr>
        <p:spPr bwMode="auto">
          <a:xfrm>
            <a:off x="629674" y="6564880"/>
            <a:ext cx="2086913" cy="215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1330">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grpSp>
        <p:nvGrpSpPr>
          <p:cNvPr id="18" name="Gruppieren 17"/>
          <p:cNvGrpSpPr/>
          <p:nvPr/>
        </p:nvGrpSpPr>
        <p:grpSpPr>
          <a:xfrm>
            <a:off x="-2250853" y="3527182"/>
            <a:ext cx="2229361" cy="4638856"/>
            <a:chOff x="12221581" y="-62687"/>
            <a:chExt cx="2230522" cy="4639930"/>
          </a:xfrm>
        </p:grpSpPr>
        <p:sp>
          <p:nvSpPr>
            <p:cNvPr id="20" name="Rechteck 19"/>
            <p:cNvSpPr/>
            <p:nvPr userDrawn="1"/>
          </p:nvSpPr>
          <p:spPr>
            <a:xfrm>
              <a:off x="12266612" y="-62687"/>
              <a:ext cx="2185491" cy="1446550"/>
            </a:xfrm>
            <a:prstGeom prst="rect">
              <a:avLst/>
            </a:prstGeom>
          </p:spPr>
          <p:txBody>
            <a:bodyPr wrap="square">
              <a:spAutoFit/>
            </a:bodyPr>
            <a:lstStyle/>
            <a:p>
              <a:pPr algn="r" defTabSz="1081330"/>
              <a:r>
                <a:rPr lang="en-GB" sz="1099" b="1" dirty="0" smtClean="0">
                  <a:solidFill>
                    <a:srgbClr val="444444"/>
                  </a:solidFill>
                </a:rPr>
                <a:t>Animation</a:t>
              </a:r>
            </a:p>
            <a:p>
              <a:pPr algn="r" defTabSz="1081330"/>
              <a:r>
                <a:rPr lang="en-GB" sz="1099" dirty="0" smtClean="0">
                  <a:solidFill>
                    <a:srgbClr val="444444"/>
                  </a:solidFill>
                </a:rPr>
                <a:t>You can change animations via menu bar: animation.</a:t>
              </a:r>
            </a:p>
            <a:p>
              <a:pPr algn="r" defTabSz="1081330"/>
              <a:endParaRPr lang="en-GB" sz="1099" dirty="0" smtClean="0">
                <a:solidFill>
                  <a:srgbClr val="444444"/>
                </a:solidFill>
              </a:endParaRPr>
            </a:p>
            <a:p>
              <a:pPr algn="r" defTabSz="1081330"/>
              <a:r>
                <a:rPr lang="en-GB" sz="1099" dirty="0" smtClean="0">
                  <a:solidFill>
                    <a:srgbClr val="444444"/>
                  </a:solidFill>
                </a:rPr>
                <a:t>To remove the animation choose the menu bar animation and insert the animation pane by click on the following button.</a:t>
              </a:r>
            </a:p>
          </p:txBody>
        </p:sp>
        <p:pic>
          <p:nvPicPr>
            <p:cNvPr id="21" name="Grafik 20"/>
            <p:cNvPicPr>
              <a:picLocks noChangeAspect="1"/>
            </p:cNvPicPr>
            <p:nvPr userDrawn="1"/>
          </p:nvPicPr>
          <p:blipFill>
            <a:blip r:embed="rId42">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4" name="Grafik 23"/>
            <p:cNvPicPr>
              <a:picLocks noChangeAspect="1"/>
            </p:cNvPicPr>
            <p:nvPr userDrawn="1"/>
          </p:nvPicPr>
          <p:blipFill>
            <a:blip r:embed="rId43">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5" name="Rechteck 24"/>
            <p:cNvSpPr/>
            <p:nvPr userDrawn="1"/>
          </p:nvSpPr>
          <p:spPr>
            <a:xfrm>
              <a:off x="12221581" y="1896262"/>
              <a:ext cx="2185491" cy="938719"/>
            </a:xfrm>
            <a:prstGeom prst="rect">
              <a:avLst/>
            </a:prstGeom>
          </p:spPr>
          <p:txBody>
            <a:bodyPr wrap="square">
              <a:spAutoFit/>
            </a:bodyPr>
            <a:lstStyle/>
            <a:p>
              <a:pPr algn="r" defTabSz="1081330"/>
              <a:r>
                <a:rPr lang="en-GB" sz="1099" dirty="0" smtClean="0">
                  <a:solidFill>
                    <a:srgbClr val="444444"/>
                  </a:solidFill>
                </a:rPr>
                <a:t>Within the window animation Pane you can choose the animated elements and by click on the blue arrow you can remove the animation.</a:t>
              </a:r>
            </a:p>
          </p:txBody>
        </p:sp>
      </p:grpSp>
      <p:grpSp>
        <p:nvGrpSpPr>
          <p:cNvPr id="26" name="Gruppieren 25"/>
          <p:cNvGrpSpPr/>
          <p:nvPr/>
        </p:nvGrpSpPr>
        <p:grpSpPr>
          <a:xfrm>
            <a:off x="12192048" y="-82363"/>
            <a:ext cx="2184353" cy="3786237"/>
            <a:chOff x="12266612" y="-62687"/>
            <a:chExt cx="2185491" cy="3787114"/>
          </a:xfrm>
        </p:grpSpPr>
        <p:sp>
          <p:nvSpPr>
            <p:cNvPr id="27" name="Rechteck 26"/>
            <p:cNvSpPr/>
            <p:nvPr userDrawn="1"/>
          </p:nvSpPr>
          <p:spPr>
            <a:xfrm>
              <a:off x="12266612" y="-62687"/>
              <a:ext cx="2185491" cy="779881"/>
            </a:xfrm>
            <a:prstGeom prst="rect">
              <a:avLst/>
            </a:prstGeom>
          </p:spPr>
          <p:txBody>
            <a:bodyPr wrap="square">
              <a:spAutoFit/>
            </a:bodyPr>
            <a:lstStyle/>
            <a:p>
              <a:pPr defTabSz="1081330"/>
              <a:r>
                <a:rPr lang="en-US" sz="1099" b="1" dirty="0" smtClean="0">
                  <a:solidFill>
                    <a:srgbClr val="444444"/>
                  </a:solidFill>
                </a:rPr>
                <a:t>Change pictures</a:t>
              </a:r>
            </a:p>
            <a:p>
              <a:pPr defTabSz="1081330"/>
              <a:r>
                <a:rPr lang="en-US" sz="1099" dirty="0" smtClean="0">
                  <a:solidFill>
                    <a:srgbClr val="444444"/>
                  </a:solidFill>
                </a:rPr>
                <a:t>Choose your desired picture, click right mouse button an choose change picture.</a:t>
              </a:r>
            </a:p>
          </p:txBody>
        </p:sp>
        <p:pic>
          <p:nvPicPr>
            <p:cNvPr id="29" name="Grafik 28"/>
            <p:cNvPicPr>
              <a:picLocks noChangeAspect="1"/>
            </p:cNvPicPr>
            <p:nvPr userDrawn="1"/>
          </p:nvPicPr>
          <p:blipFill>
            <a:blip r:embed="rId44">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0" name="Gruppieren 29"/>
          <p:cNvGrpSpPr/>
          <p:nvPr/>
        </p:nvGrpSpPr>
        <p:grpSpPr>
          <a:xfrm>
            <a:off x="12192002" y="3909447"/>
            <a:ext cx="2383726" cy="3891079"/>
            <a:chOff x="12291863" y="5052225"/>
            <a:chExt cx="2384968" cy="3891979"/>
          </a:xfrm>
        </p:grpSpPr>
        <p:sp>
          <p:nvSpPr>
            <p:cNvPr id="32" name="Rechteck 31"/>
            <p:cNvSpPr/>
            <p:nvPr userDrawn="1"/>
          </p:nvSpPr>
          <p:spPr>
            <a:xfrm>
              <a:off x="12291863" y="5052225"/>
              <a:ext cx="2384968" cy="1107996"/>
            </a:xfrm>
            <a:prstGeom prst="rect">
              <a:avLst/>
            </a:prstGeom>
          </p:spPr>
          <p:txBody>
            <a:bodyPr wrap="square">
              <a:spAutoFit/>
            </a:bodyPr>
            <a:lstStyle/>
            <a:p>
              <a:pPr defTabSz="1081330"/>
              <a:r>
                <a:rPr lang="en-US" sz="1099" b="1" dirty="0" smtClean="0">
                  <a:solidFill>
                    <a:srgbClr val="444444"/>
                  </a:solidFill>
                </a:rPr>
                <a:t>Align</a:t>
              </a:r>
            </a:p>
            <a:p>
              <a:pPr defTabSz="1081330"/>
              <a:r>
                <a:rPr lang="en-US" sz="1099" dirty="0" smtClean="0">
                  <a:solidFill>
                    <a:srgbClr val="444444"/>
                  </a:solidFill>
                </a:rPr>
                <a:t>By using this tool you can align objects, pictures and text blocks with another:</a:t>
              </a:r>
            </a:p>
            <a:p>
              <a:pPr defTabSz="1081330"/>
              <a:r>
                <a:rPr lang="en-US" sz="1099" dirty="0" smtClean="0">
                  <a:solidFill>
                    <a:srgbClr val="444444"/>
                  </a:solidFill>
                </a:rPr>
                <a:t>Choose desired objects // Format // Align</a:t>
              </a:r>
            </a:p>
          </p:txBody>
        </p:sp>
        <p:pic>
          <p:nvPicPr>
            <p:cNvPr id="33" name="Picture 2"/>
            <p:cNvPicPr>
              <a:picLocks noChangeAspect="1" noChangeArrowheads="1"/>
            </p:cNvPicPr>
            <p:nvPr userDrawn="1"/>
          </p:nvPicPr>
          <p:blipFill>
            <a:blip r:embed="rId45">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uppieren 37"/>
          <p:cNvGrpSpPr/>
          <p:nvPr/>
        </p:nvGrpSpPr>
        <p:grpSpPr>
          <a:xfrm>
            <a:off x="14575773" y="-67762"/>
            <a:ext cx="2184353" cy="5224601"/>
            <a:chOff x="14583318" y="4183"/>
            <a:chExt cx="2185491" cy="5225811"/>
          </a:xfrm>
        </p:grpSpPr>
        <p:sp>
          <p:nvSpPr>
            <p:cNvPr id="39" name="Rechteck 38"/>
            <p:cNvSpPr/>
            <p:nvPr userDrawn="1"/>
          </p:nvSpPr>
          <p:spPr>
            <a:xfrm>
              <a:off x="14583318" y="4183"/>
              <a:ext cx="2185491" cy="1107996"/>
            </a:xfrm>
            <a:prstGeom prst="rect">
              <a:avLst/>
            </a:prstGeom>
          </p:spPr>
          <p:txBody>
            <a:bodyPr wrap="square">
              <a:spAutoFit/>
            </a:bodyPr>
            <a:lstStyle/>
            <a:p>
              <a:pPr defTabSz="1081330">
                <a:defRPr/>
              </a:pPr>
              <a:r>
                <a:rPr lang="en-US" sz="1099" b="1" dirty="0" smtClean="0">
                  <a:solidFill>
                    <a:srgbClr val="444444"/>
                  </a:solidFill>
                </a:rPr>
                <a:t>Crop pictures to shape</a:t>
              </a:r>
            </a:p>
            <a:p>
              <a:pPr defTabSz="1081330"/>
              <a:r>
                <a:rPr lang="en-US" sz="1099" dirty="0" smtClean="0">
                  <a:solidFill>
                    <a:srgbClr val="444444"/>
                  </a:solidFill>
                </a:rPr>
                <a:t>To crop pictures in a circle in the first step they have to be square-shaped. </a:t>
              </a:r>
            </a:p>
            <a:p>
              <a:pPr defTabSz="1081330"/>
              <a:r>
                <a:rPr lang="en-US" sz="1099" dirty="0" smtClean="0">
                  <a:solidFill>
                    <a:srgbClr val="444444"/>
                  </a:solidFill>
                </a:rPr>
                <a:t>Do this via menu bar:</a:t>
              </a:r>
            </a:p>
            <a:p>
              <a:pPr defTabSz="1081330"/>
              <a:r>
                <a:rPr lang="en-US" sz="1099" dirty="0" smtClean="0">
                  <a:solidFill>
                    <a:srgbClr val="444444"/>
                  </a:solidFill>
                </a:rPr>
                <a:t>Picture Tool // Format // Crop</a:t>
              </a:r>
              <a:endParaRPr lang="en-US" sz="1099" dirty="0">
                <a:solidFill>
                  <a:srgbClr val="444444"/>
                </a:solidFill>
              </a:endParaRPr>
            </a:p>
          </p:txBody>
        </p:sp>
        <p:pic>
          <p:nvPicPr>
            <p:cNvPr id="40" name="Grafik 39"/>
            <p:cNvPicPr>
              <a:picLocks noChangeAspect="1"/>
            </p:cNvPicPr>
            <p:nvPr userDrawn="1"/>
          </p:nvPicPr>
          <p:blipFill>
            <a:blip r:embed="rId46">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1" name="Grafik 40"/>
            <p:cNvPicPr>
              <a:picLocks noChangeAspect="1"/>
            </p:cNvPicPr>
            <p:nvPr userDrawn="1"/>
          </p:nvPicPr>
          <p:blipFill>
            <a:blip r:embed="rId47">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2" name="Rechteck 41"/>
            <p:cNvSpPr/>
            <p:nvPr userDrawn="1"/>
          </p:nvSpPr>
          <p:spPr>
            <a:xfrm>
              <a:off x="14583318" y="2076199"/>
              <a:ext cx="2185491" cy="938719"/>
            </a:xfrm>
            <a:prstGeom prst="rect">
              <a:avLst/>
            </a:prstGeom>
          </p:spPr>
          <p:txBody>
            <a:bodyPr wrap="square">
              <a:spAutoFit/>
            </a:bodyPr>
            <a:lstStyle/>
            <a:p>
              <a:pPr defTabSz="1081330"/>
              <a:r>
                <a:rPr lang="en-US" sz="1099" dirty="0" smtClean="0">
                  <a:solidFill>
                    <a:srgbClr val="444444"/>
                  </a:solidFill>
                </a:rPr>
                <a:t>Afterwards the picture can be cropped in a circle via following menu:</a:t>
              </a:r>
            </a:p>
            <a:p>
              <a:pPr defTabSz="1081330"/>
              <a:r>
                <a:rPr lang="en-US" sz="1099" dirty="0" smtClean="0">
                  <a:solidFill>
                    <a:srgbClr val="444444"/>
                  </a:solidFill>
                </a:rPr>
                <a:t>Picture Tool // Format // Crop // Crop to Shape</a:t>
              </a:r>
              <a:endParaRPr lang="en-US" sz="1099" dirty="0">
                <a:solidFill>
                  <a:srgbClr val="444444"/>
                </a:solidFill>
              </a:endParaRPr>
            </a:p>
          </p:txBody>
        </p:sp>
        <p:pic>
          <p:nvPicPr>
            <p:cNvPr id="43" name="Grafik 42"/>
            <p:cNvPicPr>
              <a:picLocks noChangeAspect="1"/>
            </p:cNvPicPr>
            <p:nvPr userDrawn="1"/>
          </p:nvPicPr>
          <p:blipFill>
            <a:blip r:embed="rId48">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4203490693"/>
      </p:ext>
    </p:extLst>
  </p:cSld>
  <p:clrMap bg1="lt1" tx1="dk1" bg2="lt2" tx2="dk2" accent1="accent1" accent2="accent2" accent3="accent3" accent4="accent4" accent5="accent5" accent6="accent6" hlink="hlink" folHlink="folHlink"/>
  <p:sldLayoutIdLst>
    <p:sldLayoutId id="2147484222" r:id="rId1"/>
    <p:sldLayoutId id="2147484223" r:id="rId2"/>
    <p:sldLayoutId id="2147484224" r:id="rId3"/>
    <p:sldLayoutId id="2147484225" r:id="rId4"/>
    <p:sldLayoutId id="2147484226" r:id="rId5"/>
    <p:sldLayoutId id="2147484227" r:id="rId6"/>
    <p:sldLayoutId id="2147484228" r:id="rId7"/>
    <p:sldLayoutId id="2147484229" r:id="rId8"/>
    <p:sldLayoutId id="2147484230" r:id="rId9"/>
    <p:sldLayoutId id="2147484231" r:id="rId10"/>
    <p:sldLayoutId id="2147484232" r:id="rId11"/>
    <p:sldLayoutId id="2147484233" r:id="rId12"/>
    <p:sldLayoutId id="2147484234" r:id="rId13"/>
    <p:sldLayoutId id="2147484235" r:id="rId14"/>
    <p:sldLayoutId id="2147484236" r:id="rId15"/>
    <p:sldLayoutId id="2147484237" r:id="rId16"/>
    <p:sldLayoutId id="2147484238" r:id="rId17"/>
    <p:sldLayoutId id="2147484239" r:id="rId18"/>
    <p:sldLayoutId id="2147484240" r:id="rId19"/>
    <p:sldLayoutId id="2147484241" r:id="rId20"/>
    <p:sldLayoutId id="2147484242" r:id="rId21"/>
    <p:sldLayoutId id="2147484243" r:id="rId22"/>
    <p:sldLayoutId id="2147484244" r:id="rId23"/>
    <p:sldLayoutId id="2147484245" r:id="rId24"/>
    <p:sldLayoutId id="2147484246" r:id="rId25"/>
    <p:sldLayoutId id="2147484247" r:id="rId26"/>
    <p:sldLayoutId id="2147484248" r:id="rId27"/>
    <p:sldLayoutId id="2147484249" r:id="rId28"/>
    <p:sldLayoutId id="2147484250" r:id="rId29"/>
    <p:sldLayoutId id="2147484251" r:id="rId30"/>
    <p:sldLayoutId id="2147484252" r:id="rId31"/>
    <p:sldLayoutId id="2147484253" r:id="rId32"/>
    <p:sldLayoutId id="2147484255" r:id="rId33"/>
    <p:sldLayoutId id="2147484256" r:id="rId3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hf hdr="0" ftr="0" dt="0"/>
  <p:txStyles>
    <p:titleStyle>
      <a:lvl1pPr marL="0" indent="0" algn="l" defTabSz="1081330" rtl="0" eaLnBrk="1" latinLnBrk="0" hangingPunct="1">
        <a:lnSpc>
          <a:spcPts val="3997"/>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5919" indent="-235919" algn="l" defTabSz="1081330"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1330"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1330"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1330"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1330"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1330"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1330"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1330"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1330"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1330" rtl="0" eaLnBrk="1" latinLnBrk="0" hangingPunct="1">
        <a:defRPr sz="2099" kern="1200">
          <a:solidFill>
            <a:schemeClr val="tx1"/>
          </a:solidFill>
          <a:latin typeface="+mn-lt"/>
          <a:ea typeface="+mn-ea"/>
          <a:cs typeface="+mn-cs"/>
        </a:defRPr>
      </a:lvl1pPr>
      <a:lvl2pPr marL="540659" algn="l" defTabSz="1081330" rtl="0" eaLnBrk="1" latinLnBrk="0" hangingPunct="1">
        <a:defRPr sz="2099" kern="1200">
          <a:solidFill>
            <a:schemeClr val="tx1"/>
          </a:solidFill>
          <a:latin typeface="+mn-lt"/>
          <a:ea typeface="+mn-ea"/>
          <a:cs typeface="+mn-cs"/>
        </a:defRPr>
      </a:lvl2pPr>
      <a:lvl3pPr marL="1081330" algn="l" defTabSz="1081330" rtl="0" eaLnBrk="1" latinLnBrk="0" hangingPunct="1">
        <a:defRPr sz="2099" kern="1200">
          <a:solidFill>
            <a:schemeClr val="tx1"/>
          </a:solidFill>
          <a:latin typeface="+mn-lt"/>
          <a:ea typeface="+mn-ea"/>
          <a:cs typeface="+mn-cs"/>
        </a:defRPr>
      </a:lvl3pPr>
      <a:lvl4pPr marL="1622005" algn="l" defTabSz="1081330" rtl="0" eaLnBrk="1" latinLnBrk="0" hangingPunct="1">
        <a:defRPr sz="2099" kern="1200">
          <a:solidFill>
            <a:schemeClr val="tx1"/>
          </a:solidFill>
          <a:latin typeface="+mn-lt"/>
          <a:ea typeface="+mn-ea"/>
          <a:cs typeface="+mn-cs"/>
        </a:defRPr>
      </a:lvl4pPr>
      <a:lvl5pPr marL="2162668" algn="l" defTabSz="1081330" rtl="0" eaLnBrk="1" latinLnBrk="0" hangingPunct="1">
        <a:defRPr sz="2099" kern="1200">
          <a:solidFill>
            <a:schemeClr val="tx1"/>
          </a:solidFill>
          <a:latin typeface="+mn-lt"/>
          <a:ea typeface="+mn-ea"/>
          <a:cs typeface="+mn-cs"/>
        </a:defRPr>
      </a:lvl5pPr>
      <a:lvl6pPr marL="2703340" algn="l" defTabSz="1081330" rtl="0" eaLnBrk="1" latinLnBrk="0" hangingPunct="1">
        <a:defRPr sz="2099" kern="1200">
          <a:solidFill>
            <a:schemeClr val="tx1"/>
          </a:solidFill>
          <a:latin typeface="+mn-lt"/>
          <a:ea typeface="+mn-ea"/>
          <a:cs typeface="+mn-cs"/>
        </a:defRPr>
      </a:lvl6pPr>
      <a:lvl7pPr marL="3244010" algn="l" defTabSz="1081330" rtl="0" eaLnBrk="1" latinLnBrk="0" hangingPunct="1">
        <a:defRPr sz="2099" kern="1200">
          <a:solidFill>
            <a:schemeClr val="tx1"/>
          </a:solidFill>
          <a:latin typeface="+mn-lt"/>
          <a:ea typeface="+mn-ea"/>
          <a:cs typeface="+mn-cs"/>
        </a:defRPr>
      </a:lvl7pPr>
      <a:lvl8pPr marL="3784677" algn="l" defTabSz="1081330" rtl="0" eaLnBrk="1" latinLnBrk="0" hangingPunct="1">
        <a:defRPr sz="2099" kern="1200">
          <a:solidFill>
            <a:schemeClr val="tx1"/>
          </a:solidFill>
          <a:latin typeface="+mn-lt"/>
          <a:ea typeface="+mn-ea"/>
          <a:cs typeface="+mn-cs"/>
        </a:defRPr>
      </a:lvl8pPr>
      <a:lvl9pPr marL="4325343" algn="l" defTabSz="1081330"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39"/>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68896" name="think-cell Folie" r:id="rId40" imgW="270" imgH="270" progId="TCLayout.ActiveDocument.1">
                  <p:embed/>
                </p:oleObj>
              </mc:Choice>
              <mc:Fallback>
                <p:oleObj name="think-cell Folie" r:id="rId40" imgW="270" imgH="270" progId="TCLayout.ActiveDocument.1">
                  <p:embed/>
                  <p:pic>
                    <p:nvPicPr>
                      <p:cNvPr id="0" name=""/>
                      <p:cNvPicPr/>
                      <p:nvPr/>
                    </p:nvPicPr>
                    <p:blipFill>
                      <a:blip r:embed="rId41"/>
                      <a:stretch>
                        <a:fillRect/>
                      </a:stretch>
                    </p:blipFill>
                    <p:spPr>
                      <a:xfrm>
                        <a:off x="1588" y="1588"/>
                        <a:ext cx="1586" cy="1587"/>
                      </a:xfrm>
                      <a:prstGeom prst="rect">
                        <a:avLst/>
                      </a:prstGeom>
                    </p:spPr>
                  </p:pic>
                </p:oleObj>
              </mc:Fallback>
            </mc:AlternateContent>
          </a:graphicData>
        </a:graphic>
      </p:graphicFrame>
      <p:grpSp>
        <p:nvGrpSpPr>
          <p:cNvPr id="37" name="Regieanweisungen"/>
          <p:cNvGrpSpPr/>
          <p:nvPr/>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7" name="Listenebene erhöhen"/>
                <p:cNvPicPr>
                  <a:picLocks noChangeAspect="1"/>
                </p:cNvPicPr>
                <p:nvPr userDrawn="1"/>
              </p:nvPicPr>
              <p:blipFill>
                <a:blip r:embed="rId42"/>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3"/>
                <a:stretch>
                  <a:fillRect/>
                </a:stretch>
              </p:blipFill>
              <p:spPr>
                <a:xfrm>
                  <a:off x="-900000" y="2628000"/>
                  <a:ext cx="756000" cy="322369"/>
                </a:xfrm>
                <a:prstGeom prst="rect">
                  <a:avLst/>
                </a:prstGeom>
              </p:spPr>
            </p:pic>
          </p:grpSp>
        </p:grpSp>
      </p:grpSp>
      <p:cxnSp>
        <p:nvCxnSpPr>
          <p:cNvPr id="14" name="Footerline"/>
          <p:cNvCxnSpPr/>
          <p:nvPr/>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630117" y="1504603"/>
            <a:ext cx="10930387" cy="4875670"/>
          </a:xfrm>
          <a:prstGeom prst="rect">
            <a:avLst/>
          </a:prstGeom>
        </p:spPr>
        <p:txBody>
          <a:bodyPr vert="horz" lIns="0" tIns="0" rIns="0" bIns="0" rtlCol="0" anchor="t" anchorCtr="0">
            <a:noAutofit/>
          </a:body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p:ph type="title"/>
          </p:nvPr>
        </p:nvSpPr>
        <p:spPr>
          <a:xfrm>
            <a:off x="628324" y="285982"/>
            <a:ext cx="10932454" cy="1151733"/>
          </a:xfrm>
          <a:prstGeom prst="rect">
            <a:avLst/>
          </a:prstGeom>
        </p:spPr>
        <p:txBody>
          <a:bodyPr vert="horz" lIns="0" tIns="0" rIns="0" bIns="0" rtlCol="0" anchor="t" anchorCtr="0">
            <a:noAutofit/>
          </a:bodyPr>
          <a:lstStyle/>
          <a:p>
            <a:r>
              <a:rPr lang="en-GB" noProof="0" dirty="0"/>
              <a:t>Headline in CorpoS (Body) 35 pt.</a:t>
            </a:r>
            <a:br>
              <a:rPr lang="en-GB" noProof="0" dirty="0"/>
            </a:br>
            <a:r>
              <a:rPr lang="en-GB" noProof="0" dirty="0"/>
              <a:t>in two lines</a:t>
            </a:r>
          </a:p>
        </p:txBody>
      </p:sp>
      <p:sp>
        <p:nvSpPr>
          <p:cNvPr id="5" name="Fußzeilenplatzhalter 4"/>
          <p:cNvSpPr>
            <a:spLocks noGrp="1"/>
          </p:cNvSpPr>
          <p:nvPr>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r>
              <a:rPr lang="en-US">
                <a:solidFill>
                  <a:prstClr val="black"/>
                </a:solidFill>
              </a:rPr>
              <a:t>DFS Capital Market Day</a:t>
            </a:r>
            <a:endParaRPr lang="en-GB" dirty="0">
              <a:solidFill>
                <a:prstClr val="black"/>
              </a:solidFill>
            </a:endParaRPr>
          </a:p>
        </p:txBody>
      </p:sp>
      <p:sp>
        <p:nvSpPr>
          <p:cNvPr id="6" name="Foliennummernplatzhalter 5"/>
          <p:cNvSpPr>
            <a:spLocks noGrp="1"/>
          </p:cNvSpPr>
          <p:nvPr>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9" name="Daimler AG (Wortmarke)"/>
          <p:cNvSpPr>
            <a:spLocks noChangeArrowheads="1"/>
          </p:cNvSpPr>
          <p:nvPr/>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672177158"/>
      </p:ext>
    </p:extLst>
  </p:cSld>
  <p:clrMap bg1="lt1" tx1="dk1" bg2="lt2" tx2="dk2" accent1="accent1" accent2="accent2" accent3="accent3" accent4="accent4" accent5="accent5" accent6="accent6" hlink="hlink" folHlink="folHlink"/>
  <p:sldLayoutIdLst>
    <p:sldLayoutId id="2147484258" r:id="rId1"/>
    <p:sldLayoutId id="2147484259" r:id="rId2"/>
    <p:sldLayoutId id="2147484260" r:id="rId3"/>
    <p:sldLayoutId id="2147484261" r:id="rId4"/>
    <p:sldLayoutId id="2147484262" r:id="rId5"/>
    <p:sldLayoutId id="2147484263" r:id="rId6"/>
    <p:sldLayoutId id="2147484264" r:id="rId7"/>
    <p:sldLayoutId id="2147484265" r:id="rId8"/>
    <p:sldLayoutId id="2147484266" r:id="rId9"/>
    <p:sldLayoutId id="2147484267" r:id="rId10"/>
    <p:sldLayoutId id="2147484268" r:id="rId11"/>
    <p:sldLayoutId id="2147484269" r:id="rId12"/>
    <p:sldLayoutId id="2147484270" r:id="rId13"/>
    <p:sldLayoutId id="2147484271" r:id="rId14"/>
    <p:sldLayoutId id="2147484272" r:id="rId15"/>
    <p:sldLayoutId id="2147484273" r:id="rId16"/>
    <p:sldLayoutId id="2147484274" r:id="rId17"/>
    <p:sldLayoutId id="2147484275" r:id="rId18"/>
    <p:sldLayoutId id="2147484276" r:id="rId19"/>
    <p:sldLayoutId id="2147484277" r:id="rId20"/>
    <p:sldLayoutId id="2147484278" r:id="rId21"/>
    <p:sldLayoutId id="2147484279" r:id="rId22"/>
    <p:sldLayoutId id="2147484280" r:id="rId23"/>
    <p:sldLayoutId id="2147484281" r:id="rId24"/>
    <p:sldLayoutId id="2147484282" r:id="rId25"/>
    <p:sldLayoutId id="2147484283" r:id="rId26"/>
    <p:sldLayoutId id="2147484284" r:id="rId27"/>
    <p:sldLayoutId id="2147484285" r:id="rId28"/>
    <p:sldLayoutId id="2147484286" r:id="rId29"/>
    <p:sldLayoutId id="2147484287" r:id="rId30"/>
    <p:sldLayoutId id="2147484288" r:id="rId31"/>
    <p:sldLayoutId id="2147484289" r:id="rId32"/>
    <p:sldLayoutId id="2147484290" r:id="rId33"/>
    <p:sldLayoutId id="2147484291" r:id="rId34"/>
    <p:sldLayoutId id="2147484292" r:id="rId35"/>
    <p:sldLayoutId id="2147484293" r:id="rId36"/>
  </p:sldLayoutIdLst>
  <p:hf sldNum="0"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smtClean="0"/>
              <a:t>Titelmasterformat durch Klicken bearbeiten</a:t>
            </a:r>
            <a:endParaRPr lang="de-DE"/>
          </a:p>
        </p:txBody>
      </p:sp>
      <p:sp>
        <p:nvSpPr>
          <p:cNvPr id="3" name="Textplatzhalt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BA8597-20FA-4D05-A30F-780EBC0A86CB}" type="datetimeFigureOut">
              <a:rPr lang="de-DE" smtClean="0">
                <a:solidFill>
                  <a:prstClr val="black">
                    <a:tint val="75000"/>
                  </a:prstClr>
                </a:solidFill>
              </a:rPr>
              <a:pPr/>
              <a:t>26.04.2019</a:t>
            </a:fld>
            <a:endParaRPr lang="de-DE">
              <a:solidFill>
                <a:prstClr val="black">
                  <a:tint val="75000"/>
                </a:prstClr>
              </a:solidFill>
            </a:endParaRPr>
          </a:p>
        </p:txBody>
      </p:sp>
      <p:sp>
        <p:nvSpPr>
          <p:cNvPr id="5" name="Fußzeilenplatzhalt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solidFill>
                <a:prstClr val="black">
                  <a:tint val="75000"/>
                </a:prstClr>
              </a:solidFill>
            </a:endParaRPr>
          </a:p>
        </p:txBody>
      </p:sp>
      <p:sp>
        <p:nvSpPr>
          <p:cNvPr id="6" name="Foliennummernplatzhalt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7387338-73F0-45A1-B676-F92E8DB94C0D}"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1837322969"/>
      </p:ext>
    </p:extLst>
  </p:cSld>
  <p:clrMap bg1="lt1" tx1="dk1" bg2="lt2" tx2="dk2" accent1="accent1" accent2="accent2" accent3="accent3" accent4="accent4" accent5="accent5" accent6="accent6" hlink="hlink" folHlink="folHlink"/>
  <p:sldLayoutIdLst>
    <p:sldLayoutId id="2147484411" r:id="rId1"/>
    <p:sldLayoutId id="2147484412" r:id="rId2"/>
    <p:sldLayoutId id="2147484413" r:id="rId3"/>
    <p:sldLayoutId id="2147484414" r:id="rId4"/>
    <p:sldLayoutId id="2147484415" r:id="rId5"/>
    <p:sldLayoutId id="2147484416" r:id="rId6"/>
    <p:sldLayoutId id="2147484417" r:id="rId7"/>
    <p:sldLayoutId id="2147484418" r:id="rId8"/>
    <p:sldLayoutId id="2147484419" r:id="rId9"/>
    <p:sldLayoutId id="2147484420" r:id="rId10"/>
    <p:sldLayoutId id="2147484421" r:id="rId11"/>
    <p:sldLayoutId id="2147484426" r:id="rId12"/>
    <p:sldLayoutId id="2147484358" r:id="rId13"/>
    <p:sldLayoutId id="2147484359" r:id="rId14"/>
    <p:sldLayoutId id="2147484564" r:id="rId15"/>
    <p:sldLayoutId id="2147483851" r:id="rId16"/>
    <p:sldLayoutId id="2147484562" r:id="rId17"/>
    <p:sldLayoutId id="2147484372" r:id="rId18"/>
    <p:sldLayoutId id="2147484386" r:id="rId19"/>
    <p:sldLayoutId id="2147484387" r:id="rId20"/>
    <p:sldLayoutId id="2147484388" r:id="rId21"/>
    <p:sldLayoutId id="2147484389" r:id="rId22"/>
    <p:sldLayoutId id="2147484391" r:id="rId23"/>
    <p:sldLayoutId id="2147484405" r:id="rId24"/>
    <p:sldLayoutId id="2147484406" r:id="rId25"/>
    <p:sldLayoutId id="2147484407" r:id="rId26"/>
    <p:sldLayoutId id="2147484408" r:id="rId27"/>
    <p:sldLayoutId id="2147484409" r:id="rId28"/>
    <p:sldLayoutId id="2147484500" r:id="rId29"/>
    <p:sldLayoutId id="2147484501" r:id="rId30"/>
    <p:sldLayoutId id="2147484502" r:id="rId31"/>
    <p:sldLayoutId id="2147484561" r:id="rId32"/>
    <p:sldLayoutId id="2147484516" r:id="rId33"/>
    <p:sldLayoutId id="2147484517" r:id="rId34"/>
    <p:sldLayoutId id="2147484989" r:id="rId35"/>
    <p:sldLayoutId id="2147484990" r:id="rId36"/>
    <p:sldLayoutId id="2147485109" r:id="rId3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37" name="Regieanweisungen"/>
          <p:cNvGrpSpPr/>
          <p:nvPr userDrawn="1"/>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7" name="Listenebene erhöhen"/>
                <p:cNvPicPr>
                  <a:picLocks noChangeAspect="1"/>
                </p:cNvPicPr>
                <p:nvPr userDrawn="1"/>
              </p:nvPicPr>
              <p:blipFill>
                <a:blip r:embed="rId31"/>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32"/>
                <a:stretch>
                  <a:fillRect/>
                </a:stretch>
              </p:blipFill>
              <p:spPr>
                <a:xfrm>
                  <a:off x="-900000" y="2628000"/>
                  <a:ext cx="756000" cy="322369"/>
                </a:xfrm>
                <a:prstGeom prst="rect">
                  <a:avLst/>
                </a:prstGeom>
              </p:spPr>
            </p:pic>
          </p:grpSp>
        </p:grpSp>
      </p:gr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cxnSp>
        <p:nvCxnSpPr>
          <p:cNvPr id="14"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117" y="1504603"/>
            <a:ext cx="10930387" cy="4875670"/>
          </a:xfrm>
          <a:prstGeom prst="rect">
            <a:avLst/>
          </a:prstGeom>
        </p:spPr>
        <p:txBody>
          <a:bodyPr vert="horz" lIns="0" tIns="0" rIns="0" bIns="0" rtlCol="0" anchor="t" anchorCtr="0">
            <a:noAutofit/>
          </a:bodyPr>
          <a:lstStyle/>
          <a:p>
            <a:pPr lvl="0"/>
            <a:r>
              <a:rPr lang="de-DE" dirty="0"/>
              <a:t>Text einfügen in </a:t>
            </a:r>
            <a:r>
              <a:rPr lang="de-DE" noProof="0" dirty="0"/>
              <a:t>CorpoS (Body) 24 pt. (mark-</a:t>
            </a:r>
            <a:r>
              <a:rPr lang="de-DE" noProof="0" dirty="0" err="1"/>
              <a:t>ups</a:t>
            </a:r>
            <a:r>
              <a:rPr lang="de-DE" noProof="0" dirty="0"/>
              <a:t> in Fett) </a:t>
            </a:r>
            <a:r>
              <a:rPr lang="de-DE" dirty="0"/>
              <a:t>// für Zusammenfassung oder kurzes Highlight: Start // Absatz // Listenebene erhöhen</a:t>
            </a:r>
          </a:p>
          <a:p>
            <a:pPr lvl="1"/>
            <a:r>
              <a:rPr lang="de-DE" dirty="0"/>
              <a:t>Zweite Ebene (Zusammenfassung oder kurzes Highlight)</a:t>
            </a:r>
          </a:p>
          <a:p>
            <a:pPr lvl="2"/>
            <a:r>
              <a:rPr lang="de-DE" dirty="0"/>
              <a:t>Dritte Ebene </a:t>
            </a:r>
          </a:p>
          <a:p>
            <a:pPr lvl="3"/>
            <a:r>
              <a:rPr lang="de-DE" dirty="0"/>
              <a:t>Vierte Ebene </a:t>
            </a:r>
          </a:p>
          <a:p>
            <a:pPr lvl="4"/>
            <a:r>
              <a:rPr lang="de-DE" dirty="0"/>
              <a:t>Fünfte Ebene </a:t>
            </a:r>
          </a:p>
          <a:p>
            <a:pPr lvl="5"/>
            <a:r>
              <a:rPr lang="de-DE" dirty="0"/>
              <a:t>Sechste Ebene </a:t>
            </a:r>
          </a:p>
          <a:p>
            <a:pPr lvl="6"/>
            <a:r>
              <a:rPr lang="de-DE" dirty="0"/>
              <a:t>Siebte Ebene </a:t>
            </a:r>
          </a:p>
          <a:p>
            <a:pPr lvl="7"/>
            <a:r>
              <a:rPr lang="de-DE" dirty="0"/>
              <a:t>Achte Ebene </a:t>
            </a:r>
          </a:p>
          <a:p>
            <a:pPr lvl="8"/>
            <a:r>
              <a:rPr lang="de-DE" dirty="0"/>
              <a:t>Neunte Ebene </a:t>
            </a:r>
          </a:p>
        </p:txBody>
      </p:sp>
      <p:sp>
        <p:nvSpPr>
          <p:cNvPr id="2" name="Titelplatzhalter 1"/>
          <p:cNvSpPr>
            <a:spLocks noGrp="1"/>
          </p:cNvSpPr>
          <p:nvPr userDrawn="1">
            <p:ph type="title"/>
          </p:nvPr>
        </p:nvSpPr>
        <p:spPr>
          <a:xfrm>
            <a:off x="628324" y="285982"/>
            <a:ext cx="10932454" cy="1151733"/>
          </a:xfrm>
          <a:prstGeom prst="rect">
            <a:avLst/>
          </a:prstGeom>
        </p:spPr>
        <p:txBody>
          <a:bodyPr vert="horz" lIns="0" tIns="0" rIns="0" bIns="0" rtlCol="0" anchor="t" anchorCtr="0">
            <a:noAutofit/>
          </a:bodyPr>
          <a:lstStyle/>
          <a:p>
            <a:r>
              <a:rPr lang="de-DE" noProof="0" dirty="0"/>
              <a:t>Headline in CorpoS (Textkörper) 35 pt.</a:t>
            </a:r>
            <a:br>
              <a:rPr lang="de-DE" noProof="0" dirty="0"/>
            </a:br>
            <a:r>
              <a:rPr lang="de-DE" noProof="0" dirty="0"/>
              <a:t>über zwei Zeilen</a:t>
            </a:r>
          </a:p>
        </p:txBody>
      </p:sp>
      <p:sp>
        <p:nvSpPr>
          <p:cNvPr id="5" name="Fußzeilenplatzhalter 4"/>
          <p:cNvSpPr>
            <a:spLocks noGrp="1"/>
          </p:cNvSpPr>
          <p:nvPr userDrawn="1">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r>
              <a:rPr lang="de-DE" smtClean="0">
                <a:solidFill>
                  <a:prstClr val="black"/>
                </a:solidFill>
              </a:rPr>
              <a:t>Titel der Präsentation / Abteilung / Datum /</a:t>
            </a:r>
            <a:endParaRPr lang="de-DE" dirty="0">
              <a:solidFill>
                <a:prstClr val="black"/>
              </a:solidFill>
            </a:endParaRPr>
          </a:p>
        </p:txBody>
      </p:sp>
      <p:sp>
        <p:nvSpPr>
          <p:cNvPr id="6" name="Foliennummernplatzhalter 5"/>
          <p:cNvSpPr>
            <a:spLocks noGrp="1"/>
          </p:cNvSpPr>
          <p:nvPr userDrawn="1">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de-DE" smtClean="0">
                <a:solidFill>
                  <a:prstClr val="black"/>
                </a:solidFill>
              </a:rPr>
              <a:t>Seite </a:t>
            </a:r>
            <a:fld id="{52531704-8F80-415D-BD2B-6B9991AE822F}" type="slidenum">
              <a:rPr lang="de-DE" smtClean="0">
                <a:solidFill>
                  <a:prstClr val="black"/>
                </a:solidFill>
              </a:rPr>
              <a:pPr defTabSz="1088415"/>
              <a:t>‹#›</a:t>
            </a:fld>
            <a:endParaRPr lang="de-DE" dirty="0">
              <a:solidFill>
                <a:prstClr val="black"/>
              </a:solidFill>
            </a:endParaRPr>
          </a:p>
        </p:txBody>
      </p:sp>
    </p:spTree>
    <p:extLst>
      <p:ext uri="{BB962C8B-B14F-4D97-AF65-F5344CB8AC3E}">
        <p14:creationId xmlns:p14="http://schemas.microsoft.com/office/powerpoint/2010/main" val="2983704946"/>
      </p:ext>
    </p:extLst>
  </p:cSld>
  <p:clrMap bg1="lt1" tx1="dk1" bg2="lt2" tx2="dk2" accent1="accent1" accent2="accent2" accent3="accent3" accent4="accent4" accent5="accent5" accent6="accent6" hlink="hlink" folHlink="folHlink"/>
  <p:sldLayoutIdLst>
    <p:sldLayoutId id="2147484428" r:id="rId1"/>
    <p:sldLayoutId id="2147484429" r:id="rId2"/>
    <p:sldLayoutId id="2147484430" r:id="rId3"/>
    <p:sldLayoutId id="2147484431" r:id="rId4"/>
    <p:sldLayoutId id="2147484432" r:id="rId5"/>
    <p:sldLayoutId id="2147484433" r:id="rId6"/>
    <p:sldLayoutId id="2147484434" r:id="rId7"/>
    <p:sldLayoutId id="2147484435" r:id="rId8"/>
    <p:sldLayoutId id="2147484436" r:id="rId9"/>
    <p:sldLayoutId id="2147484437" r:id="rId10"/>
    <p:sldLayoutId id="2147484438" r:id="rId11"/>
    <p:sldLayoutId id="2147484439" r:id="rId12"/>
    <p:sldLayoutId id="2147484440" r:id="rId13"/>
    <p:sldLayoutId id="2147484441" r:id="rId14"/>
    <p:sldLayoutId id="2147484442" r:id="rId15"/>
    <p:sldLayoutId id="2147484443" r:id="rId16"/>
    <p:sldLayoutId id="2147484444" r:id="rId17"/>
    <p:sldLayoutId id="2147484445" r:id="rId18"/>
    <p:sldLayoutId id="2147484446" r:id="rId19"/>
    <p:sldLayoutId id="2147484447" r:id="rId20"/>
    <p:sldLayoutId id="2147484448" r:id="rId21"/>
    <p:sldLayoutId id="2147484449" r:id="rId22"/>
    <p:sldLayoutId id="2147484450" r:id="rId23"/>
    <p:sldLayoutId id="2147484451" r:id="rId24"/>
    <p:sldLayoutId id="2147484452" r:id="rId25"/>
    <p:sldLayoutId id="2147484453" r:id="rId26"/>
    <p:sldLayoutId id="2147484454" r:id="rId27"/>
    <p:sldLayoutId id="2147484455" r:id="rId28"/>
    <p:sldLayoutId id="2147484456" r:id="rId29"/>
  </p:sldLayoutIdLst>
  <p:hf sldNum="0" hdr="0" ft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baseline="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9"/>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0533" name="think-cell Folie" r:id="rId40" imgW="216" imgH="216" progId="TCLayout.ActiveDocument.1">
                  <p:embed/>
                </p:oleObj>
              </mc:Choice>
              <mc:Fallback>
                <p:oleObj name="think-cell Folie" r:id="rId40" imgW="216" imgH="216" progId="TCLayout.ActiveDocument.1">
                  <p:embed/>
                  <p:pic>
                    <p:nvPicPr>
                      <p:cNvPr id="0" name=""/>
                      <p:cNvPicPr/>
                      <p:nvPr/>
                    </p:nvPicPr>
                    <p:blipFill>
                      <a:blip r:embed="rId41"/>
                      <a:stretch>
                        <a:fillRect/>
                      </a:stretch>
                    </p:blipFill>
                    <p:spPr>
                      <a:xfrm>
                        <a:off x="1588" y="1588"/>
                        <a:ext cx="1586" cy="1587"/>
                      </a:xfrm>
                      <a:prstGeom prst="rect">
                        <a:avLst/>
                      </a:prstGeom>
                    </p:spPr>
                  </p:pic>
                </p:oleObj>
              </mc:Fallback>
            </mc:AlternateContent>
          </a:graphicData>
        </a:graphic>
      </p:graphicFrame>
      <p:grpSp>
        <p:nvGrpSpPr>
          <p:cNvPr id="37" name="Regieanweisungen"/>
          <p:cNvGrpSpPr/>
          <p:nvPr userDrawn="1"/>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7" name="Listenebene erhöhen"/>
                <p:cNvPicPr>
                  <a:picLocks noChangeAspect="1"/>
                </p:cNvPicPr>
                <p:nvPr userDrawn="1"/>
              </p:nvPicPr>
              <p:blipFill>
                <a:blip r:embed="rId42"/>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3"/>
                <a:stretch>
                  <a:fillRect/>
                </a:stretch>
              </p:blipFill>
              <p:spPr>
                <a:xfrm>
                  <a:off x="-900000" y="2628000"/>
                  <a:ext cx="756000" cy="322369"/>
                </a:xfrm>
                <a:prstGeom prst="rect">
                  <a:avLst/>
                </a:prstGeom>
              </p:spPr>
            </p:pic>
          </p:grpSp>
        </p:grpSp>
      </p:gr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cxnSp>
        <p:nvCxnSpPr>
          <p:cNvPr id="14"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117" y="1504603"/>
            <a:ext cx="10930387" cy="4875670"/>
          </a:xfrm>
          <a:prstGeom prst="rect">
            <a:avLst/>
          </a:prstGeom>
        </p:spPr>
        <p:txBody>
          <a:bodyPr vert="horz" lIns="0" tIns="0" rIns="0" bIns="0" rtlCol="0" anchor="t" anchorCtr="0">
            <a:noAutofit/>
          </a:body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userDrawn="1">
            <p:ph type="title"/>
          </p:nvPr>
        </p:nvSpPr>
        <p:spPr>
          <a:xfrm>
            <a:off x="628324" y="285982"/>
            <a:ext cx="10932454" cy="1151733"/>
          </a:xfrm>
          <a:prstGeom prst="rect">
            <a:avLst/>
          </a:prstGeom>
        </p:spPr>
        <p:txBody>
          <a:bodyPr vert="horz" lIns="0" tIns="0" rIns="0" bIns="0" rtlCol="0" anchor="t" anchorCtr="0">
            <a:noAutofit/>
          </a:bodyPr>
          <a:lstStyle/>
          <a:p>
            <a:r>
              <a:rPr lang="en-GB" noProof="0" dirty="0"/>
              <a:t>Headline in CorpoS (Body) 35 pt.</a:t>
            </a:r>
            <a:br>
              <a:rPr lang="en-GB" noProof="0" dirty="0"/>
            </a:br>
            <a:r>
              <a:rPr lang="en-GB" noProof="0" dirty="0"/>
              <a:t>in two lines</a:t>
            </a:r>
          </a:p>
        </p:txBody>
      </p:sp>
      <p:sp>
        <p:nvSpPr>
          <p:cNvPr id="5" name="Fußzeilenplatzhalter 4"/>
          <p:cNvSpPr>
            <a:spLocks noGrp="1"/>
          </p:cNvSpPr>
          <p:nvPr userDrawn="1">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r>
              <a:rPr lang="en-GB" smtClean="0">
                <a:solidFill>
                  <a:prstClr val="black"/>
                </a:solidFill>
              </a:rPr>
              <a:t>Title of presentation / Department / Date /</a:t>
            </a:r>
            <a:endParaRPr lang="en-GB" dirty="0">
              <a:solidFill>
                <a:prstClr val="black"/>
              </a:solidFill>
            </a:endParaRPr>
          </a:p>
        </p:txBody>
      </p:sp>
      <p:sp>
        <p:nvSpPr>
          <p:cNvPr id="6" name="Foliennummernplatzhalter 5"/>
          <p:cNvSpPr>
            <a:spLocks noGrp="1"/>
          </p:cNvSpPr>
          <p:nvPr userDrawn="1">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en-GB" smtClean="0">
                <a:solidFill>
                  <a:prstClr val="black"/>
                </a:solidFill>
              </a:rPr>
              <a:t>Page </a:t>
            </a:r>
            <a:fld id="{52531704-8F80-415D-BD2B-6B9991AE822F}" type="slidenum">
              <a:rPr lang="en-GB" smtClean="0">
                <a:solidFill>
                  <a:prstClr val="black"/>
                </a:solidFill>
              </a:rPr>
              <a:pPr defTabSz="1088415"/>
              <a:t>‹#›</a:t>
            </a:fld>
            <a:endParaRPr lang="en-GB" dirty="0">
              <a:solidFill>
                <a:prstClr val="black"/>
              </a:solidFill>
            </a:endParaRPr>
          </a:p>
        </p:txBody>
      </p:sp>
    </p:spTree>
    <p:extLst>
      <p:ext uri="{BB962C8B-B14F-4D97-AF65-F5344CB8AC3E}">
        <p14:creationId xmlns:p14="http://schemas.microsoft.com/office/powerpoint/2010/main" val="391143395"/>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Lst>
  <p:hf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37" name="Regieanweisungen"/>
          <p:cNvGrpSpPr/>
          <p:nvPr userDrawn="1"/>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7" name="Listenebene erhöhen"/>
                <p:cNvPicPr>
                  <a:picLocks noChangeAspect="1"/>
                </p:cNvPicPr>
                <p:nvPr userDrawn="1"/>
              </p:nvPicPr>
              <p:blipFill>
                <a:blip r:embed="rId31"/>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32"/>
                <a:stretch>
                  <a:fillRect/>
                </a:stretch>
              </p:blipFill>
              <p:spPr>
                <a:xfrm>
                  <a:off x="-900000" y="2628000"/>
                  <a:ext cx="756000" cy="322369"/>
                </a:xfrm>
                <a:prstGeom prst="rect">
                  <a:avLst/>
                </a:prstGeom>
              </p:spPr>
            </p:pic>
          </p:grpSp>
        </p:grpSp>
      </p:gr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cxnSp>
        <p:nvCxnSpPr>
          <p:cNvPr id="14"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117" y="1504603"/>
            <a:ext cx="10930387" cy="4875670"/>
          </a:xfrm>
          <a:prstGeom prst="rect">
            <a:avLst/>
          </a:prstGeom>
        </p:spPr>
        <p:txBody>
          <a:bodyPr vert="horz" lIns="0" tIns="0" rIns="0" bIns="0" rtlCol="0" anchor="t" anchorCtr="0">
            <a:noAutofit/>
          </a:bodyPr>
          <a:lstStyle/>
          <a:p>
            <a:pPr lvl="0"/>
            <a:r>
              <a:rPr lang="de-DE" dirty="0"/>
              <a:t>Text einfügen in </a:t>
            </a:r>
            <a:r>
              <a:rPr lang="de-DE" noProof="0" dirty="0"/>
              <a:t>CorpoS (Body) 24 pt. (mark-</a:t>
            </a:r>
            <a:r>
              <a:rPr lang="de-DE" noProof="0" dirty="0" err="1"/>
              <a:t>ups</a:t>
            </a:r>
            <a:r>
              <a:rPr lang="de-DE" noProof="0" dirty="0"/>
              <a:t> in Fett) </a:t>
            </a:r>
            <a:r>
              <a:rPr lang="de-DE" dirty="0"/>
              <a:t>// für Zusammenfassung oder kurzes Highlight: Start // Absatz // Listenebene erhöhen</a:t>
            </a:r>
          </a:p>
          <a:p>
            <a:pPr lvl="1"/>
            <a:r>
              <a:rPr lang="de-DE" dirty="0"/>
              <a:t>Zweite Ebene (Zusammenfassung oder kurzes Highlight)</a:t>
            </a:r>
          </a:p>
          <a:p>
            <a:pPr lvl="2"/>
            <a:r>
              <a:rPr lang="de-DE" dirty="0"/>
              <a:t>Dritte Ebene </a:t>
            </a:r>
          </a:p>
          <a:p>
            <a:pPr lvl="3"/>
            <a:r>
              <a:rPr lang="de-DE" dirty="0"/>
              <a:t>Vierte Ebene </a:t>
            </a:r>
          </a:p>
          <a:p>
            <a:pPr lvl="4"/>
            <a:r>
              <a:rPr lang="de-DE" dirty="0"/>
              <a:t>Fünfte Ebene </a:t>
            </a:r>
          </a:p>
          <a:p>
            <a:pPr lvl="5"/>
            <a:r>
              <a:rPr lang="de-DE" dirty="0"/>
              <a:t>Sechste Ebene </a:t>
            </a:r>
          </a:p>
          <a:p>
            <a:pPr lvl="6"/>
            <a:r>
              <a:rPr lang="de-DE" dirty="0"/>
              <a:t>Siebte Ebene </a:t>
            </a:r>
          </a:p>
          <a:p>
            <a:pPr lvl="7"/>
            <a:r>
              <a:rPr lang="de-DE" dirty="0"/>
              <a:t>Achte Ebene </a:t>
            </a:r>
          </a:p>
          <a:p>
            <a:pPr lvl="8"/>
            <a:r>
              <a:rPr lang="de-DE" dirty="0"/>
              <a:t>Neunte Ebene </a:t>
            </a:r>
          </a:p>
        </p:txBody>
      </p:sp>
      <p:sp>
        <p:nvSpPr>
          <p:cNvPr id="2" name="Titelplatzhalter 1"/>
          <p:cNvSpPr>
            <a:spLocks noGrp="1"/>
          </p:cNvSpPr>
          <p:nvPr userDrawn="1">
            <p:ph type="title"/>
          </p:nvPr>
        </p:nvSpPr>
        <p:spPr>
          <a:xfrm>
            <a:off x="628324" y="285982"/>
            <a:ext cx="10932454" cy="1151733"/>
          </a:xfrm>
          <a:prstGeom prst="rect">
            <a:avLst/>
          </a:prstGeom>
        </p:spPr>
        <p:txBody>
          <a:bodyPr vert="horz" lIns="0" tIns="0" rIns="0" bIns="0" rtlCol="0" anchor="t" anchorCtr="0">
            <a:noAutofit/>
          </a:bodyPr>
          <a:lstStyle/>
          <a:p>
            <a:r>
              <a:rPr lang="de-DE" noProof="0" dirty="0"/>
              <a:t>Headline in CorpoS (Textkörper) 35 pt.</a:t>
            </a:r>
            <a:br>
              <a:rPr lang="de-DE" noProof="0" dirty="0"/>
            </a:br>
            <a:r>
              <a:rPr lang="de-DE" noProof="0" dirty="0"/>
              <a:t>über zwei Zeilen</a:t>
            </a:r>
          </a:p>
        </p:txBody>
      </p:sp>
      <p:sp>
        <p:nvSpPr>
          <p:cNvPr id="5" name="Fußzeilenplatzhalter 4"/>
          <p:cNvSpPr>
            <a:spLocks noGrp="1"/>
          </p:cNvSpPr>
          <p:nvPr userDrawn="1">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r>
              <a:rPr lang="de-DE" smtClean="0">
                <a:solidFill>
                  <a:prstClr val="black"/>
                </a:solidFill>
              </a:rPr>
              <a:t>Titel der Präsentation / Abteilung / Datum /</a:t>
            </a:r>
            <a:endParaRPr lang="de-DE" dirty="0">
              <a:solidFill>
                <a:prstClr val="black"/>
              </a:solidFill>
            </a:endParaRPr>
          </a:p>
        </p:txBody>
      </p:sp>
      <p:sp>
        <p:nvSpPr>
          <p:cNvPr id="6" name="Foliennummernplatzhalter 5"/>
          <p:cNvSpPr>
            <a:spLocks noGrp="1"/>
          </p:cNvSpPr>
          <p:nvPr userDrawn="1">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de-DE" smtClean="0">
                <a:solidFill>
                  <a:prstClr val="black"/>
                </a:solidFill>
              </a:rPr>
              <a:t>Seite </a:t>
            </a:r>
            <a:fld id="{52531704-8F80-415D-BD2B-6B9991AE822F}" type="slidenum">
              <a:rPr lang="de-DE" smtClean="0">
                <a:solidFill>
                  <a:prstClr val="black"/>
                </a:solidFill>
              </a:rPr>
              <a:pPr defTabSz="1088415"/>
              <a:t>‹#›</a:t>
            </a:fld>
            <a:endParaRPr lang="de-DE" dirty="0">
              <a:solidFill>
                <a:prstClr val="black"/>
              </a:solidFill>
            </a:endParaRPr>
          </a:p>
        </p:txBody>
      </p:sp>
    </p:spTree>
    <p:extLst>
      <p:ext uri="{BB962C8B-B14F-4D97-AF65-F5344CB8AC3E}">
        <p14:creationId xmlns:p14="http://schemas.microsoft.com/office/powerpoint/2010/main" val="2747613452"/>
      </p:ext>
    </p:extLst>
  </p:cSld>
  <p:clrMap bg1="lt1" tx1="dk1" bg2="lt2" tx2="dk2" accent1="accent1" accent2="accent2" accent3="accent3" accent4="accent4" accent5="accent5" accent6="accent6" hlink="hlink" folHlink="folHlink"/>
  <p:sldLayoutIdLst>
    <p:sldLayoutId id="2147484458" r:id="rId1"/>
    <p:sldLayoutId id="2147484459" r:id="rId2"/>
    <p:sldLayoutId id="2147484460" r:id="rId3"/>
    <p:sldLayoutId id="2147484461" r:id="rId4"/>
    <p:sldLayoutId id="2147484462" r:id="rId5"/>
    <p:sldLayoutId id="2147484463" r:id="rId6"/>
    <p:sldLayoutId id="2147484464" r:id="rId7"/>
    <p:sldLayoutId id="2147484465" r:id="rId8"/>
    <p:sldLayoutId id="2147484466" r:id="rId9"/>
    <p:sldLayoutId id="2147484467" r:id="rId10"/>
    <p:sldLayoutId id="2147484468" r:id="rId11"/>
    <p:sldLayoutId id="2147484469" r:id="rId12"/>
    <p:sldLayoutId id="2147484470" r:id="rId13"/>
    <p:sldLayoutId id="2147484471" r:id="rId14"/>
    <p:sldLayoutId id="2147484472" r:id="rId15"/>
    <p:sldLayoutId id="2147484473" r:id="rId16"/>
    <p:sldLayoutId id="2147484474" r:id="rId17"/>
    <p:sldLayoutId id="2147484475" r:id="rId18"/>
    <p:sldLayoutId id="2147484476" r:id="rId19"/>
    <p:sldLayoutId id="2147484477" r:id="rId20"/>
    <p:sldLayoutId id="2147484478" r:id="rId21"/>
    <p:sldLayoutId id="2147484479" r:id="rId22"/>
    <p:sldLayoutId id="2147484480" r:id="rId23"/>
    <p:sldLayoutId id="2147484481" r:id="rId24"/>
    <p:sldLayoutId id="2147484482" r:id="rId25"/>
    <p:sldLayoutId id="2147484483" r:id="rId26"/>
    <p:sldLayoutId id="2147484484" r:id="rId27"/>
    <p:sldLayoutId id="2147484485" r:id="rId28"/>
    <p:sldLayoutId id="2147484486" r:id="rId29"/>
  </p:sldLayoutIdLst>
  <p:hf sldNum="0" hdr="0" ft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baseline="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38"/>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86227" name="think-cell Folie" r:id="rId39" imgW="270" imgH="270" progId="TCLayout.ActiveDocument.1">
                  <p:embed/>
                </p:oleObj>
              </mc:Choice>
              <mc:Fallback>
                <p:oleObj name="think-cell Folie" r:id="rId39" imgW="270" imgH="270" progId="TCLayout.ActiveDocument.1">
                  <p:embed/>
                  <p:pic>
                    <p:nvPicPr>
                      <p:cNvPr id="0" name=""/>
                      <p:cNvPicPr/>
                      <p:nvPr/>
                    </p:nvPicPr>
                    <p:blipFill>
                      <a:blip r:embed="rId40"/>
                      <a:stretch>
                        <a:fillRect/>
                      </a:stretch>
                    </p:blipFill>
                    <p:spPr>
                      <a:xfrm>
                        <a:off x="1588" y="1588"/>
                        <a:ext cx="1586" cy="1587"/>
                      </a:xfrm>
                      <a:prstGeom prst="rect">
                        <a:avLst/>
                      </a:prstGeom>
                    </p:spPr>
                  </p:pic>
                </p:oleObj>
              </mc:Fallback>
            </mc:AlternateContent>
          </a:graphicData>
        </a:graphic>
      </p:graphicFrame>
      <p:grpSp>
        <p:nvGrpSpPr>
          <p:cNvPr id="37" name="Regieanweisungen"/>
          <p:cNvGrpSpPr/>
          <p:nvPr/>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7" name="Listenebene erhöhen"/>
                <p:cNvPicPr>
                  <a:picLocks noChangeAspect="1"/>
                </p:cNvPicPr>
                <p:nvPr userDrawn="1"/>
              </p:nvPicPr>
              <p:blipFill>
                <a:blip r:embed="rId41"/>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2"/>
                <a:stretch>
                  <a:fillRect/>
                </a:stretch>
              </p:blipFill>
              <p:spPr>
                <a:xfrm>
                  <a:off x="-900000" y="2628000"/>
                  <a:ext cx="756000" cy="322369"/>
                </a:xfrm>
                <a:prstGeom prst="rect">
                  <a:avLst/>
                </a:prstGeom>
              </p:spPr>
            </p:pic>
          </p:grpSp>
        </p:grpSp>
      </p:grpSp>
      <p:cxnSp>
        <p:nvCxnSpPr>
          <p:cNvPr id="14" name="Footerline"/>
          <p:cNvCxnSpPr/>
          <p:nvPr/>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630117" y="1504603"/>
            <a:ext cx="10930387" cy="4875670"/>
          </a:xfrm>
          <a:prstGeom prst="rect">
            <a:avLst/>
          </a:prstGeom>
        </p:spPr>
        <p:txBody>
          <a:bodyPr vert="horz" lIns="0" tIns="0" rIns="0" bIns="0" rtlCol="0" anchor="t" anchorCtr="0">
            <a:noAutofit/>
          </a:body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p:ph type="title"/>
          </p:nvPr>
        </p:nvSpPr>
        <p:spPr>
          <a:xfrm>
            <a:off x="628324" y="285982"/>
            <a:ext cx="10932454" cy="1151733"/>
          </a:xfrm>
          <a:prstGeom prst="rect">
            <a:avLst/>
          </a:prstGeom>
        </p:spPr>
        <p:txBody>
          <a:bodyPr vert="horz" lIns="0" tIns="0" rIns="0" bIns="0" rtlCol="0" anchor="t" anchorCtr="0">
            <a:noAutofit/>
          </a:bodyPr>
          <a:lstStyle/>
          <a:p>
            <a:r>
              <a:rPr lang="en-GB" noProof="0" dirty="0"/>
              <a:t>Headline in CorpoS (Body) 35 pt.</a:t>
            </a:r>
            <a:br>
              <a:rPr lang="en-GB" noProof="0" dirty="0"/>
            </a:br>
            <a:r>
              <a:rPr lang="en-GB" noProof="0" dirty="0"/>
              <a:t>in two lines</a:t>
            </a:r>
          </a:p>
        </p:txBody>
      </p:sp>
      <p:sp>
        <p:nvSpPr>
          <p:cNvPr id="5" name="Fußzeilenplatzhalter 4"/>
          <p:cNvSpPr>
            <a:spLocks noGrp="1"/>
          </p:cNvSpPr>
          <p:nvPr>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r>
              <a:rPr lang="en-US">
                <a:solidFill>
                  <a:prstClr val="black"/>
                </a:solidFill>
              </a:rPr>
              <a:t>DFS Capital Market Day</a:t>
            </a:r>
            <a:endParaRPr lang="en-GB" dirty="0">
              <a:solidFill>
                <a:prstClr val="black"/>
              </a:solidFill>
            </a:endParaRPr>
          </a:p>
        </p:txBody>
      </p:sp>
      <p:sp>
        <p:nvSpPr>
          <p:cNvPr id="6" name="Foliennummernplatzhalter 5"/>
          <p:cNvSpPr>
            <a:spLocks noGrp="1"/>
          </p:cNvSpPr>
          <p:nvPr>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9" name="Daimler AG (Wortmarke)"/>
          <p:cNvSpPr>
            <a:spLocks noChangeArrowheads="1"/>
          </p:cNvSpPr>
          <p:nvPr/>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014856507"/>
      </p:ext>
    </p:extLst>
  </p:cSld>
  <p:clrMap bg1="lt1" tx1="dk1" bg2="lt2" tx2="dk2" accent1="accent1" accent2="accent2" accent3="accent3" accent4="accent4" accent5="accent5" accent6="accent6" hlink="hlink" folHlink="folHlink"/>
  <p:sldLayoutIdLst>
    <p:sldLayoutId id="2147484567" r:id="rId1"/>
    <p:sldLayoutId id="2147484568" r:id="rId2"/>
    <p:sldLayoutId id="2147484569" r:id="rId3"/>
    <p:sldLayoutId id="2147484570" r:id="rId4"/>
    <p:sldLayoutId id="2147484571" r:id="rId5"/>
    <p:sldLayoutId id="2147484572" r:id="rId6"/>
    <p:sldLayoutId id="2147484573" r:id="rId7"/>
    <p:sldLayoutId id="2147484574" r:id="rId8"/>
    <p:sldLayoutId id="2147484575" r:id="rId9"/>
    <p:sldLayoutId id="2147484576" r:id="rId10"/>
    <p:sldLayoutId id="2147484577" r:id="rId11"/>
    <p:sldLayoutId id="2147484578" r:id="rId12"/>
    <p:sldLayoutId id="2147484579" r:id="rId13"/>
    <p:sldLayoutId id="2147484580" r:id="rId14"/>
    <p:sldLayoutId id="2147484581" r:id="rId15"/>
    <p:sldLayoutId id="2147484582" r:id="rId16"/>
    <p:sldLayoutId id="2147484583" r:id="rId17"/>
    <p:sldLayoutId id="2147484584" r:id="rId18"/>
    <p:sldLayoutId id="2147484585" r:id="rId19"/>
    <p:sldLayoutId id="2147484586" r:id="rId20"/>
    <p:sldLayoutId id="2147484587" r:id="rId21"/>
    <p:sldLayoutId id="2147484588" r:id="rId22"/>
    <p:sldLayoutId id="2147484589" r:id="rId23"/>
    <p:sldLayoutId id="2147484590" r:id="rId24"/>
    <p:sldLayoutId id="2147484591" r:id="rId25"/>
    <p:sldLayoutId id="2147484592" r:id="rId26"/>
    <p:sldLayoutId id="2147484593" r:id="rId27"/>
    <p:sldLayoutId id="2147484594" r:id="rId28"/>
    <p:sldLayoutId id="2147484595" r:id="rId29"/>
    <p:sldLayoutId id="2147484596" r:id="rId30"/>
    <p:sldLayoutId id="2147484597" r:id="rId31"/>
    <p:sldLayoutId id="2147484598" r:id="rId32"/>
    <p:sldLayoutId id="2147484599" r:id="rId33"/>
    <p:sldLayoutId id="2147484600" r:id="rId34"/>
    <p:sldLayoutId id="2147484602" r:id="rId35"/>
  </p:sldLayoutIdLst>
  <p:hf sldNum="0"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smtClean="0"/>
              <a:t>Titelmasterformat durch Klicken bearbeiten</a:t>
            </a:r>
            <a:endParaRPr lang="de-DE"/>
          </a:p>
        </p:txBody>
      </p:sp>
      <p:sp>
        <p:nvSpPr>
          <p:cNvPr id="3" name="Textplatzhalt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1A8264B-2899-4116-9631-3713DE4FA6C0}" type="datetimeFigureOut">
              <a:rPr lang="de-DE" smtClean="0">
                <a:solidFill>
                  <a:prstClr val="black">
                    <a:tint val="75000"/>
                  </a:prstClr>
                </a:solidFill>
              </a:rPr>
              <a:pPr/>
              <a:t>26.04.2019</a:t>
            </a:fld>
            <a:endParaRPr lang="de-DE">
              <a:solidFill>
                <a:prstClr val="black">
                  <a:tint val="75000"/>
                </a:prstClr>
              </a:solidFill>
            </a:endParaRPr>
          </a:p>
        </p:txBody>
      </p:sp>
      <p:sp>
        <p:nvSpPr>
          <p:cNvPr id="5" name="Fußzeilenplatzhalt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solidFill>
                <a:prstClr val="black">
                  <a:tint val="75000"/>
                </a:prstClr>
              </a:solidFill>
            </a:endParaRPr>
          </a:p>
        </p:txBody>
      </p:sp>
      <p:sp>
        <p:nvSpPr>
          <p:cNvPr id="6" name="Foliennummernplatzhalt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23564CE-F141-46E7-B58B-773B81204D48}"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val="3892805025"/>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 id="2147484611" r:id="rId8"/>
    <p:sldLayoutId id="2147484612" r:id="rId9"/>
    <p:sldLayoutId id="2147484613" r:id="rId10"/>
    <p:sldLayoutId id="214748461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9"/>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11820" name="think-cell Folie" r:id="rId40" imgW="216" imgH="216" progId="TCLayout.ActiveDocument.1">
                  <p:embed/>
                </p:oleObj>
              </mc:Choice>
              <mc:Fallback>
                <p:oleObj name="think-cell Folie" r:id="rId40" imgW="216" imgH="216" progId="TCLayout.ActiveDocument.1">
                  <p:embed/>
                  <p:pic>
                    <p:nvPicPr>
                      <p:cNvPr id="0" name=""/>
                      <p:cNvPicPr/>
                      <p:nvPr/>
                    </p:nvPicPr>
                    <p:blipFill>
                      <a:blip r:embed="rId41"/>
                      <a:stretch>
                        <a:fillRect/>
                      </a:stretch>
                    </p:blipFill>
                    <p:spPr>
                      <a:xfrm>
                        <a:off x="1588" y="1588"/>
                        <a:ext cx="1586" cy="1587"/>
                      </a:xfrm>
                      <a:prstGeom prst="rect">
                        <a:avLst/>
                      </a:prstGeom>
                    </p:spPr>
                  </p:pic>
                </p:oleObj>
              </mc:Fallback>
            </mc:AlternateContent>
          </a:graphicData>
        </a:graphic>
      </p:graphicFrame>
      <p:grpSp>
        <p:nvGrpSpPr>
          <p:cNvPr id="37" name="Regieanweisungen"/>
          <p:cNvGrpSpPr/>
          <p:nvPr userDrawn="1"/>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7" name="Listenebene erhöhen"/>
                <p:cNvPicPr>
                  <a:picLocks noChangeAspect="1"/>
                </p:cNvPicPr>
                <p:nvPr userDrawn="1"/>
              </p:nvPicPr>
              <p:blipFill>
                <a:blip r:embed="rId42"/>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3"/>
                <a:stretch>
                  <a:fillRect/>
                </a:stretch>
              </p:blipFill>
              <p:spPr>
                <a:xfrm>
                  <a:off x="-900000" y="2628000"/>
                  <a:ext cx="756000" cy="322369"/>
                </a:xfrm>
                <a:prstGeom prst="rect">
                  <a:avLst/>
                </a:prstGeom>
              </p:spPr>
            </p:pic>
          </p:grpSp>
        </p:grpSp>
      </p:gr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cxnSp>
        <p:nvCxnSpPr>
          <p:cNvPr id="14"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117" y="1504603"/>
            <a:ext cx="10930387" cy="4875670"/>
          </a:xfrm>
          <a:prstGeom prst="rect">
            <a:avLst/>
          </a:prstGeom>
        </p:spPr>
        <p:txBody>
          <a:bodyPr vert="horz" lIns="0" tIns="0" rIns="0" bIns="0" rtlCol="0" anchor="t" anchorCtr="0">
            <a:noAutofit/>
          </a:body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 name="Titelplatzhalter 1"/>
          <p:cNvSpPr>
            <a:spLocks noGrp="1"/>
          </p:cNvSpPr>
          <p:nvPr userDrawn="1">
            <p:ph type="title"/>
          </p:nvPr>
        </p:nvSpPr>
        <p:spPr>
          <a:xfrm>
            <a:off x="628324" y="285982"/>
            <a:ext cx="10932454" cy="1151733"/>
          </a:xfrm>
          <a:prstGeom prst="rect">
            <a:avLst/>
          </a:prstGeom>
        </p:spPr>
        <p:txBody>
          <a:bodyPr vert="horz" lIns="0" tIns="0" rIns="0" bIns="0" rtlCol="0" anchor="t" anchorCtr="0">
            <a:noAutofit/>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noProof="0" dirty="0"/>
          </a:p>
        </p:txBody>
      </p:sp>
      <p:sp>
        <p:nvSpPr>
          <p:cNvPr id="5" name="Fußzeilenplatzhalter 4"/>
          <p:cNvSpPr>
            <a:spLocks noGrp="1"/>
          </p:cNvSpPr>
          <p:nvPr userDrawn="1">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r>
              <a:rPr lang="de-DE" smtClean="0">
                <a:solidFill>
                  <a:prstClr val="black"/>
                </a:solidFill>
              </a:rPr>
              <a:t>Title of presentation / Department / Date /</a:t>
            </a:r>
            <a:endParaRPr lang="de-DE" dirty="0">
              <a:solidFill>
                <a:prstClr val="black"/>
              </a:solidFill>
            </a:endParaRPr>
          </a:p>
        </p:txBody>
      </p:sp>
      <p:sp>
        <p:nvSpPr>
          <p:cNvPr id="6" name="Foliennummernplatzhalter 5"/>
          <p:cNvSpPr>
            <a:spLocks noGrp="1"/>
          </p:cNvSpPr>
          <p:nvPr userDrawn="1">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de-DE" smtClean="0">
                <a:solidFill>
                  <a:prstClr val="black"/>
                </a:solidFill>
              </a:rPr>
              <a:t>Page </a:t>
            </a:r>
            <a:fld id="{52531704-8F80-415D-BD2B-6B9991AE822F}" type="slidenum">
              <a:rPr lang="de-DE" smtClean="0">
                <a:solidFill>
                  <a:prstClr val="black"/>
                </a:solidFill>
              </a:rPr>
              <a:pPr defTabSz="1088415"/>
              <a:t>‹#›</a:t>
            </a:fld>
            <a:endParaRPr lang="de-DE" dirty="0">
              <a:solidFill>
                <a:prstClr val="black"/>
              </a:solidFill>
            </a:endParaRPr>
          </a:p>
        </p:txBody>
      </p:sp>
    </p:spTree>
    <p:extLst>
      <p:ext uri="{BB962C8B-B14F-4D97-AF65-F5344CB8AC3E}">
        <p14:creationId xmlns:p14="http://schemas.microsoft.com/office/powerpoint/2010/main" val="560525537"/>
      </p:ext>
    </p:extLst>
  </p:cSld>
  <p:clrMap bg1="lt1" tx1="dk1" bg2="lt2" tx2="dk2" accent1="accent1" accent2="accent2" accent3="accent3" accent4="accent4" accent5="accent5" accent6="accent6" hlink="hlink" folHlink="folHlink"/>
  <p:sldLayoutIdLst>
    <p:sldLayoutId id="2147484616" r:id="rId1"/>
    <p:sldLayoutId id="2147484617" r:id="rId2"/>
    <p:sldLayoutId id="2147484618" r:id="rId3"/>
    <p:sldLayoutId id="2147484619" r:id="rId4"/>
    <p:sldLayoutId id="2147484620" r:id="rId5"/>
    <p:sldLayoutId id="2147484621" r:id="rId6"/>
    <p:sldLayoutId id="2147484622" r:id="rId7"/>
    <p:sldLayoutId id="2147484623" r:id="rId8"/>
    <p:sldLayoutId id="2147484624" r:id="rId9"/>
    <p:sldLayoutId id="2147484625" r:id="rId10"/>
    <p:sldLayoutId id="2147484626" r:id="rId11"/>
    <p:sldLayoutId id="2147484627" r:id="rId12"/>
    <p:sldLayoutId id="2147484628" r:id="rId13"/>
    <p:sldLayoutId id="2147484629" r:id="rId14"/>
    <p:sldLayoutId id="2147484630" r:id="rId15"/>
    <p:sldLayoutId id="2147484631" r:id="rId16"/>
    <p:sldLayoutId id="2147484632" r:id="rId17"/>
    <p:sldLayoutId id="2147484633" r:id="rId18"/>
    <p:sldLayoutId id="2147484634" r:id="rId19"/>
    <p:sldLayoutId id="2147484635" r:id="rId20"/>
    <p:sldLayoutId id="2147484636" r:id="rId21"/>
    <p:sldLayoutId id="2147484637" r:id="rId22"/>
    <p:sldLayoutId id="2147484638" r:id="rId23"/>
    <p:sldLayoutId id="2147484639" r:id="rId24"/>
    <p:sldLayoutId id="2147484640" r:id="rId25"/>
    <p:sldLayoutId id="2147484641" r:id="rId26"/>
    <p:sldLayoutId id="2147484642" r:id="rId27"/>
    <p:sldLayoutId id="2147484643" r:id="rId28"/>
    <p:sldLayoutId id="2147484644" r:id="rId29"/>
    <p:sldLayoutId id="2147484646" r:id="rId30"/>
    <p:sldLayoutId id="2147484647" r:id="rId31"/>
    <p:sldLayoutId id="2147484648" r:id="rId32"/>
    <p:sldLayoutId id="2147484649" r:id="rId33"/>
    <p:sldLayoutId id="2147484650" r:id="rId34"/>
    <p:sldLayoutId id="2147484651" r:id="rId35"/>
    <p:sldLayoutId id="2147484652" r:id="rId36"/>
  </p:sldLayoutIdLst>
  <p:hf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0"/>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23075" name="think-cell Folie" r:id="rId41" imgW="216" imgH="216" progId="TCLayout.ActiveDocument.1">
                  <p:embed/>
                </p:oleObj>
              </mc:Choice>
              <mc:Fallback>
                <p:oleObj name="think-cell Folie" r:id="rId41" imgW="216" imgH="216" progId="TCLayout.ActiveDocument.1">
                  <p:embed/>
                  <p:pic>
                    <p:nvPicPr>
                      <p:cNvPr id="0" name=""/>
                      <p:cNvPicPr/>
                      <p:nvPr/>
                    </p:nvPicPr>
                    <p:blipFill>
                      <a:blip r:embed="rId42"/>
                      <a:stretch>
                        <a:fillRect/>
                      </a:stretch>
                    </p:blipFill>
                    <p:spPr>
                      <a:xfrm>
                        <a:off x="1588" y="1588"/>
                        <a:ext cx="1586" cy="1587"/>
                      </a:xfrm>
                      <a:prstGeom prst="rect">
                        <a:avLst/>
                      </a:prstGeom>
                    </p:spPr>
                  </p:pic>
                </p:oleObj>
              </mc:Fallback>
            </mc:AlternateContent>
          </a:graphicData>
        </a:graphic>
      </p:graphicFrame>
      <p:grpSp>
        <p:nvGrpSpPr>
          <p:cNvPr id="37" name="Regieanweisungen"/>
          <p:cNvGrpSpPr/>
          <p:nvPr userDrawn="1"/>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7" name="Listenebene erhöhen"/>
                <p:cNvPicPr>
                  <a:picLocks noChangeAspect="1"/>
                </p:cNvPicPr>
                <p:nvPr userDrawn="1"/>
              </p:nvPicPr>
              <p:blipFill>
                <a:blip r:embed="rId4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4"/>
                <a:stretch>
                  <a:fillRect/>
                </a:stretch>
              </p:blipFill>
              <p:spPr>
                <a:xfrm>
                  <a:off x="-900000" y="2628000"/>
                  <a:ext cx="756000" cy="322369"/>
                </a:xfrm>
                <a:prstGeom prst="rect">
                  <a:avLst/>
                </a:prstGeom>
              </p:spPr>
            </p:pic>
          </p:grpSp>
        </p:grpSp>
      </p:gr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cxnSp>
        <p:nvCxnSpPr>
          <p:cNvPr id="14"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117" y="1504603"/>
            <a:ext cx="10930387" cy="4875670"/>
          </a:xfrm>
          <a:prstGeom prst="rect">
            <a:avLst/>
          </a:prstGeom>
        </p:spPr>
        <p:txBody>
          <a:bodyPr vert="horz" lIns="0" tIns="0" rIns="0" bIns="0" rtlCol="0" anchor="t" anchorCtr="0">
            <a:noAutofit/>
          </a:body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 name="Titelplatzhalter 1"/>
          <p:cNvSpPr>
            <a:spLocks noGrp="1"/>
          </p:cNvSpPr>
          <p:nvPr userDrawn="1">
            <p:ph type="title"/>
          </p:nvPr>
        </p:nvSpPr>
        <p:spPr>
          <a:xfrm>
            <a:off x="628324" y="285982"/>
            <a:ext cx="10932454" cy="1151733"/>
          </a:xfrm>
          <a:prstGeom prst="rect">
            <a:avLst/>
          </a:prstGeom>
        </p:spPr>
        <p:txBody>
          <a:bodyPr vert="horz" lIns="0" tIns="0" rIns="0" bIns="0" rtlCol="0" anchor="t" anchorCtr="0">
            <a:noAutofit/>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noProof="0" dirty="0"/>
          </a:p>
        </p:txBody>
      </p:sp>
      <p:sp>
        <p:nvSpPr>
          <p:cNvPr id="5" name="Fußzeilenplatzhalter 4"/>
          <p:cNvSpPr>
            <a:spLocks noGrp="1"/>
          </p:cNvSpPr>
          <p:nvPr userDrawn="1">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r>
              <a:rPr lang="de-DE" smtClean="0">
                <a:solidFill>
                  <a:prstClr val="black"/>
                </a:solidFill>
              </a:rPr>
              <a:t>Title of presentation / Department / Date /</a:t>
            </a:r>
            <a:endParaRPr lang="de-DE" dirty="0">
              <a:solidFill>
                <a:prstClr val="black"/>
              </a:solidFill>
            </a:endParaRPr>
          </a:p>
        </p:txBody>
      </p:sp>
      <p:sp>
        <p:nvSpPr>
          <p:cNvPr id="6" name="Foliennummernplatzhalter 5"/>
          <p:cNvSpPr>
            <a:spLocks noGrp="1"/>
          </p:cNvSpPr>
          <p:nvPr userDrawn="1">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de-DE" smtClean="0">
                <a:solidFill>
                  <a:prstClr val="black"/>
                </a:solidFill>
              </a:rPr>
              <a:t>Page </a:t>
            </a:r>
            <a:fld id="{52531704-8F80-415D-BD2B-6B9991AE822F}" type="slidenum">
              <a:rPr lang="de-DE" smtClean="0">
                <a:solidFill>
                  <a:prstClr val="black"/>
                </a:solidFill>
              </a:rPr>
              <a:pPr defTabSz="1088415"/>
              <a:t>‹#›</a:t>
            </a:fld>
            <a:endParaRPr lang="de-DE" dirty="0">
              <a:solidFill>
                <a:prstClr val="black"/>
              </a:solidFill>
            </a:endParaRPr>
          </a:p>
        </p:txBody>
      </p:sp>
    </p:spTree>
    <p:extLst>
      <p:ext uri="{BB962C8B-B14F-4D97-AF65-F5344CB8AC3E}">
        <p14:creationId xmlns:p14="http://schemas.microsoft.com/office/powerpoint/2010/main" val="1780576236"/>
      </p:ext>
    </p:extLst>
  </p:cSld>
  <p:clrMap bg1="lt1" tx1="dk1" bg2="lt2" tx2="dk2" accent1="accent1" accent2="accent2" accent3="accent3" accent4="accent4" accent5="accent5" accent6="accent6" hlink="hlink" folHlink="folHlink"/>
  <p:sldLayoutIdLst>
    <p:sldLayoutId id="2147484666" r:id="rId1"/>
    <p:sldLayoutId id="2147484667" r:id="rId2"/>
    <p:sldLayoutId id="2147484668" r:id="rId3"/>
    <p:sldLayoutId id="2147484669" r:id="rId4"/>
    <p:sldLayoutId id="2147484670" r:id="rId5"/>
    <p:sldLayoutId id="2147484671" r:id="rId6"/>
    <p:sldLayoutId id="2147484672" r:id="rId7"/>
    <p:sldLayoutId id="2147484673" r:id="rId8"/>
    <p:sldLayoutId id="2147484674" r:id="rId9"/>
    <p:sldLayoutId id="2147484675" r:id="rId10"/>
    <p:sldLayoutId id="2147484676" r:id="rId11"/>
    <p:sldLayoutId id="2147484677" r:id="rId12"/>
    <p:sldLayoutId id="2147484678" r:id="rId13"/>
    <p:sldLayoutId id="2147484679" r:id="rId14"/>
    <p:sldLayoutId id="2147484680" r:id="rId15"/>
    <p:sldLayoutId id="2147484681" r:id="rId16"/>
    <p:sldLayoutId id="2147484682" r:id="rId17"/>
    <p:sldLayoutId id="2147484683" r:id="rId18"/>
    <p:sldLayoutId id="2147484684" r:id="rId19"/>
    <p:sldLayoutId id="2147484685" r:id="rId20"/>
    <p:sldLayoutId id="2147484686" r:id="rId21"/>
    <p:sldLayoutId id="2147484687" r:id="rId22"/>
    <p:sldLayoutId id="2147484688" r:id="rId23"/>
    <p:sldLayoutId id="2147484689" r:id="rId24"/>
    <p:sldLayoutId id="2147484690" r:id="rId25"/>
    <p:sldLayoutId id="2147484691" r:id="rId26"/>
    <p:sldLayoutId id="2147484692" r:id="rId27"/>
    <p:sldLayoutId id="2147484694" r:id="rId28"/>
    <p:sldLayoutId id="2147484695" r:id="rId29"/>
    <p:sldLayoutId id="2147484696" r:id="rId30"/>
    <p:sldLayoutId id="2147484697" r:id="rId31"/>
    <p:sldLayoutId id="2147484698" r:id="rId32"/>
    <p:sldLayoutId id="2147484699" r:id="rId33"/>
    <p:sldLayoutId id="2147484700" r:id="rId34"/>
    <p:sldLayoutId id="2147484701" r:id="rId35"/>
    <p:sldLayoutId id="2147484702" r:id="rId36"/>
    <p:sldLayoutId id="2147484703" r:id="rId37"/>
  </p:sldLayoutIdLst>
  <p:hf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0"/>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35363" name="think-cell Folie" r:id="rId41" imgW="216" imgH="216" progId="TCLayout.ActiveDocument.1">
                  <p:embed/>
                </p:oleObj>
              </mc:Choice>
              <mc:Fallback>
                <p:oleObj name="think-cell Folie" r:id="rId41" imgW="216" imgH="216" progId="TCLayout.ActiveDocument.1">
                  <p:embed/>
                  <p:pic>
                    <p:nvPicPr>
                      <p:cNvPr id="0" name=""/>
                      <p:cNvPicPr/>
                      <p:nvPr/>
                    </p:nvPicPr>
                    <p:blipFill>
                      <a:blip r:embed="rId42"/>
                      <a:stretch>
                        <a:fillRect/>
                      </a:stretch>
                    </p:blipFill>
                    <p:spPr>
                      <a:xfrm>
                        <a:off x="1588" y="1588"/>
                        <a:ext cx="1586" cy="1587"/>
                      </a:xfrm>
                      <a:prstGeom prst="rect">
                        <a:avLst/>
                      </a:prstGeom>
                    </p:spPr>
                  </p:pic>
                </p:oleObj>
              </mc:Fallback>
            </mc:AlternateContent>
          </a:graphicData>
        </a:graphic>
      </p:graphicFrame>
      <p:grpSp>
        <p:nvGrpSpPr>
          <p:cNvPr id="37" name="Regieanweisungen"/>
          <p:cNvGrpSpPr/>
          <p:nvPr userDrawn="1"/>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7" name="Listenebene erhöhen"/>
                <p:cNvPicPr>
                  <a:picLocks noChangeAspect="1"/>
                </p:cNvPicPr>
                <p:nvPr userDrawn="1"/>
              </p:nvPicPr>
              <p:blipFill>
                <a:blip r:embed="rId4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4"/>
                <a:stretch>
                  <a:fillRect/>
                </a:stretch>
              </p:blipFill>
              <p:spPr>
                <a:xfrm>
                  <a:off x="-900000" y="2628000"/>
                  <a:ext cx="756000" cy="322369"/>
                </a:xfrm>
                <a:prstGeom prst="rect">
                  <a:avLst/>
                </a:prstGeom>
              </p:spPr>
            </p:pic>
          </p:grpSp>
        </p:grpSp>
      </p:gr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cxnSp>
        <p:nvCxnSpPr>
          <p:cNvPr id="14"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117" y="1504603"/>
            <a:ext cx="10930387" cy="4875670"/>
          </a:xfrm>
          <a:prstGeom prst="rect">
            <a:avLst/>
          </a:prstGeom>
        </p:spPr>
        <p:txBody>
          <a:bodyPr vert="horz" lIns="0" tIns="0" rIns="0" bIns="0" rtlCol="0" anchor="t" anchorCtr="0">
            <a:noAutofit/>
          </a:body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 name="Titelplatzhalter 1"/>
          <p:cNvSpPr>
            <a:spLocks noGrp="1"/>
          </p:cNvSpPr>
          <p:nvPr userDrawn="1">
            <p:ph type="title"/>
          </p:nvPr>
        </p:nvSpPr>
        <p:spPr>
          <a:xfrm>
            <a:off x="628324" y="285982"/>
            <a:ext cx="10932454" cy="1151733"/>
          </a:xfrm>
          <a:prstGeom prst="rect">
            <a:avLst/>
          </a:prstGeom>
        </p:spPr>
        <p:txBody>
          <a:bodyPr vert="horz" lIns="0" tIns="0" rIns="0" bIns="0" rtlCol="0" anchor="t" anchorCtr="0">
            <a:noAutofit/>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noProof="0" dirty="0"/>
          </a:p>
        </p:txBody>
      </p:sp>
      <p:sp>
        <p:nvSpPr>
          <p:cNvPr id="5" name="Fußzeilenplatzhalter 4"/>
          <p:cNvSpPr>
            <a:spLocks noGrp="1"/>
          </p:cNvSpPr>
          <p:nvPr userDrawn="1">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r>
              <a:rPr lang="de-DE" smtClean="0">
                <a:solidFill>
                  <a:prstClr val="black"/>
                </a:solidFill>
              </a:rPr>
              <a:t>Title of presentation / Department / Date /</a:t>
            </a:r>
            <a:endParaRPr lang="de-DE" dirty="0">
              <a:solidFill>
                <a:prstClr val="black"/>
              </a:solidFill>
            </a:endParaRPr>
          </a:p>
        </p:txBody>
      </p:sp>
      <p:sp>
        <p:nvSpPr>
          <p:cNvPr id="6" name="Foliennummernplatzhalter 5"/>
          <p:cNvSpPr>
            <a:spLocks noGrp="1"/>
          </p:cNvSpPr>
          <p:nvPr userDrawn="1">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de-DE" smtClean="0">
                <a:solidFill>
                  <a:prstClr val="black"/>
                </a:solidFill>
              </a:rPr>
              <a:t>Page </a:t>
            </a:r>
            <a:fld id="{52531704-8F80-415D-BD2B-6B9991AE822F}" type="slidenum">
              <a:rPr lang="de-DE" smtClean="0">
                <a:solidFill>
                  <a:prstClr val="black"/>
                </a:solidFill>
              </a:rPr>
              <a:pPr defTabSz="1088415"/>
              <a:t>‹#›</a:t>
            </a:fld>
            <a:endParaRPr lang="de-DE" dirty="0">
              <a:solidFill>
                <a:prstClr val="black"/>
              </a:solidFill>
            </a:endParaRPr>
          </a:p>
        </p:txBody>
      </p:sp>
    </p:spTree>
    <p:extLst>
      <p:ext uri="{BB962C8B-B14F-4D97-AF65-F5344CB8AC3E}">
        <p14:creationId xmlns:p14="http://schemas.microsoft.com/office/powerpoint/2010/main" val="3927868726"/>
      </p:ext>
    </p:extLst>
  </p:cSld>
  <p:clrMap bg1="lt1" tx1="dk1" bg2="lt2" tx2="dk2" accent1="accent1" accent2="accent2" accent3="accent3" accent4="accent4" accent5="accent5" accent6="accent6" hlink="hlink" folHlink="folHlink"/>
  <p:sldLayoutIdLst>
    <p:sldLayoutId id="2147484705" r:id="rId1"/>
    <p:sldLayoutId id="2147484706" r:id="rId2"/>
    <p:sldLayoutId id="2147484707" r:id="rId3"/>
    <p:sldLayoutId id="2147484708" r:id="rId4"/>
    <p:sldLayoutId id="2147484709" r:id="rId5"/>
    <p:sldLayoutId id="2147484710" r:id="rId6"/>
    <p:sldLayoutId id="2147484711" r:id="rId7"/>
    <p:sldLayoutId id="2147484712" r:id="rId8"/>
    <p:sldLayoutId id="2147484713" r:id="rId9"/>
    <p:sldLayoutId id="2147484714" r:id="rId10"/>
    <p:sldLayoutId id="2147484715" r:id="rId11"/>
    <p:sldLayoutId id="2147484716" r:id="rId12"/>
    <p:sldLayoutId id="2147484717" r:id="rId13"/>
    <p:sldLayoutId id="2147484718" r:id="rId14"/>
    <p:sldLayoutId id="2147484719" r:id="rId15"/>
    <p:sldLayoutId id="2147484720" r:id="rId16"/>
    <p:sldLayoutId id="2147484721" r:id="rId17"/>
    <p:sldLayoutId id="2147484722" r:id="rId18"/>
    <p:sldLayoutId id="2147484723" r:id="rId19"/>
    <p:sldLayoutId id="2147484724" r:id="rId20"/>
    <p:sldLayoutId id="2147484725" r:id="rId21"/>
    <p:sldLayoutId id="2147484726" r:id="rId22"/>
    <p:sldLayoutId id="2147484727" r:id="rId23"/>
    <p:sldLayoutId id="2147484728" r:id="rId24"/>
    <p:sldLayoutId id="2147484729" r:id="rId25"/>
    <p:sldLayoutId id="2147484730" r:id="rId26"/>
    <p:sldLayoutId id="2147484731" r:id="rId27"/>
    <p:sldLayoutId id="2147484732" r:id="rId28"/>
    <p:sldLayoutId id="2147484733" r:id="rId29"/>
    <p:sldLayoutId id="2147484735" r:id="rId30"/>
    <p:sldLayoutId id="2147484736" r:id="rId31"/>
    <p:sldLayoutId id="2147484737" r:id="rId32"/>
    <p:sldLayoutId id="2147484738" r:id="rId33"/>
    <p:sldLayoutId id="2147484739" r:id="rId34"/>
    <p:sldLayoutId id="2147484740" r:id="rId35"/>
    <p:sldLayoutId id="2147484741" r:id="rId36"/>
    <p:sldLayoutId id="2147484742" r:id="rId37"/>
  </p:sldLayoutIdLst>
  <p:hf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9"/>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49697" name="think-cell Folie" r:id="rId40" imgW="216" imgH="216" progId="TCLayout.ActiveDocument.1">
                  <p:embed/>
                </p:oleObj>
              </mc:Choice>
              <mc:Fallback>
                <p:oleObj name="think-cell Folie" r:id="rId40" imgW="216" imgH="216" progId="TCLayout.ActiveDocument.1">
                  <p:embed/>
                  <p:pic>
                    <p:nvPicPr>
                      <p:cNvPr id="0" name=""/>
                      <p:cNvPicPr/>
                      <p:nvPr/>
                    </p:nvPicPr>
                    <p:blipFill>
                      <a:blip r:embed="rId41"/>
                      <a:stretch>
                        <a:fillRect/>
                      </a:stretch>
                    </p:blipFill>
                    <p:spPr>
                      <a:xfrm>
                        <a:off x="1588" y="1588"/>
                        <a:ext cx="1586" cy="1587"/>
                      </a:xfrm>
                      <a:prstGeom prst="rect">
                        <a:avLst/>
                      </a:prstGeom>
                    </p:spPr>
                  </p:pic>
                </p:oleObj>
              </mc:Fallback>
            </mc:AlternateContent>
          </a:graphicData>
        </a:graphic>
      </p:graphicFrame>
      <p:grpSp>
        <p:nvGrpSpPr>
          <p:cNvPr id="37" name="Regieanweisungen"/>
          <p:cNvGrpSpPr/>
          <p:nvPr userDrawn="1"/>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7" name="Listenebene erhöhen"/>
                <p:cNvPicPr>
                  <a:picLocks noChangeAspect="1"/>
                </p:cNvPicPr>
                <p:nvPr userDrawn="1"/>
              </p:nvPicPr>
              <p:blipFill>
                <a:blip r:embed="rId42"/>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3"/>
                <a:stretch>
                  <a:fillRect/>
                </a:stretch>
              </p:blipFill>
              <p:spPr>
                <a:xfrm>
                  <a:off x="-900000" y="2628000"/>
                  <a:ext cx="756000" cy="322369"/>
                </a:xfrm>
                <a:prstGeom prst="rect">
                  <a:avLst/>
                </a:prstGeom>
              </p:spPr>
            </p:pic>
          </p:grpSp>
        </p:grpSp>
      </p:gr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cxnSp>
        <p:nvCxnSpPr>
          <p:cNvPr id="14"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117" y="1504603"/>
            <a:ext cx="10930387" cy="4875670"/>
          </a:xfrm>
          <a:prstGeom prst="rect">
            <a:avLst/>
          </a:prstGeom>
        </p:spPr>
        <p:txBody>
          <a:bodyPr vert="horz" lIns="0" tIns="0" rIns="0" bIns="0" rtlCol="0" anchor="t" anchorCtr="0">
            <a:noAutofit/>
          </a:body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 name="Titelplatzhalter 1"/>
          <p:cNvSpPr>
            <a:spLocks noGrp="1"/>
          </p:cNvSpPr>
          <p:nvPr userDrawn="1">
            <p:ph type="title"/>
          </p:nvPr>
        </p:nvSpPr>
        <p:spPr>
          <a:xfrm>
            <a:off x="628324" y="285982"/>
            <a:ext cx="10932454" cy="1151733"/>
          </a:xfrm>
          <a:prstGeom prst="rect">
            <a:avLst/>
          </a:prstGeom>
        </p:spPr>
        <p:txBody>
          <a:bodyPr vert="horz" lIns="0" tIns="0" rIns="0" bIns="0" rtlCol="0" anchor="t" anchorCtr="0">
            <a:noAutofit/>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noProof="0" dirty="0"/>
          </a:p>
        </p:txBody>
      </p:sp>
      <p:sp>
        <p:nvSpPr>
          <p:cNvPr id="5" name="Fußzeilenplatzhalter 4"/>
          <p:cNvSpPr>
            <a:spLocks noGrp="1"/>
          </p:cNvSpPr>
          <p:nvPr userDrawn="1">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r>
              <a:rPr lang="de-DE" smtClean="0">
                <a:solidFill>
                  <a:prstClr val="black"/>
                </a:solidFill>
              </a:rPr>
              <a:t>Title of presentation / Department / Date /</a:t>
            </a:r>
            <a:endParaRPr lang="de-DE" dirty="0">
              <a:solidFill>
                <a:prstClr val="black"/>
              </a:solidFill>
            </a:endParaRPr>
          </a:p>
        </p:txBody>
      </p:sp>
      <p:sp>
        <p:nvSpPr>
          <p:cNvPr id="6" name="Foliennummernplatzhalter 5"/>
          <p:cNvSpPr>
            <a:spLocks noGrp="1"/>
          </p:cNvSpPr>
          <p:nvPr userDrawn="1">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de-DE" smtClean="0">
                <a:solidFill>
                  <a:prstClr val="black"/>
                </a:solidFill>
              </a:rPr>
              <a:t>Page </a:t>
            </a:r>
            <a:fld id="{52531704-8F80-415D-BD2B-6B9991AE822F}" type="slidenum">
              <a:rPr lang="de-DE" smtClean="0">
                <a:solidFill>
                  <a:prstClr val="black"/>
                </a:solidFill>
              </a:rPr>
              <a:pPr defTabSz="1088415"/>
              <a:t>‹#›</a:t>
            </a:fld>
            <a:endParaRPr lang="de-DE" dirty="0">
              <a:solidFill>
                <a:prstClr val="black"/>
              </a:solidFill>
            </a:endParaRPr>
          </a:p>
        </p:txBody>
      </p:sp>
    </p:spTree>
    <p:extLst>
      <p:ext uri="{BB962C8B-B14F-4D97-AF65-F5344CB8AC3E}">
        <p14:creationId xmlns:p14="http://schemas.microsoft.com/office/powerpoint/2010/main" val="2543724477"/>
      </p:ext>
    </p:extLst>
  </p:cSld>
  <p:clrMap bg1="lt1" tx1="dk1" bg2="lt2" tx2="dk2" accent1="accent1" accent2="accent2" accent3="accent3" accent4="accent4" accent5="accent5" accent6="accent6" hlink="hlink" folHlink="folHlink"/>
  <p:sldLayoutIdLst>
    <p:sldLayoutId id="2147484744" r:id="rId1"/>
    <p:sldLayoutId id="2147484745" r:id="rId2"/>
    <p:sldLayoutId id="2147484746" r:id="rId3"/>
    <p:sldLayoutId id="2147484747" r:id="rId4"/>
    <p:sldLayoutId id="2147484748" r:id="rId5"/>
    <p:sldLayoutId id="2147484749" r:id="rId6"/>
    <p:sldLayoutId id="2147484750" r:id="rId7"/>
    <p:sldLayoutId id="2147484751" r:id="rId8"/>
    <p:sldLayoutId id="2147484752" r:id="rId9"/>
    <p:sldLayoutId id="2147484753" r:id="rId10"/>
    <p:sldLayoutId id="2147484754" r:id="rId11"/>
    <p:sldLayoutId id="2147484755" r:id="rId12"/>
    <p:sldLayoutId id="2147484756" r:id="rId13"/>
    <p:sldLayoutId id="2147484757" r:id="rId14"/>
    <p:sldLayoutId id="2147484758" r:id="rId15"/>
    <p:sldLayoutId id="2147484759" r:id="rId16"/>
    <p:sldLayoutId id="2147484760" r:id="rId17"/>
    <p:sldLayoutId id="2147484761" r:id="rId18"/>
    <p:sldLayoutId id="2147484762" r:id="rId19"/>
    <p:sldLayoutId id="2147484763" r:id="rId20"/>
    <p:sldLayoutId id="2147484764" r:id="rId21"/>
    <p:sldLayoutId id="2147484765" r:id="rId22"/>
    <p:sldLayoutId id="2147484766" r:id="rId23"/>
    <p:sldLayoutId id="2147484767" r:id="rId24"/>
    <p:sldLayoutId id="2147484768" r:id="rId25"/>
    <p:sldLayoutId id="2147484769" r:id="rId26"/>
    <p:sldLayoutId id="2147484770" r:id="rId27"/>
    <p:sldLayoutId id="2147484771" r:id="rId28"/>
    <p:sldLayoutId id="2147484772" r:id="rId29"/>
    <p:sldLayoutId id="2147484773" r:id="rId30"/>
    <p:sldLayoutId id="2147484775" r:id="rId31"/>
    <p:sldLayoutId id="2147484776" r:id="rId32"/>
    <p:sldLayoutId id="2147484777" r:id="rId33"/>
    <p:sldLayoutId id="2147484778" r:id="rId34"/>
    <p:sldLayoutId id="2147484779" r:id="rId35"/>
    <p:sldLayoutId id="2147484780" r:id="rId36"/>
  </p:sldLayoutIdLst>
  <p:hf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9"/>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61985" name="think-cell Folie" r:id="rId40" imgW="216" imgH="216" progId="TCLayout.ActiveDocument.1">
                  <p:embed/>
                </p:oleObj>
              </mc:Choice>
              <mc:Fallback>
                <p:oleObj name="think-cell Folie" r:id="rId40" imgW="216" imgH="216" progId="TCLayout.ActiveDocument.1">
                  <p:embed/>
                  <p:pic>
                    <p:nvPicPr>
                      <p:cNvPr id="0" name=""/>
                      <p:cNvPicPr/>
                      <p:nvPr/>
                    </p:nvPicPr>
                    <p:blipFill>
                      <a:blip r:embed="rId41"/>
                      <a:stretch>
                        <a:fillRect/>
                      </a:stretch>
                    </p:blipFill>
                    <p:spPr>
                      <a:xfrm>
                        <a:off x="1588" y="1588"/>
                        <a:ext cx="1586" cy="1587"/>
                      </a:xfrm>
                      <a:prstGeom prst="rect">
                        <a:avLst/>
                      </a:prstGeom>
                    </p:spPr>
                  </p:pic>
                </p:oleObj>
              </mc:Fallback>
            </mc:AlternateContent>
          </a:graphicData>
        </a:graphic>
      </p:graphicFrame>
      <p:grpSp>
        <p:nvGrpSpPr>
          <p:cNvPr id="37" name="Regieanweisungen"/>
          <p:cNvGrpSpPr/>
          <p:nvPr userDrawn="1"/>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7" name="Listenebene erhöhen"/>
                <p:cNvPicPr>
                  <a:picLocks noChangeAspect="1"/>
                </p:cNvPicPr>
                <p:nvPr userDrawn="1"/>
              </p:nvPicPr>
              <p:blipFill>
                <a:blip r:embed="rId42"/>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3"/>
                <a:stretch>
                  <a:fillRect/>
                </a:stretch>
              </p:blipFill>
              <p:spPr>
                <a:xfrm>
                  <a:off x="-900000" y="2628000"/>
                  <a:ext cx="756000" cy="322369"/>
                </a:xfrm>
                <a:prstGeom prst="rect">
                  <a:avLst/>
                </a:prstGeom>
              </p:spPr>
            </p:pic>
          </p:grpSp>
        </p:grpSp>
      </p:gr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cxnSp>
        <p:nvCxnSpPr>
          <p:cNvPr id="14"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117" y="1504603"/>
            <a:ext cx="10930387" cy="4875670"/>
          </a:xfrm>
          <a:prstGeom prst="rect">
            <a:avLst/>
          </a:prstGeom>
        </p:spPr>
        <p:txBody>
          <a:bodyPr vert="horz" lIns="0" tIns="0" rIns="0" bIns="0" rtlCol="0" anchor="t" anchorCtr="0">
            <a:noAutofit/>
          </a:body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 name="Titelplatzhalter 1"/>
          <p:cNvSpPr>
            <a:spLocks noGrp="1"/>
          </p:cNvSpPr>
          <p:nvPr userDrawn="1">
            <p:ph type="title"/>
          </p:nvPr>
        </p:nvSpPr>
        <p:spPr>
          <a:xfrm>
            <a:off x="628324" y="285982"/>
            <a:ext cx="10932454" cy="1151733"/>
          </a:xfrm>
          <a:prstGeom prst="rect">
            <a:avLst/>
          </a:prstGeom>
        </p:spPr>
        <p:txBody>
          <a:bodyPr vert="horz" lIns="0" tIns="0" rIns="0" bIns="0" rtlCol="0" anchor="t" anchorCtr="0">
            <a:noAutofit/>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noProof="0" dirty="0"/>
          </a:p>
        </p:txBody>
      </p:sp>
      <p:sp>
        <p:nvSpPr>
          <p:cNvPr id="5" name="Fußzeilenplatzhalter 4"/>
          <p:cNvSpPr>
            <a:spLocks noGrp="1"/>
          </p:cNvSpPr>
          <p:nvPr userDrawn="1">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r>
              <a:rPr lang="de-DE" smtClean="0">
                <a:solidFill>
                  <a:prstClr val="black"/>
                </a:solidFill>
              </a:rPr>
              <a:t>Title of presentation / Department / Date /</a:t>
            </a:r>
            <a:endParaRPr lang="de-DE" dirty="0">
              <a:solidFill>
                <a:prstClr val="black"/>
              </a:solidFill>
            </a:endParaRPr>
          </a:p>
        </p:txBody>
      </p:sp>
      <p:sp>
        <p:nvSpPr>
          <p:cNvPr id="6" name="Foliennummernplatzhalter 5"/>
          <p:cNvSpPr>
            <a:spLocks noGrp="1"/>
          </p:cNvSpPr>
          <p:nvPr userDrawn="1">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de-DE" smtClean="0">
                <a:solidFill>
                  <a:prstClr val="black"/>
                </a:solidFill>
              </a:rPr>
              <a:t>Page </a:t>
            </a:r>
            <a:fld id="{52531704-8F80-415D-BD2B-6B9991AE822F}" type="slidenum">
              <a:rPr lang="de-DE" smtClean="0">
                <a:solidFill>
                  <a:prstClr val="black"/>
                </a:solidFill>
              </a:rPr>
              <a:pPr defTabSz="1088415"/>
              <a:t>‹#›</a:t>
            </a:fld>
            <a:endParaRPr lang="de-DE" dirty="0">
              <a:solidFill>
                <a:prstClr val="black"/>
              </a:solidFill>
            </a:endParaRPr>
          </a:p>
        </p:txBody>
      </p:sp>
    </p:spTree>
    <p:extLst>
      <p:ext uri="{BB962C8B-B14F-4D97-AF65-F5344CB8AC3E}">
        <p14:creationId xmlns:p14="http://schemas.microsoft.com/office/powerpoint/2010/main" val="3501117328"/>
      </p:ext>
    </p:extLst>
  </p:cSld>
  <p:clrMap bg1="lt1" tx1="dk1" bg2="lt2" tx2="dk2" accent1="accent1" accent2="accent2" accent3="accent3" accent4="accent4" accent5="accent5" accent6="accent6" hlink="hlink" folHlink="folHlink"/>
  <p:sldLayoutIdLst>
    <p:sldLayoutId id="2147484782" r:id="rId1"/>
    <p:sldLayoutId id="2147484783" r:id="rId2"/>
    <p:sldLayoutId id="2147484784" r:id="rId3"/>
    <p:sldLayoutId id="2147484785" r:id="rId4"/>
    <p:sldLayoutId id="2147484786" r:id="rId5"/>
    <p:sldLayoutId id="2147484787" r:id="rId6"/>
    <p:sldLayoutId id="2147484788" r:id="rId7"/>
    <p:sldLayoutId id="2147484789" r:id="rId8"/>
    <p:sldLayoutId id="2147484790" r:id="rId9"/>
    <p:sldLayoutId id="2147484791" r:id="rId10"/>
    <p:sldLayoutId id="2147484792" r:id="rId11"/>
    <p:sldLayoutId id="2147484793" r:id="rId12"/>
    <p:sldLayoutId id="2147484794" r:id="rId13"/>
    <p:sldLayoutId id="2147484795" r:id="rId14"/>
    <p:sldLayoutId id="2147484796" r:id="rId15"/>
    <p:sldLayoutId id="2147484797" r:id="rId16"/>
    <p:sldLayoutId id="2147484798" r:id="rId17"/>
    <p:sldLayoutId id="2147484799" r:id="rId18"/>
    <p:sldLayoutId id="2147484800" r:id="rId19"/>
    <p:sldLayoutId id="2147484801" r:id="rId20"/>
    <p:sldLayoutId id="2147484802" r:id="rId21"/>
    <p:sldLayoutId id="2147484803" r:id="rId22"/>
    <p:sldLayoutId id="2147484804" r:id="rId23"/>
    <p:sldLayoutId id="2147484805" r:id="rId24"/>
    <p:sldLayoutId id="2147484806" r:id="rId25"/>
    <p:sldLayoutId id="2147484807" r:id="rId26"/>
    <p:sldLayoutId id="2147484808" r:id="rId27"/>
    <p:sldLayoutId id="2147484809" r:id="rId28"/>
    <p:sldLayoutId id="2147484810" r:id="rId29"/>
    <p:sldLayoutId id="2147484811" r:id="rId30"/>
    <p:sldLayoutId id="2147484812" r:id="rId31"/>
    <p:sldLayoutId id="2147484813" r:id="rId32"/>
    <p:sldLayoutId id="2147484815" r:id="rId33"/>
    <p:sldLayoutId id="2147484816" r:id="rId34"/>
    <p:sldLayoutId id="2147484817" r:id="rId35"/>
    <p:sldLayoutId id="2147484818" r:id="rId36"/>
  </p:sldLayoutIdLst>
  <p:hf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9"/>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75295" name="think-cell Folie" r:id="rId40" imgW="216" imgH="216" progId="TCLayout.ActiveDocument.1">
                  <p:embed/>
                </p:oleObj>
              </mc:Choice>
              <mc:Fallback>
                <p:oleObj name="think-cell Folie" r:id="rId40" imgW="216" imgH="216" progId="TCLayout.ActiveDocument.1">
                  <p:embed/>
                  <p:pic>
                    <p:nvPicPr>
                      <p:cNvPr id="0" name=""/>
                      <p:cNvPicPr/>
                      <p:nvPr/>
                    </p:nvPicPr>
                    <p:blipFill>
                      <a:blip r:embed="rId41"/>
                      <a:stretch>
                        <a:fillRect/>
                      </a:stretch>
                    </p:blipFill>
                    <p:spPr>
                      <a:xfrm>
                        <a:off x="1588" y="1588"/>
                        <a:ext cx="1586" cy="1587"/>
                      </a:xfrm>
                      <a:prstGeom prst="rect">
                        <a:avLst/>
                      </a:prstGeom>
                    </p:spPr>
                  </p:pic>
                </p:oleObj>
              </mc:Fallback>
            </mc:AlternateContent>
          </a:graphicData>
        </a:graphic>
      </p:graphicFrame>
      <p:grpSp>
        <p:nvGrpSpPr>
          <p:cNvPr id="37" name="Regieanweisungen"/>
          <p:cNvGrpSpPr/>
          <p:nvPr userDrawn="1"/>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7" name="Listenebene erhöhen"/>
                <p:cNvPicPr>
                  <a:picLocks noChangeAspect="1"/>
                </p:cNvPicPr>
                <p:nvPr userDrawn="1"/>
              </p:nvPicPr>
              <p:blipFill>
                <a:blip r:embed="rId42"/>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3"/>
                <a:stretch>
                  <a:fillRect/>
                </a:stretch>
              </p:blipFill>
              <p:spPr>
                <a:xfrm>
                  <a:off x="-900000" y="2628000"/>
                  <a:ext cx="756000" cy="322369"/>
                </a:xfrm>
                <a:prstGeom prst="rect">
                  <a:avLst/>
                </a:prstGeom>
              </p:spPr>
            </p:pic>
          </p:grpSp>
        </p:grpSp>
      </p:gr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cxnSp>
        <p:nvCxnSpPr>
          <p:cNvPr id="14"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117" y="1504603"/>
            <a:ext cx="10930387" cy="4875670"/>
          </a:xfrm>
          <a:prstGeom prst="rect">
            <a:avLst/>
          </a:prstGeom>
        </p:spPr>
        <p:txBody>
          <a:bodyPr vert="horz" lIns="0" tIns="0" rIns="0" bIns="0" rtlCol="0" anchor="t" anchorCtr="0">
            <a:noAutofit/>
          </a:body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 name="Titelplatzhalter 1"/>
          <p:cNvSpPr>
            <a:spLocks noGrp="1"/>
          </p:cNvSpPr>
          <p:nvPr userDrawn="1">
            <p:ph type="title"/>
          </p:nvPr>
        </p:nvSpPr>
        <p:spPr>
          <a:xfrm>
            <a:off x="628324" y="285982"/>
            <a:ext cx="10932454" cy="1151733"/>
          </a:xfrm>
          <a:prstGeom prst="rect">
            <a:avLst/>
          </a:prstGeom>
        </p:spPr>
        <p:txBody>
          <a:bodyPr vert="horz" lIns="0" tIns="0" rIns="0" bIns="0" rtlCol="0" anchor="t" anchorCtr="0">
            <a:noAutofit/>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noProof="0" dirty="0"/>
          </a:p>
        </p:txBody>
      </p:sp>
      <p:sp>
        <p:nvSpPr>
          <p:cNvPr id="5" name="Fußzeilenplatzhalter 4"/>
          <p:cNvSpPr>
            <a:spLocks noGrp="1"/>
          </p:cNvSpPr>
          <p:nvPr userDrawn="1">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r>
              <a:rPr lang="de-DE" smtClean="0">
                <a:solidFill>
                  <a:prstClr val="black"/>
                </a:solidFill>
              </a:rPr>
              <a:t>Title of presentation / Department / Date /</a:t>
            </a:r>
            <a:endParaRPr lang="de-DE" dirty="0">
              <a:solidFill>
                <a:prstClr val="black"/>
              </a:solidFill>
            </a:endParaRPr>
          </a:p>
        </p:txBody>
      </p:sp>
      <p:sp>
        <p:nvSpPr>
          <p:cNvPr id="6" name="Foliennummernplatzhalter 5"/>
          <p:cNvSpPr>
            <a:spLocks noGrp="1"/>
          </p:cNvSpPr>
          <p:nvPr userDrawn="1">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de-DE" smtClean="0">
                <a:solidFill>
                  <a:prstClr val="black"/>
                </a:solidFill>
              </a:rPr>
              <a:t>Page </a:t>
            </a:r>
            <a:fld id="{52531704-8F80-415D-BD2B-6B9991AE822F}" type="slidenum">
              <a:rPr lang="de-DE" smtClean="0">
                <a:solidFill>
                  <a:prstClr val="black"/>
                </a:solidFill>
              </a:rPr>
              <a:pPr defTabSz="1088415"/>
              <a:t>‹#›</a:t>
            </a:fld>
            <a:endParaRPr lang="de-DE" dirty="0">
              <a:solidFill>
                <a:prstClr val="black"/>
              </a:solidFill>
            </a:endParaRPr>
          </a:p>
        </p:txBody>
      </p:sp>
    </p:spTree>
    <p:extLst>
      <p:ext uri="{BB962C8B-B14F-4D97-AF65-F5344CB8AC3E}">
        <p14:creationId xmlns:p14="http://schemas.microsoft.com/office/powerpoint/2010/main" val="847996135"/>
      </p:ext>
    </p:extLst>
  </p:cSld>
  <p:clrMap bg1="lt1" tx1="dk1" bg2="lt2" tx2="dk2" accent1="accent1" accent2="accent2" accent3="accent3" accent4="accent4" accent5="accent5" accent6="accent6" hlink="hlink" folHlink="folHlink"/>
  <p:sldLayoutIdLst>
    <p:sldLayoutId id="2147484820" r:id="rId1"/>
    <p:sldLayoutId id="2147484821" r:id="rId2"/>
    <p:sldLayoutId id="2147484822" r:id="rId3"/>
    <p:sldLayoutId id="2147484823" r:id="rId4"/>
    <p:sldLayoutId id="2147484824" r:id="rId5"/>
    <p:sldLayoutId id="2147484825" r:id="rId6"/>
    <p:sldLayoutId id="2147484826" r:id="rId7"/>
    <p:sldLayoutId id="2147484827" r:id="rId8"/>
    <p:sldLayoutId id="2147484828" r:id="rId9"/>
    <p:sldLayoutId id="2147484829" r:id="rId10"/>
    <p:sldLayoutId id="2147484830" r:id="rId11"/>
    <p:sldLayoutId id="2147484831" r:id="rId12"/>
    <p:sldLayoutId id="2147484832" r:id="rId13"/>
    <p:sldLayoutId id="2147484833" r:id="rId14"/>
    <p:sldLayoutId id="2147484834" r:id="rId15"/>
    <p:sldLayoutId id="2147484835" r:id="rId16"/>
    <p:sldLayoutId id="2147484836" r:id="rId17"/>
    <p:sldLayoutId id="2147484837" r:id="rId18"/>
    <p:sldLayoutId id="2147484838" r:id="rId19"/>
    <p:sldLayoutId id="2147484839" r:id="rId20"/>
    <p:sldLayoutId id="2147484840" r:id="rId21"/>
    <p:sldLayoutId id="2147484841" r:id="rId22"/>
    <p:sldLayoutId id="2147484842" r:id="rId23"/>
    <p:sldLayoutId id="2147484843" r:id="rId24"/>
    <p:sldLayoutId id="2147484844" r:id="rId25"/>
    <p:sldLayoutId id="2147484845" r:id="rId26"/>
    <p:sldLayoutId id="2147484846" r:id="rId27"/>
    <p:sldLayoutId id="2147484847" r:id="rId28"/>
    <p:sldLayoutId id="2147484848" r:id="rId29"/>
    <p:sldLayoutId id="2147484849" r:id="rId30"/>
    <p:sldLayoutId id="2147484850" r:id="rId31"/>
    <p:sldLayoutId id="2147484851" r:id="rId32"/>
    <p:sldLayoutId id="2147484852" r:id="rId33"/>
    <p:sldLayoutId id="2147484853" r:id="rId34"/>
    <p:sldLayoutId id="2147484855" r:id="rId35"/>
    <p:sldLayoutId id="2147484856" r:id="rId36"/>
  </p:sldLayoutIdLst>
  <p:hf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9"/>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86559" name="think-cell Folie" r:id="rId40" imgW="216" imgH="216" progId="TCLayout.ActiveDocument.1">
                  <p:embed/>
                </p:oleObj>
              </mc:Choice>
              <mc:Fallback>
                <p:oleObj name="think-cell Folie" r:id="rId40" imgW="216" imgH="216" progId="TCLayout.ActiveDocument.1">
                  <p:embed/>
                  <p:pic>
                    <p:nvPicPr>
                      <p:cNvPr id="0" name=""/>
                      <p:cNvPicPr/>
                      <p:nvPr/>
                    </p:nvPicPr>
                    <p:blipFill>
                      <a:blip r:embed="rId41"/>
                      <a:stretch>
                        <a:fillRect/>
                      </a:stretch>
                    </p:blipFill>
                    <p:spPr>
                      <a:xfrm>
                        <a:off x="1588" y="1588"/>
                        <a:ext cx="1586" cy="1587"/>
                      </a:xfrm>
                      <a:prstGeom prst="rect">
                        <a:avLst/>
                      </a:prstGeom>
                    </p:spPr>
                  </p:pic>
                </p:oleObj>
              </mc:Fallback>
            </mc:AlternateContent>
          </a:graphicData>
        </a:graphic>
      </p:graphicFrame>
      <p:grpSp>
        <p:nvGrpSpPr>
          <p:cNvPr id="37" name="Regieanweisungen"/>
          <p:cNvGrpSpPr/>
          <p:nvPr userDrawn="1"/>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Show </a:t>
              </a:r>
              <a:r>
                <a:rPr lang="de-DE" sz="1099" dirty="0" err="1">
                  <a:solidFill>
                    <a:srgbClr val="444444"/>
                  </a:solidFill>
                </a:rPr>
                <a:t>guides</a:t>
              </a:r>
              <a:r>
                <a:rPr lang="de-DE" sz="1099" dirty="0">
                  <a:solidFill>
                    <a:srgbClr val="444444"/>
                  </a:solidFill>
                </a:rPr>
                <a:t> via </a:t>
              </a:r>
              <a:r>
                <a:rPr lang="de-DE" sz="1099" dirty="0" err="1">
                  <a:solidFill>
                    <a:srgbClr val="444444"/>
                  </a:solidFill>
                </a:rPr>
                <a:t>menu</a:t>
              </a:r>
              <a:r>
                <a:rPr lang="de-DE" sz="1099" dirty="0">
                  <a:solidFill>
                    <a:srgbClr val="444444"/>
                  </a:solidFill>
                </a:rPr>
                <a:t>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err="1">
                  <a:solidFill>
                    <a:srgbClr val="444444"/>
                  </a:solidFill>
                </a:rPr>
                <a:t>Adjust</a:t>
              </a:r>
              <a:r>
                <a:rPr lang="de-DE" sz="1099" dirty="0">
                  <a:solidFill>
                    <a:srgbClr val="444444"/>
                  </a:solidFill>
                </a:rPr>
                <a:t> </a:t>
              </a:r>
              <a:r>
                <a:rPr lang="de-DE" sz="1099" dirty="0" err="1">
                  <a:solidFill>
                    <a:srgbClr val="444444"/>
                  </a:solidFill>
                </a:rPr>
                <a:t>footer</a:t>
              </a:r>
              <a:r>
                <a:rPr lang="de-DE" sz="1099" dirty="0">
                  <a:solidFill>
                    <a:srgbClr val="444444"/>
                  </a:solidFill>
                </a:rPr>
                <a:t> (per </a:t>
              </a:r>
              <a:r>
                <a:rPr lang="de-DE" sz="1099" dirty="0" err="1">
                  <a:solidFill>
                    <a:srgbClr val="444444"/>
                  </a:solidFill>
                </a:rPr>
                <a:t>slide</a:t>
              </a:r>
              <a:r>
                <a:rPr lang="de-DE" sz="1099" dirty="0">
                  <a:solidFill>
                    <a:srgbClr val="444444"/>
                  </a:solidFill>
                </a:rPr>
                <a:t> </a:t>
              </a:r>
              <a:r>
                <a:rPr lang="de-DE" sz="1099" dirty="0" err="1">
                  <a:solidFill>
                    <a:srgbClr val="444444"/>
                  </a:solidFill>
                </a:rPr>
                <a:t>or</a:t>
              </a:r>
              <a:r>
                <a:rPr lang="de-DE" sz="1099" dirty="0">
                  <a:solidFill>
                    <a:srgbClr val="444444"/>
                  </a:solidFill>
                </a:rPr>
                <a:t> </a:t>
              </a:r>
              <a:r>
                <a:rPr lang="de-DE" sz="1099" dirty="0" err="1">
                  <a:solidFill>
                    <a:srgbClr val="444444"/>
                  </a:solidFill>
                </a:rPr>
                <a:t>for</a:t>
              </a:r>
              <a:r>
                <a:rPr lang="de-DE" sz="1099" dirty="0">
                  <a:solidFill>
                    <a:srgbClr val="444444"/>
                  </a:solidFill>
                </a:rPr>
                <a:t> </a:t>
              </a:r>
              <a:r>
                <a:rPr lang="de-DE" sz="1099" dirty="0" err="1">
                  <a:solidFill>
                    <a:srgbClr val="444444"/>
                  </a:solidFill>
                </a:rPr>
                <a:t>several</a:t>
              </a:r>
              <a:r>
                <a:rPr lang="de-DE" sz="1099" dirty="0">
                  <a:solidFill>
                    <a:srgbClr val="444444"/>
                  </a:solidFill>
                </a:rPr>
                <a:t>/all </a:t>
              </a:r>
              <a:r>
                <a:rPr lang="de-DE" sz="1099" dirty="0" err="1">
                  <a:solidFill>
                    <a:srgbClr val="444444"/>
                  </a:solidFill>
                </a:rPr>
                <a:t>slides</a:t>
              </a:r>
              <a:r>
                <a:rPr lang="de-DE" sz="1099" dirty="0">
                  <a:solidFill>
                    <a:srgbClr val="444444"/>
                  </a:solidFill>
                </a:rPr>
                <a:t>) via </a:t>
              </a:r>
              <a:r>
                <a:rPr lang="de-DE" sz="1099" dirty="0" err="1">
                  <a:solidFill>
                    <a:srgbClr val="444444"/>
                  </a:solidFill>
                </a:rPr>
                <a:t>menu</a:t>
              </a:r>
              <a:r>
                <a:rPr lang="de-DE" sz="1099" dirty="0">
                  <a:solidFill>
                    <a:srgbClr val="444444"/>
                  </a:solidFill>
                </a:rPr>
                <a:t> bar: Insert // Text // Header &amp; </a:t>
              </a:r>
              <a:r>
                <a:rPr lang="de-DE" sz="1099" dirty="0" err="1">
                  <a:solidFill>
                    <a:srgbClr val="444444"/>
                  </a:solidFill>
                </a:rPr>
                <a:t>Footer</a:t>
              </a:r>
              <a:endParaRPr lang="de-DE" sz="1099" dirty="0">
                <a:solidFill>
                  <a:srgbClr val="444444"/>
                </a:solidFill>
              </a:endParaRP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err="1">
                    <a:solidFill>
                      <a:srgbClr val="444444"/>
                    </a:solidFill>
                  </a:rPr>
                  <a:t>Reset</a:t>
                </a:r>
                <a:r>
                  <a:rPr lang="de-DE" sz="1099" dirty="0">
                    <a:solidFill>
                      <a:srgbClr val="444444"/>
                    </a:solidFill>
                  </a:rPr>
                  <a:t>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back </a:t>
                </a:r>
                <a:r>
                  <a:rPr lang="de-DE" sz="1099" dirty="0" err="1">
                    <a:solidFill>
                      <a:srgbClr val="444444"/>
                    </a:solidFill>
                  </a:rPr>
                  <a:t>to</a:t>
                </a:r>
                <a:r>
                  <a:rPr lang="de-DE" sz="1099" dirty="0">
                    <a:solidFill>
                      <a:srgbClr val="444444"/>
                    </a:solidFill>
                  </a:rPr>
                  <a:t> </a:t>
                </a:r>
                <a:r>
                  <a:rPr lang="de-DE" sz="1099" dirty="0" err="1">
                    <a:solidFill>
                      <a:srgbClr val="444444"/>
                    </a:solidFill>
                  </a:rPr>
                  <a:t>its</a:t>
                </a:r>
                <a:r>
                  <a:rPr lang="de-DE" sz="1099" dirty="0">
                    <a:solidFill>
                      <a:srgbClr val="444444"/>
                    </a:solidFill>
                  </a:rPr>
                  <a:t> </a:t>
                </a:r>
              </a:p>
              <a:p>
                <a:pPr algn="r"/>
                <a:r>
                  <a:rPr lang="de-DE" sz="1099" dirty="0">
                    <a:solidFill>
                      <a:srgbClr val="444444"/>
                    </a:solidFill>
                  </a:rPr>
                  <a:t>original form 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a:t>
                </a:r>
                <a:r>
                  <a:rPr lang="de-DE" sz="1099" dirty="0" err="1">
                    <a:solidFill>
                      <a:srgbClr val="444444"/>
                    </a:solidFill>
                  </a:rPr>
                  <a:t>Reset</a:t>
                </a:r>
                <a:endParaRPr lang="de-DE" sz="1099" dirty="0">
                  <a:solidFill>
                    <a:srgbClr val="444444"/>
                  </a:solidFill>
                </a:endParaRP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slide</a:t>
                </a:r>
                <a:r>
                  <a:rPr lang="de-DE" sz="1099" dirty="0">
                    <a:solidFill>
                      <a:srgbClr val="444444"/>
                    </a:solidFill>
                  </a:rPr>
                  <a:t> </a:t>
                </a:r>
                <a:r>
                  <a:rPr lang="de-DE" sz="1099" dirty="0" err="1">
                    <a:solidFill>
                      <a:srgbClr val="444444"/>
                    </a:solidFill>
                  </a:rPr>
                  <a:t>layout</a:t>
                </a:r>
                <a:r>
                  <a:rPr lang="de-DE" sz="1099" dirty="0">
                    <a:solidFill>
                      <a:srgbClr val="444444"/>
                    </a:solidFill>
                  </a:rPr>
                  <a:t> </a:t>
                </a: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a:t>
                </a:r>
              </a:p>
              <a:p>
                <a:pPr algn="r"/>
                <a:r>
                  <a:rPr lang="de-DE" sz="1099" dirty="0">
                    <a:solidFill>
                      <a:srgbClr val="444444"/>
                    </a:solidFill>
                  </a:rPr>
                  <a:t>Home // </a:t>
                </a:r>
                <a:r>
                  <a:rPr lang="de-DE" sz="1099" dirty="0" err="1">
                    <a:solidFill>
                      <a:srgbClr val="444444"/>
                    </a:solidFill>
                  </a:rPr>
                  <a:t>Slides</a:t>
                </a:r>
                <a:r>
                  <a:rPr lang="de-DE" sz="1099" dirty="0">
                    <a:solidFill>
                      <a:srgbClr val="444444"/>
                    </a:solidFill>
                  </a:rPr>
                  <a:t> // Layout</a:t>
                </a:r>
              </a:p>
              <a:p>
                <a:pPr algn="r"/>
                <a:endParaRPr lang="de-DE" sz="1099" dirty="0">
                  <a:solidFill>
                    <a:srgbClr val="444444"/>
                  </a:solidFill>
                </a:endParaRPr>
              </a:p>
              <a:p>
                <a:pPr algn="r"/>
                <a:r>
                  <a:rPr lang="de-DE" sz="1099" dirty="0">
                    <a:solidFill>
                      <a:srgbClr val="444444"/>
                    </a:solidFill>
                  </a:rPr>
                  <a:t>Change </a:t>
                </a:r>
                <a:r>
                  <a:rPr lang="de-DE" sz="1099" dirty="0" err="1">
                    <a:solidFill>
                      <a:srgbClr val="444444"/>
                    </a:solidFill>
                  </a:rPr>
                  <a:t>the</a:t>
                </a:r>
                <a:r>
                  <a:rPr lang="de-DE" sz="1099" dirty="0">
                    <a:solidFill>
                      <a:srgbClr val="444444"/>
                    </a:solidFill>
                  </a:rPr>
                  <a:t> </a:t>
                </a:r>
                <a:r>
                  <a:rPr lang="de-DE" sz="1099" dirty="0" err="1">
                    <a:solidFill>
                      <a:srgbClr val="444444"/>
                    </a:solidFill>
                  </a:rPr>
                  <a:t>text</a:t>
                </a:r>
                <a:r>
                  <a:rPr lang="de-DE" sz="1099" dirty="0">
                    <a:solidFill>
                      <a:srgbClr val="444444"/>
                    </a:solidFill>
                  </a:rPr>
                  <a:t> </a:t>
                </a:r>
                <a:r>
                  <a:rPr lang="de-DE" sz="1099" dirty="0" err="1">
                    <a:solidFill>
                      <a:srgbClr val="444444"/>
                    </a:solidFill>
                  </a:rPr>
                  <a:t>level</a:t>
                </a:r>
                <a:endParaRPr lang="de-DE" sz="1099" dirty="0">
                  <a:solidFill>
                    <a:srgbClr val="444444"/>
                  </a:solidFill>
                </a:endParaRPr>
              </a:p>
              <a:p>
                <a:pPr algn="r"/>
                <a:r>
                  <a:rPr lang="de-DE" sz="1099" dirty="0">
                    <a:solidFill>
                      <a:srgbClr val="444444"/>
                    </a:solidFill>
                  </a:rPr>
                  <a:t>via </a:t>
                </a:r>
                <a:r>
                  <a:rPr lang="de-DE" sz="1099" dirty="0" err="1">
                    <a:solidFill>
                      <a:srgbClr val="444444"/>
                    </a:solidFill>
                  </a:rPr>
                  <a:t>menu</a:t>
                </a:r>
                <a:r>
                  <a:rPr lang="de-DE" sz="1099" dirty="0">
                    <a:solidFill>
                      <a:srgbClr val="444444"/>
                    </a:solidFill>
                  </a:rPr>
                  <a:t> bar: </a:t>
                </a:r>
                <a:br>
                  <a:rPr lang="de-DE" sz="1099" dirty="0">
                    <a:solidFill>
                      <a:srgbClr val="444444"/>
                    </a:solidFill>
                  </a:rPr>
                </a:br>
                <a:r>
                  <a:rPr lang="de-DE" sz="1099" dirty="0">
                    <a:solidFill>
                      <a:srgbClr val="444444"/>
                    </a:solidFill>
                  </a:rPr>
                  <a:t>Home // Paragraph // </a:t>
                </a:r>
                <a:r>
                  <a:rPr lang="de-DE" sz="1099" dirty="0" err="1">
                    <a:solidFill>
                      <a:srgbClr val="444444"/>
                    </a:solidFill>
                  </a:rPr>
                  <a:t>Increase</a:t>
                </a:r>
                <a:r>
                  <a:rPr lang="de-DE" sz="1099" dirty="0">
                    <a:solidFill>
                      <a:srgbClr val="444444"/>
                    </a:solidFill>
                  </a:rPr>
                  <a:t>/</a:t>
                </a:r>
              </a:p>
              <a:p>
                <a:pPr algn="r"/>
                <a:r>
                  <a:rPr lang="de-DE" sz="1099" dirty="0" err="1">
                    <a:solidFill>
                      <a:srgbClr val="444444"/>
                    </a:solidFill>
                  </a:rPr>
                  <a:t>Decrease</a:t>
                </a:r>
                <a:r>
                  <a:rPr lang="de-DE" sz="1099" dirty="0">
                    <a:solidFill>
                      <a:srgbClr val="444444"/>
                    </a:solidFill>
                  </a:rPr>
                  <a:t>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Increase</a:t>
                  </a:r>
                  <a:endParaRPr lang="de-DE" sz="999" dirty="0">
                    <a:solidFill>
                      <a:srgbClr val="444444"/>
                    </a:solidFill>
                  </a:endParaRPr>
                </a:p>
                <a:p>
                  <a:pPr algn="r">
                    <a:defRPr/>
                  </a:pPr>
                  <a:r>
                    <a:rPr lang="de-DE"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err="1">
                      <a:solidFill>
                        <a:srgbClr val="444444"/>
                      </a:solidFill>
                    </a:rPr>
                    <a:t>Decrease</a:t>
                  </a:r>
                  <a:r>
                    <a:rPr lang="de-DE" sz="999" dirty="0">
                      <a:solidFill>
                        <a:srgbClr val="444444"/>
                      </a:solidFill>
                    </a:rPr>
                    <a:t> </a:t>
                  </a:r>
                </a:p>
                <a:p>
                  <a:pPr algn="r">
                    <a:defRPr/>
                  </a:pPr>
                  <a:r>
                    <a:rPr lang="de-DE" sz="999" dirty="0">
                      <a:solidFill>
                        <a:srgbClr val="444444"/>
                      </a:solidFill>
                    </a:rPr>
                    <a:t>List Level</a:t>
                  </a:r>
                </a:p>
              </p:txBody>
            </p:sp>
            <p:pic>
              <p:nvPicPr>
                <p:cNvPr id="7" name="Listenebene erhöhen"/>
                <p:cNvPicPr>
                  <a:picLocks noChangeAspect="1"/>
                </p:cNvPicPr>
                <p:nvPr userDrawn="1"/>
              </p:nvPicPr>
              <p:blipFill>
                <a:blip r:embed="rId42"/>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3"/>
                <a:stretch>
                  <a:fillRect/>
                </a:stretch>
              </p:blipFill>
              <p:spPr>
                <a:xfrm>
                  <a:off x="-900000" y="2628000"/>
                  <a:ext cx="756000" cy="322369"/>
                </a:xfrm>
                <a:prstGeom prst="rect">
                  <a:avLst/>
                </a:prstGeom>
              </p:spPr>
            </p:pic>
          </p:grpSp>
        </p:grpSp>
      </p:gr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cxnSp>
        <p:nvCxnSpPr>
          <p:cNvPr id="14"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117" y="1504603"/>
            <a:ext cx="10930387" cy="4875670"/>
          </a:xfrm>
          <a:prstGeom prst="rect">
            <a:avLst/>
          </a:prstGeom>
        </p:spPr>
        <p:txBody>
          <a:bodyPr vert="horz" lIns="0" tIns="0" rIns="0" bIns="0" rtlCol="0" anchor="t" anchorCtr="0">
            <a:noAutofit/>
          </a:bodyPr>
          <a:lstStyle/>
          <a:p>
            <a:pPr lvl="0"/>
            <a:r>
              <a:rPr lang="de-DE" dirty="0"/>
              <a:t>Insert </a:t>
            </a:r>
            <a:r>
              <a:rPr lang="de-DE" dirty="0" err="1"/>
              <a:t>text</a:t>
            </a:r>
            <a:r>
              <a:rPr lang="de-DE" dirty="0"/>
              <a:t> in </a:t>
            </a:r>
            <a:r>
              <a:rPr lang="de-DE" noProof="0" dirty="0" err="1"/>
              <a:t>CorpoS</a:t>
            </a:r>
            <a:r>
              <a:rPr lang="de-DE" noProof="0" dirty="0"/>
              <a:t> (Body) 24 </a:t>
            </a:r>
            <a:r>
              <a:rPr lang="de-DE" noProof="0" dirty="0" err="1"/>
              <a:t>pt</a:t>
            </a:r>
            <a:r>
              <a:rPr lang="de-DE" noProof="0" dirty="0"/>
              <a:t>. (Mark-</a:t>
            </a:r>
            <a:r>
              <a:rPr lang="de-DE" noProof="0" dirty="0" err="1"/>
              <a:t>ups</a:t>
            </a:r>
            <a:r>
              <a:rPr lang="de-DE" noProof="0" dirty="0"/>
              <a:t> in </a:t>
            </a:r>
            <a:r>
              <a:rPr lang="de-DE" noProof="0" dirty="0" err="1"/>
              <a:t>Bold</a:t>
            </a:r>
            <a:r>
              <a:rPr lang="de-DE" noProof="0" dirty="0"/>
              <a:t>) </a:t>
            </a:r>
            <a:r>
              <a:rPr lang="de-DE" dirty="0"/>
              <a:t>// </a:t>
            </a:r>
            <a:r>
              <a:rPr lang="de-DE" dirty="0" err="1"/>
              <a:t>for</a:t>
            </a:r>
            <a:r>
              <a:rPr lang="de-DE" dirty="0"/>
              <a:t> </a:t>
            </a:r>
            <a:r>
              <a:rPr lang="de-DE" dirty="0" err="1"/>
              <a:t>conclusion</a:t>
            </a:r>
            <a:r>
              <a:rPr lang="de-DE" noProof="0" dirty="0"/>
              <a:t>, </a:t>
            </a:r>
            <a:r>
              <a:rPr lang="de-DE" noProof="0" dirty="0" err="1"/>
              <a:t>summary</a:t>
            </a:r>
            <a:r>
              <a:rPr lang="de-DE" noProof="0" dirty="0"/>
              <a:t> </a:t>
            </a:r>
            <a:r>
              <a:rPr lang="de-DE" noProof="0" dirty="0" err="1"/>
              <a:t>or</a:t>
            </a:r>
            <a:r>
              <a:rPr lang="de-DE" noProof="0" dirty="0"/>
              <a:t> </a:t>
            </a:r>
            <a:r>
              <a:rPr lang="de-DE" noProof="0" dirty="0" err="1"/>
              <a:t>short</a:t>
            </a:r>
            <a:r>
              <a:rPr lang="de-DE" noProof="0" dirty="0"/>
              <a:t> </a:t>
            </a:r>
            <a:r>
              <a:rPr lang="de-DE" noProof="0" dirty="0" err="1"/>
              <a:t>highlight</a:t>
            </a:r>
            <a:r>
              <a:rPr lang="de-DE" dirty="0"/>
              <a:t>: Home // Paragraph// </a:t>
            </a:r>
            <a:r>
              <a:rPr lang="de-DE" dirty="0" err="1"/>
              <a:t>Increase</a:t>
            </a:r>
            <a:r>
              <a:rPr lang="de-DE" dirty="0"/>
              <a:t> List Level</a:t>
            </a:r>
          </a:p>
          <a:p>
            <a:pPr lvl="1"/>
            <a:r>
              <a:rPr lang="de-DE" dirty="0"/>
              <a:t>Second </a:t>
            </a:r>
            <a:r>
              <a:rPr lang="de-DE" dirty="0" err="1"/>
              <a:t>level</a:t>
            </a:r>
            <a:r>
              <a:rPr lang="de-DE" dirty="0"/>
              <a:t> (</a:t>
            </a:r>
            <a:r>
              <a:rPr lang="de-DE" dirty="0" err="1"/>
              <a:t>Conclusion</a:t>
            </a:r>
            <a:r>
              <a:rPr lang="de-DE" dirty="0"/>
              <a:t>, </a:t>
            </a:r>
            <a:r>
              <a:rPr lang="de-DE" dirty="0" err="1"/>
              <a:t>summary</a:t>
            </a:r>
            <a:r>
              <a:rPr lang="de-DE" dirty="0"/>
              <a:t> </a:t>
            </a:r>
            <a:r>
              <a:rPr lang="de-DE" dirty="0" err="1"/>
              <a:t>or</a:t>
            </a:r>
            <a:r>
              <a:rPr lang="de-DE" dirty="0"/>
              <a:t> </a:t>
            </a:r>
            <a:r>
              <a:rPr lang="de-DE" dirty="0" err="1"/>
              <a:t>short</a:t>
            </a:r>
            <a:r>
              <a:rPr lang="de-DE" dirty="0"/>
              <a:t> </a:t>
            </a:r>
            <a:r>
              <a:rPr lang="de-DE" dirty="0" err="1"/>
              <a:t>highlight</a:t>
            </a:r>
            <a:r>
              <a:rPr lang="de-DE" dirty="0"/>
              <a:t>)</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a:t>Sevens </a:t>
            </a:r>
            <a:r>
              <a:rPr lang="de-DE" dirty="0" err="1"/>
              <a:t>level</a:t>
            </a:r>
            <a:endParaRPr lang="de-DE" dirty="0"/>
          </a:p>
          <a:p>
            <a:pPr lvl="7"/>
            <a:r>
              <a:rPr lang="de-DE" dirty="0" err="1"/>
              <a:t>Eight</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 name="Titelplatzhalter 1"/>
          <p:cNvSpPr>
            <a:spLocks noGrp="1"/>
          </p:cNvSpPr>
          <p:nvPr userDrawn="1">
            <p:ph type="title"/>
          </p:nvPr>
        </p:nvSpPr>
        <p:spPr>
          <a:xfrm>
            <a:off x="628324" y="285982"/>
            <a:ext cx="10932454" cy="1151733"/>
          </a:xfrm>
          <a:prstGeom prst="rect">
            <a:avLst/>
          </a:prstGeom>
        </p:spPr>
        <p:txBody>
          <a:bodyPr vert="horz" lIns="0" tIns="0" rIns="0" bIns="0" rtlCol="0" anchor="t" anchorCtr="0">
            <a:noAutofit/>
          </a:bodyPr>
          <a:lstStyle/>
          <a:p>
            <a:r>
              <a:rPr lang="de-DE" noProof="0" dirty="0"/>
              <a:t>Headline in </a:t>
            </a:r>
            <a:r>
              <a:rPr lang="de-DE" noProof="0" dirty="0" err="1"/>
              <a:t>CorpoS</a:t>
            </a:r>
            <a:r>
              <a:rPr lang="de-DE" noProof="0" dirty="0"/>
              <a:t> (Body) 35 </a:t>
            </a:r>
            <a:r>
              <a:rPr lang="de-DE" noProof="0" dirty="0" err="1"/>
              <a:t>pt</a:t>
            </a:r>
            <a:r>
              <a:rPr lang="de-DE" noProof="0" dirty="0"/>
              <a:t>.</a:t>
            </a:r>
            <a:br>
              <a:rPr lang="de-DE" noProof="0" dirty="0"/>
            </a:br>
            <a:r>
              <a:rPr lang="de-DE" noProof="0" dirty="0"/>
              <a:t>in </a:t>
            </a:r>
            <a:r>
              <a:rPr lang="de-DE" noProof="0" dirty="0" err="1"/>
              <a:t>two</a:t>
            </a:r>
            <a:r>
              <a:rPr lang="de-DE" noProof="0" dirty="0"/>
              <a:t> </a:t>
            </a:r>
            <a:r>
              <a:rPr lang="de-DE" noProof="0" dirty="0" err="1"/>
              <a:t>lines</a:t>
            </a:r>
            <a:endParaRPr lang="de-DE" noProof="0" dirty="0"/>
          </a:p>
        </p:txBody>
      </p:sp>
      <p:sp>
        <p:nvSpPr>
          <p:cNvPr id="5" name="Fußzeilenplatzhalter 4"/>
          <p:cNvSpPr>
            <a:spLocks noGrp="1"/>
          </p:cNvSpPr>
          <p:nvPr userDrawn="1">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r>
              <a:rPr lang="de-DE" smtClean="0">
                <a:solidFill>
                  <a:prstClr val="black"/>
                </a:solidFill>
              </a:rPr>
              <a:t>Title of presentation / Department / Date /</a:t>
            </a:r>
            <a:endParaRPr lang="de-DE" dirty="0">
              <a:solidFill>
                <a:prstClr val="black"/>
              </a:solidFill>
            </a:endParaRPr>
          </a:p>
        </p:txBody>
      </p:sp>
      <p:sp>
        <p:nvSpPr>
          <p:cNvPr id="6" name="Foliennummernplatzhalter 5"/>
          <p:cNvSpPr>
            <a:spLocks noGrp="1"/>
          </p:cNvSpPr>
          <p:nvPr userDrawn="1">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de-DE" smtClean="0">
                <a:solidFill>
                  <a:prstClr val="black"/>
                </a:solidFill>
              </a:rPr>
              <a:t>Page </a:t>
            </a:r>
            <a:fld id="{52531704-8F80-415D-BD2B-6B9991AE822F}" type="slidenum">
              <a:rPr lang="de-DE" smtClean="0">
                <a:solidFill>
                  <a:prstClr val="black"/>
                </a:solidFill>
              </a:rPr>
              <a:pPr defTabSz="1088415"/>
              <a:t>‹#›</a:t>
            </a:fld>
            <a:endParaRPr lang="de-DE" dirty="0">
              <a:solidFill>
                <a:prstClr val="black"/>
              </a:solidFill>
            </a:endParaRPr>
          </a:p>
        </p:txBody>
      </p:sp>
    </p:spTree>
    <p:extLst>
      <p:ext uri="{BB962C8B-B14F-4D97-AF65-F5344CB8AC3E}">
        <p14:creationId xmlns:p14="http://schemas.microsoft.com/office/powerpoint/2010/main" val="740487861"/>
      </p:ext>
    </p:extLst>
  </p:cSld>
  <p:clrMap bg1="lt1" tx1="dk1" bg2="lt2" tx2="dk2" accent1="accent1" accent2="accent2" accent3="accent3" accent4="accent4" accent5="accent5" accent6="accent6" hlink="hlink" folHlink="folHlink"/>
  <p:sldLayoutIdLst>
    <p:sldLayoutId id="2147484858" r:id="rId1"/>
    <p:sldLayoutId id="2147484859" r:id="rId2"/>
    <p:sldLayoutId id="2147484860" r:id="rId3"/>
    <p:sldLayoutId id="2147484861" r:id="rId4"/>
    <p:sldLayoutId id="2147484862" r:id="rId5"/>
    <p:sldLayoutId id="2147484863" r:id="rId6"/>
    <p:sldLayoutId id="2147484864" r:id="rId7"/>
    <p:sldLayoutId id="2147484865" r:id="rId8"/>
    <p:sldLayoutId id="2147484866" r:id="rId9"/>
    <p:sldLayoutId id="2147484867" r:id="rId10"/>
    <p:sldLayoutId id="2147484868" r:id="rId11"/>
    <p:sldLayoutId id="2147484869" r:id="rId12"/>
    <p:sldLayoutId id="2147484870" r:id="rId13"/>
    <p:sldLayoutId id="2147484871" r:id="rId14"/>
    <p:sldLayoutId id="2147484872" r:id="rId15"/>
    <p:sldLayoutId id="2147484873" r:id="rId16"/>
    <p:sldLayoutId id="2147484874" r:id="rId17"/>
    <p:sldLayoutId id="2147484875" r:id="rId18"/>
    <p:sldLayoutId id="2147484876" r:id="rId19"/>
    <p:sldLayoutId id="2147484877" r:id="rId20"/>
    <p:sldLayoutId id="2147484878" r:id="rId21"/>
    <p:sldLayoutId id="2147484879" r:id="rId22"/>
    <p:sldLayoutId id="2147484880" r:id="rId23"/>
    <p:sldLayoutId id="2147484881" r:id="rId24"/>
    <p:sldLayoutId id="2147484882" r:id="rId25"/>
    <p:sldLayoutId id="2147484883" r:id="rId26"/>
    <p:sldLayoutId id="2147484884" r:id="rId27"/>
    <p:sldLayoutId id="2147484885" r:id="rId28"/>
    <p:sldLayoutId id="2147484886" r:id="rId29"/>
    <p:sldLayoutId id="2147484887" r:id="rId30"/>
    <p:sldLayoutId id="2147484888" r:id="rId31"/>
    <p:sldLayoutId id="2147484889" r:id="rId32"/>
    <p:sldLayoutId id="2147484890" r:id="rId33"/>
    <p:sldLayoutId id="2147484891" r:id="rId34"/>
    <p:sldLayoutId id="2147484892" r:id="rId35"/>
    <p:sldLayoutId id="2147484894" r:id="rId36"/>
  </p:sldLayoutIdLst>
  <p:hf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9"/>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15653" name="think-cell Folie" r:id="rId40" imgW="216" imgH="216" progId="TCLayout.ActiveDocument.1">
                  <p:embed/>
                </p:oleObj>
              </mc:Choice>
              <mc:Fallback>
                <p:oleObj name="think-cell Folie" r:id="rId40" imgW="216" imgH="216" progId="TCLayout.ActiveDocument.1">
                  <p:embed/>
                  <p:pic>
                    <p:nvPicPr>
                      <p:cNvPr id="0" name=""/>
                      <p:cNvPicPr/>
                      <p:nvPr/>
                    </p:nvPicPr>
                    <p:blipFill>
                      <a:blip r:embed="rId41"/>
                      <a:stretch>
                        <a:fillRect/>
                      </a:stretch>
                    </p:blipFill>
                    <p:spPr>
                      <a:xfrm>
                        <a:off x="1588" y="1588"/>
                        <a:ext cx="1586" cy="1587"/>
                      </a:xfrm>
                      <a:prstGeom prst="rect">
                        <a:avLst/>
                      </a:prstGeom>
                    </p:spPr>
                  </p:pic>
                </p:oleObj>
              </mc:Fallback>
            </mc:AlternateContent>
          </a:graphicData>
        </a:graphic>
      </p:graphicFrame>
      <p:grpSp>
        <p:nvGrpSpPr>
          <p:cNvPr id="37" name="Regieanweisungen"/>
          <p:cNvGrpSpPr/>
          <p:nvPr userDrawn="1"/>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7" name="Listenebene erhöhen"/>
                <p:cNvPicPr>
                  <a:picLocks noChangeAspect="1"/>
                </p:cNvPicPr>
                <p:nvPr userDrawn="1"/>
              </p:nvPicPr>
              <p:blipFill>
                <a:blip r:embed="rId42"/>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3"/>
                <a:stretch>
                  <a:fillRect/>
                </a:stretch>
              </p:blipFill>
              <p:spPr>
                <a:xfrm>
                  <a:off x="-900000" y="2628000"/>
                  <a:ext cx="756000" cy="322369"/>
                </a:xfrm>
                <a:prstGeom prst="rect">
                  <a:avLst/>
                </a:prstGeom>
              </p:spPr>
            </p:pic>
          </p:grpSp>
        </p:grpSp>
      </p:gr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cxnSp>
        <p:nvCxnSpPr>
          <p:cNvPr id="14"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117" y="1504603"/>
            <a:ext cx="10930387" cy="4875670"/>
          </a:xfrm>
          <a:prstGeom prst="rect">
            <a:avLst/>
          </a:prstGeom>
        </p:spPr>
        <p:txBody>
          <a:bodyPr vert="horz" lIns="0" tIns="0" rIns="0" bIns="0" rtlCol="0" anchor="t" anchorCtr="0">
            <a:noAutofit/>
          </a:body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userDrawn="1">
            <p:ph type="title"/>
          </p:nvPr>
        </p:nvSpPr>
        <p:spPr>
          <a:xfrm>
            <a:off x="628324" y="285982"/>
            <a:ext cx="10932454" cy="1151733"/>
          </a:xfrm>
          <a:prstGeom prst="rect">
            <a:avLst/>
          </a:prstGeom>
        </p:spPr>
        <p:txBody>
          <a:bodyPr vert="horz" lIns="0" tIns="0" rIns="0" bIns="0" rtlCol="0" anchor="t" anchorCtr="0">
            <a:noAutofit/>
          </a:bodyPr>
          <a:lstStyle/>
          <a:p>
            <a:r>
              <a:rPr lang="en-GB" noProof="0" dirty="0"/>
              <a:t>Headline in CorpoS (Body) 35 pt.</a:t>
            </a:r>
            <a:br>
              <a:rPr lang="en-GB" noProof="0" dirty="0"/>
            </a:br>
            <a:r>
              <a:rPr lang="en-GB" noProof="0" dirty="0"/>
              <a:t>in two lines</a:t>
            </a:r>
          </a:p>
        </p:txBody>
      </p:sp>
      <p:sp>
        <p:nvSpPr>
          <p:cNvPr id="5" name="Fußzeilenplatzhalter 4"/>
          <p:cNvSpPr>
            <a:spLocks noGrp="1"/>
          </p:cNvSpPr>
          <p:nvPr userDrawn="1">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r>
              <a:rPr lang="en-GB" smtClean="0">
                <a:solidFill>
                  <a:prstClr val="black"/>
                </a:solidFill>
              </a:rPr>
              <a:t>Title of presentation / Department / Date /</a:t>
            </a:r>
            <a:endParaRPr lang="en-GB" dirty="0">
              <a:solidFill>
                <a:prstClr val="black"/>
              </a:solidFill>
            </a:endParaRPr>
          </a:p>
        </p:txBody>
      </p:sp>
      <p:sp>
        <p:nvSpPr>
          <p:cNvPr id="6" name="Foliennummernplatzhalter 5"/>
          <p:cNvSpPr>
            <a:spLocks noGrp="1"/>
          </p:cNvSpPr>
          <p:nvPr userDrawn="1">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en-GB" smtClean="0">
                <a:solidFill>
                  <a:prstClr val="black"/>
                </a:solidFill>
              </a:rPr>
              <a:t>Page </a:t>
            </a:r>
            <a:fld id="{52531704-8F80-415D-BD2B-6B9991AE822F}" type="slidenum">
              <a:rPr lang="en-GB" smtClean="0">
                <a:solidFill>
                  <a:prstClr val="black"/>
                </a:solidFill>
              </a:rPr>
              <a:pPr defTabSz="1088415"/>
              <a:t>‹#›</a:t>
            </a:fld>
            <a:endParaRPr lang="en-GB" dirty="0">
              <a:solidFill>
                <a:prstClr val="black"/>
              </a:solidFill>
            </a:endParaRPr>
          </a:p>
        </p:txBody>
      </p:sp>
    </p:spTree>
    <p:extLst>
      <p:ext uri="{BB962C8B-B14F-4D97-AF65-F5344CB8AC3E}">
        <p14:creationId xmlns:p14="http://schemas.microsoft.com/office/powerpoint/2010/main" val="52365121"/>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 id="2147483766" r:id="rId28"/>
    <p:sldLayoutId id="2147483767" r:id="rId29"/>
    <p:sldLayoutId id="2147483768" r:id="rId30"/>
    <p:sldLayoutId id="2147483769" r:id="rId31"/>
    <p:sldLayoutId id="2147483770" r:id="rId32"/>
    <p:sldLayoutId id="2147483771" r:id="rId33"/>
    <p:sldLayoutId id="2147483772" r:id="rId34"/>
    <p:sldLayoutId id="2147483773" r:id="rId35"/>
    <p:sldLayoutId id="2147483774" r:id="rId36"/>
  </p:sldLayoutIdLst>
  <p:hf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37" name="Regieanweisungen"/>
          <p:cNvGrpSpPr/>
          <p:nvPr/>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7" name="Listenebene erhöhen"/>
                <p:cNvPicPr>
                  <a:picLocks noChangeAspect="1"/>
                </p:cNvPicPr>
                <p:nvPr userDrawn="1"/>
              </p:nvPicPr>
              <p:blipFill>
                <a:blip r:embed="rId21"/>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22"/>
                <a:stretch>
                  <a:fillRect/>
                </a:stretch>
              </p:blipFill>
              <p:spPr>
                <a:xfrm>
                  <a:off x="-900000" y="2628000"/>
                  <a:ext cx="756000" cy="322369"/>
                </a:xfrm>
                <a:prstGeom prst="rect">
                  <a:avLst/>
                </a:prstGeom>
              </p:spPr>
            </p:pic>
          </p:grpSp>
        </p:grpSp>
      </p:grpSp>
      <p:cxnSp>
        <p:nvCxnSpPr>
          <p:cNvPr id="14" name="Footerline"/>
          <p:cNvCxnSpPr/>
          <p:nvPr/>
        </p:nvCxnSpPr>
        <p:spPr bwMode="auto">
          <a:xfrm>
            <a:off x="629671" y="6487838"/>
            <a:ext cx="10931107" cy="0"/>
          </a:xfrm>
          <a:prstGeom prst="line">
            <a:avLst/>
          </a:prstGeom>
          <a:solidFill>
            <a:schemeClr val="bg1"/>
          </a:solidFill>
          <a:ln w="19050" cap="flat" cmpd="sng" algn="ctr">
            <a:solidFill>
              <a:schemeClr val="bg1">
                <a:lumMod val="85000"/>
              </a:schemeClr>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630117" y="1504603"/>
            <a:ext cx="10930387" cy="4875670"/>
          </a:xfrm>
          <a:prstGeom prst="rect">
            <a:avLst/>
          </a:prstGeom>
        </p:spPr>
        <p:txBody>
          <a:bodyPr vert="horz" lIns="0" tIns="0" rIns="0" bIns="0" rtlCol="0" anchor="t" anchorCtr="0">
            <a:noAutofit/>
          </a:body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p:ph type="title"/>
          </p:nvPr>
        </p:nvSpPr>
        <p:spPr>
          <a:xfrm>
            <a:off x="628324" y="285982"/>
            <a:ext cx="10932454" cy="1151733"/>
          </a:xfrm>
          <a:prstGeom prst="rect">
            <a:avLst/>
          </a:prstGeom>
        </p:spPr>
        <p:txBody>
          <a:bodyPr vert="horz" lIns="0" tIns="0" rIns="0" bIns="0" rtlCol="0" anchor="t" anchorCtr="0">
            <a:noAutofit/>
          </a:bodyPr>
          <a:lstStyle/>
          <a:p>
            <a:r>
              <a:rPr lang="en-GB" noProof="0" dirty="0"/>
              <a:t>HEADLINE IN CORPOS (BODY) 35 PT.</a:t>
            </a:r>
            <a:br>
              <a:rPr lang="en-GB" noProof="0" dirty="0"/>
            </a:br>
            <a:r>
              <a:rPr lang="en-GB" noProof="0" dirty="0"/>
              <a:t>IN TWO LINES</a:t>
            </a:r>
          </a:p>
        </p:txBody>
      </p:sp>
      <p:sp>
        <p:nvSpPr>
          <p:cNvPr id="5" name="Fußzeilenplatzhalter 4"/>
          <p:cNvSpPr>
            <a:spLocks noGrp="1"/>
          </p:cNvSpPr>
          <p:nvPr>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r>
              <a:rPr lang="en" smtClean="0">
                <a:solidFill>
                  <a:prstClr val="black"/>
                </a:solidFill>
              </a:rPr>
              <a:t>Title of presentation / Strategy DFS / XX.11.2018 /</a:t>
            </a:r>
            <a:endParaRPr lang="en-GB" dirty="0">
              <a:solidFill>
                <a:prstClr val="black"/>
              </a:solidFill>
            </a:endParaRPr>
          </a:p>
        </p:txBody>
      </p:sp>
      <p:sp>
        <p:nvSpPr>
          <p:cNvPr id="6" name="Foliennummernplatzhalter 5"/>
          <p:cNvSpPr>
            <a:spLocks noGrp="1"/>
          </p:cNvSpPr>
          <p:nvPr>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en-GB" smtClean="0">
                <a:solidFill>
                  <a:prstClr val="black"/>
                </a:solidFill>
              </a:rPr>
              <a:t>Page </a:t>
            </a:r>
            <a:fld id="{52531704-8F80-415D-BD2B-6B9991AE822F}" type="slidenum">
              <a:rPr lang="en-GB" smtClean="0">
                <a:solidFill>
                  <a:prstClr val="black"/>
                </a:solidFill>
              </a:rPr>
              <a:pPr defTabSz="1088415"/>
              <a:t>‹#›</a:t>
            </a:fld>
            <a:endParaRPr lang="en-GB" dirty="0">
              <a:solidFill>
                <a:prstClr val="black"/>
              </a:solidFill>
            </a:endParaRPr>
          </a:p>
        </p:txBody>
      </p:sp>
      <p:sp>
        <p:nvSpPr>
          <p:cNvPr id="19" name="Daimler AG (Wortmarke)"/>
          <p:cNvSpPr>
            <a:spLocks noChangeArrowheads="1"/>
          </p:cNvSpPr>
          <p:nvPr/>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Financial Services AG</a:t>
            </a:r>
          </a:p>
        </p:txBody>
      </p:sp>
      <p:grpSp>
        <p:nvGrpSpPr>
          <p:cNvPr id="18" name="Gruppieren 17"/>
          <p:cNvGrpSpPr/>
          <p:nvPr userDrawn="1"/>
        </p:nvGrpSpPr>
        <p:grpSpPr>
          <a:xfrm>
            <a:off x="-2250855" y="3527183"/>
            <a:ext cx="2229361" cy="4638856"/>
            <a:chOff x="12221581" y="-62687"/>
            <a:chExt cx="2230522" cy="4639930"/>
          </a:xfrm>
        </p:grpSpPr>
        <p:sp>
          <p:nvSpPr>
            <p:cNvPr id="20" name="Rechteck 19"/>
            <p:cNvSpPr/>
            <p:nvPr userDrawn="1"/>
          </p:nvSpPr>
          <p:spPr>
            <a:xfrm>
              <a:off x="12266612" y="-62687"/>
              <a:ext cx="2185491" cy="1446550"/>
            </a:xfrm>
            <a:prstGeom prst="rect">
              <a:avLst/>
            </a:prstGeom>
          </p:spPr>
          <p:txBody>
            <a:bodyPr wrap="square">
              <a:spAutoFit/>
            </a:bodyPr>
            <a:lstStyle/>
            <a:p>
              <a:pPr algn="r" defTabSz="1088415"/>
              <a:r>
                <a:rPr lang="en-GB" sz="1099" b="1" dirty="0">
                  <a:solidFill>
                    <a:srgbClr val="444444"/>
                  </a:solidFill>
                </a:rPr>
                <a:t>Animation</a:t>
              </a:r>
            </a:p>
            <a:p>
              <a:pPr algn="r" defTabSz="1088415"/>
              <a:r>
                <a:rPr lang="en-GB" sz="1099" dirty="0">
                  <a:solidFill>
                    <a:srgbClr val="444444"/>
                  </a:solidFill>
                </a:rPr>
                <a:t>You can change animations via menu bar: animation.</a:t>
              </a:r>
            </a:p>
            <a:p>
              <a:pPr algn="r" defTabSz="1088415"/>
              <a:endParaRPr lang="en-GB" sz="1099" dirty="0">
                <a:solidFill>
                  <a:srgbClr val="444444"/>
                </a:solidFill>
              </a:endParaRPr>
            </a:p>
            <a:p>
              <a:pPr algn="r" defTabSz="1088415"/>
              <a:r>
                <a:rPr lang="en-GB" sz="1099" dirty="0">
                  <a:solidFill>
                    <a:srgbClr val="444444"/>
                  </a:solidFill>
                </a:rPr>
                <a:t>To remove the animation choose the menu bar animation and insert the animation pane by click on the following button.</a:t>
              </a:r>
            </a:p>
          </p:txBody>
        </p:sp>
        <p:pic>
          <p:nvPicPr>
            <p:cNvPr id="21" name="Grafik 20"/>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4" name="Grafik 23"/>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5" name="Rechteck 24"/>
            <p:cNvSpPr/>
            <p:nvPr userDrawn="1"/>
          </p:nvSpPr>
          <p:spPr>
            <a:xfrm>
              <a:off x="12221581" y="1896262"/>
              <a:ext cx="2185491" cy="938719"/>
            </a:xfrm>
            <a:prstGeom prst="rect">
              <a:avLst/>
            </a:prstGeom>
          </p:spPr>
          <p:txBody>
            <a:bodyPr wrap="square">
              <a:spAutoFit/>
            </a:bodyPr>
            <a:lstStyle/>
            <a:p>
              <a:pPr algn="r" defTabSz="1088415"/>
              <a:r>
                <a:rPr lang="en-GB" sz="1099" dirty="0">
                  <a:solidFill>
                    <a:srgbClr val="444444"/>
                  </a:solidFill>
                </a:rPr>
                <a:t>Within the window animation Pane you can choose the animated elements and by click on the blue arrow you can remove the animation.</a:t>
              </a:r>
            </a:p>
          </p:txBody>
        </p:sp>
      </p:grpSp>
      <p:grpSp>
        <p:nvGrpSpPr>
          <p:cNvPr id="26" name="Gruppieren 25"/>
          <p:cNvGrpSpPr/>
          <p:nvPr userDrawn="1"/>
        </p:nvGrpSpPr>
        <p:grpSpPr>
          <a:xfrm>
            <a:off x="12192001" y="-82363"/>
            <a:ext cx="2184353" cy="3786237"/>
            <a:chOff x="12266612" y="-62687"/>
            <a:chExt cx="2185491" cy="3787114"/>
          </a:xfrm>
        </p:grpSpPr>
        <p:sp>
          <p:nvSpPr>
            <p:cNvPr id="27" name="Rechteck 26"/>
            <p:cNvSpPr/>
            <p:nvPr userDrawn="1"/>
          </p:nvSpPr>
          <p:spPr>
            <a:xfrm>
              <a:off x="12266612" y="-62687"/>
              <a:ext cx="2185491" cy="769441"/>
            </a:xfrm>
            <a:prstGeom prst="rect">
              <a:avLst/>
            </a:prstGeom>
          </p:spPr>
          <p:txBody>
            <a:bodyPr wrap="square">
              <a:spAutoFit/>
            </a:bodyPr>
            <a:lstStyle/>
            <a:p>
              <a:pPr defTabSz="1088415"/>
              <a:r>
                <a:rPr lang="en-US" sz="1099" b="1" dirty="0">
                  <a:solidFill>
                    <a:srgbClr val="444444"/>
                  </a:solidFill>
                </a:rPr>
                <a:t>Change pictures</a:t>
              </a:r>
            </a:p>
            <a:p>
              <a:pPr defTabSz="1088415"/>
              <a:r>
                <a:rPr lang="en-US" sz="1099" dirty="0">
                  <a:solidFill>
                    <a:srgbClr val="444444"/>
                  </a:solidFill>
                </a:rPr>
                <a:t>Choose your desired picture, click right mouse button an choose change picture.</a:t>
              </a:r>
            </a:p>
          </p:txBody>
        </p:sp>
        <p:pic>
          <p:nvPicPr>
            <p:cNvPr id="29" name="Grafik 28"/>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0" name="Gruppieren 29"/>
          <p:cNvGrpSpPr/>
          <p:nvPr userDrawn="1"/>
        </p:nvGrpSpPr>
        <p:grpSpPr>
          <a:xfrm>
            <a:off x="12192000" y="3909447"/>
            <a:ext cx="2383726" cy="3891078"/>
            <a:chOff x="12291863" y="5052225"/>
            <a:chExt cx="2384968" cy="3891979"/>
          </a:xfrm>
        </p:grpSpPr>
        <p:sp>
          <p:nvSpPr>
            <p:cNvPr id="32" name="Rechteck 31"/>
            <p:cNvSpPr/>
            <p:nvPr userDrawn="1"/>
          </p:nvSpPr>
          <p:spPr>
            <a:xfrm>
              <a:off x="12291863" y="5052225"/>
              <a:ext cx="2384968" cy="1107996"/>
            </a:xfrm>
            <a:prstGeom prst="rect">
              <a:avLst/>
            </a:prstGeom>
          </p:spPr>
          <p:txBody>
            <a:bodyPr wrap="square">
              <a:spAutoFit/>
            </a:bodyPr>
            <a:lstStyle/>
            <a:p>
              <a:pPr defTabSz="1088415"/>
              <a:r>
                <a:rPr lang="en-US" sz="1099" b="1" dirty="0">
                  <a:solidFill>
                    <a:srgbClr val="444444"/>
                  </a:solidFill>
                </a:rPr>
                <a:t>Align</a:t>
              </a:r>
            </a:p>
            <a:p>
              <a:pPr defTabSz="1088415"/>
              <a:r>
                <a:rPr lang="en-US" sz="1099" dirty="0">
                  <a:solidFill>
                    <a:srgbClr val="444444"/>
                  </a:solidFill>
                </a:rPr>
                <a:t>By using this tool you can align objects, pictures and text blocks with another:</a:t>
              </a:r>
            </a:p>
            <a:p>
              <a:pPr defTabSz="1088415"/>
              <a:r>
                <a:rPr lang="en-US" sz="1099" dirty="0">
                  <a:solidFill>
                    <a:srgbClr val="444444"/>
                  </a:solidFill>
                </a:rPr>
                <a:t>Choose desired objects // Format // Align</a:t>
              </a:r>
            </a:p>
          </p:txBody>
        </p:sp>
        <p:pic>
          <p:nvPicPr>
            <p:cNvPr id="33" name="Picture 2"/>
            <p:cNvPicPr>
              <a:picLocks noChangeAspect="1" noChangeArrowheads="1"/>
            </p:cNvPicPr>
            <p:nvPr userDrawn="1"/>
          </p:nvPicPr>
          <p:blipFill>
            <a:blip r:embed="rId26">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uppieren 37"/>
          <p:cNvGrpSpPr/>
          <p:nvPr userDrawn="1"/>
        </p:nvGrpSpPr>
        <p:grpSpPr>
          <a:xfrm>
            <a:off x="14575727" y="-67809"/>
            <a:ext cx="2184353" cy="5224601"/>
            <a:chOff x="14583318" y="4183"/>
            <a:chExt cx="2185491" cy="5225811"/>
          </a:xfrm>
        </p:grpSpPr>
        <p:sp>
          <p:nvSpPr>
            <p:cNvPr id="39" name="Rechteck 38"/>
            <p:cNvSpPr/>
            <p:nvPr userDrawn="1"/>
          </p:nvSpPr>
          <p:spPr>
            <a:xfrm>
              <a:off x="14583318" y="4183"/>
              <a:ext cx="2185491" cy="1107996"/>
            </a:xfrm>
            <a:prstGeom prst="rect">
              <a:avLst/>
            </a:prstGeom>
          </p:spPr>
          <p:txBody>
            <a:bodyPr wrap="square">
              <a:spAutoFit/>
            </a:bodyPr>
            <a:lstStyle/>
            <a:p>
              <a:pPr defTabSz="1088415">
                <a:defRPr/>
              </a:pPr>
              <a:r>
                <a:rPr lang="en-US" sz="1099" b="1" dirty="0">
                  <a:solidFill>
                    <a:srgbClr val="444444"/>
                  </a:solidFill>
                </a:rPr>
                <a:t>Crop pictures to shape</a:t>
              </a:r>
            </a:p>
            <a:p>
              <a:pPr defTabSz="1088415"/>
              <a:r>
                <a:rPr lang="en-US" sz="1099" dirty="0">
                  <a:solidFill>
                    <a:srgbClr val="444444"/>
                  </a:solidFill>
                </a:rPr>
                <a:t>To crop pictures in a circle in the first step they have to be square-shaped. </a:t>
              </a:r>
            </a:p>
            <a:p>
              <a:pPr defTabSz="1088415"/>
              <a:r>
                <a:rPr lang="en-US" sz="1099" dirty="0">
                  <a:solidFill>
                    <a:srgbClr val="444444"/>
                  </a:solidFill>
                </a:rPr>
                <a:t>Do this via menu bar:</a:t>
              </a:r>
            </a:p>
            <a:p>
              <a:pPr defTabSz="1088415"/>
              <a:r>
                <a:rPr lang="en-US" sz="1099" dirty="0">
                  <a:solidFill>
                    <a:srgbClr val="444444"/>
                  </a:solidFill>
                </a:rPr>
                <a:t>Picture Tool // Format // Crop</a:t>
              </a:r>
            </a:p>
          </p:txBody>
        </p:sp>
        <p:pic>
          <p:nvPicPr>
            <p:cNvPr id="40" name="Grafik 39"/>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1" name="Grafik 40"/>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2" name="Rechteck 41"/>
            <p:cNvSpPr/>
            <p:nvPr userDrawn="1"/>
          </p:nvSpPr>
          <p:spPr>
            <a:xfrm>
              <a:off x="14583318" y="2076199"/>
              <a:ext cx="2185491" cy="938719"/>
            </a:xfrm>
            <a:prstGeom prst="rect">
              <a:avLst/>
            </a:prstGeom>
          </p:spPr>
          <p:txBody>
            <a:bodyPr wrap="square">
              <a:spAutoFit/>
            </a:bodyPr>
            <a:lstStyle/>
            <a:p>
              <a:pPr defTabSz="1088415"/>
              <a:r>
                <a:rPr lang="en-US" sz="1099" dirty="0">
                  <a:solidFill>
                    <a:srgbClr val="444444"/>
                  </a:solidFill>
                </a:rPr>
                <a:t>Afterwards the picture can be cropped in a circle via following menu:</a:t>
              </a:r>
            </a:p>
            <a:p>
              <a:pPr defTabSz="1088415"/>
              <a:r>
                <a:rPr lang="en-US" sz="1099" dirty="0">
                  <a:solidFill>
                    <a:srgbClr val="444444"/>
                  </a:solidFill>
                </a:rPr>
                <a:t>Picture Tool // Format // Crop // Crop to Shape</a:t>
              </a:r>
            </a:p>
          </p:txBody>
        </p:sp>
        <p:pic>
          <p:nvPicPr>
            <p:cNvPr id="43" name="Grafik 42"/>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
        <p:nvSpPr>
          <p:cNvPr id="4" name="Rechteck 3" hidden="1"/>
          <p:cNvSpPr/>
          <p:nvPr userDrawn="1">
            <p:custDataLst>
              <p:tags r:id="rId20"/>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8415">
              <a:lnSpc>
                <a:spcPct val="80000"/>
              </a:lnSpc>
              <a:spcBef>
                <a:spcPct val="0"/>
              </a:spcBef>
              <a:spcAft>
                <a:spcPct val="0"/>
              </a:spcAft>
            </a:pPr>
            <a:endParaRPr lang="en-GB" sz="3598" b="1" dirty="0">
              <a:solidFill>
                <a:prstClr val="white"/>
              </a:solidFill>
              <a:sym typeface="CorpoS" pitchFamily="2" charset="0"/>
            </a:endParaRPr>
          </a:p>
        </p:txBody>
      </p:sp>
    </p:spTree>
    <p:extLst>
      <p:ext uri="{BB962C8B-B14F-4D97-AF65-F5344CB8AC3E}">
        <p14:creationId xmlns:p14="http://schemas.microsoft.com/office/powerpoint/2010/main" val="574616798"/>
      </p:ext>
    </p:extLst>
  </p:cSld>
  <p:clrMap bg1="lt1" tx1="dk1" bg2="lt2" tx2="dk2" accent1="accent1" accent2="accent2" accent3="accent3" accent4="accent4" accent5="accent5" accent6="accent6" hlink="hlink" folHlink="folHlink"/>
  <p:sldLayoutIdLst>
    <p:sldLayoutId id="2147484920" r:id="rId1"/>
    <p:sldLayoutId id="2147484921" r:id="rId2"/>
    <p:sldLayoutId id="2147484922" r:id="rId3"/>
    <p:sldLayoutId id="2147484923" r:id="rId4"/>
    <p:sldLayoutId id="2147484924" r:id="rId5"/>
    <p:sldLayoutId id="2147484925" r:id="rId6"/>
    <p:sldLayoutId id="2147484926" r:id="rId7"/>
    <p:sldLayoutId id="2147484927" r:id="rId8"/>
    <p:sldLayoutId id="2147484928" r:id="rId9"/>
    <p:sldLayoutId id="2147484929" r:id="rId10"/>
    <p:sldLayoutId id="2147484930" r:id="rId11"/>
    <p:sldLayoutId id="2147484931" r:id="rId12"/>
    <p:sldLayoutId id="2147484932" r:id="rId13"/>
    <p:sldLayoutId id="2147484933" r:id="rId14"/>
    <p:sldLayoutId id="2147484934" r:id="rId15"/>
    <p:sldLayoutId id="2147484935" r:id="rId16"/>
    <p:sldLayoutId id="2147484936" r:id="rId17"/>
    <p:sldLayoutId id="2147484937" r:id="rId1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hf hdr="0" dt="0"/>
  <p:txStyles>
    <p:titleStyle>
      <a:lvl1pPr marL="0" indent="0" algn="l" defTabSz="1088415" rtl="0" eaLnBrk="1" latinLnBrk="0" hangingPunct="1">
        <a:lnSpc>
          <a:spcPct val="80000"/>
        </a:lnSpc>
        <a:spcBef>
          <a:spcPts val="0"/>
        </a:spcBef>
        <a:buFont typeface="Arial" panose="020B0604020202020204" pitchFamily="34" charset="0"/>
        <a:buNone/>
        <a:defRPr sz="3598" b="1" kern="1200" baseline="0">
          <a:solidFill>
            <a:schemeClr val="tx1">
              <a:lumMod val="85000"/>
              <a:lumOff val="15000"/>
            </a:schemeClr>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37" name="Regieanweisungen"/>
          <p:cNvGrpSpPr/>
          <p:nvPr/>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7" name="Listenebene erhöhen"/>
                <p:cNvPicPr>
                  <a:picLocks noChangeAspect="1"/>
                </p:cNvPicPr>
                <p:nvPr userDrawn="1"/>
              </p:nvPicPr>
              <p:blipFill>
                <a:blip r:embed="rId6"/>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7"/>
                <a:stretch>
                  <a:fillRect/>
                </a:stretch>
              </p:blipFill>
              <p:spPr>
                <a:xfrm>
                  <a:off x="-900000" y="2628000"/>
                  <a:ext cx="756000" cy="322369"/>
                </a:xfrm>
                <a:prstGeom prst="rect">
                  <a:avLst/>
                </a:prstGeom>
              </p:spPr>
            </p:pic>
          </p:grpSp>
        </p:grpSp>
      </p:grpSp>
      <p:cxnSp>
        <p:nvCxnSpPr>
          <p:cNvPr id="14" name="Footerline"/>
          <p:cNvCxnSpPr/>
          <p:nvPr/>
        </p:nvCxnSpPr>
        <p:spPr bwMode="auto">
          <a:xfrm>
            <a:off x="629671" y="6487838"/>
            <a:ext cx="10931107" cy="0"/>
          </a:xfrm>
          <a:prstGeom prst="line">
            <a:avLst/>
          </a:prstGeom>
          <a:solidFill>
            <a:schemeClr val="bg1"/>
          </a:solidFill>
          <a:ln w="19050" cap="flat" cmpd="sng" algn="ctr">
            <a:solidFill>
              <a:schemeClr val="bg1">
                <a:lumMod val="85000"/>
              </a:schemeClr>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630117" y="1504603"/>
            <a:ext cx="10930387" cy="4875670"/>
          </a:xfrm>
          <a:prstGeom prst="rect">
            <a:avLst/>
          </a:prstGeom>
        </p:spPr>
        <p:txBody>
          <a:bodyPr vert="horz" lIns="0" tIns="0" rIns="0" bIns="0" rtlCol="0" anchor="t" anchorCtr="0">
            <a:noAutofit/>
          </a:body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p:ph type="title"/>
          </p:nvPr>
        </p:nvSpPr>
        <p:spPr>
          <a:xfrm>
            <a:off x="628324" y="285982"/>
            <a:ext cx="10932454" cy="1151733"/>
          </a:xfrm>
          <a:prstGeom prst="rect">
            <a:avLst/>
          </a:prstGeom>
        </p:spPr>
        <p:txBody>
          <a:bodyPr vert="horz" lIns="0" tIns="0" rIns="0" bIns="0" rtlCol="0" anchor="t" anchorCtr="0">
            <a:noAutofit/>
          </a:bodyPr>
          <a:lstStyle/>
          <a:p>
            <a:r>
              <a:rPr lang="en-GB" noProof="0" dirty="0"/>
              <a:t>HEADLINE IN CORPOS (BODY) 35 PT.</a:t>
            </a:r>
            <a:br>
              <a:rPr lang="en-GB" noProof="0" dirty="0"/>
            </a:br>
            <a:r>
              <a:rPr lang="en-GB" noProof="0" dirty="0"/>
              <a:t>IN TWO LINES</a:t>
            </a:r>
          </a:p>
        </p:txBody>
      </p:sp>
      <p:sp>
        <p:nvSpPr>
          <p:cNvPr id="5" name="Fußzeilenplatzhalter 4"/>
          <p:cNvSpPr>
            <a:spLocks noGrp="1"/>
          </p:cNvSpPr>
          <p:nvPr>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endParaRPr lang="en-GB" dirty="0">
              <a:solidFill>
                <a:prstClr val="black"/>
              </a:solidFill>
            </a:endParaRPr>
          </a:p>
        </p:txBody>
      </p:sp>
      <p:sp>
        <p:nvSpPr>
          <p:cNvPr id="6" name="Foliennummernplatzhalter 5"/>
          <p:cNvSpPr>
            <a:spLocks noGrp="1"/>
          </p:cNvSpPr>
          <p:nvPr>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en-GB" smtClean="0">
                <a:solidFill>
                  <a:prstClr val="black"/>
                </a:solidFill>
              </a:rPr>
              <a:t>Page </a:t>
            </a:r>
            <a:fld id="{52531704-8F80-415D-BD2B-6B9991AE822F}" type="slidenum">
              <a:rPr lang="en-GB" smtClean="0">
                <a:solidFill>
                  <a:prstClr val="black"/>
                </a:solidFill>
              </a:rPr>
              <a:pPr defTabSz="1088415"/>
              <a:t>‹#›</a:t>
            </a:fld>
            <a:endParaRPr lang="en-GB" dirty="0">
              <a:solidFill>
                <a:prstClr val="black"/>
              </a:solidFill>
            </a:endParaRPr>
          </a:p>
        </p:txBody>
      </p:sp>
      <p:sp>
        <p:nvSpPr>
          <p:cNvPr id="19" name="Daimler AG (Wortmarke)"/>
          <p:cNvSpPr>
            <a:spLocks noChangeArrowheads="1"/>
          </p:cNvSpPr>
          <p:nvPr/>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Financial Services AG</a:t>
            </a:r>
          </a:p>
        </p:txBody>
      </p:sp>
      <p:grpSp>
        <p:nvGrpSpPr>
          <p:cNvPr id="18" name="Gruppieren 17"/>
          <p:cNvGrpSpPr/>
          <p:nvPr userDrawn="1"/>
        </p:nvGrpSpPr>
        <p:grpSpPr>
          <a:xfrm>
            <a:off x="-2250855" y="3527183"/>
            <a:ext cx="2229361" cy="4638856"/>
            <a:chOff x="12221581" y="-62687"/>
            <a:chExt cx="2230522" cy="4639930"/>
          </a:xfrm>
        </p:grpSpPr>
        <p:sp>
          <p:nvSpPr>
            <p:cNvPr id="20" name="Rechteck 19"/>
            <p:cNvSpPr/>
            <p:nvPr userDrawn="1"/>
          </p:nvSpPr>
          <p:spPr>
            <a:xfrm>
              <a:off x="12266612" y="-62687"/>
              <a:ext cx="2185491" cy="1446550"/>
            </a:xfrm>
            <a:prstGeom prst="rect">
              <a:avLst/>
            </a:prstGeom>
          </p:spPr>
          <p:txBody>
            <a:bodyPr wrap="square">
              <a:spAutoFit/>
            </a:bodyPr>
            <a:lstStyle/>
            <a:p>
              <a:pPr algn="r" defTabSz="1088415"/>
              <a:r>
                <a:rPr lang="en-GB" sz="1099" b="1" dirty="0">
                  <a:solidFill>
                    <a:srgbClr val="444444"/>
                  </a:solidFill>
                </a:rPr>
                <a:t>Animation</a:t>
              </a:r>
            </a:p>
            <a:p>
              <a:pPr algn="r" defTabSz="1088415"/>
              <a:r>
                <a:rPr lang="en-GB" sz="1099" dirty="0">
                  <a:solidFill>
                    <a:srgbClr val="444444"/>
                  </a:solidFill>
                </a:rPr>
                <a:t>You can change animations via menu bar: animation.</a:t>
              </a:r>
            </a:p>
            <a:p>
              <a:pPr algn="r" defTabSz="1088415"/>
              <a:endParaRPr lang="en-GB" sz="1099" dirty="0">
                <a:solidFill>
                  <a:srgbClr val="444444"/>
                </a:solidFill>
              </a:endParaRPr>
            </a:p>
            <a:p>
              <a:pPr algn="r" defTabSz="1088415"/>
              <a:r>
                <a:rPr lang="en-GB" sz="1099" dirty="0">
                  <a:solidFill>
                    <a:srgbClr val="444444"/>
                  </a:solidFill>
                </a:rPr>
                <a:t>To remove the animation choose the menu bar animation and insert the animation pane by click on the following button.</a:t>
              </a:r>
            </a:p>
          </p:txBody>
        </p:sp>
        <p:pic>
          <p:nvPicPr>
            <p:cNvPr id="21" name="Grafik 2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4" name="Grafik 2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5" name="Rechteck 24"/>
            <p:cNvSpPr/>
            <p:nvPr userDrawn="1"/>
          </p:nvSpPr>
          <p:spPr>
            <a:xfrm>
              <a:off x="12221581" y="1896262"/>
              <a:ext cx="2185491" cy="938719"/>
            </a:xfrm>
            <a:prstGeom prst="rect">
              <a:avLst/>
            </a:prstGeom>
          </p:spPr>
          <p:txBody>
            <a:bodyPr wrap="square">
              <a:spAutoFit/>
            </a:bodyPr>
            <a:lstStyle/>
            <a:p>
              <a:pPr algn="r" defTabSz="1088415"/>
              <a:r>
                <a:rPr lang="en-GB" sz="1099" dirty="0">
                  <a:solidFill>
                    <a:srgbClr val="444444"/>
                  </a:solidFill>
                </a:rPr>
                <a:t>Within the window animation Pane you can choose the animated elements and by click on the blue arrow you can remove the animation.</a:t>
              </a:r>
            </a:p>
          </p:txBody>
        </p:sp>
      </p:grpSp>
      <p:grpSp>
        <p:nvGrpSpPr>
          <p:cNvPr id="26" name="Gruppieren 25"/>
          <p:cNvGrpSpPr/>
          <p:nvPr userDrawn="1"/>
        </p:nvGrpSpPr>
        <p:grpSpPr>
          <a:xfrm>
            <a:off x="12192001" y="-82363"/>
            <a:ext cx="2184353" cy="3786237"/>
            <a:chOff x="12266612" y="-62687"/>
            <a:chExt cx="2185491" cy="3787114"/>
          </a:xfrm>
        </p:grpSpPr>
        <p:sp>
          <p:nvSpPr>
            <p:cNvPr id="27" name="Rechteck 26"/>
            <p:cNvSpPr/>
            <p:nvPr userDrawn="1"/>
          </p:nvSpPr>
          <p:spPr>
            <a:xfrm>
              <a:off x="12266612" y="-62687"/>
              <a:ext cx="2185491" cy="769441"/>
            </a:xfrm>
            <a:prstGeom prst="rect">
              <a:avLst/>
            </a:prstGeom>
          </p:spPr>
          <p:txBody>
            <a:bodyPr wrap="square">
              <a:spAutoFit/>
            </a:bodyPr>
            <a:lstStyle/>
            <a:p>
              <a:pPr defTabSz="1088415"/>
              <a:r>
                <a:rPr lang="en-US" sz="1099" b="1" dirty="0">
                  <a:solidFill>
                    <a:srgbClr val="444444"/>
                  </a:solidFill>
                </a:rPr>
                <a:t>Change pictures</a:t>
              </a:r>
            </a:p>
            <a:p>
              <a:pPr defTabSz="1088415"/>
              <a:r>
                <a:rPr lang="en-US" sz="1099" dirty="0">
                  <a:solidFill>
                    <a:srgbClr val="444444"/>
                  </a:solidFill>
                </a:rPr>
                <a:t>Choose your desired picture, click right mouse button an choose change picture.</a:t>
              </a:r>
            </a:p>
          </p:txBody>
        </p:sp>
        <p:pic>
          <p:nvPicPr>
            <p:cNvPr id="29" name="Grafik 28"/>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0" name="Gruppieren 29"/>
          <p:cNvGrpSpPr/>
          <p:nvPr userDrawn="1"/>
        </p:nvGrpSpPr>
        <p:grpSpPr>
          <a:xfrm>
            <a:off x="12192000" y="3909447"/>
            <a:ext cx="2383726" cy="3891078"/>
            <a:chOff x="12291863" y="5052225"/>
            <a:chExt cx="2384968" cy="3891979"/>
          </a:xfrm>
        </p:grpSpPr>
        <p:sp>
          <p:nvSpPr>
            <p:cNvPr id="32" name="Rechteck 31"/>
            <p:cNvSpPr/>
            <p:nvPr userDrawn="1"/>
          </p:nvSpPr>
          <p:spPr>
            <a:xfrm>
              <a:off x="12291863" y="5052225"/>
              <a:ext cx="2384968" cy="1107996"/>
            </a:xfrm>
            <a:prstGeom prst="rect">
              <a:avLst/>
            </a:prstGeom>
          </p:spPr>
          <p:txBody>
            <a:bodyPr wrap="square">
              <a:spAutoFit/>
            </a:bodyPr>
            <a:lstStyle/>
            <a:p>
              <a:pPr defTabSz="1088415"/>
              <a:r>
                <a:rPr lang="en-US" sz="1099" b="1" dirty="0">
                  <a:solidFill>
                    <a:srgbClr val="444444"/>
                  </a:solidFill>
                </a:rPr>
                <a:t>Align</a:t>
              </a:r>
            </a:p>
            <a:p>
              <a:pPr defTabSz="1088415"/>
              <a:r>
                <a:rPr lang="en-US" sz="1099" dirty="0">
                  <a:solidFill>
                    <a:srgbClr val="444444"/>
                  </a:solidFill>
                </a:rPr>
                <a:t>By using this tool you can align objects, pictures and text blocks with another:</a:t>
              </a:r>
            </a:p>
            <a:p>
              <a:pPr defTabSz="1088415"/>
              <a:r>
                <a:rPr lang="en-US" sz="1099" dirty="0">
                  <a:solidFill>
                    <a:srgbClr val="444444"/>
                  </a:solidFill>
                </a:rPr>
                <a:t>Choose desired objects // Format // Align</a:t>
              </a:r>
            </a:p>
          </p:txBody>
        </p:sp>
        <p:pic>
          <p:nvPicPr>
            <p:cNvPr id="33" name="Picture 2"/>
            <p:cNvPicPr>
              <a:picLocks noChangeAspect="1" noChangeArrowheads="1"/>
            </p:cNvPicPr>
            <p:nvPr userDrawn="1"/>
          </p:nvPicPr>
          <p:blipFill>
            <a:blip r:embed="rId11">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uppieren 37"/>
          <p:cNvGrpSpPr/>
          <p:nvPr userDrawn="1"/>
        </p:nvGrpSpPr>
        <p:grpSpPr>
          <a:xfrm>
            <a:off x="14575727" y="-67809"/>
            <a:ext cx="2184353" cy="5224601"/>
            <a:chOff x="14583318" y="4183"/>
            <a:chExt cx="2185491" cy="5225811"/>
          </a:xfrm>
        </p:grpSpPr>
        <p:sp>
          <p:nvSpPr>
            <p:cNvPr id="39" name="Rechteck 38"/>
            <p:cNvSpPr/>
            <p:nvPr userDrawn="1"/>
          </p:nvSpPr>
          <p:spPr>
            <a:xfrm>
              <a:off x="14583318" y="4183"/>
              <a:ext cx="2185491" cy="1107996"/>
            </a:xfrm>
            <a:prstGeom prst="rect">
              <a:avLst/>
            </a:prstGeom>
          </p:spPr>
          <p:txBody>
            <a:bodyPr wrap="square">
              <a:spAutoFit/>
            </a:bodyPr>
            <a:lstStyle/>
            <a:p>
              <a:pPr defTabSz="1088415">
                <a:defRPr/>
              </a:pPr>
              <a:r>
                <a:rPr lang="en-US" sz="1099" b="1" dirty="0">
                  <a:solidFill>
                    <a:srgbClr val="444444"/>
                  </a:solidFill>
                </a:rPr>
                <a:t>Crop pictures to shape</a:t>
              </a:r>
            </a:p>
            <a:p>
              <a:pPr defTabSz="1088415"/>
              <a:r>
                <a:rPr lang="en-US" sz="1099" dirty="0">
                  <a:solidFill>
                    <a:srgbClr val="444444"/>
                  </a:solidFill>
                </a:rPr>
                <a:t>To crop pictures in a circle in the first step they have to be square-shaped. </a:t>
              </a:r>
            </a:p>
            <a:p>
              <a:pPr defTabSz="1088415"/>
              <a:r>
                <a:rPr lang="en-US" sz="1099" dirty="0">
                  <a:solidFill>
                    <a:srgbClr val="444444"/>
                  </a:solidFill>
                </a:rPr>
                <a:t>Do this via menu bar:</a:t>
              </a:r>
            </a:p>
            <a:p>
              <a:pPr defTabSz="1088415"/>
              <a:r>
                <a:rPr lang="en-US" sz="1099" dirty="0">
                  <a:solidFill>
                    <a:srgbClr val="444444"/>
                  </a:solidFill>
                </a:rPr>
                <a:t>Picture Tool // Format // Crop</a:t>
              </a:r>
            </a:p>
          </p:txBody>
        </p:sp>
        <p:pic>
          <p:nvPicPr>
            <p:cNvPr id="40" name="Grafik 39"/>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1" name="Grafik 40"/>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2" name="Rechteck 41"/>
            <p:cNvSpPr/>
            <p:nvPr userDrawn="1"/>
          </p:nvSpPr>
          <p:spPr>
            <a:xfrm>
              <a:off x="14583318" y="2076199"/>
              <a:ext cx="2185491" cy="938719"/>
            </a:xfrm>
            <a:prstGeom prst="rect">
              <a:avLst/>
            </a:prstGeom>
          </p:spPr>
          <p:txBody>
            <a:bodyPr wrap="square">
              <a:spAutoFit/>
            </a:bodyPr>
            <a:lstStyle/>
            <a:p>
              <a:pPr defTabSz="1088415"/>
              <a:r>
                <a:rPr lang="en-US" sz="1099" dirty="0">
                  <a:solidFill>
                    <a:srgbClr val="444444"/>
                  </a:solidFill>
                </a:rPr>
                <a:t>Afterwards the picture can be cropped in a circle via following menu:</a:t>
              </a:r>
            </a:p>
            <a:p>
              <a:pPr defTabSz="1088415"/>
              <a:r>
                <a:rPr lang="en-US" sz="1099" dirty="0">
                  <a:solidFill>
                    <a:srgbClr val="444444"/>
                  </a:solidFill>
                </a:rPr>
                <a:t>Picture Tool // Format // Crop // Crop to Shape</a:t>
              </a:r>
            </a:p>
          </p:txBody>
        </p:sp>
        <p:pic>
          <p:nvPicPr>
            <p:cNvPr id="43" name="Grafik 42"/>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Tree>
    <p:extLst>
      <p:ext uri="{BB962C8B-B14F-4D97-AF65-F5344CB8AC3E}">
        <p14:creationId xmlns:p14="http://schemas.microsoft.com/office/powerpoint/2010/main" val="463768978"/>
      </p:ext>
    </p:extLst>
  </p:cSld>
  <p:clrMap bg1="lt1" tx1="dk1" bg2="lt2" tx2="dk2" accent1="accent1" accent2="accent2" accent3="accent3" accent4="accent4" accent5="accent5" accent6="accent6" hlink="hlink" folHlink="folHlink"/>
  <p:sldLayoutIdLst>
    <p:sldLayoutId id="2147484939" r:id="rId1"/>
    <p:sldLayoutId id="2147484940" r:id="rId2"/>
    <p:sldLayoutId id="2147484941" r:id="rId3"/>
    <p:sldLayoutId id="2147484942" r:id="rId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marL="0" indent="0" algn="l" defTabSz="1088415" rtl="0" eaLnBrk="1" latinLnBrk="0" hangingPunct="1">
        <a:lnSpc>
          <a:spcPct val="80000"/>
        </a:lnSpc>
        <a:spcBef>
          <a:spcPts val="0"/>
        </a:spcBef>
        <a:buFont typeface="Arial" panose="020B0604020202020204" pitchFamily="34" charset="0"/>
        <a:buNone/>
        <a:defRPr sz="3598" b="1" kern="1200" baseline="0">
          <a:solidFill>
            <a:schemeClr val="tx1">
              <a:lumMod val="85000"/>
              <a:lumOff val="15000"/>
            </a:schemeClr>
          </a:solidFill>
          <a:latin typeface="CorporateS-Regular" pitchFamily="2" charset="0"/>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CorporateS-Regular" pitchFamily="2" charset="0"/>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CorporateS-Regular" pitchFamily="2" charset="0"/>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CorporateS-Regular" pitchFamily="2" charset="0"/>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CorporateS-Regular" pitchFamily="2" charset="0"/>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CorporateS-Regular" pitchFamily="2" charset="0"/>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CorporateS-Regular" pitchFamily="2" charset="0"/>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CorporateS-Regular" pitchFamily="2" charset="0"/>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CorporateS-Regular" pitchFamily="2" charset="0"/>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CorporateS-Regular" pitchFamily="2" charset="0"/>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7"/>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212067"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6" cy="1587"/>
                      </a:xfrm>
                      <a:prstGeom prst="rect">
                        <a:avLst/>
                      </a:prstGeom>
                    </p:spPr>
                  </p:pic>
                </p:oleObj>
              </mc:Fallback>
            </mc:AlternateContent>
          </a:graphicData>
        </a:graphic>
      </p:graphicFrame>
      <p:sp>
        <p:nvSpPr>
          <p:cNvPr id="7" name="Rechteck 6" hidden="1"/>
          <p:cNvSpPr/>
          <p:nvPr userDrawn="1">
            <p:custDataLst>
              <p:tags r:id="rId8"/>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088415">
              <a:lnSpc>
                <a:spcPts val="3998"/>
              </a:lnSpc>
              <a:spcBef>
                <a:spcPct val="0"/>
              </a:spcBef>
              <a:spcAft>
                <a:spcPct val="0"/>
              </a:spcAft>
            </a:pPr>
            <a:endParaRPr lang="en-GB" sz="3498" dirty="0">
              <a:solidFill>
                <a:prstClr val="white"/>
              </a:solidFill>
              <a:sym typeface="CorpoS" pitchFamily="2" charset="0"/>
            </a:endParaRPr>
          </a:p>
        </p:txBody>
      </p:sp>
      <p:sp>
        <p:nvSpPr>
          <p:cNvPr id="18" name="Daimler AG (Wortmarke)"/>
          <p:cNvSpPr>
            <a:spLocks noChangeArrowheads="1"/>
          </p:cNvSpPr>
          <p:nvPr/>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cxnSp>
        <p:nvCxnSpPr>
          <p:cNvPr id="14" name="Footerline"/>
          <p:cNvCxnSpPr/>
          <p:nvPr/>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630117" y="1504603"/>
            <a:ext cx="10930387" cy="4875670"/>
          </a:xfrm>
          <a:prstGeom prst="rect">
            <a:avLst/>
          </a:prstGeom>
        </p:spPr>
        <p:txBody>
          <a:bodyPr vert="horz" lIns="0" tIns="0" rIns="0" bIns="0" rtlCol="0" anchor="t" anchorCtr="0">
            <a:noAutofit/>
          </a:bodyPr>
          <a:lstStyle/>
          <a:p>
            <a:pPr lvl="0"/>
            <a:r>
              <a:rPr lang="en-GB" dirty="0"/>
              <a:t>Insert text in </a:t>
            </a:r>
            <a:r>
              <a:rPr lang="en-GB" noProof="0" dirty="0" err="1"/>
              <a:t>CorpoS</a:t>
            </a:r>
            <a:r>
              <a:rPr lang="en-GB" noProof="0" dirty="0"/>
              <a:t>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p:ph type="title"/>
          </p:nvPr>
        </p:nvSpPr>
        <p:spPr>
          <a:xfrm>
            <a:off x="628324" y="285982"/>
            <a:ext cx="10932454" cy="1151733"/>
          </a:xfrm>
          <a:prstGeom prst="rect">
            <a:avLst/>
          </a:prstGeom>
        </p:spPr>
        <p:txBody>
          <a:bodyPr vert="horz" lIns="0" tIns="0" rIns="0" bIns="0" rtlCol="0" anchor="t" anchorCtr="0">
            <a:noAutofit/>
          </a:bodyPr>
          <a:lstStyle/>
          <a:p>
            <a:r>
              <a:rPr lang="en-GB" noProof="0" dirty="0"/>
              <a:t>Headline in </a:t>
            </a:r>
            <a:r>
              <a:rPr lang="en-GB" noProof="0" dirty="0" err="1"/>
              <a:t>CorpoS</a:t>
            </a:r>
            <a:r>
              <a:rPr lang="en-GB" noProof="0" dirty="0"/>
              <a:t> (Body) 35 pt.</a:t>
            </a:r>
            <a:br>
              <a:rPr lang="en-GB" noProof="0" dirty="0"/>
            </a:br>
            <a:r>
              <a:rPr lang="en-GB" noProof="0" dirty="0"/>
              <a:t>in two lines</a:t>
            </a:r>
          </a:p>
        </p:txBody>
      </p:sp>
      <p:sp>
        <p:nvSpPr>
          <p:cNvPr id="5" name="Fußzeilenplatzhalter 4"/>
          <p:cNvSpPr>
            <a:spLocks noGrp="1"/>
          </p:cNvSpPr>
          <p:nvPr>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r>
              <a:rPr lang="en-US" smtClean="0">
                <a:solidFill>
                  <a:prstClr val="black"/>
                </a:solidFill>
              </a:rPr>
              <a:t>Sustainability | Theme status report - Milestone 2 | 08.02.2019 | </a:t>
            </a:r>
            <a:endParaRPr lang="en-GB" dirty="0">
              <a:solidFill>
                <a:prstClr val="black"/>
              </a:solidFill>
            </a:endParaRPr>
          </a:p>
        </p:txBody>
      </p:sp>
      <p:sp>
        <p:nvSpPr>
          <p:cNvPr id="6" name="Foliennummernplatzhalter 5"/>
          <p:cNvSpPr>
            <a:spLocks noGrp="1"/>
          </p:cNvSpPr>
          <p:nvPr>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en-GB" smtClean="0">
                <a:solidFill>
                  <a:prstClr val="black"/>
                </a:solidFill>
              </a:rPr>
              <a:t>Page </a:t>
            </a:r>
            <a:fld id="{52531704-8F80-415D-BD2B-6B9991AE822F}" type="slidenum">
              <a:rPr lang="en-GB" smtClean="0">
                <a:solidFill>
                  <a:prstClr val="black"/>
                </a:solidFill>
              </a:rPr>
              <a:pPr defTabSz="1088415"/>
              <a:t>‹#›</a:t>
            </a:fld>
            <a:endParaRPr lang="en-GB" dirty="0">
              <a:solidFill>
                <a:prstClr val="black"/>
              </a:solidFill>
            </a:endParaRPr>
          </a:p>
        </p:txBody>
      </p:sp>
    </p:spTree>
    <p:extLst>
      <p:ext uri="{BB962C8B-B14F-4D97-AF65-F5344CB8AC3E}">
        <p14:creationId xmlns:p14="http://schemas.microsoft.com/office/powerpoint/2010/main" val="3297897671"/>
      </p:ext>
    </p:extLst>
  </p:cSld>
  <p:clrMap bg1="lt1" tx1="dk1" bg2="lt2" tx2="dk2" accent1="accent1" accent2="accent2" accent3="accent3" accent4="accent4" accent5="accent5" accent6="accent6" hlink="hlink" folHlink="folHlink"/>
  <p:sldLayoutIdLst>
    <p:sldLayoutId id="2147484944" r:id="rId1"/>
    <p:sldLayoutId id="2147484945" r:id="rId2"/>
    <p:sldLayoutId id="2147484946" r:id="rId3"/>
    <p:sldLayoutId id="2147484947" r:id="rId4"/>
  </p:sldLayoutIdLst>
  <p:hf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8"/>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217187" name="think-cell Folie" r:id="rId10" imgW="270" imgH="270" progId="TCLayout.ActiveDocument.1">
                  <p:embed/>
                </p:oleObj>
              </mc:Choice>
              <mc:Fallback>
                <p:oleObj name="think-cell Folie" r:id="rId10" imgW="270" imgH="270" progId="TCLayout.ActiveDocument.1">
                  <p:embed/>
                  <p:pic>
                    <p:nvPicPr>
                      <p:cNvPr id="0" name=""/>
                      <p:cNvPicPr/>
                      <p:nvPr/>
                    </p:nvPicPr>
                    <p:blipFill>
                      <a:blip r:embed="rId11"/>
                      <a:stretch>
                        <a:fillRect/>
                      </a:stretch>
                    </p:blipFill>
                    <p:spPr>
                      <a:xfrm>
                        <a:off x="1588" y="1588"/>
                        <a:ext cx="1586" cy="1587"/>
                      </a:xfrm>
                      <a:prstGeom prst="rect">
                        <a:avLst/>
                      </a:prstGeom>
                    </p:spPr>
                  </p:pic>
                </p:oleObj>
              </mc:Fallback>
            </mc:AlternateContent>
          </a:graphicData>
        </a:graphic>
      </p:graphicFrame>
      <p:sp>
        <p:nvSpPr>
          <p:cNvPr id="7" name="Rechteck 6" hidden="1"/>
          <p:cNvSpPr/>
          <p:nvPr userDrawn="1">
            <p:custDataLst>
              <p:tags r:id="rId9"/>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088415">
              <a:lnSpc>
                <a:spcPts val="3998"/>
              </a:lnSpc>
              <a:spcBef>
                <a:spcPct val="0"/>
              </a:spcBef>
              <a:spcAft>
                <a:spcPct val="0"/>
              </a:spcAft>
            </a:pPr>
            <a:endParaRPr lang="en-GB" sz="3498" dirty="0">
              <a:solidFill>
                <a:prstClr val="white"/>
              </a:solidFill>
              <a:sym typeface="CorpoS" pitchFamily="2" charset="0"/>
            </a:endParaRPr>
          </a:p>
        </p:txBody>
      </p:sp>
      <p:sp>
        <p:nvSpPr>
          <p:cNvPr id="18" name="Daimler AG (Wortmarke)"/>
          <p:cNvSpPr>
            <a:spLocks noChangeArrowheads="1"/>
          </p:cNvSpPr>
          <p:nvPr/>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cxnSp>
        <p:nvCxnSpPr>
          <p:cNvPr id="14" name="Footerline"/>
          <p:cNvCxnSpPr/>
          <p:nvPr/>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630117" y="1504603"/>
            <a:ext cx="10930387" cy="4875670"/>
          </a:xfrm>
          <a:prstGeom prst="rect">
            <a:avLst/>
          </a:prstGeom>
        </p:spPr>
        <p:txBody>
          <a:bodyPr vert="horz" lIns="0" tIns="0" rIns="0" bIns="0" rtlCol="0" anchor="t" anchorCtr="0">
            <a:noAutofit/>
          </a:bodyPr>
          <a:lstStyle/>
          <a:p>
            <a:pPr lvl="0"/>
            <a:r>
              <a:rPr lang="en-GB" dirty="0"/>
              <a:t>Insert text in </a:t>
            </a:r>
            <a:r>
              <a:rPr lang="en-GB" noProof="0" dirty="0" err="1"/>
              <a:t>CorpoS</a:t>
            </a:r>
            <a:r>
              <a:rPr lang="en-GB" noProof="0" dirty="0"/>
              <a:t>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p:ph type="title"/>
          </p:nvPr>
        </p:nvSpPr>
        <p:spPr>
          <a:xfrm>
            <a:off x="628324" y="285982"/>
            <a:ext cx="10932454" cy="1151733"/>
          </a:xfrm>
          <a:prstGeom prst="rect">
            <a:avLst/>
          </a:prstGeom>
        </p:spPr>
        <p:txBody>
          <a:bodyPr vert="horz" lIns="0" tIns="0" rIns="0" bIns="0" rtlCol="0" anchor="t" anchorCtr="0">
            <a:noAutofit/>
          </a:bodyPr>
          <a:lstStyle/>
          <a:p>
            <a:r>
              <a:rPr lang="en-GB" noProof="0" dirty="0"/>
              <a:t>Headline in </a:t>
            </a:r>
            <a:r>
              <a:rPr lang="en-GB" noProof="0" dirty="0" err="1"/>
              <a:t>CorpoS</a:t>
            </a:r>
            <a:r>
              <a:rPr lang="en-GB" noProof="0" dirty="0"/>
              <a:t> (Body) 35 pt.</a:t>
            </a:r>
            <a:br>
              <a:rPr lang="en-GB" noProof="0" dirty="0"/>
            </a:br>
            <a:r>
              <a:rPr lang="en-GB" noProof="0" dirty="0"/>
              <a:t>in two lines</a:t>
            </a:r>
          </a:p>
        </p:txBody>
      </p:sp>
      <p:sp>
        <p:nvSpPr>
          <p:cNvPr id="5" name="Fußzeilenplatzhalter 4"/>
          <p:cNvSpPr>
            <a:spLocks noGrp="1"/>
          </p:cNvSpPr>
          <p:nvPr>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r>
              <a:rPr lang="en-US" smtClean="0">
                <a:solidFill>
                  <a:prstClr val="black"/>
                </a:solidFill>
              </a:rPr>
              <a:t>Sustainability | Theme status report - Milestone 2 | 08.02.2019 | </a:t>
            </a:r>
            <a:endParaRPr lang="en-GB" dirty="0">
              <a:solidFill>
                <a:prstClr val="black"/>
              </a:solidFill>
            </a:endParaRPr>
          </a:p>
        </p:txBody>
      </p:sp>
      <p:sp>
        <p:nvSpPr>
          <p:cNvPr id="6" name="Foliennummernplatzhalter 5"/>
          <p:cNvSpPr>
            <a:spLocks noGrp="1"/>
          </p:cNvSpPr>
          <p:nvPr>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en-GB" smtClean="0">
                <a:solidFill>
                  <a:prstClr val="black"/>
                </a:solidFill>
              </a:rPr>
              <a:t>Page </a:t>
            </a:r>
            <a:fld id="{52531704-8F80-415D-BD2B-6B9991AE822F}" type="slidenum">
              <a:rPr lang="en-GB" smtClean="0">
                <a:solidFill>
                  <a:prstClr val="black"/>
                </a:solidFill>
              </a:rPr>
              <a:pPr defTabSz="1088415"/>
              <a:t>‹#›</a:t>
            </a:fld>
            <a:endParaRPr lang="en-GB" dirty="0">
              <a:solidFill>
                <a:prstClr val="black"/>
              </a:solidFill>
            </a:endParaRPr>
          </a:p>
        </p:txBody>
      </p:sp>
    </p:spTree>
    <p:extLst>
      <p:ext uri="{BB962C8B-B14F-4D97-AF65-F5344CB8AC3E}">
        <p14:creationId xmlns:p14="http://schemas.microsoft.com/office/powerpoint/2010/main" val="3803363102"/>
      </p:ext>
    </p:extLst>
  </p:cSld>
  <p:clrMap bg1="lt1" tx1="dk1" bg2="lt2" tx2="dk2" accent1="accent1" accent2="accent2" accent3="accent3" accent4="accent4" accent5="accent5" accent6="accent6" hlink="hlink" folHlink="folHlink"/>
  <p:sldLayoutIdLst>
    <p:sldLayoutId id="2147484950" r:id="rId1"/>
    <p:sldLayoutId id="2147484951" r:id="rId2"/>
    <p:sldLayoutId id="2147484952" r:id="rId3"/>
    <p:sldLayoutId id="2147484953" r:id="rId4"/>
    <p:sldLayoutId id="2147484954" r:id="rId5"/>
  </p:sldLayoutIdLst>
  <p:hf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7"/>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222307"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6" cy="1587"/>
                      </a:xfrm>
                      <a:prstGeom prst="rect">
                        <a:avLst/>
                      </a:prstGeom>
                    </p:spPr>
                  </p:pic>
                </p:oleObj>
              </mc:Fallback>
            </mc:AlternateContent>
          </a:graphicData>
        </a:graphic>
      </p:graphicFrame>
      <p:sp>
        <p:nvSpPr>
          <p:cNvPr id="7" name="Rechteck 6" hidden="1"/>
          <p:cNvSpPr/>
          <p:nvPr userDrawn="1">
            <p:custDataLst>
              <p:tags r:id="rId8"/>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088415">
              <a:lnSpc>
                <a:spcPts val="3998"/>
              </a:lnSpc>
              <a:spcBef>
                <a:spcPct val="0"/>
              </a:spcBef>
              <a:spcAft>
                <a:spcPct val="0"/>
              </a:spcAft>
            </a:pPr>
            <a:endParaRPr lang="en-GB" sz="3498" dirty="0">
              <a:solidFill>
                <a:prstClr val="white"/>
              </a:solidFill>
              <a:sym typeface="CorpoS" pitchFamily="2" charset="0"/>
            </a:endParaRPr>
          </a:p>
        </p:txBody>
      </p:sp>
      <p:sp>
        <p:nvSpPr>
          <p:cNvPr id="18" name="Daimler AG (Wortmarke)"/>
          <p:cNvSpPr>
            <a:spLocks noChangeArrowheads="1"/>
          </p:cNvSpPr>
          <p:nvPr/>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cxnSp>
        <p:nvCxnSpPr>
          <p:cNvPr id="14" name="Footerline"/>
          <p:cNvCxnSpPr/>
          <p:nvPr/>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630117" y="1504603"/>
            <a:ext cx="10930387" cy="4875670"/>
          </a:xfrm>
          <a:prstGeom prst="rect">
            <a:avLst/>
          </a:prstGeom>
        </p:spPr>
        <p:txBody>
          <a:bodyPr vert="horz" lIns="0" tIns="0" rIns="0" bIns="0" rtlCol="0" anchor="t" anchorCtr="0">
            <a:noAutofit/>
          </a:bodyPr>
          <a:lstStyle/>
          <a:p>
            <a:pPr lvl="0"/>
            <a:r>
              <a:rPr lang="en-GB" dirty="0"/>
              <a:t>Insert text in </a:t>
            </a:r>
            <a:r>
              <a:rPr lang="en-GB" noProof="0" dirty="0" err="1"/>
              <a:t>CorpoS</a:t>
            </a:r>
            <a:r>
              <a:rPr lang="en-GB" noProof="0" dirty="0"/>
              <a:t>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p:ph type="title"/>
          </p:nvPr>
        </p:nvSpPr>
        <p:spPr>
          <a:xfrm>
            <a:off x="628324" y="285982"/>
            <a:ext cx="10932454" cy="1151733"/>
          </a:xfrm>
          <a:prstGeom prst="rect">
            <a:avLst/>
          </a:prstGeom>
        </p:spPr>
        <p:txBody>
          <a:bodyPr vert="horz" lIns="0" tIns="0" rIns="0" bIns="0" rtlCol="0" anchor="t" anchorCtr="0">
            <a:noAutofit/>
          </a:bodyPr>
          <a:lstStyle/>
          <a:p>
            <a:r>
              <a:rPr lang="en-GB" noProof="0" dirty="0"/>
              <a:t>Headline in </a:t>
            </a:r>
            <a:r>
              <a:rPr lang="en-GB" noProof="0" dirty="0" err="1"/>
              <a:t>CorpoS</a:t>
            </a:r>
            <a:r>
              <a:rPr lang="en-GB" noProof="0" dirty="0"/>
              <a:t> (Body) 35 pt.</a:t>
            </a:r>
            <a:br>
              <a:rPr lang="en-GB" noProof="0" dirty="0"/>
            </a:br>
            <a:r>
              <a:rPr lang="en-GB" noProof="0" dirty="0"/>
              <a:t>in two lines</a:t>
            </a:r>
          </a:p>
        </p:txBody>
      </p:sp>
      <p:sp>
        <p:nvSpPr>
          <p:cNvPr id="5" name="Fußzeilenplatzhalter 4"/>
          <p:cNvSpPr>
            <a:spLocks noGrp="1"/>
          </p:cNvSpPr>
          <p:nvPr>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r>
              <a:rPr lang="en-US" smtClean="0">
                <a:solidFill>
                  <a:prstClr val="black"/>
                </a:solidFill>
              </a:rPr>
              <a:t>Sustainability | Theme status report - Milestone 2 | 08.02.2019 | </a:t>
            </a:r>
            <a:endParaRPr lang="en-GB" dirty="0">
              <a:solidFill>
                <a:prstClr val="black"/>
              </a:solidFill>
            </a:endParaRPr>
          </a:p>
        </p:txBody>
      </p:sp>
      <p:sp>
        <p:nvSpPr>
          <p:cNvPr id="6" name="Foliennummernplatzhalter 5"/>
          <p:cNvSpPr>
            <a:spLocks noGrp="1"/>
          </p:cNvSpPr>
          <p:nvPr>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en-GB" smtClean="0">
                <a:solidFill>
                  <a:prstClr val="black"/>
                </a:solidFill>
              </a:rPr>
              <a:t>Page </a:t>
            </a:r>
            <a:fld id="{52531704-8F80-415D-BD2B-6B9991AE822F}" type="slidenum">
              <a:rPr lang="en-GB" smtClean="0">
                <a:solidFill>
                  <a:prstClr val="black"/>
                </a:solidFill>
              </a:rPr>
              <a:pPr defTabSz="1088415"/>
              <a:t>‹#›</a:t>
            </a:fld>
            <a:endParaRPr lang="en-GB" dirty="0">
              <a:solidFill>
                <a:prstClr val="black"/>
              </a:solidFill>
            </a:endParaRPr>
          </a:p>
        </p:txBody>
      </p:sp>
    </p:spTree>
    <p:extLst>
      <p:ext uri="{BB962C8B-B14F-4D97-AF65-F5344CB8AC3E}">
        <p14:creationId xmlns:p14="http://schemas.microsoft.com/office/powerpoint/2010/main" val="883922925"/>
      </p:ext>
    </p:extLst>
  </p:cSld>
  <p:clrMap bg1="lt1" tx1="dk1" bg2="lt2" tx2="dk2" accent1="accent1" accent2="accent2" accent3="accent3" accent4="accent4" accent5="accent5" accent6="accent6" hlink="hlink" folHlink="folHlink"/>
  <p:sldLayoutIdLst>
    <p:sldLayoutId id="2147484956" r:id="rId1"/>
    <p:sldLayoutId id="2147484957" r:id="rId2"/>
    <p:sldLayoutId id="2147484958" r:id="rId3"/>
    <p:sldLayoutId id="2147484959" r:id="rId4"/>
  </p:sldLayoutIdLst>
  <p:hf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37" name="Regieanweisungen"/>
          <p:cNvGrpSpPr/>
          <p:nvPr/>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smtClean="0">
                  <a:solidFill>
                    <a:srgbClr val="444444"/>
                  </a:solidFill>
                </a:rPr>
                <a:t>Hilfslinien anzeigen über Menu: Ansicht // Anzeigen // Haken bei Führungslinien setzen</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smtClean="0">
                  <a:solidFill>
                    <a:srgbClr val="444444"/>
                  </a:solidFill>
                </a:rPr>
                <a:t>Fußzeile pro Folie oder für alle/mehrere anpassen über Menü: Einfügen // Text // Kopf- und Fußzeile</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smtClean="0">
                    <a:solidFill>
                      <a:srgbClr val="444444"/>
                    </a:solidFill>
                  </a:rPr>
                  <a:t>Folie in Ursprungsform </a:t>
                </a:r>
              </a:p>
              <a:p>
                <a:pPr algn="r"/>
                <a:r>
                  <a:rPr lang="de-DE" sz="1099" dirty="0" smtClean="0">
                    <a:solidFill>
                      <a:srgbClr val="444444"/>
                    </a:solidFill>
                  </a:rPr>
                  <a:t>bringen über Menu:</a:t>
                </a:r>
              </a:p>
              <a:p>
                <a:pPr algn="r"/>
                <a:r>
                  <a:rPr lang="de-DE" sz="1099" dirty="0" smtClean="0">
                    <a:solidFill>
                      <a:srgbClr val="444444"/>
                    </a:solidFill>
                  </a:rPr>
                  <a:t>Start // Folien // Zurücksetzen</a:t>
                </a:r>
              </a:p>
              <a:p>
                <a:pPr algn="r"/>
                <a:endParaRPr lang="de-DE" sz="1099" dirty="0" smtClean="0">
                  <a:solidFill>
                    <a:srgbClr val="444444"/>
                  </a:solidFill>
                </a:endParaRPr>
              </a:p>
              <a:p>
                <a:pPr algn="r"/>
                <a:r>
                  <a:rPr lang="de-DE" sz="1099" dirty="0" smtClean="0">
                    <a:solidFill>
                      <a:srgbClr val="444444"/>
                    </a:solidFill>
                  </a:rPr>
                  <a:t>Wechsel des Folienlayouts </a:t>
                </a:r>
                <a:br>
                  <a:rPr lang="de-DE" sz="1099" dirty="0" smtClean="0">
                    <a:solidFill>
                      <a:srgbClr val="444444"/>
                    </a:solidFill>
                  </a:rPr>
                </a:br>
                <a:r>
                  <a:rPr lang="de-DE" sz="1099" dirty="0" smtClean="0">
                    <a:solidFill>
                      <a:srgbClr val="444444"/>
                    </a:solidFill>
                  </a:rPr>
                  <a:t>im Menü über:</a:t>
                </a:r>
              </a:p>
              <a:p>
                <a:pPr algn="r">
                  <a:defRPr/>
                </a:pPr>
                <a:r>
                  <a:rPr lang="de-DE" sz="1099" dirty="0" smtClean="0">
                    <a:solidFill>
                      <a:srgbClr val="444444"/>
                    </a:solidFill>
                  </a:rPr>
                  <a:t>Start // Folien // Layout</a:t>
                </a:r>
              </a:p>
              <a:p>
                <a:pPr algn="r">
                  <a:defRPr/>
                </a:pPr>
                <a:endParaRPr lang="de-DE" sz="1099" dirty="0" smtClean="0">
                  <a:solidFill>
                    <a:srgbClr val="444444"/>
                  </a:solidFill>
                </a:endParaRPr>
              </a:p>
              <a:p>
                <a:pPr algn="r">
                  <a:defRPr/>
                </a:pPr>
                <a:r>
                  <a:rPr lang="de-DE" sz="1099" dirty="0" smtClean="0">
                    <a:solidFill>
                      <a:srgbClr val="444444"/>
                    </a:solidFill>
                  </a:rPr>
                  <a:t>Wechsel der Textebene</a:t>
                </a:r>
              </a:p>
              <a:p>
                <a:pPr algn="r">
                  <a:defRPr/>
                </a:pPr>
                <a:r>
                  <a:rPr lang="de-DE" sz="1099" dirty="0" smtClean="0">
                    <a:solidFill>
                      <a:srgbClr val="444444"/>
                    </a:solidFill>
                  </a:rPr>
                  <a:t>im Menü über: </a:t>
                </a:r>
                <a:br>
                  <a:rPr lang="de-DE" sz="1099" dirty="0" smtClean="0">
                    <a:solidFill>
                      <a:srgbClr val="444444"/>
                    </a:solidFill>
                  </a:rPr>
                </a:br>
                <a:r>
                  <a:rPr lang="de-DE" sz="1099" dirty="0" smtClean="0">
                    <a:solidFill>
                      <a:srgbClr val="444444"/>
                    </a:solidFill>
                  </a:rPr>
                  <a:t>Start // Absatz // Listenebene erhöhen/verringern</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erhöhen</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smtClean="0">
                      <a:solidFill>
                        <a:srgbClr val="444444"/>
                      </a:solidFill>
                    </a:rPr>
                    <a:t>Listenebene verringern</a:t>
                  </a:r>
                </a:p>
              </p:txBody>
            </p:sp>
            <p:pic>
              <p:nvPicPr>
                <p:cNvPr id="7" name="Listenebene erhöhen"/>
                <p:cNvPicPr>
                  <a:picLocks noChangeAspect="1"/>
                </p:cNvPicPr>
                <p:nvPr userDrawn="1"/>
              </p:nvPicPr>
              <p:blipFill>
                <a:blip r:embed="rId30"/>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31"/>
                <a:stretch>
                  <a:fillRect/>
                </a:stretch>
              </p:blipFill>
              <p:spPr>
                <a:xfrm>
                  <a:off x="-900000" y="2628000"/>
                  <a:ext cx="756000" cy="322369"/>
                </a:xfrm>
                <a:prstGeom prst="rect">
                  <a:avLst/>
                </a:prstGeom>
              </p:spPr>
            </p:pic>
          </p:grpSp>
        </p:grpSp>
      </p:grpSp>
      <p:cxnSp>
        <p:nvCxnSpPr>
          <p:cNvPr id="14" name="Footerline"/>
          <p:cNvCxnSpPr/>
          <p:nvPr/>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630117" y="1504603"/>
            <a:ext cx="10930387" cy="4875670"/>
          </a:xfrm>
          <a:prstGeom prst="rect">
            <a:avLst/>
          </a:prstGeom>
        </p:spPr>
        <p:txBody>
          <a:bodyPr vert="horz" lIns="0" tIns="0" rIns="0" bIns="0" rtlCol="0" anchor="t" anchorCtr="0">
            <a:noAutofit/>
          </a:bodyPr>
          <a:lstStyle/>
          <a:p>
            <a:pPr lvl="0"/>
            <a:r>
              <a:rPr lang="de-DE" dirty="0" smtClean="0"/>
              <a:t>Text einfügen in </a:t>
            </a:r>
            <a:r>
              <a:rPr lang="de-DE" noProof="0" dirty="0" smtClean="0"/>
              <a:t>CorpoS (Body) 24 pt. (Hervorhebungen in fett) </a:t>
            </a:r>
            <a:r>
              <a:rPr lang="de-DE" dirty="0" smtClean="0"/>
              <a:t>// für Zusammenfassung oder kurzes Highlight: Start // Absatz // Listenebene erhöhen</a:t>
            </a:r>
          </a:p>
          <a:p>
            <a:pPr lvl="1"/>
            <a:r>
              <a:rPr lang="de-DE" dirty="0" smtClean="0"/>
              <a:t>Zweite Ebene (Zusammenfassung oder kurzes Highlight)</a:t>
            </a:r>
          </a:p>
          <a:p>
            <a:pPr lvl="2"/>
            <a:r>
              <a:rPr lang="de-DE" dirty="0" smtClean="0"/>
              <a:t>Dritte Ebene </a:t>
            </a:r>
          </a:p>
          <a:p>
            <a:pPr lvl="3"/>
            <a:r>
              <a:rPr lang="de-DE" dirty="0" smtClean="0"/>
              <a:t>Vierte Ebene </a:t>
            </a:r>
          </a:p>
          <a:p>
            <a:pPr lvl="4"/>
            <a:r>
              <a:rPr lang="de-DE" dirty="0" smtClean="0"/>
              <a:t>Fünfte Ebene </a:t>
            </a:r>
          </a:p>
          <a:p>
            <a:pPr lvl="5"/>
            <a:r>
              <a:rPr lang="de-DE" dirty="0" smtClean="0"/>
              <a:t>Sechste Ebene </a:t>
            </a:r>
          </a:p>
          <a:p>
            <a:pPr lvl="6"/>
            <a:r>
              <a:rPr lang="de-DE" dirty="0" smtClean="0"/>
              <a:t>Siebte Ebene </a:t>
            </a:r>
          </a:p>
          <a:p>
            <a:pPr lvl="7"/>
            <a:r>
              <a:rPr lang="de-DE" dirty="0" smtClean="0"/>
              <a:t>Achte Ebene </a:t>
            </a:r>
          </a:p>
          <a:p>
            <a:pPr lvl="8"/>
            <a:r>
              <a:rPr lang="de-DE" dirty="0" smtClean="0"/>
              <a:t>Neunte Ebene </a:t>
            </a:r>
          </a:p>
        </p:txBody>
      </p:sp>
      <p:sp>
        <p:nvSpPr>
          <p:cNvPr id="2" name="Titelplatzhalter 1"/>
          <p:cNvSpPr>
            <a:spLocks noGrp="1"/>
          </p:cNvSpPr>
          <p:nvPr>
            <p:ph type="title"/>
          </p:nvPr>
        </p:nvSpPr>
        <p:spPr>
          <a:xfrm>
            <a:off x="628324" y="285982"/>
            <a:ext cx="10932454" cy="1151733"/>
          </a:xfrm>
          <a:prstGeom prst="rect">
            <a:avLst/>
          </a:prstGeom>
        </p:spPr>
        <p:txBody>
          <a:bodyPr vert="horz" lIns="0" tIns="0" rIns="0" bIns="0" rtlCol="0" anchor="t" anchorCtr="0">
            <a:noAutofit/>
          </a:bodyPr>
          <a:lstStyle/>
          <a:p>
            <a:r>
              <a:rPr lang="de-DE" noProof="0" dirty="0" smtClean="0"/>
              <a:t>Headline in CorpoS (Textkörper) 35 pt.</a:t>
            </a:r>
            <a:br>
              <a:rPr lang="de-DE" noProof="0" dirty="0" smtClean="0"/>
            </a:br>
            <a:r>
              <a:rPr lang="de-DE" noProof="0" dirty="0" smtClean="0"/>
              <a:t>über zwei Zeilen</a:t>
            </a:r>
          </a:p>
        </p:txBody>
      </p:sp>
      <p:sp>
        <p:nvSpPr>
          <p:cNvPr id="5" name="Fußzeilenplatzhalter 4"/>
          <p:cNvSpPr>
            <a:spLocks noGrp="1"/>
          </p:cNvSpPr>
          <p:nvPr>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r>
              <a:rPr lang="de-DE" smtClean="0">
                <a:solidFill>
                  <a:prstClr val="black"/>
                </a:solidFill>
              </a:rPr>
              <a:t>Titel der Präsentation / Abteilung / Datum /</a:t>
            </a:r>
            <a:endParaRPr lang="de-DE" dirty="0" smtClean="0">
              <a:solidFill>
                <a:prstClr val="black"/>
              </a:solidFill>
            </a:endParaRPr>
          </a:p>
        </p:txBody>
      </p:sp>
      <p:sp>
        <p:nvSpPr>
          <p:cNvPr id="6" name="Foliennummernplatzhalter 5"/>
          <p:cNvSpPr>
            <a:spLocks noGrp="1"/>
          </p:cNvSpPr>
          <p:nvPr>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de-DE" smtClean="0">
                <a:solidFill>
                  <a:prstClr val="black"/>
                </a:solidFill>
              </a:rPr>
              <a:t>Seite </a:t>
            </a:r>
            <a:fld id="{52531704-8F80-415D-BD2B-6B9991AE822F}" type="slidenum">
              <a:rPr lang="de-DE" smtClean="0">
                <a:solidFill>
                  <a:prstClr val="black"/>
                </a:solidFill>
              </a:rPr>
              <a:pPr defTabSz="1088415"/>
              <a:t>‹#›</a:t>
            </a:fld>
            <a:endParaRPr lang="de-DE" dirty="0">
              <a:solidFill>
                <a:prstClr val="black"/>
              </a:solidFill>
            </a:endParaRPr>
          </a:p>
        </p:txBody>
      </p:sp>
      <p:sp>
        <p:nvSpPr>
          <p:cNvPr id="19" name="Daimler AG (Wortmarke)"/>
          <p:cNvSpPr>
            <a:spLocks noChangeArrowheads="1"/>
          </p:cNvSpPr>
          <p:nvPr/>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1443854859"/>
      </p:ext>
    </p:extLst>
  </p:cSld>
  <p:clrMap bg1="lt1" tx1="dk1" bg2="lt2" tx2="dk2" accent1="accent1" accent2="accent2" accent3="accent3" accent4="accent4" accent5="accent5" accent6="accent6" hlink="hlink" folHlink="folHlink"/>
  <p:sldLayoutIdLst>
    <p:sldLayoutId id="2147484961" r:id="rId1"/>
    <p:sldLayoutId id="2147484962" r:id="rId2"/>
    <p:sldLayoutId id="2147484963" r:id="rId3"/>
    <p:sldLayoutId id="2147484964" r:id="rId4"/>
    <p:sldLayoutId id="2147484965" r:id="rId5"/>
    <p:sldLayoutId id="2147484966" r:id="rId6"/>
    <p:sldLayoutId id="2147484967" r:id="rId7"/>
    <p:sldLayoutId id="2147484968" r:id="rId8"/>
    <p:sldLayoutId id="2147484969" r:id="rId9"/>
    <p:sldLayoutId id="2147484970" r:id="rId10"/>
    <p:sldLayoutId id="2147484971" r:id="rId11"/>
    <p:sldLayoutId id="2147484972" r:id="rId12"/>
    <p:sldLayoutId id="2147484973" r:id="rId13"/>
    <p:sldLayoutId id="2147484974" r:id="rId14"/>
    <p:sldLayoutId id="2147484975" r:id="rId15"/>
    <p:sldLayoutId id="2147484976" r:id="rId16"/>
    <p:sldLayoutId id="2147484977" r:id="rId17"/>
    <p:sldLayoutId id="2147484978" r:id="rId18"/>
    <p:sldLayoutId id="2147484979" r:id="rId19"/>
    <p:sldLayoutId id="2147484980" r:id="rId20"/>
    <p:sldLayoutId id="2147484981" r:id="rId21"/>
    <p:sldLayoutId id="2147484982" r:id="rId22"/>
    <p:sldLayoutId id="2147484983" r:id="rId23"/>
    <p:sldLayoutId id="2147484984" r:id="rId24"/>
    <p:sldLayoutId id="2147484985" r:id="rId25"/>
    <p:sldLayoutId id="2147484986" r:id="rId26"/>
    <p:sldLayoutId id="2147484987" r:id="rId27"/>
    <p:sldLayoutId id="2147484988" r:id="rId28"/>
  </p:sldLayoutIdLst>
  <p:timing>
    <p:tnLst>
      <p:par>
        <p:cTn id="1" dur="indefinite" restart="never" nodeType="tmRoot"/>
      </p:par>
    </p:tnLst>
  </p:timing>
  <p:hf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baseline="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37" name="Regieanweisungen"/>
          <p:cNvGrpSpPr/>
          <p:nvPr/>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smtClean="0">
                  <a:solidFill>
                    <a:srgbClr val="444444"/>
                  </a:solidFill>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smtClean="0">
                  <a:solidFill>
                    <a:srgbClr val="444444"/>
                  </a:solidFill>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smtClean="0">
                    <a:solidFill>
                      <a:srgbClr val="444444"/>
                    </a:solidFill>
                  </a:rPr>
                  <a:t>Reset the slide back to its </a:t>
                </a:r>
              </a:p>
              <a:p>
                <a:pPr algn="r"/>
                <a:r>
                  <a:rPr lang="en-GB" sz="1099" dirty="0" smtClean="0">
                    <a:solidFill>
                      <a:srgbClr val="444444"/>
                    </a:solidFill>
                  </a:rPr>
                  <a:t>original form via menu bar:</a:t>
                </a:r>
              </a:p>
              <a:p>
                <a:pPr algn="r"/>
                <a:r>
                  <a:rPr lang="en-GB" sz="1099" dirty="0" smtClean="0">
                    <a:solidFill>
                      <a:srgbClr val="444444"/>
                    </a:solidFill>
                  </a:rPr>
                  <a:t>Home // Slides // Reset</a:t>
                </a:r>
              </a:p>
              <a:p>
                <a:pPr algn="r"/>
                <a:endParaRPr lang="en-GB" sz="1099" dirty="0" smtClean="0">
                  <a:solidFill>
                    <a:srgbClr val="444444"/>
                  </a:solidFill>
                </a:endParaRPr>
              </a:p>
              <a:p>
                <a:pPr algn="r"/>
                <a:r>
                  <a:rPr lang="en-GB" sz="1099" dirty="0" smtClean="0">
                    <a:solidFill>
                      <a:srgbClr val="444444"/>
                    </a:solidFill>
                  </a:rPr>
                  <a:t>Change the slide layout </a:t>
                </a:r>
              </a:p>
              <a:p>
                <a:pPr algn="r"/>
                <a:r>
                  <a:rPr lang="en-GB" sz="1099" dirty="0" smtClean="0">
                    <a:solidFill>
                      <a:srgbClr val="444444"/>
                    </a:solidFill>
                  </a:rPr>
                  <a:t>via menu bar:</a:t>
                </a:r>
              </a:p>
              <a:p>
                <a:pPr algn="r"/>
                <a:r>
                  <a:rPr lang="en-GB" sz="1099" dirty="0" smtClean="0">
                    <a:solidFill>
                      <a:srgbClr val="444444"/>
                    </a:solidFill>
                  </a:rPr>
                  <a:t>Home // Slides // Layout</a:t>
                </a:r>
              </a:p>
              <a:p>
                <a:pPr algn="r"/>
                <a:endParaRPr lang="en-GB" sz="1099" dirty="0" smtClean="0">
                  <a:solidFill>
                    <a:srgbClr val="444444"/>
                  </a:solidFill>
                </a:endParaRPr>
              </a:p>
              <a:p>
                <a:pPr algn="r"/>
                <a:r>
                  <a:rPr lang="en-GB" sz="1099" dirty="0" smtClean="0">
                    <a:solidFill>
                      <a:srgbClr val="444444"/>
                    </a:solidFill>
                  </a:rPr>
                  <a:t>Change the text level</a:t>
                </a:r>
              </a:p>
              <a:p>
                <a:pPr algn="r"/>
                <a:r>
                  <a:rPr lang="en-GB" sz="1099" dirty="0" smtClean="0">
                    <a:solidFill>
                      <a:srgbClr val="444444"/>
                    </a:solidFill>
                  </a:rPr>
                  <a:t>via menu bar: </a:t>
                </a:r>
                <a:br>
                  <a:rPr lang="en-GB" sz="1099" dirty="0" smtClean="0">
                    <a:solidFill>
                      <a:srgbClr val="444444"/>
                    </a:solidFill>
                  </a:rPr>
                </a:br>
                <a:r>
                  <a:rPr lang="en-GB" sz="1099" dirty="0" smtClean="0">
                    <a:solidFill>
                      <a:srgbClr val="444444"/>
                    </a:solidFill>
                  </a:rPr>
                  <a:t>Home // Paragraph // Increase/</a:t>
                </a:r>
              </a:p>
              <a:p>
                <a:pPr algn="r"/>
                <a:r>
                  <a:rPr lang="en-GB" sz="1099" dirty="0" smtClean="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Increase</a:t>
                  </a:r>
                </a:p>
                <a:p>
                  <a:pPr algn="r">
                    <a:defRPr/>
                  </a:pPr>
                  <a:r>
                    <a:rPr lang="en-GB" sz="999" dirty="0" smtClean="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smtClean="0">
                      <a:solidFill>
                        <a:srgbClr val="444444"/>
                      </a:solidFill>
                    </a:rPr>
                    <a:t>Decrease </a:t>
                  </a:r>
                </a:p>
                <a:p>
                  <a:pPr algn="r">
                    <a:defRPr/>
                  </a:pPr>
                  <a:r>
                    <a:rPr lang="en-GB" sz="999" dirty="0" smtClean="0">
                      <a:solidFill>
                        <a:srgbClr val="444444"/>
                      </a:solidFill>
                    </a:rPr>
                    <a:t>List Level</a:t>
                  </a:r>
                </a:p>
              </p:txBody>
            </p:sp>
            <p:pic>
              <p:nvPicPr>
                <p:cNvPr id="7" name="Listenebene erhöhen"/>
                <p:cNvPicPr>
                  <a:picLocks noChangeAspect="1"/>
                </p:cNvPicPr>
                <p:nvPr userDrawn="1"/>
              </p:nvPicPr>
              <p:blipFill>
                <a:blip r:embed="rId47">
                  <a:extLst>
                    <a:ext uri="{28A0092B-C50C-407E-A947-70E740481C1C}">
                      <a14:useLocalDpi xmlns:a14="http://schemas.microsoft.com/office/drawing/2010/main" val="0"/>
                    </a:ext>
                  </a:extLst>
                </a:blip>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8">
                  <a:extLst>
                    <a:ext uri="{28A0092B-C50C-407E-A947-70E740481C1C}">
                      <a14:useLocalDpi xmlns:a14="http://schemas.microsoft.com/office/drawing/2010/main" val="0"/>
                    </a:ext>
                  </a:extLst>
                </a:blip>
                <a:stretch>
                  <a:fillRect/>
                </a:stretch>
              </p:blipFill>
              <p:spPr>
                <a:xfrm>
                  <a:off x="-900000" y="2628000"/>
                  <a:ext cx="756000" cy="322369"/>
                </a:xfrm>
                <a:prstGeom prst="rect">
                  <a:avLst/>
                </a:prstGeom>
              </p:spPr>
            </p:pic>
          </p:grpSp>
        </p:grpSp>
      </p:grpSp>
      <p:cxnSp>
        <p:nvCxnSpPr>
          <p:cNvPr id="14" name="Footerline"/>
          <p:cNvCxnSpPr/>
          <p:nvPr/>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630117" y="1504603"/>
            <a:ext cx="10930387" cy="4875670"/>
          </a:xfrm>
          <a:prstGeom prst="rect">
            <a:avLst/>
          </a:prstGeom>
        </p:spPr>
        <p:txBody>
          <a:bodyPr vert="horz" lIns="0" tIns="0" rIns="0" bIns="0" rtlCol="0" anchor="t" anchorCtr="0">
            <a:noAutofit/>
          </a:bodyPr>
          <a:lstStyle/>
          <a:p>
            <a:pPr lvl="0"/>
            <a:r>
              <a:rPr lang="en-GB" dirty="0" smtClean="0"/>
              <a:t>Insert text in </a:t>
            </a:r>
            <a:r>
              <a:rPr lang="en-GB" noProof="0" dirty="0" smtClean="0"/>
              <a:t>CorpoS (Body) 24 pt. (Mark-ups in Bold) </a:t>
            </a:r>
            <a:r>
              <a:rPr lang="en-GB" dirty="0" smtClean="0"/>
              <a:t>// for conclusion</a:t>
            </a:r>
            <a:r>
              <a:rPr lang="en-GB" noProof="0" dirty="0" smtClean="0"/>
              <a:t>, summary or short highlight</a:t>
            </a:r>
            <a:r>
              <a:rPr lang="en-GB" dirty="0" smtClean="0"/>
              <a:t>: Home // Paragraph// Increase List Level</a:t>
            </a:r>
          </a:p>
          <a:p>
            <a:pPr lvl="1"/>
            <a:r>
              <a:rPr lang="en-GB" dirty="0" smtClean="0"/>
              <a:t>Second level (Conclusion, summary or short highlight)</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s level</a:t>
            </a:r>
          </a:p>
          <a:p>
            <a:pPr lvl="7"/>
            <a:r>
              <a:rPr lang="en-GB" dirty="0" smtClean="0"/>
              <a:t>Eight level</a:t>
            </a:r>
          </a:p>
          <a:p>
            <a:pPr lvl="8"/>
            <a:r>
              <a:rPr lang="en-GB" dirty="0" smtClean="0"/>
              <a:t>Ninth level</a:t>
            </a:r>
          </a:p>
        </p:txBody>
      </p:sp>
      <p:sp>
        <p:nvSpPr>
          <p:cNvPr id="2" name="Titelplatzhalter 1"/>
          <p:cNvSpPr>
            <a:spLocks noGrp="1"/>
          </p:cNvSpPr>
          <p:nvPr>
            <p:ph type="title"/>
          </p:nvPr>
        </p:nvSpPr>
        <p:spPr>
          <a:xfrm>
            <a:off x="628324" y="285982"/>
            <a:ext cx="10932454" cy="1151733"/>
          </a:xfrm>
          <a:prstGeom prst="rect">
            <a:avLst/>
          </a:prstGeom>
        </p:spPr>
        <p:txBody>
          <a:bodyPr vert="horz" lIns="0" tIns="0" rIns="0" bIns="0" rtlCol="0" anchor="t" anchorCtr="0">
            <a:noAutofit/>
          </a:bodyPr>
          <a:lstStyle/>
          <a:p>
            <a:r>
              <a:rPr lang="en-GB" noProof="0" dirty="0" smtClean="0"/>
              <a:t>Headline in CorpoS (Body) 35 pt.</a:t>
            </a:r>
            <a:br>
              <a:rPr lang="en-GB" noProof="0" dirty="0" smtClean="0"/>
            </a:br>
            <a:r>
              <a:rPr lang="en-GB" noProof="0" dirty="0" smtClean="0"/>
              <a:t>in two lines</a:t>
            </a:r>
          </a:p>
        </p:txBody>
      </p:sp>
      <p:sp>
        <p:nvSpPr>
          <p:cNvPr id="5" name="Fußzeilenplatzhalter 4"/>
          <p:cNvSpPr>
            <a:spLocks noGrp="1"/>
          </p:cNvSpPr>
          <p:nvPr>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r>
              <a:rPr lang="en-GB" smtClean="0">
                <a:solidFill>
                  <a:prstClr val="black"/>
                </a:solidFill>
              </a:rPr>
              <a:t>DFS Deep Dive - </a:t>
            </a:r>
            <a:endParaRPr lang="en-GB" dirty="0" smtClean="0">
              <a:solidFill>
                <a:prstClr val="black"/>
              </a:solidFill>
            </a:endParaRPr>
          </a:p>
        </p:txBody>
      </p:sp>
      <p:sp>
        <p:nvSpPr>
          <p:cNvPr id="6" name="Foliennummernplatzhalter 5"/>
          <p:cNvSpPr>
            <a:spLocks noGrp="1"/>
          </p:cNvSpPr>
          <p:nvPr>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en-GB" smtClean="0">
                <a:solidFill>
                  <a:prstClr val="black"/>
                </a:solidFill>
              </a:rPr>
              <a:t>Page </a:t>
            </a:r>
            <a:fld id="{52531704-8F80-415D-BD2B-6B9991AE822F}" type="slidenum">
              <a:rPr lang="en-GB" smtClean="0">
                <a:solidFill>
                  <a:prstClr val="black"/>
                </a:solidFill>
              </a:rPr>
              <a:pPr defTabSz="1088415"/>
              <a:t>‹#›</a:t>
            </a:fld>
            <a:endParaRPr lang="en-GB" dirty="0">
              <a:solidFill>
                <a:prstClr val="black"/>
              </a:solidFill>
            </a:endParaRPr>
          </a:p>
        </p:txBody>
      </p:sp>
      <p:sp>
        <p:nvSpPr>
          <p:cNvPr id="19" name="Daimler AG (Wortmarke)"/>
          <p:cNvSpPr>
            <a:spLocks noChangeArrowheads="1"/>
          </p:cNvSpPr>
          <p:nvPr/>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smtClean="0">
                <a:solidFill>
                  <a:prstClr val="black"/>
                </a:solidFill>
                <a:latin typeface="CorpoS"/>
                <a:cs typeface="Daimler CS"/>
              </a:rPr>
              <a:t>Daimler Financial Services AG</a:t>
            </a:r>
            <a:endParaRPr lang="de-DE" sz="1199" dirty="0">
              <a:solidFill>
                <a:prstClr val="black"/>
              </a:solidFill>
              <a:latin typeface="CorpoS"/>
              <a:cs typeface="Daimler CS"/>
            </a:endParaRPr>
          </a:p>
        </p:txBody>
      </p:sp>
    </p:spTree>
    <p:extLst>
      <p:ext uri="{BB962C8B-B14F-4D97-AF65-F5344CB8AC3E}">
        <p14:creationId xmlns:p14="http://schemas.microsoft.com/office/powerpoint/2010/main" val="2277314760"/>
      </p:ext>
    </p:extLst>
  </p:cSld>
  <p:clrMap bg1="lt1" tx1="dk1" bg2="lt2" tx2="dk2" accent1="accent1" accent2="accent2" accent3="accent3" accent4="accent4" accent5="accent5" accent6="accent6" hlink="hlink" folHlink="folHlink"/>
  <p:sldLayoutIdLst>
    <p:sldLayoutId id="2147484992" r:id="rId1"/>
    <p:sldLayoutId id="2147484993" r:id="rId2"/>
    <p:sldLayoutId id="2147484994" r:id="rId3"/>
    <p:sldLayoutId id="2147484995" r:id="rId4"/>
    <p:sldLayoutId id="2147484996" r:id="rId5"/>
    <p:sldLayoutId id="2147484997" r:id="rId6"/>
    <p:sldLayoutId id="2147484998" r:id="rId7"/>
    <p:sldLayoutId id="2147484999" r:id="rId8"/>
    <p:sldLayoutId id="2147485000" r:id="rId9"/>
    <p:sldLayoutId id="2147485001" r:id="rId10"/>
    <p:sldLayoutId id="2147485002" r:id="rId11"/>
    <p:sldLayoutId id="2147485003" r:id="rId12"/>
    <p:sldLayoutId id="2147485004" r:id="rId13"/>
    <p:sldLayoutId id="2147485005" r:id="rId14"/>
    <p:sldLayoutId id="2147485006" r:id="rId15"/>
    <p:sldLayoutId id="2147485007" r:id="rId16"/>
    <p:sldLayoutId id="2147485008" r:id="rId17"/>
    <p:sldLayoutId id="2147485009" r:id="rId18"/>
    <p:sldLayoutId id="2147485010" r:id="rId19"/>
    <p:sldLayoutId id="2147485011" r:id="rId20"/>
    <p:sldLayoutId id="2147485012" r:id="rId21"/>
    <p:sldLayoutId id="2147485013" r:id="rId22"/>
    <p:sldLayoutId id="2147485014" r:id="rId23"/>
    <p:sldLayoutId id="2147485015" r:id="rId24"/>
    <p:sldLayoutId id="2147485016" r:id="rId25"/>
    <p:sldLayoutId id="2147485017" r:id="rId26"/>
    <p:sldLayoutId id="2147485018" r:id="rId27"/>
    <p:sldLayoutId id="2147485019" r:id="rId28"/>
    <p:sldLayoutId id="2147485020" r:id="rId29"/>
    <p:sldLayoutId id="2147485021" r:id="rId30"/>
    <p:sldLayoutId id="2147485022" r:id="rId31"/>
    <p:sldLayoutId id="2147485023" r:id="rId32"/>
    <p:sldLayoutId id="2147485024" r:id="rId33"/>
    <p:sldLayoutId id="2147485025" r:id="rId34"/>
    <p:sldLayoutId id="2147485026" r:id="rId35"/>
    <p:sldLayoutId id="2147485027" r:id="rId36"/>
    <p:sldLayoutId id="2147485028" r:id="rId37"/>
    <p:sldLayoutId id="2147485029" r:id="rId38"/>
    <p:sldLayoutId id="2147485030" r:id="rId39"/>
    <p:sldLayoutId id="2147485031" r:id="rId40"/>
    <p:sldLayoutId id="2147485032" r:id="rId41"/>
    <p:sldLayoutId id="2147485033" r:id="rId42"/>
    <p:sldLayoutId id="2147485034" r:id="rId43"/>
    <p:sldLayoutId id="2147485035" r:id="rId44"/>
    <p:sldLayoutId id="2147485036" r:id="rId45"/>
  </p:sldLayoutIdLst>
  <p:timing>
    <p:tnLst>
      <p:par>
        <p:cTn id="1" dur="indefinite" restart="never" nodeType="tmRoot"/>
      </p:par>
    </p:tnLst>
  </p:timing>
  <p:hf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37" name="Regieanweisungen"/>
          <p:cNvGrpSpPr/>
          <p:nvPr/>
        </p:nvGrpSpPr>
        <p:grpSpPr>
          <a:xfrm>
            <a:off x="-2086912"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075">
                <a:defRPr/>
              </a:pPr>
              <a:r>
                <a:rPr lang="en-GB" sz="1098" dirty="0">
                  <a:solidFill>
                    <a:srgbClr val="444444"/>
                  </a:solidFill>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075">
                <a:defRPr/>
              </a:pPr>
              <a:r>
                <a:rPr lang="en-GB" sz="1098" dirty="0">
                  <a:solidFill>
                    <a:srgbClr val="444444"/>
                  </a:solidFill>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8" dirty="0">
                    <a:solidFill>
                      <a:srgbClr val="444444"/>
                    </a:solidFill>
                  </a:rPr>
                  <a:t>Reset the slide back to its </a:t>
                </a:r>
              </a:p>
              <a:p>
                <a:pPr algn="r"/>
                <a:r>
                  <a:rPr lang="en-GB" sz="1098" dirty="0">
                    <a:solidFill>
                      <a:srgbClr val="444444"/>
                    </a:solidFill>
                  </a:rPr>
                  <a:t>original form via menu bar:</a:t>
                </a:r>
              </a:p>
              <a:p>
                <a:pPr algn="r"/>
                <a:r>
                  <a:rPr lang="en-GB" sz="1098" dirty="0">
                    <a:solidFill>
                      <a:srgbClr val="444444"/>
                    </a:solidFill>
                  </a:rPr>
                  <a:t>Home // Slides // Reset</a:t>
                </a:r>
              </a:p>
              <a:p>
                <a:pPr algn="r"/>
                <a:endParaRPr lang="en-GB" sz="1098" dirty="0">
                  <a:solidFill>
                    <a:srgbClr val="444444"/>
                  </a:solidFill>
                </a:endParaRPr>
              </a:p>
              <a:p>
                <a:pPr algn="r"/>
                <a:r>
                  <a:rPr lang="en-GB" sz="1098" dirty="0">
                    <a:solidFill>
                      <a:srgbClr val="444444"/>
                    </a:solidFill>
                  </a:rPr>
                  <a:t>Change the slide layout </a:t>
                </a:r>
              </a:p>
              <a:p>
                <a:pPr algn="r"/>
                <a:r>
                  <a:rPr lang="en-GB" sz="1098" dirty="0">
                    <a:solidFill>
                      <a:srgbClr val="444444"/>
                    </a:solidFill>
                  </a:rPr>
                  <a:t>via menu bar:</a:t>
                </a:r>
              </a:p>
              <a:p>
                <a:pPr algn="r"/>
                <a:r>
                  <a:rPr lang="en-GB" sz="1098" dirty="0">
                    <a:solidFill>
                      <a:srgbClr val="444444"/>
                    </a:solidFill>
                  </a:rPr>
                  <a:t>Home // Slides // Layout</a:t>
                </a:r>
              </a:p>
              <a:p>
                <a:pPr algn="r"/>
                <a:endParaRPr lang="en-GB" sz="1098" dirty="0">
                  <a:solidFill>
                    <a:srgbClr val="444444"/>
                  </a:solidFill>
                </a:endParaRPr>
              </a:p>
              <a:p>
                <a:pPr algn="r"/>
                <a:r>
                  <a:rPr lang="en-GB" sz="1098" dirty="0">
                    <a:solidFill>
                      <a:srgbClr val="444444"/>
                    </a:solidFill>
                  </a:rPr>
                  <a:t>Change the text level</a:t>
                </a:r>
              </a:p>
              <a:p>
                <a:pPr algn="r"/>
                <a:r>
                  <a:rPr lang="en-GB" sz="1098" dirty="0">
                    <a:solidFill>
                      <a:srgbClr val="444444"/>
                    </a:solidFill>
                  </a:rPr>
                  <a:t>via menu bar: </a:t>
                </a:r>
                <a:br>
                  <a:rPr lang="en-GB" sz="1098" dirty="0">
                    <a:solidFill>
                      <a:srgbClr val="444444"/>
                    </a:solidFill>
                  </a:rPr>
                </a:br>
                <a:r>
                  <a:rPr lang="en-GB" sz="1098" dirty="0">
                    <a:solidFill>
                      <a:srgbClr val="444444"/>
                    </a:solidFill>
                  </a:rPr>
                  <a:t>Home // Paragraph // Increase/</a:t>
                </a:r>
              </a:p>
              <a:p>
                <a:pPr algn="r"/>
                <a:r>
                  <a:rPr lang="en-GB" sz="1098"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7" name="Listenebene erhöhen"/>
                <p:cNvPicPr>
                  <a:picLocks noChangeAspect="1"/>
                </p:cNvPicPr>
                <p:nvPr userDrawn="1"/>
              </p:nvPicPr>
              <p:blipFill>
                <a:blip r:embed="rId20"/>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21"/>
                <a:stretch>
                  <a:fillRect/>
                </a:stretch>
              </p:blipFill>
              <p:spPr>
                <a:xfrm>
                  <a:off x="-900000" y="2628000"/>
                  <a:ext cx="756000" cy="322369"/>
                </a:xfrm>
                <a:prstGeom prst="rect">
                  <a:avLst/>
                </a:prstGeom>
              </p:spPr>
            </p:pic>
          </p:grpSp>
        </p:grpSp>
      </p:grpSp>
      <p:cxnSp>
        <p:nvCxnSpPr>
          <p:cNvPr id="14" name="Footerline"/>
          <p:cNvCxnSpPr/>
          <p:nvPr/>
        </p:nvCxnSpPr>
        <p:spPr bwMode="auto">
          <a:xfrm>
            <a:off x="629672" y="6487838"/>
            <a:ext cx="10931107" cy="0"/>
          </a:xfrm>
          <a:prstGeom prst="line">
            <a:avLst/>
          </a:prstGeom>
          <a:solidFill>
            <a:schemeClr val="bg1"/>
          </a:solidFill>
          <a:ln w="19050" cap="flat" cmpd="sng" algn="ctr">
            <a:solidFill>
              <a:schemeClr val="bg1">
                <a:lumMod val="85000"/>
              </a:schemeClr>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630118" y="1504603"/>
            <a:ext cx="10930387" cy="4875670"/>
          </a:xfrm>
          <a:prstGeom prst="rect">
            <a:avLst/>
          </a:prstGeom>
        </p:spPr>
        <p:txBody>
          <a:bodyPr vert="horz" lIns="0" tIns="0" rIns="0" bIns="0" rtlCol="0" anchor="t" anchorCtr="0">
            <a:noAutofit/>
          </a:body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p:ph type="title"/>
          </p:nvPr>
        </p:nvSpPr>
        <p:spPr>
          <a:xfrm>
            <a:off x="628324" y="285983"/>
            <a:ext cx="10932454" cy="1151733"/>
          </a:xfrm>
          <a:prstGeom prst="rect">
            <a:avLst/>
          </a:prstGeom>
        </p:spPr>
        <p:txBody>
          <a:bodyPr vert="horz" lIns="0" tIns="0" rIns="0" bIns="0" rtlCol="0" anchor="t" anchorCtr="0">
            <a:noAutofit/>
          </a:bodyPr>
          <a:lstStyle/>
          <a:p>
            <a:r>
              <a:rPr lang="en-GB" noProof="0" dirty="0"/>
              <a:t>HEADLINE IN CORPOS (BODY) 35 PT.</a:t>
            </a:r>
            <a:br>
              <a:rPr lang="en-GB" noProof="0" dirty="0"/>
            </a:br>
            <a:r>
              <a:rPr lang="en-GB" noProof="0" dirty="0"/>
              <a:t>IN TWO LINES</a:t>
            </a:r>
          </a:p>
        </p:txBody>
      </p:sp>
      <p:sp>
        <p:nvSpPr>
          <p:cNvPr id="5" name="Fußzeilenplatzhalter 4"/>
          <p:cNvSpPr>
            <a:spLocks noGrp="1"/>
          </p:cNvSpPr>
          <p:nvPr>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8">
                <a:solidFill>
                  <a:schemeClr val="tx1"/>
                </a:solidFill>
                <a:latin typeface="+mn-lt"/>
              </a:defRPr>
            </a:lvl1pPr>
            <a:lvl2pPr marL="0" indent="0" algn="r">
              <a:spcBef>
                <a:spcPts val="0"/>
              </a:spcBef>
              <a:defRPr sz="1198">
                <a:latin typeface="+mn-lt"/>
              </a:defRPr>
            </a:lvl2pPr>
            <a:lvl3pPr marL="0" indent="0" algn="r">
              <a:spcBef>
                <a:spcPts val="0"/>
              </a:spcBef>
              <a:defRPr sz="1198">
                <a:latin typeface="+mn-lt"/>
              </a:defRPr>
            </a:lvl3pPr>
            <a:lvl4pPr marL="0" indent="0" algn="r">
              <a:spcBef>
                <a:spcPts val="0"/>
              </a:spcBef>
              <a:defRPr sz="1198">
                <a:latin typeface="+mn-lt"/>
              </a:defRPr>
            </a:lvl4pPr>
            <a:lvl5pPr marL="0" indent="0" algn="r">
              <a:spcBef>
                <a:spcPts val="0"/>
              </a:spcBef>
              <a:defRPr sz="1198">
                <a:latin typeface="+mn-lt"/>
              </a:defRPr>
            </a:lvl5pPr>
            <a:lvl6pPr marL="0" indent="0" algn="r">
              <a:spcBef>
                <a:spcPts val="0"/>
              </a:spcBef>
              <a:defRPr sz="1198">
                <a:latin typeface="+mn-lt"/>
              </a:defRPr>
            </a:lvl6pPr>
            <a:lvl7pPr marL="0" indent="0" algn="r">
              <a:spcBef>
                <a:spcPts val="0"/>
              </a:spcBef>
              <a:defRPr sz="1198">
                <a:latin typeface="+mn-lt"/>
              </a:defRPr>
            </a:lvl7pPr>
            <a:lvl8pPr marL="0" indent="0" algn="r">
              <a:spcBef>
                <a:spcPts val="0"/>
              </a:spcBef>
              <a:defRPr sz="1198">
                <a:latin typeface="+mn-lt"/>
              </a:defRPr>
            </a:lvl8pPr>
            <a:lvl9pPr marL="0" indent="0" algn="r">
              <a:spcBef>
                <a:spcPts val="0"/>
              </a:spcBef>
              <a:defRPr sz="1198">
                <a:latin typeface="+mn-lt"/>
              </a:defRPr>
            </a:lvl9pPr>
          </a:lstStyle>
          <a:p>
            <a:pPr defTabSz="1088089"/>
            <a:r>
              <a:rPr lang="de-DE" smtClean="0">
                <a:solidFill>
                  <a:prstClr val="black"/>
                </a:solidFill>
              </a:rPr>
              <a:t>DFS Deep Dive - </a:t>
            </a:r>
            <a:endParaRPr lang="en-GB" dirty="0">
              <a:solidFill>
                <a:prstClr val="black"/>
              </a:solidFill>
            </a:endParaRPr>
          </a:p>
        </p:txBody>
      </p:sp>
      <p:sp>
        <p:nvSpPr>
          <p:cNvPr id="6" name="Foliennummernplatzhalter 5"/>
          <p:cNvSpPr>
            <a:spLocks noGrp="1"/>
          </p:cNvSpPr>
          <p:nvPr>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8">
                <a:solidFill>
                  <a:schemeClr val="tx1"/>
                </a:solidFill>
                <a:latin typeface="+mn-lt"/>
              </a:defRPr>
            </a:lvl1pPr>
            <a:lvl2pPr marL="0" indent="0" algn="l">
              <a:spcBef>
                <a:spcPts val="0"/>
              </a:spcBef>
              <a:defRPr sz="1198">
                <a:latin typeface="+mn-lt"/>
              </a:defRPr>
            </a:lvl2pPr>
            <a:lvl3pPr marL="0" indent="0" algn="l">
              <a:spcBef>
                <a:spcPts val="0"/>
              </a:spcBef>
              <a:defRPr sz="1198">
                <a:latin typeface="+mn-lt"/>
              </a:defRPr>
            </a:lvl3pPr>
            <a:lvl4pPr marL="0" indent="0" algn="l">
              <a:spcBef>
                <a:spcPts val="0"/>
              </a:spcBef>
              <a:defRPr sz="1198">
                <a:latin typeface="+mn-lt"/>
              </a:defRPr>
            </a:lvl4pPr>
            <a:lvl5pPr marL="0" indent="0" algn="l">
              <a:spcBef>
                <a:spcPts val="0"/>
              </a:spcBef>
              <a:defRPr sz="1198">
                <a:latin typeface="+mn-lt"/>
              </a:defRPr>
            </a:lvl5pPr>
            <a:lvl6pPr marL="0" indent="0" algn="l">
              <a:spcBef>
                <a:spcPts val="0"/>
              </a:spcBef>
              <a:defRPr sz="1198">
                <a:latin typeface="+mn-lt"/>
              </a:defRPr>
            </a:lvl6pPr>
            <a:lvl7pPr marL="0" indent="0" algn="l">
              <a:spcBef>
                <a:spcPts val="0"/>
              </a:spcBef>
              <a:defRPr sz="1198">
                <a:latin typeface="+mn-lt"/>
              </a:defRPr>
            </a:lvl7pPr>
            <a:lvl8pPr marL="0" indent="0" algn="l">
              <a:spcBef>
                <a:spcPts val="0"/>
              </a:spcBef>
              <a:defRPr sz="1198">
                <a:latin typeface="+mn-lt"/>
              </a:defRPr>
            </a:lvl8pPr>
            <a:lvl9pPr marL="0" indent="0" algn="l">
              <a:spcBef>
                <a:spcPts val="0"/>
              </a:spcBef>
              <a:defRPr sz="1198">
                <a:latin typeface="+mn-lt"/>
              </a:defRPr>
            </a:lvl9pPr>
          </a:lstStyle>
          <a:p>
            <a:pPr defTabSz="1088089"/>
            <a:r>
              <a:rPr lang="en-GB" smtClean="0">
                <a:solidFill>
                  <a:prstClr val="black"/>
                </a:solidFill>
              </a:rPr>
              <a:t>Page </a:t>
            </a:r>
            <a:fld id="{52531704-8F80-415D-BD2B-6B9991AE822F}" type="slidenum">
              <a:rPr lang="en-GB" smtClean="0">
                <a:solidFill>
                  <a:prstClr val="black"/>
                </a:solidFill>
              </a:rPr>
              <a:pPr defTabSz="1088089"/>
              <a:t>‹#›</a:t>
            </a:fld>
            <a:endParaRPr lang="en-GB" dirty="0">
              <a:solidFill>
                <a:prstClr val="black"/>
              </a:solidFill>
            </a:endParaRPr>
          </a:p>
        </p:txBody>
      </p:sp>
      <p:sp>
        <p:nvSpPr>
          <p:cNvPr id="19" name="Daimler AG (Wortmarke)"/>
          <p:cNvSpPr>
            <a:spLocks noChangeArrowheads="1"/>
          </p:cNvSpPr>
          <p:nvPr/>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089">
              <a:defRPr/>
            </a:pPr>
            <a:r>
              <a:rPr lang="de-DE" sz="1198" dirty="0">
                <a:solidFill>
                  <a:prstClr val="black"/>
                </a:solidFill>
                <a:latin typeface="CorpoS"/>
                <a:cs typeface="Daimler CS"/>
              </a:rPr>
              <a:t>Daimler Financial Services AG</a:t>
            </a:r>
          </a:p>
        </p:txBody>
      </p:sp>
      <p:grpSp>
        <p:nvGrpSpPr>
          <p:cNvPr id="18" name="Gruppieren 17"/>
          <p:cNvGrpSpPr/>
          <p:nvPr userDrawn="1"/>
        </p:nvGrpSpPr>
        <p:grpSpPr>
          <a:xfrm>
            <a:off x="-2250855" y="3527183"/>
            <a:ext cx="2229361" cy="4638856"/>
            <a:chOff x="12221581" y="-62687"/>
            <a:chExt cx="2230522" cy="4639930"/>
          </a:xfrm>
        </p:grpSpPr>
        <p:sp>
          <p:nvSpPr>
            <p:cNvPr id="20" name="Rechteck 19"/>
            <p:cNvSpPr/>
            <p:nvPr userDrawn="1"/>
          </p:nvSpPr>
          <p:spPr>
            <a:xfrm>
              <a:off x="12266612" y="-62687"/>
              <a:ext cx="2185491" cy="1446550"/>
            </a:xfrm>
            <a:prstGeom prst="rect">
              <a:avLst/>
            </a:prstGeom>
          </p:spPr>
          <p:txBody>
            <a:bodyPr wrap="square">
              <a:spAutoFit/>
            </a:bodyPr>
            <a:lstStyle/>
            <a:p>
              <a:pPr algn="r" defTabSz="1088089"/>
              <a:r>
                <a:rPr lang="en-GB" sz="1098" b="1" dirty="0">
                  <a:solidFill>
                    <a:srgbClr val="444444"/>
                  </a:solidFill>
                </a:rPr>
                <a:t>Animation</a:t>
              </a:r>
            </a:p>
            <a:p>
              <a:pPr algn="r" defTabSz="1088089"/>
              <a:r>
                <a:rPr lang="en-GB" sz="1098" dirty="0">
                  <a:solidFill>
                    <a:srgbClr val="444444"/>
                  </a:solidFill>
                </a:rPr>
                <a:t>You can change animations via menu bar: animation.</a:t>
              </a:r>
            </a:p>
            <a:p>
              <a:pPr algn="r" defTabSz="1088089"/>
              <a:endParaRPr lang="en-GB" sz="1098" dirty="0">
                <a:solidFill>
                  <a:srgbClr val="444444"/>
                </a:solidFill>
              </a:endParaRPr>
            </a:p>
            <a:p>
              <a:pPr algn="r" defTabSz="1088089"/>
              <a:r>
                <a:rPr lang="en-GB" sz="1098" dirty="0">
                  <a:solidFill>
                    <a:srgbClr val="444444"/>
                  </a:solidFill>
                </a:rPr>
                <a:t>To remove the animation choose the menu bar animation and insert the animation pane by click on the following button.</a:t>
              </a:r>
            </a:p>
          </p:txBody>
        </p:sp>
        <p:pic>
          <p:nvPicPr>
            <p:cNvPr id="21" name="Grafik 20"/>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13218584" y="1419343"/>
              <a:ext cx="1119168" cy="247685"/>
            </a:xfrm>
            <a:prstGeom prst="rect">
              <a:avLst/>
            </a:prstGeom>
          </p:spPr>
        </p:pic>
        <p:pic>
          <p:nvPicPr>
            <p:cNvPr id="24" name="Grafik 23"/>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12423858" y="2863298"/>
              <a:ext cx="1871000" cy="1713945"/>
            </a:xfrm>
            <a:prstGeom prst="rect">
              <a:avLst/>
            </a:prstGeom>
          </p:spPr>
        </p:pic>
        <p:sp>
          <p:nvSpPr>
            <p:cNvPr id="25" name="Rechteck 24"/>
            <p:cNvSpPr/>
            <p:nvPr userDrawn="1"/>
          </p:nvSpPr>
          <p:spPr>
            <a:xfrm>
              <a:off x="12221581" y="1896262"/>
              <a:ext cx="2185491" cy="938719"/>
            </a:xfrm>
            <a:prstGeom prst="rect">
              <a:avLst/>
            </a:prstGeom>
          </p:spPr>
          <p:txBody>
            <a:bodyPr wrap="square">
              <a:spAutoFit/>
            </a:bodyPr>
            <a:lstStyle/>
            <a:p>
              <a:pPr algn="r" defTabSz="1088089"/>
              <a:r>
                <a:rPr lang="en-GB" sz="1098" dirty="0">
                  <a:solidFill>
                    <a:srgbClr val="444444"/>
                  </a:solidFill>
                </a:rPr>
                <a:t>Within the window animation Pane you can choose the animated elements and by click on the blue arrow you can remove the animation.</a:t>
              </a:r>
            </a:p>
          </p:txBody>
        </p:sp>
      </p:grpSp>
      <p:grpSp>
        <p:nvGrpSpPr>
          <p:cNvPr id="26" name="Gruppieren 25"/>
          <p:cNvGrpSpPr/>
          <p:nvPr userDrawn="1"/>
        </p:nvGrpSpPr>
        <p:grpSpPr>
          <a:xfrm>
            <a:off x="12192002" y="-82363"/>
            <a:ext cx="2184353" cy="3786237"/>
            <a:chOff x="12266612" y="-62687"/>
            <a:chExt cx="2185491" cy="3787114"/>
          </a:xfrm>
        </p:grpSpPr>
        <p:sp>
          <p:nvSpPr>
            <p:cNvPr id="27" name="Rechteck 26"/>
            <p:cNvSpPr/>
            <p:nvPr userDrawn="1"/>
          </p:nvSpPr>
          <p:spPr>
            <a:xfrm>
              <a:off x="12266612" y="-62687"/>
              <a:ext cx="2185491" cy="769441"/>
            </a:xfrm>
            <a:prstGeom prst="rect">
              <a:avLst/>
            </a:prstGeom>
          </p:spPr>
          <p:txBody>
            <a:bodyPr wrap="square">
              <a:spAutoFit/>
            </a:bodyPr>
            <a:lstStyle/>
            <a:p>
              <a:pPr defTabSz="1088089"/>
              <a:r>
                <a:rPr lang="en-US" sz="1098" b="1" dirty="0">
                  <a:solidFill>
                    <a:srgbClr val="444444"/>
                  </a:solidFill>
                </a:rPr>
                <a:t>Change pictures</a:t>
              </a:r>
            </a:p>
            <a:p>
              <a:pPr defTabSz="1088089"/>
              <a:r>
                <a:rPr lang="en-US" sz="1098" dirty="0">
                  <a:solidFill>
                    <a:srgbClr val="444444"/>
                  </a:solidFill>
                </a:rPr>
                <a:t>Choose your desired picture, click right mouse button an choose change picture.</a:t>
              </a:r>
            </a:p>
          </p:txBody>
        </p:sp>
        <p:pic>
          <p:nvPicPr>
            <p:cNvPr id="29" name="Grafik 28"/>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12359353" y="706754"/>
              <a:ext cx="1628917" cy="3017673"/>
            </a:xfrm>
            <a:prstGeom prst="rect">
              <a:avLst/>
            </a:prstGeom>
          </p:spPr>
        </p:pic>
      </p:grpSp>
      <p:grpSp>
        <p:nvGrpSpPr>
          <p:cNvPr id="30" name="Gruppieren 29"/>
          <p:cNvGrpSpPr/>
          <p:nvPr userDrawn="1"/>
        </p:nvGrpSpPr>
        <p:grpSpPr>
          <a:xfrm>
            <a:off x="12192000" y="3909447"/>
            <a:ext cx="2383726" cy="3891078"/>
            <a:chOff x="12291863" y="5052225"/>
            <a:chExt cx="2384968" cy="3891979"/>
          </a:xfrm>
        </p:grpSpPr>
        <p:sp>
          <p:nvSpPr>
            <p:cNvPr id="32" name="Rechteck 31"/>
            <p:cNvSpPr/>
            <p:nvPr userDrawn="1"/>
          </p:nvSpPr>
          <p:spPr>
            <a:xfrm>
              <a:off x="12291863" y="5052225"/>
              <a:ext cx="2384968" cy="1107996"/>
            </a:xfrm>
            <a:prstGeom prst="rect">
              <a:avLst/>
            </a:prstGeom>
          </p:spPr>
          <p:txBody>
            <a:bodyPr wrap="square">
              <a:spAutoFit/>
            </a:bodyPr>
            <a:lstStyle/>
            <a:p>
              <a:pPr defTabSz="1088089"/>
              <a:r>
                <a:rPr lang="en-US" sz="1098" b="1" dirty="0">
                  <a:solidFill>
                    <a:srgbClr val="444444"/>
                  </a:solidFill>
                </a:rPr>
                <a:t>Align</a:t>
              </a:r>
            </a:p>
            <a:p>
              <a:pPr defTabSz="1088089"/>
              <a:r>
                <a:rPr lang="en-US" sz="1098" dirty="0">
                  <a:solidFill>
                    <a:srgbClr val="444444"/>
                  </a:solidFill>
                </a:rPr>
                <a:t>By using this tool you can align objects, pictures and text blocks with another:</a:t>
              </a:r>
            </a:p>
            <a:p>
              <a:pPr defTabSz="1088089"/>
              <a:r>
                <a:rPr lang="en-US" sz="1098" dirty="0">
                  <a:solidFill>
                    <a:srgbClr val="444444"/>
                  </a:solidFill>
                </a:rPr>
                <a:t>Choose desired objects // Format // Align</a:t>
              </a:r>
            </a:p>
          </p:txBody>
        </p:sp>
        <p:pic>
          <p:nvPicPr>
            <p:cNvPr id="33" name="Picture 2"/>
            <p:cNvPicPr>
              <a:picLocks noChangeAspect="1" noChangeArrowheads="1"/>
            </p:cNvPicPr>
            <p:nvPr userDrawn="1"/>
          </p:nvPicPr>
          <p:blipFill>
            <a:blip r:embed="rId25">
              <a:extLst>
                <a:ext uri="{28A0092B-C50C-407E-A947-70E740481C1C}">
                  <a14:useLocalDpi xmlns:a14="http://schemas.microsoft.com/office/drawing/2010/main" val="0"/>
                </a:ext>
              </a:extLst>
            </a:blip>
            <a:stretch>
              <a:fillRect/>
            </a:stretch>
          </p:blipFill>
          <p:spPr bwMode="auto">
            <a:xfrm>
              <a:off x="12421373" y="6160221"/>
              <a:ext cx="1592147" cy="278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uppieren 37"/>
          <p:cNvGrpSpPr/>
          <p:nvPr userDrawn="1"/>
        </p:nvGrpSpPr>
        <p:grpSpPr>
          <a:xfrm>
            <a:off x="14575728" y="-67808"/>
            <a:ext cx="2184353" cy="5224601"/>
            <a:chOff x="14583318" y="4183"/>
            <a:chExt cx="2185491" cy="5225811"/>
          </a:xfrm>
        </p:grpSpPr>
        <p:sp>
          <p:nvSpPr>
            <p:cNvPr id="39" name="Rechteck 38"/>
            <p:cNvSpPr/>
            <p:nvPr userDrawn="1"/>
          </p:nvSpPr>
          <p:spPr>
            <a:xfrm>
              <a:off x="14583318" y="4183"/>
              <a:ext cx="2185491" cy="1107996"/>
            </a:xfrm>
            <a:prstGeom prst="rect">
              <a:avLst/>
            </a:prstGeom>
          </p:spPr>
          <p:txBody>
            <a:bodyPr wrap="square">
              <a:spAutoFit/>
            </a:bodyPr>
            <a:lstStyle/>
            <a:p>
              <a:pPr defTabSz="1088089">
                <a:defRPr/>
              </a:pPr>
              <a:r>
                <a:rPr lang="en-US" sz="1098" b="1" dirty="0">
                  <a:solidFill>
                    <a:srgbClr val="444444"/>
                  </a:solidFill>
                </a:rPr>
                <a:t>Crop pictures to shape</a:t>
              </a:r>
            </a:p>
            <a:p>
              <a:pPr defTabSz="1088089"/>
              <a:r>
                <a:rPr lang="en-US" sz="1098" dirty="0">
                  <a:solidFill>
                    <a:srgbClr val="444444"/>
                  </a:solidFill>
                </a:rPr>
                <a:t>To crop pictures in a circle in the first step they have to be square-shaped. </a:t>
              </a:r>
            </a:p>
            <a:p>
              <a:pPr defTabSz="1088089"/>
              <a:r>
                <a:rPr lang="en-US" sz="1098" dirty="0">
                  <a:solidFill>
                    <a:srgbClr val="444444"/>
                  </a:solidFill>
                </a:rPr>
                <a:t>Do this via menu bar:</a:t>
              </a:r>
            </a:p>
            <a:p>
              <a:pPr defTabSz="1088089"/>
              <a:r>
                <a:rPr lang="en-US" sz="1098" dirty="0">
                  <a:solidFill>
                    <a:srgbClr val="444444"/>
                  </a:solidFill>
                </a:rPr>
                <a:t>Picture Tool // Format // Crop</a:t>
              </a:r>
            </a:p>
          </p:txBody>
        </p:sp>
        <p:pic>
          <p:nvPicPr>
            <p:cNvPr id="40" name="Grafik 39"/>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14692606" y="1347995"/>
              <a:ext cx="754445" cy="496829"/>
            </a:xfrm>
            <a:prstGeom prst="rect">
              <a:avLst/>
            </a:prstGeom>
          </p:spPr>
        </p:pic>
        <p:pic>
          <p:nvPicPr>
            <p:cNvPr id="41" name="Grafik 40"/>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15634133" y="1317443"/>
              <a:ext cx="509451" cy="758756"/>
            </a:xfrm>
            <a:prstGeom prst="rect">
              <a:avLst/>
            </a:prstGeom>
          </p:spPr>
        </p:pic>
        <p:sp>
          <p:nvSpPr>
            <p:cNvPr id="42" name="Rechteck 41"/>
            <p:cNvSpPr/>
            <p:nvPr userDrawn="1"/>
          </p:nvSpPr>
          <p:spPr>
            <a:xfrm>
              <a:off x="14583318" y="2076199"/>
              <a:ext cx="2185491" cy="938719"/>
            </a:xfrm>
            <a:prstGeom prst="rect">
              <a:avLst/>
            </a:prstGeom>
          </p:spPr>
          <p:txBody>
            <a:bodyPr wrap="square">
              <a:spAutoFit/>
            </a:bodyPr>
            <a:lstStyle/>
            <a:p>
              <a:pPr defTabSz="1088089"/>
              <a:r>
                <a:rPr lang="en-US" sz="1098" dirty="0">
                  <a:solidFill>
                    <a:srgbClr val="444444"/>
                  </a:solidFill>
                </a:rPr>
                <a:t>Afterwards the picture can be cropped in a circle via following menu:</a:t>
              </a:r>
            </a:p>
            <a:p>
              <a:pPr defTabSz="1088089"/>
              <a:r>
                <a:rPr lang="en-US" sz="1098" dirty="0">
                  <a:solidFill>
                    <a:srgbClr val="444444"/>
                  </a:solidFill>
                </a:rPr>
                <a:t>Picture Tool // Format // Crop // Crop to Shape</a:t>
              </a:r>
            </a:p>
          </p:txBody>
        </p:sp>
        <p:pic>
          <p:nvPicPr>
            <p:cNvPr id="43" name="Grafik 42"/>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a:off x="14696314" y="3125903"/>
              <a:ext cx="1524043" cy="2104091"/>
            </a:xfrm>
            <a:prstGeom prst="rect">
              <a:avLst/>
            </a:prstGeom>
          </p:spPr>
        </p:pic>
      </p:grpSp>
      <p:sp>
        <p:nvSpPr>
          <p:cNvPr id="4" name="Rechteck 3" hidden="1"/>
          <p:cNvSpPr/>
          <p:nvPr userDrawn="1">
            <p:custDataLst>
              <p:tags r:id="rId19"/>
            </p:custDataLst>
          </p:nvPr>
        </p:nvSpPr>
        <p:spPr>
          <a:xfrm>
            <a:off x="0" y="0"/>
            <a:ext cx="158667" cy="1587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8089">
              <a:lnSpc>
                <a:spcPct val="80000"/>
              </a:lnSpc>
              <a:spcBef>
                <a:spcPct val="0"/>
              </a:spcBef>
              <a:spcAft>
                <a:spcPct val="0"/>
              </a:spcAft>
            </a:pPr>
            <a:endParaRPr lang="en-GB" sz="3597" b="1" dirty="0">
              <a:solidFill>
                <a:prstClr val="white"/>
              </a:solidFill>
              <a:sym typeface="CorpoS" pitchFamily="2" charset="0"/>
            </a:endParaRPr>
          </a:p>
        </p:txBody>
      </p:sp>
    </p:spTree>
    <p:extLst>
      <p:ext uri="{BB962C8B-B14F-4D97-AF65-F5344CB8AC3E}">
        <p14:creationId xmlns:p14="http://schemas.microsoft.com/office/powerpoint/2010/main" val="1623509760"/>
      </p:ext>
    </p:extLst>
  </p:cSld>
  <p:clrMap bg1="lt1" tx1="dk1" bg2="lt2" tx2="dk2" accent1="accent1" accent2="accent2" accent3="accent3" accent4="accent4" accent5="accent5" accent6="accent6" hlink="hlink" folHlink="folHlink"/>
  <p:sldLayoutIdLst>
    <p:sldLayoutId id="2147485038" r:id="rId1"/>
    <p:sldLayoutId id="2147485039" r:id="rId2"/>
    <p:sldLayoutId id="2147485040" r:id="rId3"/>
    <p:sldLayoutId id="2147485041" r:id="rId4"/>
    <p:sldLayoutId id="2147485042" r:id="rId5"/>
    <p:sldLayoutId id="2147485043" r:id="rId6"/>
    <p:sldLayoutId id="2147485044" r:id="rId7"/>
    <p:sldLayoutId id="2147485045" r:id="rId8"/>
    <p:sldLayoutId id="2147485046" r:id="rId9"/>
    <p:sldLayoutId id="2147485047" r:id="rId10"/>
    <p:sldLayoutId id="2147485048" r:id="rId11"/>
    <p:sldLayoutId id="2147485049" r:id="rId12"/>
    <p:sldLayoutId id="2147485050" r:id="rId13"/>
    <p:sldLayoutId id="2147485051" r:id="rId14"/>
    <p:sldLayoutId id="2147485052" r:id="rId15"/>
    <p:sldLayoutId id="2147485053" r:id="rId16"/>
    <p:sldLayoutId id="2147485054" r:id="rId1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hf hdr="0" dt="0"/>
  <p:txStyles>
    <p:titleStyle>
      <a:lvl1pPr marL="0" indent="0" algn="l" defTabSz="1088089" rtl="0" eaLnBrk="1" latinLnBrk="0" hangingPunct="1">
        <a:lnSpc>
          <a:spcPct val="80000"/>
        </a:lnSpc>
        <a:spcBef>
          <a:spcPts val="0"/>
        </a:spcBef>
        <a:buFont typeface="Arial" panose="020B0604020202020204" pitchFamily="34" charset="0"/>
        <a:buNone/>
        <a:defRPr sz="3597" b="1" kern="1200" baseline="0">
          <a:solidFill>
            <a:schemeClr val="tx1">
              <a:lumMod val="85000"/>
              <a:lumOff val="15000"/>
            </a:schemeClr>
          </a:solidFill>
          <a:latin typeface="+mn-lt"/>
          <a:ea typeface="+mj-ea"/>
          <a:cs typeface="+mj-cs"/>
        </a:defRPr>
      </a:lvl1pPr>
    </p:titleStyle>
    <p:bodyStyle>
      <a:lvl1pPr marL="237409" indent="-237409" algn="l" defTabSz="1088089" rtl="0" eaLnBrk="1" latinLnBrk="0" hangingPunct="1">
        <a:lnSpc>
          <a:spcPts val="3197"/>
        </a:lnSpc>
        <a:spcBef>
          <a:spcPts val="0"/>
        </a:spcBef>
        <a:buSzPct val="80000"/>
        <a:buFont typeface="Arial" panose="020B0604020202020204" pitchFamily="34" charset="0"/>
        <a:buChar char="•"/>
        <a:defRPr sz="2398" kern="1200">
          <a:solidFill>
            <a:schemeClr val="tx1"/>
          </a:solidFill>
          <a:latin typeface="+mn-lt"/>
          <a:ea typeface="+mn-ea"/>
          <a:cs typeface="+mn-cs"/>
        </a:defRPr>
      </a:lvl1pPr>
      <a:lvl2pPr marL="0" indent="0" algn="l" defTabSz="1088089" rtl="0" eaLnBrk="1" latinLnBrk="0" hangingPunct="1">
        <a:lnSpc>
          <a:spcPts val="3197"/>
        </a:lnSpc>
        <a:spcBef>
          <a:spcPts val="0"/>
        </a:spcBef>
        <a:buFont typeface="Arial" panose="020B0604020202020204" pitchFamily="34" charset="0"/>
        <a:buNone/>
        <a:defRPr sz="2398" kern="1200">
          <a:solidFill>
            <a:schemeClr val="accent2"/>
          </a:solidFill>
          <a:latin typeface="+mn-lt"/>
          <a:ea typeface="+mn-ea"/>
          <a:cs typeface="+mn-cs"/>
        </a:defRPr>
      </a:lvl2pPr>
      <a:lvl3pPr marL="0" indent="0" algn="l" defTabSz="1088089" rtl="0" eaLnBrk="1" latinLnBrk="0" hangingPunct="1">
        <a:lnSpc>
          <a:spcPts val="3197"/>
        </a:lnSpc>
        <a:spcBef>
          <a:spcPts val="0"/>
        </a:spcBef>
        <a:buFont typeface="Arial" panose="020B0604020202020204" pitchFamily="34" charset="0"/>
        <a:buNone/>
        <a:defRPr sz="2398" kern="1200">
          <a:solidFill>
            <a:schemeClr val="accent2"/>
          </a:solidFill>
          <a:latin typeface="+mn-lt"/>
          <a:ea typeface="+mn-ea"/>
          <a:cs typeface="+mn-cs"/>
        </a:defRPr>
      </a:lvl3pPr>
      <a:lvl4pPr marL="0" indent="0" algn="l" defTabSz="1088089" rtl="0" eaLnBrk="1" latinLnBrk="0" hangingPunct="1">
        <a:lnSpc>
          <a:spcPts val="3197"/>
        </a:lnSpc>
        <a:spcBef>
          <a:spcPts val="0"/>
        </a:spcBef>
        <a:buFont typeface="Arial" panose="020B0604020202020204" pitchFamily="34" charset="0"/>
        <a:buNone/>
        <a:defRPr sz="2398" kern="1200">
          <a:solidFill>
            <a:schemeClr val="accent2"/>
          </a:solidFill>
          <a:latin typeface="+mn-lt"/>
          <a:ea typeface="+mn-ea"/>
          <a:cs typeface="+mn-cs"/>
        </a:defRPr>
      </a:lvl4pPr>
      <a:lvl5pPr marL="0" indent="0" algn="l" defTabSz="1088089" rtl="0" eaLnBrk="1" latinLnBrk="0" hangingPunct="1">
        <a:lnSpc>
          <a:spcPts val="3197"/>
        </a:lnSpc>
        <a:spcBef>
          <a:spcPts val="0"/>
        </a:spcBef>
        <a:buFont typeface="Arial" panose="020B0604020202020204" pitchFamily="34" charset="0"/>
        <a:buNone/>
        <a:defRPr sz="2398" kern="1200">
          <a:solidFill>
            <a:schemeClr val="accent2"/>
          </a:solidFill>
          <a:latin typeface="+mn-lt"/>
          <a:ea typeface="+mn-ea"/>
          <a:cs typeface="+mn-cs"/>
        </a:defRPr>
      </a:lvl5pPr>
      <a:lvl6pPr marL="0" indent="0" algn="l" defTabSz="1088089" rtl="0" eaLnBrk="1" latinLnBrk="0" hangingPunct="1">
        <a:lnSpc>
          <a:spcPts val="3197"/>
        </a:lnSpc>
        <a:spcBef>
          <a:spcPts val="0"/>
        </a:spcBef>
        <a:buFont typeface="Arial" panose="020B0604020202020204" pitchFamily="34" charset="0"/>
        <a:buNone/>
        <a:defRPr sz="2398" kern="1200">
          <a:solidFill>
            <a:schemeClr val="accent2"/>
          </a:solidFill>
          <a:latin typeface="+mn-lt"/>
          <a:ea typeface="+mn-ea"/>
          <a:cs typeface="+mn-cs"/>
        </a:defRPr>
      </a:lvl6pPr>
      <a:lvl7pPr marL="0" indent="0" algn="l" defTabSz="1088089" rtl="0" eaLnBrk="1" latinLnBrk="0" hangingPunct="1">
        <a:lnSpc>
          <a:spcPts val="3197"/>
        </a:lnSpc>
        <a:spcBef>
          <a:spcPts val="0"/>
        </a:spcBef>
        <a:buFont typeface="Arial" panose="020B0604020202020204" pitchFamily="34" charset="0"/>
        <a:buNone/>
        <a:defRPr sz="2398" kern="1200">
          <a:solidFill>
            <a:schemeClr val="accent2"/>
          </a:solidFill>
          <a:latin typeface="+mn-lt"/>
          <a:ea typeface="+mn-ea"/>
          <a:cs typeface="+mn-cs"/>
        </a:defRPr>
      </a:lvl7pPr>
      <a:lvl8pPr marL="0" indent="0" algn="l" defTabSz="1088089" rtl="0" eaLnBrk="1" latinLnBrk="0" hangingPunct="1">
        <a:lnSpc>
          <a:spcPts val="3197"/>
        </a:lnSpc>
        <a:spcBef>
          <a:spcPts val="0"/>
        </a:spcBef>
        <a:buFont typeface="Arial" panose="020B0604020202020204" pitchFamily="34" charset="0"/>
        <a:buNone/>
        <a:defRPr sz="2398" kern="1200">
          <a:solidFill>
            <a:schemeClr val="accent2"/>
          </a:solidFill>
          <a:latin typeface="+mn-lt"/>
          <a:ea typeface="+mn-ea"/>
          <a:cs typeface="+mn-cs"/>
        </a:defRPr>
      </a:lvl8pPr>
      <a:lvl9pPr marL="0" indent="0" algn="l" defTabSz="1088089" rtl="0" eaLnBrk="1" latinLnBrk="0" hangingPunct="1">
        <a:lnSpc>
          <a:spcPts val="3197"/>
        </a:lnSpc>
        <a:spcBef>
          <a:spcPts val="0"/>
        </a:spcBef>
        <a:buFont typeface="Arial" panose="020B0604020202020204" pitchFamily="34" charset="0"/>
        <a:buNone/>
        <a:defRPr sz="2398" kern="1200">
          <a:solidFill>
            <a:schemeClr val="accent2"/>
          </a:solidFill>
          <a:latin typeface="+mn-lt"/>
          <a:ea typeface="+mn-ea"/>
          <a:cs typeface="+mn-cs"/>
        </a:defRPr>
      </a:lvl9pPr>
    </p:bodyStyle>
    <p:otherStyle>
      <a:defPPr>
        <a:defRPr lang="de-DE"/>
      </a:defPPr>
      <a:lvl1pPr marL="0" algn="l" defTabSz="1088089" rtl="0" eaLnBrk="1" latinLnBrk="0" hangingPunct="1">
        <a:defRPr sz="2098" kern="1200">
          <a:solidFill>
            <a:schemeClr val="tx1"/>
          </a:solidFill>
          <a:latin typeface="+mn-lt"/>
          <a:ea typeface="+mn-ea"/>
          <a:cs typeface="+mn-cs"/>
        </a:defRPr>
      </a:lvl1pPr>
      <a:lvl2pPr marL="544044" algn="l" defTabSz="1088089" rtl="0" eaLnBrk="1" latinLnBrk="0" hangingPunct="1">
        <a:defRPr sz="2098" kern="1200">
          <a:solidFill>
            <a:schemeClr val="tx1"/>
          </a:solidFill>
          <a:latin typeface="+mn-lt"/>
          <a:ea typeface="+mn-ea"/>
          <a:cs typeface="+mn-cs"/>
        </a:defRPr>
      </a:lvl2pPr>
      <a:lvl3pPr marL="1088089" algn="l" defTabSz="1088089" rtl="0" eaLnBrk="1" latinLnBrk="0" hangingPunct="1">
        <a:defRPr sz="2098" kern="1200">
          <a:solidFill>
            <a:schemeClr val="tx1"/>
          </a:solidFill>
          <a:latin typeface="+mn-lt"/>
          <a:ea typeface="+mn-ea"/>
          <a:cs typeface="+mn-cs"/>
        </a:defRPr>
      </a:lvl3pPr>
      <a:lvl4pPr marL="1632132" algn="l" defTabSz="1088089" rtl="0" eaLnBrk="1" latinLnBrk="0" hangingPunct="1">
        <a:defRPr sz="2098" kern="1200">
          <a:solidFill>
            <a:schemeClr val="tx1"/>
          </a:solidFill>
          <a:latin typeface="+mn-lt"/>
          <a:ea typeface="+mn-ea"/>
          <a:cs typeface="+mn-cs"/>
        </a:defRPr>
      </a:lvl4pPr>
      <a:lvl5pPr marL="2176175" algn="l" defTabSz="1088089" rtl="0" eaLnBrk="1" latinLnBrk="0" hangingPunct="1">
        <a:defRPr sz="2098" kern="1200">
          <a:solidFill>
            <a:schemeClr val="tx1"/>
          </a:solidFill>
          <a:latin typeface="+mn-lt"/>
          <a:ea typeface="+mn-ea"/>
          <a:cs typeface="+mn-cs"/>
        </a:defRPr>
      </a:lvl5pPr>
      <a:lvl6pPr marL="2720219" algn="l" defTabSz="1088089" rtl="0" eaLnBrk="1" latinLnBrk="0" hangingPunct="1">
        <a:defRPr sz="2098" kern="1200">
          <a:solidFill>
            <a:schemeClr val="tx1"/>
          </a:solidFill>
          <a:latin typeface="+mn-lt"/>
          <a:ea typeface="+mn-ea"/>
          <a:cs typeface="+mn-cs"/>
        </a:defRPr>
      </a:lvl6pPr>
      <a:lvl7pPr marL="3264264" algn="l" defTabSz="1088089" rtl="0" eaLnBrk="1" latinLnBrk="0" hangingPunct="1">
        <a:defRPr sz="2098" kern="1200">
          <a:solidFill>
            <a:schemeClr val="tx1"/>
          </a:solidFill>
          <a:latin typeface="+mn-lt"/>
          <a:ea typeface="+mn-ea"/>
          <a:cs typeface="+mn-cs"/>
        </a:defRPr>
      </a:lvl7pPr>
      <a:lvl8pPr marL="3808307" algn="l" defTabSz="1088089" rtl="0" eaLnBrk="1" latinLnBrk="0" hangingPunct="1">
        <a:defRPr sz="2098" kern="1200">
          <a:solidFill>
            <a:schemeClr val="tx1"/>
          </a:solidFill>
          <a:latin typeface="+mn-lt"/>
          <a:ea typeface="+mn-ea"/>
          <a:cs typeface="+mn-cs"/>
        </a:defRPr>
      </a:lvl8pPr>
      <a:lvl9pPr marL="4352352" algn="l" defTabSz="1088089" rtl="0" eaLnBrk="1" latinLnBrk="0" hangingPunct="1">
        <a:defRPr sz="20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3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575732" y="439968"/>
            <a:ext cx="8987368" cy="780787"/>
          </a:xfrm>
          <a:prstGeom prst="rect">
            <a:avLst/>
          </a:prstGeom>
        </p:spPr>
        <p:txBody>
          <a:bodyPr vert="horz" lIns="0" tIns="0" rIns="0" bIns="0" rtlCol="0" anchor="t" anchorCtr="0">
            <a:noAutofit/>
          </a:bodyPr>
          <a:lstStyle/>
          <a:p>
            <a:r>
              <a:rPr lang="de-DE" noProof="0" dirty="0"/>
              <a:t>Mastertitelformat bearbeiten</a:t>
            </a:r>
            <a:endParaRPr lang="en-US" noProof="0" dirty="0"/>
          </a:p>
        </p:txBody>
      </p:sp>
      <p:sp>
        <p:nvSpPr>
          <p:cNvPr id="3" name="Text Placeholder 2"/>
          <p:cNvSpPr>
            <a:spLocks noGrp="1"/>
          </p:cNvSpPr>
          <p:nvPr>
            <p:ph type="body" idx="1"/>
          </p:nvPr>
        </p:nvSpPr>
        <p:spPr bwMode="gray">
          <a:xfrm>
            <a:off x="575734" y="1460465"/>
            <a:ext cx="11040533" cy="4800635"/>
          </a:xfrm>
          <a:prstGeom prst="rect">
            <a:avLst/>
          </a:prstGeom>
        </p:spPr>
        <p:txBody>
          <a:bodyPr vert="horz" lIns="0" tIns="0" rIns="0" bIns="0" rtlCol="0" anchor="t" anchorCtr="0">
            <a:noAutofit/>
          </a:body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en-US" noProof="0" dirty="0"/>
          </a:p>
        </p:txBody>
      </p:sp>
      <p:sp>
        <p:nvSpPr>
          <p:cNvPr id="4" name="Date Placeholder 3"/>
          <p:cNvSpPr>
            <a:spLocks noGrp="1"/>
          </p:cNvSpPr>
          <p:nvPr>
            <p:ph type="dt" sz="half" idx="2"/>
          </p:nvPr>
        </p:nvSpPr>
        <p:spPr bwMode="gray">
          <a:xfrm>
            <a:off x="9888422" y="6357327"/>
            <a:ext cx="1200133" cy="205235"/>
          </a:xfrm>
          <a:prstGeom prst="rect">
            <a:avLst/>
          </a:prstGeom>
        </p:spPr>
        <p:txBody>
          <a:bodyPr vert="horz" wrap="none" lIns="0" tIns="0" rIns="0" bIns="0" rtlCol="0" anchor="b" anchorCtr="0">
            <a:noAutofit/>
          </a:bodyPr>
          <a:lstStyle>
            <a:lvl1pPr algn="r">
              <a:defRPr sz="1067">
                <a:solidFill>
                  <a:schemeClr val="tx1"/>
                </a:solidFill>
              </a:defRPr>
            </a:lvl1pPr>
          </a:lstStyle>
          <a:p>
            <a:endParaRPr lang="en-US">
              <a:solidFill>
                <a:srgbClr val="001E3E"/>
              </a:solidFill>
            </a:endParaRPr>
          </a:p>
        </p:txBody>
      </p:sp>
      <p:sp>
        <p:nvSpPr>
          <p:cNvPr id="5" name="Footer Placeholder 4"/>
          <p:cNvSpPr>
            <a:spLocks noGrp="1"/>
          </p:cNvSpPr>
          <p:nvPr>
            <p:ph type="ftr" sz="quarter" idx="3"/>
          </p:nvPr>
        </p:nvSpPr>
        <p:spPr bwMode="gray">
          <a:xfrm>
            <a:off x="575733" y="6357325"/>
            <a:ext cx="10512823" cy="205235"/>
          </a:xfrm>
          <a:prstGeom prst="rect">
            <a:avLst/>
          </a:prstGeom>
        </p:spPr>
        <p:txBody>
          <a:bodyPr vert="horz" lIns="0" tIns="0" rIns="0" bIns="0" rtlCol="0" anchor="b" anchorCtr="0">
            <a:noAutofit/>
          </a:bodyPr>
          <a:lstStyle>
            <a:lvl1pPr algn="l">
              <a:defRPr sz="1067">
                <a:solidFill>
                  <a:schemeClr val="tx1"/>
                </a:solidFill>
              </a:defRPr>
            </a:lvl1pPr>
          </a:lstStyle>
          <a:p>
            <a:endParaRPr lang="en-US">
              <a:solidFill>
                <a:srgbClr val="001E3E"/>
              </a:solidFill>
            </a:endParaRPr>
          </a:p>
        </p:txBody>
      </p:sp>
      <p:sp>
        <p:nvSpPr>
          <p:cNvPr id="6" name="Slide Number Placeholder 5"/>
          <p:cNvSpPr>
            <a:spLocks noGrp="1"/>
          </p:cNvSpPr>
          <p:nvPr>
            <p:ph type="sldNum" sz="quarter" idx="4"/>
          </p:nvPr>
        </p:nvSpPr>
        <p:spPr bwMode="gray">
          <a:xfrm>
            <a:off x="11184566" y="6357325"/>
            <a:ext cx="431701" cy="205235"/>
          </a:xfrm>
          <a:prstGeom prst="rect">
            <a:avLst/>
          </a:prstGeom>
        </p:spPr>
        <p:txBody>
          <a:bodyPr vert="horz" wrap="none" lIns="0" tIns="0" rIns="0" bIns="0" rtlCol="0" anchor="b" anchorCtr="0">
            <a:noAutofit/>
          </a:bodyPr>
          <a:lstStyle>
            <a:lvl1pPr algn="r">
              <a:defRPr sz="1067">
                <a:solidFill>
                  <a:schemeClr val="tx1"/>
                </a:solidFill>
              </a:defRPr>
            </a:lvl1pPr>
          </a:lstStyle>
          <a:p>
            <a:fld id="{8B502147-0FBB-4BAE-8E11-C98715716641}" type="slidenum">
              <a:rPr lang="en-US" smtClean="0">
                <a:solidFill>
                  <a:srgbClr val="001E3E"/>
                </a:solidFill>
              </a:rPr>
              <a:pPr/>
              <a:t>‹#›</a:t>
            </a:fld>
            <a:endParaRPr lang="en-US" dirty="0">
              <a:solidFill>
                <a:srgbClr val="001E3E"/>
              </a:solidFill>
            </a:endParaRPr>
          </a:p>
        </p:txBody>
      </p:sp>
      <p:pic>
        <p:nvPicPr>
          <p:cNvPr id="9" name="Grafik 8">
            <a:extLst>
              <a:ext uri="{FF2B5EF4-FFF2-40B4-BE49-F238E27FC236}">
                <a16:creationId xmlns:a16="http://schemas.microsoft.com/office/drawing/2014/main" id="{D2A3C1FC-DEE9-4949-B08F-DF193A66471D}"/>
              </a:ext>
            </a:extLst>
          </p:cNvPr>
          <p:cNvPicPr>
            <a:picLocks noChangeAspect="1"/>
          </p:cNvPicPr>
          <p:nvPr userDrawn="1"/>
        </p:nvPicPr>
        <p:blipFill>
          <a:blip r:embed="rId45"/>
          <a:stretch>
            <a:fillRect/>
          </a:stretch>
        </p:blipFill>
        <p:spPr>
          <a:xfrm>
            <a:off x="10488489" y="301264"/>
            <a:ext cx="1229180" cy="772801"/>
          </a:xfrm>
          <a:prstGeom prst="rect">
            <a:avLst/>
          </a:prstGeom>
        </p:spPr>
      </p:pic>
    </p:spTree>
    <p:extLst>
      <p:ext uri="{BB962C8B-B14F-4D97-AF65-F5344CB8AC3E}">
        <p14:creationId xmlns:p14="http://schemas.microsoft.com/office/powerpoint/2010/main" val="54276614"/>
      </p:ext>
    </p:extLst>
  </p:cSld>
  <p:clrMap bg1="lt1" tx1="dk1" bg2="lt2" tx2="dk2" accent1="accent1" accent2="accent2" accent3="accent3" accent4="accent4" accent5="accent5" accent6="accent6" hlink="hlink" folHlink="folHlink"/>
  <p:sldLayoutIdLst>
    <p:sldLayoutId id="2147485056" r:id="rId1"/>
    <p:sldLayoutId id="2147485057" r:id="rId2"/>
    <p:sldLayoutId id="2147485058" r:id="rId3"/>
    <p:sldLayoutId id="2147485059" r:id="rId4"/>
    <p:sldLayoutId id="2147485060" r:id="rId5"/>
    <p:sldLayoutId id="2147485061" r:id="rId6"/>
    <p:sldLayoutId id="2147485062" r:id="rId7"/>
    <p:sldLayoutId id="2147485063" r:id="rId8"/>
    <p:sldLayoutId id="2147485064" r:id="rId9"/>
    <p:sldLayoutId id="2147485065" r:id="rId10"/>
    <p:sldLayoutId id="2147485066" r:id="rId11"/>
    <p:sldLayoutId id="2147485067" r:id="rId12"/>
    <p:sldLayoutId id="2147485068" r:id="rId13"/>
    <p:sldLayoutId id="2147485069" r:id="rId14"/>
    <p:sldLayoutId id="2147485070" r:id="rId15"/>
    <p:sldLayoutId id="2147485071" r:id="rId16"/>
    <p:sldLayoutId id="2147485072" r:id="rId17"/>
    <p:sldLayoutId id="2147485073" r:id="rId18"/>
    <p:sldLayoutId id="2147485074" r:id="rId19"/>
    <p:sldLayoutId id="2147485075" r:id="rId20"/>
    <p:sldLayoutId id="2147485076" r:id="rId21"/>
    <p:sldLayoutId id="2147485077" r:id="rId22"/>
    <p:sldLayoutId id="2147485078" r:id="rId23"/>
    <p:sldLayoutId id="2147485079" r:id="rId24"/>
    <p:sldLayoutId id="2147485080" r:id="rId25"/>
    <p:sldLayoutId id="2147485081" r:id="rId26"/>
    <p:sldLayoutId id="2147485082" r:id="rId27"/>
    <p:sldLayoutId id="2147485083" r:id="rId28"/>
    <p:sldLayoutId id="2147485084" r:id="rId29"/>
    <p:sldLayoutId id="2147485085" r:id="rId30"/>
    <p:sldLayoutId id="2147485086" r:id="rId31"/>
    <p:sldLayoutId id="2147485087" r:id="rId32"/>
    <p:sldLayoutId id="2147485088" r:id="rId33"/>
    <p:sldLayoutId id="2147485089" r:id="rId34"/>
    <p:sldLayoutId id="2147485090" r:id="rId35"/>
    <p:sldLayoutId id="2147485091" r:id="rId36"/>
    <p:sldLayoutId id="2147485092" r:id="rId37"/>
    <p:sldLayoutId id="2147485093" r:id="rId38"/>
    <p:sldLayoutId id="2147485094" r:id="rId39"/>
    <p:sldLayoutId id="2147485095" r:id="rId40"/>
    <p:sldLayoutId id="2147485096" r:id="rId41"/>
    <p:sldLayoutId id="2147485097" r:id="rId42"/>
    <p:sldLayoutId id="2147485098" r:id="rId43"/>
  </p:sldLayoutIdLst>
  <p:hf sldNum="0" hdr="0" ftr="0" dt="0"/>
  <p:txStyles>
    <p:titleStyle>
      <a:lvl1pPr algn="l" defTabSz="1219170" rtl="0" eaLnBrk="1" latinLnBrk="0" hangingPunct="1">
        <a:lnSpc>
          <a:spcPct val="100000"/>
        </a:lnSpc>
        <a:spcBef>
          <a:spcPts val="0"/>
        </a:spcBef>
        <a:buNone/>
        <a:defRPr sz="2400" b="1" kern="1200" cap="all" spc="0" baseline="0">
          <a:solidFill>
            <a:schemeClr val="accent1"/>
          </a:solidFill>
          <a:latin typeface="+mj-lt"/>
          <a:ea typeface="+mj-ea"/>
          <a:cs typeface="+mj-cs"/>
        </a:defRPr>
      </a:lvl1pPr>
    </p:titleStyle>
    <p:bodyStyle>
      <a:lvl1pPr marL="241294" indent="-241294" algn="l" defTabSz="1219170" rtl="0" eaLnBrk="1" latinLnBrk="0" hangingPunct="1">
        <a:lnSpc>
          <a:spcPct val="100000"/>
        </a:lnSpc>
        <a:spcBef>
          <a:spcPts val="0"/>
        </a:spcBef>
        <a:buFont typeface="Arial" panose="020B0604020202020204" pitchFamily="34" charset="0"/>
        <a:buChar char="•"/>
        <a:defRPr sz="2400" b="0" kern="1200">
          <a:solidFill>
            <a:schemeClr val="tx1"/>
          </a:solidFill>
          <a:latin typeface="+mn-lt"/>
          <a:ea typeface="+mn-ea"/>
          <a:cs typeface="+mn-cs"/>
        </a:defRPr>
      </a:lvl1pPr>
      <a:lvl2pPr marL="476239" indent="-234945" algn="l" defTabSz="1219170" rtl="0" eaLnBrk="1" latinLnBrk="0" hangingPunct="1">
        <a:lnSpc>
          <a:spcPct val="100000"/>
        </a:lnSpc>
        <a:spcBef>
          <a:spcPts val="0"/>
        </a:spcBef>
        <a:buFont typeface="Arial" panose="020B0604020202020204" pitchFamily="34" charset="0"/>
        <a:buChar char="•"/>
        <a:defRPr sz="2400" b="0" kern="1200">
          <a:solidFill>
            <a:schemeClr val="tx1"/>
          </a:solidFill>
          <a:latin typeface="+mn-lt"/>
          <a:ea typeface="+mn-ea"/>
          <a:cs typeface="+mn-cs"/>
        </a:defRPr>
      </a:lvl2pPr>
      <a:lvl3pPr marL="715415" indent="-239178" algn="l" defTabSz="1219170" rtl="0" eaLnBrk="1" latinLnBrk="0" hangingPunct="1">
        <a:lnSpc>
          <a:spcPct val="100000"/>
        </a:lnSpc>
        <a:spcBef>
          <a:spcPts val="0"/>
        </a:spcBef>
        <a:buFont typeface="Arial" panose="020B0604020202020204" pitchFamily="34" charset="0"/>
        <a:buChar char="•"/>
        <a:defRPr sz="2400" b="0" kern="1200">
          <a:solidFill>
            <a:schemeClr val="tx1"/>
          </a:solidFill>
          <a:latin typeface="+mn-lt"/>
          <a:ea typeface="+mn-ea"/>
          <a:cs typeface="+mn-cs"/>
        </a:defRPr>
      </a:lvl3pPr>
      <a:lvl4pPr marL="956709" indent="-241294" algn="l" defTabSz="1219170" rtl="0" eaLnBrk="1" latinLnBrk="0" hangingPunct="1">
        <a:lnSpc>
          <a:spcPct val="100000"/>
        </a:lnSpc>
        <a:spcBef>
          <a:spcPts val="0"/>
        </a:spcBef>
        <a:buFont typeface="Arial" panose="020B0604020202020204" pitchFamily="34" charset="0"/>
        <a:buChar char="•"/>
        <a:defRPr sz="2400" b="0" kern="1200">
          <a:solidFill>
            <a:schemeClr val="tx1"/>
          </a:solidFill>
          <a:latin typeface="+mn-lt"/>
          <a:ea typeface="+mn-ea"/>
          <a:cs typeface="+mn-cs"/>
        </a:defRPr>
      </a:lvl4pPr>
      <a:lvl5pPr marL="1198003" indent="-241294" algn="l" defTabSz="1219170" rtl="0" eaLnBrk="1" latinLnBrk="0" hangingPunct="1">
        <a:lnSpc>
          <a:spcPct val="100000"/>
        </a:lnSpc>
        <a:spcBef>
          <a:spcPts val="0"/>
        </a:spcBef>
        <a:buFont typeface="Arial" panose="020B0604020202020204" pitchFamily="34" charset="0"/>
        <a:buChar char="•"/>
        <a:defRPr sz="2400" b="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13">
          <p15:clr>
            <a:srgbClr val="F26B43"/>
          </p15:clr>
        </p15:guide>
        <p15:guide id="2" pos="272">
          <p15:clr>
            <a:srgbClr val="F26B43"/>
          </p15:clr>
        </p15:guide>
        <p15:guide id="3" pos="5488">
          <p15:clr>
            <a:srgbClr val="F26B43"/>
          </p15:clr>
        </p15:guide>
        <p15:guide id="4" pos="1066">
          <p15:clr>
            <a:srgbClr val="F26B43"/>
          </p15:clr>
        </p15:guide>
        <p15:guide id="5" pos="4694">
          <p15:clr>
            <a:srgbClr val="F26B43"/>
          </p15:clr>
        </p15:guide>
        <p15:guide id="6" pos="1156">
          <p15:clr>
            <a:srgbClr val="F26B43"/>
          </p15:clr>
        </p15:guide>
        <p15:guide id="7" pos="4604">
          <p15:clr>
            <a:srgbClr val="F26B43"/>
          </p15:clr>
        </p15:guide>
        <p15:guide id="8" orient="horz" pos="2958">
          <p15:clr>
            <a:srgbClr val="F26B43"/>
          </p15:clr>
        </p15:guide>
        <p15:guide id="9" pos="2835">
          <p15:clr>
            <a:srgbClr val="F26B43"/>
          </p15:clr>
        </p15:guide>
        <p15:guide id="10" pos="2925">
          <p15:clr>
            <a:srgbClr val="F26B43"/>
          </p15:clr>
        </p15:guide>
        <p15:guide id="11" pos="3719">
          <p15:clr>
            <a:srgbClr val="F26B43"/>
          </p15:clr>
        </p15:guide>
        <p15:guide id="12" pos="3810">
          <p15:clr>
            <a:srgbClr val="F26B43"/>
          </p15:clr>
        </p15:guide>
        <p15:guide id="13" pos="1950">
          <p15:clr>
            <a:srgbClr val="F26B43"/>
          </p15:clr>
        </p15:guide>
        <p15:guide id="14" pos="2041">
          <p15:clr>
            <a:srgbClr val="F26B43"/>
          </p15:clr>
        </p15:guide>
      </p15:sldGuideLst>
    </p:ext>
  </p:extLst>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97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630000" y="622800"/>
            <a:ext cx="10933350" cy="484748"/>
          </a:xfrm>
          <a:prstGeom prst="rect">
            <a:avLst/>
          </a:prstGeom>
        </p:spPr>
        <p:txBody>
          <a:bodyPr vert="horz" wrap="square" lIns="0" tIns="0" rIns="0" bIns="0" rtlCol="0" anchor="t">
            <a:spAutoFit/>
          </a:bodyPr>
          <a:lstStyle/>
          <a:p>
            <a:r>
              <a:rPr lang="en-US" dirty="0" smtClean="0"/>
              <a:t>Click to add title</a:t>
            </a:r>
            <a:endParaRPr lang="en-US" dirty="0"/>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8" name="TextBox 7"/>
          <p:cNvSpPr txBox="1"/>
          <p:nvPr/>
        </p:nvSpPr>
        <p:spPr>
          <a:xfrm>
            <a:off x="11042554" y="6566400"/>
            <a:ext cx="720821" cy="215999"/>
          </a:xfrm>
          <a:prstGeom prst="rect">
            <a:avLst/>
          </a:prstGeom>
          <a:noFill/>
          <a:ln/>
          <a:effectLst/>
        </p:spPr>
        <p:txBody>
          <a:bodyPr wrap="none" lIns="0" tIns="0" rIns="0" bIns="0" rtlCol="0">
            <a:noAutofit/>
          </a:bodyPr>
          <a:lstStyle/>
          <a:p>
            <a:pPr>
              <a:defRPr/>
            </a:pPr>
            <a:r>
              <a:rPr lang="en-US" sz="1000" dirty="0" smtClean="0">
                <a:solidFill>
                  <a:srgbClr val="000000"/>
                </a:solidFill>
                <a:sym typeface="CorpoS" pitchFamily="2" charset="0"/>
              </a:rPr>
              <a:t>Page </a:t>
            </a:r>
            <a:fld id="{9D53E389-1311-4796-9190-1F74A8EADEA2}" type="slidenum">
              <a:rPr lang="en-US" sz="1000" smtClean="0">
                <a:solidFill>
                  <a:srgbClr val="000000"/>
                </a:solidFill>
                <a:sym typeface="CorpoS" pitchFamily="2" charset="0"/>
              </a:rPr>
              <a:pPr>
                <a:defRPr/>
              </a:pPr>
              <a:t>‹#›</a:t>
            </a:fld>
            <a:endParaRPr lang="en-US" sz="1000" dirty="0" smtClean="0">
              <a:solidFill>
                <a:srgbClr val="000000"/>
              </a:solidFill>
              <a:sym typeface="CorpoS" pitchFamily="2" charset="0"/>
            </a:endParaRPr>
          </a:p>
          <a:p>
            <a:endParaRPr lang="en-US" sz="1000" dirty="0" smtClean="0">
              <a:solidFill>
                <a:srgbClr val="000000"/>
              </a:solidFill>
              <a:latin typeface="Arial"/>
            </a:endParaRPr>
          </a:p>
        </p:txBody>
      </p:sp>
    </p:spTree>
    <p:extLst>
      <p:ext uri="{BB962C8B-B14F-4D97-AF65-F5344CB8AC3E}">
        <p14:creationId xmlns:p14="http://schemas.microsoft.com/office/powerpoint/2010/main" val="3551330845"/>
      </p:ext>
    </p:extLst>
  </p:cSld>
  <p:clrMap bg1="lt1" tx1="dk1" bg2="lt2" tx2="dk2" accent1="accent1" accent2="accent2" accent3="accent3" accent4="accent4" accent5="accent5" accent6="accent6" hlink="hlink" folHlink="folHlink"/>
  <p:sldLayoutIdLst>
    <p:sldLayoutId id="2147485100" r:id="rId1"/>
    <p:sldLayoutId id="2147485101" r:id="rId2"/>
    <p:sldLayoutId id="2147485102" r:id="rId3"/>
    <p:sldLayoutId id="2147485103" r:id="rId4"/>
    <p:sldLayoutId id="2147485104" r:id="rId5"/>
    <p:sldLayoutId id="2147485105" r:id="rId6"/>
    <p:sldLayoutId id="2147485106" r:id="rId7"/>
    <p:sldLayoutId id="2147485107" r:id="rId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sz="3500" kern="1200">
          <a:solidFill>
            <a:srgbClr val="000000"/>
          </a:solidFill>
          <a:latin typeface="CorpoS" pitchFamily="2" charset="0"/>
          <a:ea typeface="+mj-ea"/>
          <a:cs typeface="+mj-cs"/>
          <a:sym typeface="CorpoS" pitchFamily="2"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rgbClr val="000000"/>
          </a:solidFill>
          <a:latin typeface="CorpoS" pitchFamily="2" charset="0"/>
          <a:ea typeface="+mn-ea"/>
          <a:cs typeface="+mn-cs"/>
          <a:sym typeface="CorpoS" pitchFamily="2"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rgbClr val="000000"/>
          </a:solidFill>
          <a:latin typeface="CorpoS" pitchFamily="2" charset="0"/>
          <a:ea typeface="+mn-ea"/>
          <a:cs typeface="+mn-cs"/>
          <a:sym typeface="CorpoS" pitchFamily="2"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rgbClr val="000000"/>
          </a:solidFill>
          <a:latin typeface="CorpoS" pitchFamily="2" charset="0"/>
          <a:ea typeface="+mn-ea"/>
          <a:cs typeface="+mn-cs"/>
          <a:sym typeface="CorpoS" pitchFamily="2"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CorpoS" pitchFamily="2" charset="0"/>
          <a:ea typeface="+mn-ea"/>
          <a:cs typeface="+mn-cs"/>
          <a:sym typeface="CorpoS" pitchFamily="2"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rgbClr val="000000"/>
          </a:solidFill>
          <a:latin typeface="CorpoS" pitchFamily="2" charset="0"/>
          <a:ea typeface="+mn-ea"/>
          <a:cs typeface="+mn-cs"/>
          <a:sym typeface="CorpoS" pitchFamily="2"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rgbClr val="000000"/>
          </a:solidFill>
          <a:latin typeface="CorpoS" pitchFamily="2" charset="0"/>
          <a:ea typeface="+mn-ea"/>
          <a:cs typeface="+mn-cs"/>
          <a:sym typeface="CorpoS" pitchFamily="2"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rgbClr val="000000"/>
          </a:solidFill>
          <a:latin typeface="CorpoS" pitchFamily="2" charset="0"/>
          <a:ea typeface="+mn-ea"/>
          <a:cs typeface="+mn-cs"/>
          <a:sym typeface="CorpoS" pitchFamily="2"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CorpoS" pitchFamily="2" charset="0"/>
          <a:ea typeface="+mn-ea"/>
          <a:cs typeface="+mn-cs"/>
          <a:sym typeface="CorpoS" pitchFamily="2"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CorpoS" pitchFamily="2" charset="0"/>
          <a:ea typeface="+mn-ea"/>
          <a:cs typeface="+mn-cs"/>
          <a:sym typeface="CorpoS" pitchFamily="2"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7"/>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20773" name="think-cell Folie" r:id="rId38" imgW="216" imgH="216" progId="TCLayout.ActiveDocument.1">
                  <p:embed/>
                </p:oleObj>
              </mc:Choice>
              <mc:Fallback>
                <p:oleObj name="think-cell Folie" r:id="rId38" imgW="216" imgH="216" progId="TCLayout.ActiveDocument.1">
                  <p:embed/>
                  <p:pic>
                    <p:nvPicPr>
                      <p:cNvPr id="0" name=""/>
                      <p:cNvPicPr/>
                      <p:nvPr/>
                    </p:nvPicPr>
                    <p:blipFill>
                      <a:blip r:embed="rId39"/>
                      <a:stretch>
                        <a:fillRect/>
                      </a:stretch>
                    </p:blipFill>
                    <p:spPr>
                      <a:xfrm>
                        <a:off x="1588" y="1588"/>
                        <a:ext cx="1586" cy="1587"/>
                      </a:xfrm>
                      <a:prstGeom prst="rect">
                        <a:avLst/>
                      </a:prstGeom>
                    </p:spPr>
                  </p:pic>
                </p:oleObj>
              </mc:Fallback>
            </mc:AlternateContent>
          </a:graphicData>
        </a:graphic>
      </p:graphicFrame>
      <p:grpSp>
        <p:nvGrpSpPr>
          <p:cNvPr id="37" name="Regieanweisungen"/>
          <p:cNvGrpSpPr/>
          <p:nvPr userDrawn="1"/>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7" name="Listenebene erhöhen"/>
                <p:cNvPicPr>
                  <a:picLocks noChangeAspect="1"/>
                </p:cNvPicPr>
                <p:nvPr userDrawn="1"/>
              </p:nvPicPr>
              <p:blipFill>
                <a:blip r:embed="rId40"/>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1"/>
                <a:stretch>
                  <a:fillRect/>
                </a:stretch>
              </p:blipFill>
              <p:spPr>
                <a:xfrm>
                  <a:off x="-900000" y="2628000"/>
                  <a:ext cx="756000" cy="322369"/>
                </a:xfrm>
                <a:prstGeom prst="rect">
                  <a:avLst/>
                </a:prstGeom>
              </p:spPr>
            </p:pic>
          </p:grpSp>
        </p:grpSp>
      </p:gr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cxnSp>
        <p:nvCxnSpPr>
          <p:cNvPr id="14"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117" y="1504603"/>
            <a:ext cx="10930387" cy="4875670"/>
          </a:xfrm>
          <a:prstGeom prst="rect">
            <a:avLst/>
          </a:prstGeom>
        </p:spPr>
        <p:txBody>
          <a:bodyPr vert="horz" lIns="0" tIns="0" rIns="0" bIns="0" rtlCol="0" anchor="t" anchorCtr="0">
            <a:noAutofit/>
          </a:body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userDrawn="1">
            <p:ph type="title"/>
          </p:nvPr>
        </p:nvSpPr>
        <p:spPr>
          <a:xfrm>
            <a:off x="628324" y="285982"/>
            <a:ext cx="10932454" cy="1151733"/>
          </a:xfrm>
          <a:prstGeom prst="rect">
            <a:avLst/>
          </a:prstGeom>
        </p:spPr>
        <p:txBody>
          <a:bodyPr vert="horz" lIns="0" tIns="0" rIns="0" bIns="0" rtlCol="0" anchor="t" anchorCtr="0">
            <a:noAutofit/>
          </a:bodyPr>
          <a:lstStyle/>
          <a:p>
            <a:r>
              <a:rPr lang="en-GB" noProof="0" dirty="0"/>
              <a:t>Headline in CorpoS (Body) 35 pt.</a:t>
            </a:r>
            <a:br>
              <a:rPr lang="en-GB" noProof="0" dirty="0"/>
            </a:br>
            <a:r>
              <a:rPr lang="en-GB" noProof="0" dirty="0"/>
              <a:t>in two lines</a:t>
            </a:r>
          </a:p>
        </p:txBody>
      </p:sp>
      <p:sp>
        <p:nvSpPr>
          <p:cNvPr id="5" name="Fußzeilenplatzhalter 4"/>
          <p:cNvSpPr>
            <a:spLocks noGrp="1"/>
          </p:cNvSpPr>
          <p:nvPr userDrawn="1">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r>
              <a:rPr lang="en-GB" smtClean="0">
                <a:solidFill>
                  <a:prstClr val="black"/>
                </a:solidFill>
              </a:rPr>
              <a:t>Title of presentation / Department / Date /</a:t>
            </a:r>
            <a:endParaRPr lang="en-GB" dirty="0">
              <a:solidFill>
                <a:prstClr val="black"/>
              </a:solidFill>
            </a:endParaRPr>
          </a:p>
        </p:txBody>
      </p:sp>
      <p:sp>
        <p:nvSpPr>
          <p:cNvPr id="6" name="Foliennummernplatzhalter 5"/>
          <p:cNvSpPr>
            <a:spLocks noGrp="1"/>
          </p:cNvSpPr>
          <p:nvPr userDrawn="1">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en-GB" smtClean="0">
                <a:solidFill>
                  <a:prstClr val="black"/>
                </a:solidFill>
              </a:rPr>
              <a:t>Page </a:t>
            </a:r>
            <a:fld id="{52531704-8F80-415D-BD2B-6B9991AE822F}" type="slidenum">
              <a:rPr lang="en-GB" smtClean="0">
                <a:solidFill>
                  <a:prstClr val="black"/>
                </a:solidFill>
              </a:rPr>
              <a:pPr defTabSz="1088415"/>
              <a:t>‹#›</a:t>
            </a:fld>
            <a:endParaRPr lang="en-GB" dirty="0">
              <a:solidFill>
                <a:prstClr val="black"/>
              </a:solidFill>
            </a:endParaRPr>
          </a:p>
        </p:txBody>
      </p:sp>
    </p:spTree>
    <p:extLst>
      <p:ext uri="{BB962C8B-B14F-4D97-AF65-F5344CB8AC3E}">
        <p14:creationId xmlns:p14="http://schemas.microsoft.com/office/powerpoint/2010/main" val="1383715007"/>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 id="2147483800" r:id="rId25"/>
    <p:sldLayoutId id="2147483801" r:id="rId26"/>
    <p:sldLayoutId id="2147483802" r:id="rId27"/>
    <p:sldLayoutId id="2147483803" r:id="rId28"/>
    <p:sldLayoutId id="2147483804" r:id="rId29"/>
    <p:sldLayoutId id="2147483805" r:id="rId30"/>
    <p:sldLayoutId id="2147483807" r:id="rId31"/>
    <p:sldLayoutId id="2147483809" r:id="rId32"/>
    <p:sldLayoutId id="2147483811" r:id="rId33"/>
    <p:sldLayoutId id="2147483812" r:id="rId34"/>
  </p:sldLayoutIdLst>
  <p:hf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0"/>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24869" name="think-cell Folie" r:id="rId41" imgW="216" imgH="216" progId="TCLayout.ActiveDocument.1">
                  <p:embed/>
                </p:oleObj>
              </mc:Choice>
              <mc:Fallback>
                <p:oleObj name="think-cell Folie" r:id="rId41" imgW="216" imgH="216" progId="TCLayout.ActiveDocument.1">
                  <p:embed/>
                  <p:pic>
                    <p:nvPicPr>
                      <p:cNvPr id="0" name=""/>
                      <p:cNvPicPr/>
                      <p:nvPr/>
                    </p:nvPicPr>
                    <p:blipFill>
                      <a:blip r:embed="rId42"/>
                      <a:stretch>
                        <a:fillRect/>
                      </a:stretch>
                    </p:blipFill>
                    <p:spPr>
                      <a:xfrm>
                        <a:off x="1588" y="1588"/>
                        <a:ext cx="1586" cy="1587"/>
                      </a:xfrm>
                      <a:prstGeom prst="rect">
                        <a:avLst/>
                      </a:prstGeom>
                    </p:spPr>
                  </p:pic>
                </p:oleObj>
              </mc:Fallback>
            </mc:AlternateContent>
          </a:graphicData>
        </a:graphic>
      </p:graphicFrame>
      <p:grpSp>
        <p:nvGrpSpPr>
          <p:cNvPr id="37" name="Regieanweisungen"/>
          <p:cNvGrpSpPr/>
          <p:nvPr userDrawn="1"/>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7" name="Listenebene erhöhen"/>
                <p:cNvPicPr>
                  <a:picLocks noChangeAspect="1"/>
                </p:cNvPicPr>
                <p:nvPr userDrawn="1"/>
              </p:nvPicPr>
              <p:blipFill>
                <a:blip r:embed="rId4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4"/>
                <a:stretch>
                  <a:fillRect/>
                </a:stretch>
              </p:blipFill>
              <p:spPr>
                <a:xfrm>
                  <a:off x="-900000" y="2628000"/>
                  <a:ext cx="756000" cy="322369"/>
                </a:xfrm>
                <a:prstGeom prst="rect">
                  <a:avLst/>
                </a:prstGeom>
              </p:spPr>
            </p:pic>
          </p:grpSp>
        </p:grpSp>
      </p:gr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cxnSp>
        <p:nvCxnSpPr>
          <p:cNvPr id="14"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117" y="1504603"/>
            <a:ext cx="10930387" cy="4875670"/>
          </a:xfrm>
          <a:prstGeom prst="rect">
            <a:avLst/>
          </a:prstGeom>
        </p:spPr>
        <p:txBody>
          <a:bodyPr vert="horz" lIns="0" tIns="0" rIns="0" bIns="0" rtlCol="0" anchor="t" anchorCtr="0">
            <a:noAutofit/>
          </a:body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userDrawn="1">
            <p:ph type="title"/>
          </p:nvPr>
        </p:nvSpPr>
        <p:spPr>
          <a:xfrm>
            <a:off x="628324" y="285982"/>
            <a:ext cx="10932454" cy="1151733"/>
          </a:xfrm>
          <a:prstGeom prst="rect">
            <a:avLst/>
          </a:prstGeom>
        </p:spPr>
        <p:txBody>
          <a:bodyPr vert="horz" lIns="0" tIns="0" rIns="0" bIns="0" rtlCol="0" anchor="t" anchorCtr="0">
            <a:noAutofit/>
          </a:bodyPr>
          <a:lstStyle/>
          <a:p>
            <a:r>
              <a:rPr lang="en-GB" noProof="0" dirty="0"/>
              <a:t>Headline in CorpoS (Body) 35 pt.</a:t>
            </a:r>
            <a:br>
              <a:rPr lang="en-GB" noProof="0" dirty="0"/>
            </a:br>
            <a:r>
              <a:rPr lang="en-GB" noProof="0" dirty="0"/>
              <a:t>in two lines</a:t>
            </a:r>
          </a:p>
        </p:txBody>
      </p:sp>
      <p:sp>
        <p:nvSpPr>
          <p:cNvPr id="5" name="Fußzeilenplatzhalter 4"/>
          <p:cNvSpPr>
            <a:spLocks noGrp="1"/>
          </p:cNvSpPr>
          <p:nvPr userDrawn="1">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r>
              <a:rPr lang="en-GB" smtClean="0">
                <a:solidFill>
                  <a:prstClr val="black"/>
                </a:solidFill>
              </a:rPr>
              <a:t>Title of presentation / Department / Date /</a:t>
            </a:r>
            <a:endParaRPr lang="en-GB" dirty="0">
              <a:solidFill>
                <a:prstClr val="black"/>
              </a:solidFill>
            </a:endParaRPr>
          </a:p>
        </p:txBody>
      </p:sp>
      <p:sp>
        <p:nvSpPr>
          <p:cNvPr id="6" name="Foliennummernplatzhalter 5"/>
          <p:cNvSpPr>
            <a:spLocks noGrp="1"/>
          </p:cNvSpPr>
          <p:nvPr userDrawn="1">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en-GB" smtClean="0">
                <a:solidFill>
                  <a:prstClr val="black"/>
                </a:solidFill>
              </a:rPr>
              <a:t>Page </a:t>
            </a:r>
            <a:fld id="{52531704-8F80-415D-BD2B-6B9991AE822F}" type="slidenum">
              <a:rPr lang="en-GB" smtClean="0">
                <a:solidFill>
                  <a:prstClr val="black"/>
                </a:solidFill>
              </a:rPr>
              <a:pPr defTabSz="1088415"/>
              <a:t>‹#›</a:t>
            </a:fld>
            <a:endParaRPr lang="en-GB" dirty="0">
              <a:solidFill>
                <a:prstClr val="black"/>
              </a:solidFill>
            </a:endParaRPr>
          </a:p>
        </p:txBody>
      </p:sp>
    </p:spTree>
    <p:extLst>
      <p:ext uri="{BB962C8B-B14F-4D97-AF65-F5344CB8AC3E}">
        <p14:creationId xmlns:p14="http://schemas.microsoft.com/office/powerpoint/2010/main" val="4111589393"/>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 id="2147483838" r:id="rId25"/>
    <p:sldLayoutId id="2147483839" r:id="rId26"/>
    <p:sldLayoutId id="2147483840" r:id="rId27"/>
    <p:sldLayoutId id="2147483841" r:id="rId28"/>
    <p:sldLayoutId id="2147483842" r:id="rId29"/>
    <p:sldLayoutId id="2147483843" r:id="rId30"/>
    <p:sldLayoutId id="2147483844" r:id="rId31"/>
    <p:sldLayoutId id="2147483845" r:id="rId32"/>
    <p:sldLayoutId id="2147483846" r:id="rId33"/>
    <p:sldLayoutId id="2147483847" r:id="rId34"/>
    <p:sldLayoutId id="2147483848" r:id="rId35"/>
    <p:sldLayoutId id="2147483849" r:id="rId36"/>
    <p:sldLayoutId id="2147483850" r:id="rId37"/>
  </p:sldLayoutIdLst>
  <p:hf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0"/>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31013" name="think-cell Folie" r:id="rId41" imgW="216" imgH="216" progId="TCLayout.ActiveDocument.1">
                  <p:embed/>
                </p:oleObj>
              </mc:Choice>
              <mc:Fallback>
                <p:oleObj name="think-cell Folie" r:id="rId41" imgW="216" imgH="216" progId="TCLayout.ActiveDocument.1">
                  <p:embed/>
                  <p:pic>
                    <p:nvPicPr>
                      <p:cNvPr id="0" name=""/>
                      <p:cNvPicPr/>
                      <p:nvPr/>
                    </p:nvPicPr>
                    <p:blipFill>
                      <a:blip r:embed="rId42"/>
                      <a:stretch>
                        <a:fillRect/>
                      </a:stretch>
                    </p:blipFill>
                    <p:spPr>
                      <a:xfrm>
                        <a:off x="1588" y="1588"/>
                        <a:ext cx="1586" cy="1587"/>
                      </a:xfrm>
                      <a:prstGeom prst="rect">
                        <a:avLst/>
                      </a:prstGeom>
                    </p:spPr>
                  </p:pic>
                </p:oleObj>
              </mc:Fallback>
            </mc:AlternateContent>
          </a:graphicData>
        </a:graphic>
      </p:graphicFrame>
      <p:grpSp>
        <p:nvGrpSpPr>
          <p:cNvPr id="37" name="Regieanweisungen"/>
          <p:cNvGrpSpPr/>
          <p:nvPr userDrawn="1"/>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Increase</a:t>
                  </a:r>
                </a:p>
                <a:p>
                  <a:pPr algn="r">
                    <a:defRPr/>
                  </a:pPr>
                  <a:r>
                    <a:rPr lang="en-GB"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en-GB" sz="999" dirty="0">
                      <a:solidFill>
                        <a:srgbClr val="444444"/>
                      </a:solidFill>
                    </a:rPr>
                    <a:t>Decrease </a:t>
                  </a:r>
                </a:p>
                <a:p>
                  <a:pPr algn="r">
                    <a:defRPr/>
                  </a:pPr>
                  <a:r>
                    <a:rPr lang="en-GB" sz="999" dirty="0">
                      <a:solidFill>
                        <a:srgbClr val="444444"/>
                      </a:solidFill>
                    </a:rPr>
                    <a:t>List Level</a:t>
                  </a:r>
                </a:p>
              </p:txBody>
            </p:sp>
            <p:pic>
              <p:nvPicPr>
                <p:cNvPr id="7" name="Listenebene erhöhen"/>
                <p:cNvPicPr>
                  <a:picLocks noChangeAspect="1"/>
                </p:cNvPicPr>
                <p:nvPr userDrawn="1"/>
              </p:nvPicPr>
              <p:blipFill>
                <a:blip r:embed="rId43"/>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4"/>
                <a:stretch>
                  <a:fillRect/>
                </a:stretch>
              </p:blipFill>
              <p:spPr>
                <a:xfrm>
                  <a:off x="-900000" y="2628000"/>
                  <a:ext cx="756000" cy="322369"/>
                </a:xfrm>
                <a:prstGeom prst="rect">
                  <a:avLst/>
                </a:prstGeom>
              </p:spPr>
            </p:pic>
          </p:grpSp>
        </p:grpSp>
      </p:gr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en-GB" sz="1199" dirty="0">
                <a:solidFill>
                  <a:prstClr val="black"/>
                </a:solidFill>
                <a:latin typeface="CorpoS"/>
                <a:cs typeface="Daimler CS"/>
              </a:rPr>
              <a:t>Daimler AG</a:t>
            </a:r>
          </a:p>
        </p:txBody>
      </p:sp>
      <p:cxnSp>
        <p:nvCxnSpPr>
          <p:cNvPr id="14"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117" y="1504603"/>
            <a:ext cx="10930387" cy="4875670"/>
          </a:xfrm>
          <a:prstGeom prst="rect">
            <a:avLst/>
          </a:prstGeom>
        </p:spPr>
        <p:txBody>
          <a:bodyPr vert="horz" lIns="0" tIns="0" rIns="0" bIns="0" rtlCol="0" anchor="t" anchorCtr="0">
            <a:noAutofit/>
          </a:body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userDrawn="1">
            <p:ph type="title"/>
          </p:nvPr>
        </p:nvSpPr>
        <p:spPr>
          <a:xfrm>
            <a:off x="628324" y="285982"/>
            <a:ext cx="10932454" cy="1151733"/>
          </a:xfrm>
          <a:prstGeom prst="rect">
            <a:avLst/>
          </a:prstGeom>
        </p:spPr>
        <p:txBody>
          <a:bodyPr vert="horz" lIns="0" tIns="0" rIns="0" bIns="0" rtlCol="0" anchor="t" anchorCtr="0">
            <a:noAutofit/>
          </a:bodyPr>
          <a:lstStyle/>
          <a:p>
            <a:r>
              <a:rPr lang="en-GB" noProof="0" dirty="0"/>
              <a:t>Headline in CorpoS (Body) 35 pt.</a:t>
            </a:r>
            <a:br>
              <a:rPr lang="en-GB" noProof="0" dirty="0"/>
            </a:br>
            <a:r>
              <a:rPr lang="en-GB" noProof="0" dirty="0"/>
              <a:t>in two lines</a:t>
            </a:r>
          </a:p>
        </p:txBody>
      </p:sp>
      <p:sp>
        <p:nvSpPr>
          <p:cNvPr id="5" name="Fußzeilenplatzhalter 4"/>
          <p:cNvSpPr>
            <a:spLocks noGrp="1"/>
          </p:cNvSpPr>
          <p:nvPr userDrawn="1">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r>
              <a:rPr lang="en-GB" smtClean="0">
                <a:solidFill>
                  <a:prstClr val="black"/>
                </a:solidFill>
              </a:rPr>
              <a:t>Title of presentation / Department / Date /</a:t>
            </a:r>
            <a:endParaRPr lang="en-GB" dirty="0">
              <a:solidFill>
                <a:prstClr val="black"/>
              </a:solidFill>
            </a:endParaRPr>
          </a:p>
        </p:txBody>
      </p:sp>
      <p:sp>
        <p:nvSpPr>
          <p:cNvPr id="6" name="Foliennummernplatzhalter 5"/>
          <p:cNvSpPr>
            <a:spLocks noGrp="1"/>
          </p:cNvSpPr>
          <p:nvPr userDrawn="1">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en-GB" smtClean="0">
                <a:solidFill>
                  <a:prstClr val="black"/>
                </a:solidFill>
              </a:rPr>
              <a:t>Page </a:t>
            </a:r>
            <a:fld id="{52531704-8F80-415D-BD2B-6B9991AE822F}" type="slidenum">
              <a:rPr lang="en-GB" smtClean="0">
                <a:solidFill>
                  <a:prstClr val="black"/>
                </a:solidFill>
              </a:rPr>
              <a:pPr defTabSz="1088415"/>
              <a:t>‹#›</a:t>
            </a:fld>
            <a:endParaRPr lang="en-GB" dirty="0">
              <a:solidFill>
                <a:prstClr val="black"/>
              </a:solidFill>
            </a:endParaRPr>
          </a:p>
        </p:txBody>
      </p:sp>
    </p:spTree>
    <p:extLst>
      <p:ext uri="{BB962C8B-B14F-4D97-AF65-F5344CB8AC3E}">
        <p14:creationId xmlns:p14="http://schemas.microsoft.com/office/powerpoint/2010/main" val="2033520794"/>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 id="2147483882" r:id="rId25"/>
    <p:sldLayoutId id="2147483883" r:id="rId26"/>
    <p:sldLayoutId id="2147483884" r:id="rId27"/>
    <p:sldLayoutId id="2147483885" r:id="rId28"/>
    <p:sldLayoutId id="2147483886" r:id="rId29"/>
    <p:sldLayoutId id="2147483887" r:id="rId30"/>
    <p:sldLayoutId id="2147483888" r:id="rId31"/>
    <p:sldLayoutId id="2147483889" r:id="rId32"/>
    <p:sldLayoutId id="2147483890" r:id="rId33"/>
    <p:sldLayoutId id="2147483891" r:id="rId34"/>
    <p:sldLayoutId id="2147483892" r:id="rId35"/>
    <p:sldLayoutId id="2147483893" r:id="rId36"/>
    <p:sldLayoutId id="2147483894" r:id="rId37"/>
  </p:sldLayoutIdLst>
  <p:hf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37" name="Regieanweisungen"/>
          <p:cNvGrpSpPr/>
          <p:nvPr userDrawn="1"/>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de-DE" sz="1099" dirty="0">
                  <a:solidFill>
                    <a:srgbClr val="444444"/>
                  </a:solidFill>
                </a:rPr>
                <a:t>Hilfslinien anzeigen über Menu: Ansicht // Anzeigen // Haken bei Führungslinien setzen</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de-DE" sz="1099" dirty="0">
                  <a:solidFill>
                    <a:srgbClr val="444444"/>
                  </a:solidFill>
                </a:rPr>
                <a:t>Fußzeile pro Folie oder für alle/mehrere anpassen über Menü: Einfügen // Text // Kopf- und Fußzeile</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de-DE" sz="1099" dirty="0">
                    <a:solidFill>
                      <a:srgbClr val="444444"/>
                    </a:solidFill>
                  </a:rPr>
                  <a:t>Folie in Ursprungsform </a:t>
                </a:r>
              </a:p>
              <a:p>
                <a:pPr algn="r"/>
                <a:r>
                  <a:rPr lang="de-DE" sz="1099" dirty="0">
                    <a:solidFill>
                      <a:srgbClr val="444444"/>
                    </a:solidFill>
                  </a:rPr>
                  <a:t>bringen über Menu:</a:t>
                </a:r>
              </a:p>
              <a:p>
                <a:pPr algn="r"/>
                <a:r>
                  <a:rPr lang="de-DE" sz="1099" dirty="0">
                    <a:solidFill>
                      <a:srgbClr val="444444"/>
                    </a:solidFill>
                  </a:rPr>
                  <a:t>Start // Folien // Zurücksetzen</a:t>
                </a:r>
              </a:p>
              <a:p>
                <a:pPr algn="r"/>
                <a:endParaRPr lang="de-DE" sz="1099" dirty="0">
                  <a:solidFill>
                    <a:srgbClr val="444444"/>
                  </a:solidFill>
                </a:endParaRPr>
              </a:p>
              <a:p>
                <a:pPr algn="r"/>
                <a:r>
                  <a:rPr lang="de-DE" sz="1099" dirty="0">
                    <a:solidFill>
                      <a:srgbClr val="444444"/>
                    </a:solidFill>
                  </a:rPr>
                  <a:t>Wechsel des Folienlayouts </a:t>
                </a:r>
                <a:br>
                  <a:rPr lang="de-DE" sz="1099" dirty="0">
                    <a:solidFill>
                      <a:srgbClr val="444444"/>
                    </a:solidFill>
                  </a:rPr>
                </a:br>
                <a:r>
                  <a:rPr lang="de-DE" sz="1099" dirty="0">
                    <a:solidFill>
                      <a:srgbClr val="444444"/>
                    </a:solidFill>
                  </a:rPr>
                  <a:t>im Menü über:</a:t>
                </a:r>
              </a:p>
              <a:p>
                <a:pPr algn="r">
                  <a:defRPr/>
                </a:pPr>
                <a:r>
                  <a:rPr lang="de-DE" sz="1099" dirty="0">
                    <a:solidFill>
                      <a:srgbClr val="444444"/>
                    </a:solidFill>
                  </a:rPr>
                  <a:t>Start // Folien // Layout</a:t>
                </a:r>
              </a:p>
              <a:p>
                <a:pPr algn="r">
                  <a:defRPr/>
                </a:pPr>
                <a:endParaRPr lang="de-DE" sz="1099" dirty="0">
                  <a:solidFill>
                    <a:srgbClr val="444444"/>
                  </a:solidFill>
                </a:endParaRPr>
              </a:p>
              <a:p>
                <a:pPr algn="r">
                  <a:defRPr/>
                </a:pPr>
                <a:r>
                  <a:rPr lang="de-DE" sz="1099" dirty="0">
                    <a:solidFill>
                      <a:srgbClr val="444444"/>
                    </a:solidFill>
                  </a:rPr>
                  <a:t>Wechsel der Textebene</a:t>
                </a:r>
              </a:p>
              <a:p>
                <a:pPr algn="r">
                  <a:defRPr/>
                </a:pPr>
                <a:r>
                  <a:rPr lang="de-DE" sz="1099" dirty="0">
                    <a:solidFill>
                      <a:srgbClr val="444444"/>
                    </a:solidFill>
                  </a:rPr>
                  <a:t>im Menü über: </a:t>
                </a:r>
                <a:br>
                  <a:rPr lang="de-DE" sz="1099" dirty="0">
                    <a:solidFill>
                      <a:srgbClr val="444444"/>
                    </a:solidFill>
                  </a:rPr>
                </a:br>
                <a:r>
                  <a:rPr lang="de-DE" sz="1099" dirty="0">
                    <a:solidFill>
                      <a:srgbClr val="444444"/>
                    </a:solidFill>
                  </a:rPr>
                  <a:t>Start // Absatz // Listenebene erhöhen/verringern</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erhöhen</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defRPr/>
                  </a:pPr>
                  <a:r>
                    <a:rPr lang="de-DE" sz="999" dirty="0">
                      <a:solidFill>
                        <a:srgbClr val="444444"/>
                      </a:solidFill>
                    </a:rPr>
                    <a:t>Listenebene verringern</a:t>
                  </a:r>
                </a:p>
              </p:txBody>
            </p:sp>
            <p:pic>
              <p:nvPicPr>
                <p:cNvPr id="7" name="Listenebene erhöhen"/>
                <p:cNvPicPr>
                  <a:picLocks noChangeAspect="1"/>
                </p:cNvPicPr>
                <p:nvPr userDrawn="1"/>
              </p:nvPicPr>
              <p:blipFill>
                <a:blip r:embed="rId31"/>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32"/>
                <a:stretch>
                  <a:fillRect/>
                </a:stretch>
              </p:blipFill>
              <p:spPr>
                <a:xfrm>
                  <a:off x="-900000" y="2628000"/>
                  <a:ext cx="756000" cy="322369"/>
                </a:xfrm>
                <a:prstGeom prst="rect">
                  <a:avLst/>
                </a:prstGeom>
              </p:spPr>
            </p:pic>
          </p:grpSp>
        </p:grpSp>
      </p:grpSp>
      <p:sp>
        <p:nvSpPr>
          <p:cNvPr id="18" name="Daimler AG (Wortmarke)"/>
          <p:cNvSpPr>
            <a:spLocks noChangeArrowheads="1"/>
          </p:cNvSpPr>
          <p:nvPr userDrawn="1"/>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defTabSz="1088415">
              <a:defRPr/>
            </a:pPr>
            <a:r>
              <a:rPr lang="de-DE" sz="1199" dirty="0">
                <a:solidFill>
                  <a:prstClr val="black"/>
                </a:solidFill>
                <a:latin typeface="CorpoS"/>
                <a:cs typeface="Daimler CS"/>
              </a:rPr>
              <a:t>Daimler AG</a:t>
            </a:r>
          </a:p>
        </p:txBody>
      </p:sp>
      <p:cxnSp>
        <p:nvCxnSpPr>
          <p:cNvPr id="14" name="Footerline"/>
          <p:cNvCxnSpPr/>
          <p:nvPr userDrawn="1"/>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userDrawn="1">
            <p:ph type="body" idx="1"/>
          </p:nvPr>
        </p:nvSpPr>
        <p:spPr>
          <a:xfrm>
            <a:off x="630117" y="1504603"/>
            <a:ext cx="10930387" cy="4875670"/>
          </a:xfrm>
          <a:prstGeom prst="rect">
            <a:avLst/>
          </a:prstGeom>
        </p:spPr>
        <p:txBody>
          <a:bodyPr vert="horz" lIns="0" tIns="0" rIns="0" bIns="0" rtlCol="0" anchor="t" anchorCtr="0">
            <a:noAutofit/>
          </a:bodyPr>
          <a:lstStyle/>
          <a:p>
            <a:pPr lvl="0"/>
            <a:r>
              <a:rPr lang="de-DE" dirty="0"/>
              <a:t>Text einfügen in </a:t>
            </a:r>
            <a:r>
              <a:rPr lang="de-DE" noProof="0" dirty="0"/>
              <a:t>CorpoS (Body) 24 pt. (mark-</a:t>
            </a:r>
            <a:r>
              <a:rPr lang="de-DE" noProof="0" dirty="0" err="1"/>
              <a:t>ups</a:t>
            </a:r>
            <a:r>
              <a:rPr lang="de-DE" noProof="0" dirty="0"/>
              <a:t> in Fett) </a:t>
            </a:r>
            <a:r>
              <a:rPr lang="de-DE" dirty="0"/>
              <a:t>// für Zusammenfassung oder kurzes Highlight: Start // Absatz // Listenebene erhöhen</a:t>
            </a:r>
          </a:p>
          <a:p>
            <a:pPr lvl="1"/>
            <a:r>
              <a:rPr lang="de-DE" dirty="0"/>
              <a:t>Zweite Ebene (Zusammenfassung oder kurzes Highlight)</a:t>
            </a:r>
          </a:p>
          <a:p>
            <a:pPr lvl="2"/>
            <a:r>
              <a:rPr lang="de-DE" dirty="0"/>
              <a:t>Dritte Ebene </a:t>
            </a:r>
          </a:p>
          <a:p>
            <a:pPr lvl="3"/>
            <a:r>
              <a:rPr lang="de-DE" dirty="0"/>
              <a:t>Vierte Ebene </a:t>
            </a:r>
          </a:p>
          <a:p>
            <a:pPr lvl="4"/>
            <a:r>
              <a:rPr lang="de-DE" dirty="0"/>
              <a:t>Fünfte Ebene </a:t>
            </a:r>
          </a:p>
          <a:p>
            <a:pPr lvl="5"/>
            <a:r>
              <a:rPr lang="de-DE" dirty="0"/>
              <a:t>Sechste Ebene </a:t>
            </a:r>
          </a:p>
          <a:p>
            <a:pPr lvl="6"/>
            <a:r>
              <a:rPr lang="de-DE" dirty="0"/>
              <a:t>Siebte Ebene </a:t>
            </a:r>
          </a:p>
          <a:p>
            <a:pPr lvl="7"/>
            <a:r>
              <a:rPr lang="de-DE" dirty="0"/>
              <a:t>Achte Ebene </a:t>
            </a:r>
          </a:p>
          <a:p>
            <a:pPr lvl="8"/>
            <a:r>
              <a:rPr lang="de-DE" dirty="0"/>
              <a:t>Neunte Ebene </a:t>
            </a:r>
          </a:p>
        </p:txBody>
      </p:sp>
      <p:sp>
        <p:nvSpPr>
          <p:cNvPr id="2" name="Titelplatzhalter 1"/>
          <p:cNvSpPr>
            <a:spLocks noGrp="1"/>
          </p:cNvSpPr>
          <p:nvPr userDrawn="1">
            <p:ph type="title"/>
          </p:nvPr>
        </p:nvSpPr>
        <p:spPr>
          <a:xfrm>
            <a:off x="628324" y="285982"/>
            <a:ext cx="10932454" cy="1151733"/>
          </a:xfrm>
          <a:prstGeom prst="rect">
            <a:avLst/>
          </a:prstGeom>
        </p:spPr>
        <p:txBody>
          <a:bodyPr vert="horz" lIns="0" tIns="0" rIns="0" bIns="0" rtlCol="0" anchor="t" anchorCtr="0">
            <a:noAutofit/>
          </a:bodyPr>
          <a:lstStyle/>
          <a:p>
            <a:r>
              <a:rPr lang="de-DE" noProof="0" dirty="0"/>
              <a:t>Headline in CorpoS (Textkörper) 35 pt.</a:t>
            </a:r>
            <a:br>
              <a:rPr lang="de-DE" noProof="0" dirty="0"/>
            </a:br>
            <a:r>
              <a:rPr lang="de-DE" noProof="0" dirty="0"/>
              <a:t>über zwei Zeilen</a:t>
            </a:r>
          </a:p>
        </p:txBody>
      </p:sp>
      <p:sp>
        <p:nvSpPr>
          <p:cNvPr id="5" name="Fußzeilenplatzhalter 4"/>
          <p:cNvSpPr>
            <a:spLocks noGrp="1"/>
          </p:cNvSpPr>
          <p:nvPr userDrawn="1">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pPr defTabSz="1088415"/>
            <a:r>
              <a:rPr lang="de-DE" smtClean="0">
                <a:solidFill>
                  <a:prstClr val="black"/>
                </a:solidFill>
              </a:rPr>
              <a:t>Titel der Präsentation / Abteilung / Datum /</a:t>
            </a:r>
            <a:endParaRPr lang="de-DE" dirty="0">
              <a:solidFill>
                <a:prstClr val="black"/>
              </a:solidFill>
            </a:endParaRPr>
          </a:p>
        </p:txBody>
      </p:sp>
      <p:sp>
        <p:nvSpPr>
          <p:cNvPr id="6" name="Foliennummernplatzhalter 5"/>
          <p:cNvSpPr>
            <a:spLocks noGrp="1"/>
          </p:cNvSpPr>
          <p:nvPr userDrawn="1">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pPr defTabSz="1088415"/>
            <a:r>
              <a:rPr lang="de-DE" smtClean="0">
                <a:solidFill>
                  <a:prstClr val="black"/>
                </a:solidFill>
              </a:rPr>
              <a:t>Seite </a:t>
            </a:r>
            <a:fld id="{52531704-8F80-415D-BD2B-6B9991AE822F}" type="slidenum">
              <a:rPr lang="de-DE" smtClean="0">
                <a:solidFill>
                  <a:prstClr val="black"/>
                </a:solidFill>
              </a:rPr>
              <a:pPr defTabSz="1088415"/>
              <a:t>‹#›</a:t>
            </a:fld>
            <a:endParaRPr lang="de-DE" dirty="0">
              <a:solidFill>
                <a:prstClr val="black"/>
              </a:solidFill>
            </a:endParaRPr>
          </a:p>
        </p:txBody>
      </p:sp>
    </p:spTree>
    <p:extLst>
      <p:ext uri="{BB962C8B-B14F-4D97-AF65-F5344CB8AC3E}">
        <p14:creationId xmlns:p14="http://schemas.microsoft.com/office/powerpoint/2010/main" val="1860548513"/>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 id="2147483912" r:id="rId17"/>
    <p:sldLayoutId id="2147483913" r:id="rId18"/>
    <p:sldLayoutId id="2147483914" r:id="rId19"/>
    <p:sldLayoutId id="2147483915" r:id="rId20"/>
    <p:sldLayoutId id="2147483916" r:id="rId21"/>
    <p:sldLayoutId id="2147483917" r:id="rId22"/>
    <p:sldLayoutId id="2147483918" r:id="rId23"/>
    <p:sldLayoutId id="2147483919" r:id="rId24"/>
    <p:sldLayoutId id="2147483920" r:id="rId25"/>
    <p:sldLayoutId id="2147483921" r:id="rId26"/>
    <p:sldLayoutId id="2147483922" r:id="rId27"/>
    <p:sldLayoutId id="2147483923" r:id="rId28"/>
    <p:sldLayoutId id="2147483924" r:id="rId29"/>
  </p:sldLayoutIdLst>
  <p:hf sldNum="0" hdr="0" ft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baseline="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36"/>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39203"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588" y="1588"/>
                        <a:ext cx="1586" cy="1587"/>
                      </a:xfrm>
                      <a:prstGeom prst="rect">
                        <a:avLst/>
                      </a:prstGeom>
                    </p:spPr>
                  </p:pic>
                </p:oleObj>
              </mc:Fallback>
            </mc:AlternateContent>
          </a:graphicData>
        </a:graphic>
      </p:graphicFrame>
      <p:grpSp>
        <p:nvGrpSpPr>
          <p:cNvPr id="37" name="Regieanweisungen"/>
          <p:cNvGrpSpPr/>
          <p:nvPr/>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7" name="Listenebene erhöhen"/>
                <p:cNvPicPr>
                  <a:picLocks noChangeAspect="1"/>
                </p:cNvPicPr>
                <p:nvPr userDrawn="1"/>
              </p:nvPicPr>
              <p:blipFill>
                <a:blip r:embed="rId39"/>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0"/>
                <a:stretch>
                  <a:fillRect/>
                </a:stretch>
              </p:blipFill>
              <p:spPr>
                <a:xfrm>
                  <a:off x="-900000" y="2628000"/>
                  <a:ext cx="756000" cy="322369"/>
                </a:xfrm>
                <a:prstGeom prst="rect">
                  <a:avLst/>
                </a:prstGeom>
              </p:spPr>
            </p:pic>
          </p:grpSp>
        </p:grpSp>
      </p:grpSp>
      <p:cxnSp>
        <p:nvCxnSpPr>
          <p:cNvPr id="14" name="Footerline"/>
          <p:cNvCxnSpPr/>
          <p:nvPr/>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630117" y="1504603"/>
            <a:ext cx="10930387" cy="4875670"/>
          </a:xfrm>
          <a:prstGeom prst="rect">
            <a:avLst/>
          </a:prstGeom>
        </p:spPr>
        <p:txBody>
          <a:bodyPr vert="horz" lIns="0" tIns="0" rIns="0" bIns="0" rtlCol="0" anchor="t" anchorCtr="0">
            <a:noAutofit/>
          </a:body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p:ph type="title"/>
          </p:nvPr>
        </p:nvSpPr>
        <p:spPr>
          <a:xfrm>
            <a:off x="628324" y="285982"/>
            <a:ext cx="10932454" cy="1151733"/>
          </a:xfrm>
          <a:prstGeom prst="rect">
            <a:avLst/>
          </a:prstGeom>
        </p:spPr>
        <p:txBody>
          <a:bodyPr vert="horz" lIns="0" tIns="0" rIns="0" bIns="0" rtlCol="0" anchor="t" anchorCtr="0">
            <a:noAutofit/>
          </a:bodyPr>
          <a:lstStyle/>
          <a:p>
            <a:r>
              <a:rPr lang="en-GB" noProof="0" dirty="0"/>
              <a:t>Headline in CorpoS (Body) 35 pt.</a:t>
            </a:r>
            <a:br>
              <a:rPr lang="en-GB" noProof="0" dirty="0"/>
            </a:br>
            <a:r>
              <a:rPr lang="en-GB" noProof="0" dirty="0"/>
              <a:t>in two lines</a:t>
            </a:r>
          </a:p>
        </p:txBody>
      </p:sp>
      <p:sp>
        <p:nvSpPr>
          <p:cNvPr id="5" name="Fußzeilenplatzhalter 4"/>
          <p:cNvSpPr>
            <a:spLocks noGrp="1"/>
          </p:cNvSpPr>
          <p:nvPr>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r>
              <a:rPr lang="en-US">
                <a:solidFill>
                  <a:prstClr val="black"/>
                </a:solidFill>
              </a:rPr>
              <a:t>DFS Capital Market Day</a:t>
            </a:r>
            <a:endParaRPr lang="en-GB" dirty="0">
              <a:solidFill>
                <a:prstClr val="black"/>
              </a:solidFill>
            </a:endParaRPr>
          </a:p>
        </p:txBody>
      </p:sp>
      <p:sp>
        <p:nvSpPr>
          <p:cNvPr id="6" name="Foliennummernplatzhalter 5"/>
          <p:cNvSpPr>
            <a:spLocks noGrp="1"/>
          </p:cNvSpPr>
          <p:nvPr>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9" name="Daimler AG (Wortmarke)"/>
          <p:cNvSpPr>
            <a:spLocks noChangeArrowheads="1"/>
          </p:cNvSpPr>
          <p:nvPr/>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1594373286"/>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 id="2147483951" r:id="rId26"/>
    <p:sldLayoutId id="2147483952" r:id="rId27"/>
    <p:sldLayoutId id="2147483953" r:id="rId28"/>
    <p:sldLayoutId id="2147483954" r:id="rId29"/>
    <p:sldLayoutId id="2147483955" r:id="rId30"/>
    <p:sldLayoutId id="2147483956" r:id="rId31"/>
    <p:sldLayoutId id="2147483957" r:id="rId32"/>
    <p:sldLayoutId id="2147483959" r:id="rId33"/>
  </p:sldLayoutIdLst>
  <p:hf sldNum="0"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36"/>
            </p:custDataLst>
            <p:extLst/>
          </p:nvPr>
        </p:nvGraphicFramePr>
        <p:xfrm>
          <a:off x="1588" y="1588"/>
          <a:ext cx="1586" cy="1587"/>
        </p:xfrm>
        <a:graphic>
          <a:graphicData uri="http://schemas.openxmlformats.org/presentationml/2006/ole">
            <mc:AlternateContent xmlns:mc="http://schemas.openxmlformats.org/markup-compatibility/2006">
              <mc:Choice xmlns:v="urn:schemas-microsoft-com:vml" Requires="v">
                <p:oleObj spid="_x0000_s45347"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588" y="1588"/>
                        <a:ext cx="1586" cy="1587"/>
                      </a:xfrm>
                      <a:prstGeom prst="rect">
                        <a:avLst/>
                      </a:prstGeom>
                    </p:spPr>
                  </p:pic>
                </p:oleObj>
              </mc:Fallback>
            </mc:AlternateContent>
          </a:graphicData>
        </a:graphic>
      </p:graphicFrame>
      <p:grpSp>
        <p:nvGrpSpPr>
          <p:cNvPr id="37" name="Regieanweisungen"/>
          <p:cNvGrpSpPr/>
          <p:nvPr/>
        </p:nvGrpSpPr>
        <p:grpSpPr>
          <a:xfrm>
            <a:off x="-2086913" y="-467892"/>
            <a:ext cx="13647691" cy="7792196"/>
            <a:chOff x="-2088000" y="-468000"/>
            <a:chExt cx="13654799" cy="7794000"/>
          </a:xfrm>
        </p:grpSpPr>
        <p:sp>
          <p:nvSpPr>
            <p:cNvPr id="31" name="Hilfslinien"/>
            <p:cNvSpPr txBox="1"/>
            <p:nvPr userDrawn="1"/>
          </p:nvSpPr>
          <p:spPr>
            <a:xfrm rot="10800000" flipH="1" flipV="1">
              <a:off x="630445" y="-468000"/>
              <a:ext cx="10936354" cy="360000"/>
            </a:xfrm>
            <a:prstGeom prst="rect">
              <a:avLst/>
            </a:prstGeom>
            <a:noFill/>
            <a:ln w="12700">
              <a:noFill/>
            </a:ln>
          </p:spPr>
          <p:txBody>
            <a:bodyPr vert="horz" wrap="square" lIns="0" tIns="0" rIns="0" bIns="0" rtlCol="0" anchor="b"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ctr" defTabSz="1042388">
                <a:defRPr/>
              </a:pPr>
              <a:r>
                <a:rPr lang="en-GB" sz="1099" dirty="0">
                  <a:solidFill>
                    <a:srgbClr val="444444"/>
                  </a:solidFill>
                </a:rPr>
                <a:t>Show guides via menu bar: View // Show // tick Guides</a:t>
              </a:r>
            </a:p>
          </p:txBody>
        </p:sp>
        <p:sp>
          <p:nvSpPr>
            <p:cNvPr id="28" name="Fußzeile"/>
            <p:cNvSpPr txBox="1"/>
            <p:nvPr userDrawn="1"/>
          </p:nvSpPr>
          <p:spPr>
            <a:xfrm rot="10800000" flipH="1" flipV="1">
              <a:off x="2879999" y="6966000"/>
              <a:ext cx="8125200" cy="360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1042388">
                <a:defRPr/>
              </a:pPr>
              <a:r>
                <a:rPr lang="en-GB" sz="1099" dirty="0">
                  <a:solidFill>
                    <a:srgbClr val="444444"/>
                  </a:solidFill>
                </a:rPr>
                <a:t>Adjust footer (per slide or for several/all slides) via menu bar: Insert // Text // Header &amp; Footer</a:t>
              </a:r>
            </a:p>
          </p:txBody>
        </p:sp>
        <p:grpSp>
          <p:nvGrpSpPr>
            <p:cNvPr id="36" name="Hinweise links"/>
            <p:cNvGrpSpPr/>
            <p:nvPr userDrawn="1"/>
          </p:nvGrpSpPr>
          <p:grpSpPr>
            <a:xfrm>
              <a:off x="-2088000" y="0"/>
              <a:ext cx="1980000" cy="3528000"/>
              <a:chOff x="-2088000" y="0"/>
              <a:chExt cx="1980000" cy="3528000"/>
            </a:xfrm>
          </p:grpSpPr>
          <p:sp>
            <p:nvSpPr>
              <p:cNvPr id="13" name="Folie Wechsel/Zurücksetzen/Textebenen"/>
              <p:cNvSpPr txBox="1"/>
              <p:nvPr userDrawn="1"/>
            </p:nvSpPr>
            <p:spPr>
              <a:xfrm rot="10800000" flipH="1" flipV="1">
                <a:off x="-2088000" y="0"/>
                <a:ext cx="1980000" cy="3528000"/>
              </a:xfrm>
              <a:prstGeom prst="rect">
                <a:avLst/>
              </a:prstGeom>
              <a:noFill/>
              <a:ln w="12700">
                <a:noFill/>
              </a:ln>
            </p:spPr>
            <p:txBody>
              <a:bodyPr vert="horz" wrap="square" lIns="0" tIns="0" rIns="0" bIns="0" rtlCol="0" anchor="t" anchorCtr="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a:r>
                  <a:rPr lang="en-GB" sz="1099" dirty="0">
                    <a:solidFill>
                      <a:srgbClr val="444444"/>
                    </a:solidFill>
                  </a:rPr>
                  <a:t>Reset the slide back to its </a:t>
                </a:r>
              </a:p>
              <a:p>
                <a:pPr algn="r"/>
                <a:r>
                  <a:rPr lang="en-GB" sz="1099" dirty="0">
                    <a:solidFill>
                      <a:srgbClr val="444444"/>
                    </a:solidFill>
                  </a:rPr>
                  <a:t>original form via menu bar:</a:t>
                </a:r>
              </a:p>
              <a:p>
                <a:pPr algn="r"/>
                <a:r>
                  <a:rPr lang="en-GB" sz="1099" dirty="0">
                    <a:solidFill>
                      <a:srgbClr val="444444"/>
                    </a:solidFill>
                  </a:rPr>
                  <a:t>Home // Slides // Reset</a:t>
                </a:r>
              </a:p>
              <a:p>
                <a:pPr algn="r"/>
                <a:endParaRPr lang="en-GB" sz="1099" dirty="0">
                  <a:solidFill>
                    <a:srgbClr val="444444"/>
                  </a:solidFill>
                </a:endParaRPr>
              </a:p>
              <a:p>
                <a:pPr algn="r"/>
                <a:r>
                  <a:rPr lang="en-GB" sz="1099" dirty="0">
                    <a:solidFill>
                      <a:srgbClr val="444444"/>
                    </a:solidFill>
                  </a:rPr>
                  <a:t>Change the slide layout </a:t>
                </a:r>
              </a:p>
              <a:p>
                <a:pPr algn="r"/>
                <a:r>
                  <a:rPr lang="en-GB" sz="1099" dirty="0">
                    <a:solidFill>
                      <a:srgbClr val="444444"/>
                    </a:solidFill>
                  </a:rPr>
                  <a:t>via menu bar:</a:t>
                </a:r>
              </a:p>
              <a:p>
                <a:pPr algn="r"/>
                <a:r>
                  <a:rPr lang="en-GB" sz="1099" dirty="0">
                    <a:solidFill>
                      <a:srgbClr val="444444"/>
                    </a:solidFill>
                  </a:rPr>
                  <a:t>Home // Slides // Layout</a:t>
                </a:r>
              </a:p>
              <a:p>
                <a:pPr algn="r"/>
                <a:endParaRPr lang="en-GB" sz="1099" dirty="0">
                  <a:solidFill>
                    <a:srgbClr val="444444"/>
                  </a:solidFill>
                </a:endParaRPr>
              </a:p>
              <a:p>
                <a:pPr algn="r"/>
                <a:r>
                  <a:rPr lang="en-GB" sz="1099" dirty="0">
                    <a:solidFill>
                      <a:srgbClr val="444444"/>
                    </a:solidFill>
                  </a:rPr>
                  <a:t>Change the text level</a:t>
                </a:r>
              </a:p>
              <a:p>
                <a:pPr algn="r"/>
                <a:r>
                  <a:rPr lang="en-GB" sz="1099" dirty="0">
                    <a:solidFill>
                      <a:srgbClr val="444444"/>
                    </a:solidFill>
                  </a:rPr>
                  <a:t>via menu bar: </a:t>
                </a:r>
                <a:br>
                  <a:rPr lang="en-GB" sz="1099" dirty="0">
                    <a:solidFill>
                      <a:srgbClr val="444444"/>
                    </a:solidFill>
                  </a:rPr>
                </a:br>
                <a:r>
                  <a:rPr lang="en-GB" sz="1099" dirty="0">
                    <a:solidFill>
                      <a:srgbClr val="444444"/>
                    </a:solidFill>
                  </a:rPr>
                  <a:t>Home // Paragraph // Increase/</a:t>
                </a:r>
              </a:p>
              <a:p>
                <a:pPr algn="r"/>
                <a:r>
                  <a:rPr lang="en-GB" sz="1099" dirty="0">
                    <a:solidFill>
                      <a:srgbClr val="444444"/>
                    </a:solidFill>
                  </a:rPr>
                  <a:t>Decrease List Level</a:t>
                </a:r>
              </a:p>
            </p:txBody>
          </p:sp>
          <p:grpSp>
            <p:nvGrpSpPr>
              <p:cNvPr id="35" name="Listenebenen"/>
              <p:cNvGrpSpPr/>
              <p:nvPr userDrawn="1"/>
            </p:nvGrpSpPr>
            <p:grpSpPr>
              <a:xfrm>
                <a:off x="-1692000" y="2232000"/>
                <a:ext cx="1548000" cy="792000"/>
                <a:chOff x="-1692000" y="2160000"/>
                <a:chExt cx="1548000" cy="792000"/>
              </a:xfrm>
            </p:grpSpPr>
            <p:sp>
              <p:nvSpPr>
                <p:cNvPr id="22" name="Text // Listenebene erhöhen"/>
                <p:cNvSpPr txBox="1"/>
                <p:nvPr userDrawn="1"/>
              </p:nvSpPr>
              <p:spPr>
                <a:xfrm>
                  <a:off x="-1692000" y="2160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Increase</a:t>
                  </a:r>
                </a:p>
                <a:p>
                  <a:pPr algn="r" defTabSz="913814">
                    <a:defRPr/>
                  </a:pPr>
                  <a:r>
                    <a:rPr lang="en-GB" sz="999" dirty="0">
                      <a:solidFill>
                        <a:srgbClr val="444444"/>
                      </a:solidFill>
                    </a:rPr>
                    <a:t>List Level</a:t>
                  </a:r>
                </a:p>
              </p:txBody>
            </p:sp>
            <p:sp>
              <p:nvSpPr>
                <p:cNvPr id="23" name="Text // Listenebene verringern"/>
                <p:cNvSpPr txBox="1"/>
                <p:nvPr userDrawn="1"/>
              </p:nvSpPr>
              <p:spPr>
                <a:xfrm>
                  <a:off x="-1692000" y="2628000"/>
                  <a:ext cx="720000" cy="324000"/>
                </a:xfrm>
                <a:prstGeom prst="rect">
                  <a:avLst/>
                </a:prstGeom>
                <a:noFill/>
              </p:spPr>
              <p:txBody>
                <a:bodyPr wrap="square" lIns="0" tIns="0" rIns="0" bIns="0" rtlCol="0">
                  <a:noAutofit/>
                </a:bodyPr>
                <a:lstStyle>
                  <a:defPPr>
                    <a:defRPr lang="de-DE"/>
                  </a:defPPr>
                  <a:lvl1pPr marL="0" algn="l" defTabSz="914271" rtl="0" eaLnBrk="1" latinLnBrk="0" hangingPunct="1">
                    <a:defRPr sz="1800" kern="1200">
                      <a:solidFill>
                        <a:schemeClr val="tx1"/>
                      </a:solidFill>
                      <a:latin typeface="+mn-lt"/>
                      <a:ea typeface="+mn-ea"/>
                      <a:cs typeface="+mn-cs"/>
                    </a:defRPr>
                  </a:lvl1pPr>
                  <a:lvl2pPr marL="457135" algn="l" defTabSz="914271" rtl="0" eaLnBrk="1" latinLnBrk="0" hangingPunct="1">
                    <a:defRPr sz="1800" kern="1200">
                      <a:solidFill>
                        <a:schemeClr val="tx1"/>
                      </a:solidFill>
                      <a:latin typeface="+mn-lt"/>
                      <a:ea typeface="+mn-ea"/>
                      <a:cs typeface="+mn-cs"/>
                    </a:defRPr>
                  </a:lvl2pPr>
                  <a:lvl3pPr marL="914271" algn="l" defTabSz="914271" rtl="0" eaLnBrk="1" latinLnBrk="0" hangingPunct="1">
                    <a:defRPr sz="1800" kern="1200">
                      <a:solidFill>
                        <a:schemeClr val="tx1"/>
                      </a:solidFill>
                      <a:latin typeface="+mn-lt"/>
                      <a:ea typeface="+mn-ea"/>
                      <a:cs typeface="+mn-cs"/>
                    </a:defRPr>
                  </a:lvl3pPr>
                  <a:lvl4pPr marL="1371406" algn="l" defTabSz="914271" rtl="0" eaLnBrk="1" latinLnBrk="0" hangingPunct="1">
                    <a:defRPr sz="1800" kern="1200">
                      <a:solidFill>
                        <a:schemeClr val="tx1"/>
                      </a:solidFill>
                      <a:latin typeface="+mn-lt"/>
                      <a:ea typeface="+mn-ea"/>
                      <a:cs typeface="+mn-cs"/>
                    </a:defRPr>
                  </a:lvl4pPr>
                  <a:lvl5pPr marL="1828542" algn="l" defTabSz="914271" rtl="0" eaLnBrk="1" latinLnBrk="0" hangingPunct="1">
                    <a:defRPr sz="1800" kern="1200">
                      <a:solidFill>
                        <a:schemeClr val="tx1"/>
                      </a:solidFill>
                      <a:latin typeface="+mn-lt"/>
                      <a:ea typeface="+mn-ea"/>
                      <a:cs typeface="+mn-cs"/>
                    </a:defRPr>
                  </a:lvl5pPr>
                  <a:lvl6pPr marL="2285678" algn="l" defTabSz="914271" rtl="0" eaLnBrk="1" latinLnBrk="0" hangingPunct="1">
                    <a:defRPr sz="1800" kern="1200">
                      <a:solidFill>
                        <a:schemeClr val="tx1"/>
                      </a:solidFill>
                      <a:latin typeface="+mn-lt"/>
                      <a:ea typeface="+mn-ea"/>
                      <a:cs typeface="+mn-cs"/>
                    </a:defRPr>
                  </a:lvl6pPr>
                  <a:lvl7pPr marL="2742814" algn="l" defTabSz="914271" rtl="0" eaLnBrk="1" latinLnBrk="0" hangingPunct="1">
                    <a:defRPr sz="1800" kern="1200">
                      <a:solidFill>
                        <a:schemeClr val="tx1"/>
                      </a:solidFill>
                      <a:latin typeface="+mn-lt"/>
                      <a:ea typeface="+mn-ea"/>
                      <a:cs typeface="+mn-cs"/>
                    </a:defRPr>
                  </a:lvl7pPr>
                  <a:lvl8pPr marL="3199949" algn="l" defTabSz="914271" rtl="0" eaLnBrk="1" latinLnBrk="0" hangingPunct="1">
                    <a:defRPr sz="1800" kern="1200">
                      <a:solidFill>
                        <a:schemeClr val="tx1"/>
                      </a:solidFill>
                      <a:latin typeface="+mn-lt"/>
                      <a:ea typeface="+mn-ea"/>
                      <a:cs typeface="+mn-cs"/>
                    </a:defRPr>
                  </a:lvl8pPr>
                  <a:lvl9pPr marL="3657085" algn="l" defTabSz="914271" rtl="0" eaLnBrk="1" latinLnBrk="0" hangingPunct="1">
                    <a:defRPr sz="1800" kern="1200">
                      <a:solidFill>
                        <a:schemeClr val="tx1"/>
                      </a:solidFill>
                      <a:latin typeface="+mn-lt"/>
                      <a:ea typeface="+mn-ea"/>
                      <a:cs typeface="+mn-cs"/>
                    </a:defRPr>
                  </a:lvl9pPr>
                </a:lstStyle>
                <a:p>
                  <a:pPr algn="r" defTabSz="913814">
                    <a:defRPr/>
                  </a:pPr>
                  <a:r>
                    <a:rPr lang="en-GB" sz="999" dirty="0">
                      <a:solidFill>
                        <a:srgbClr val="444444"/>
                      </a:solidFill>
                    </a:rPr>
                    <a:t>Decrease </a:t>
                  </a:r>
                </a:p>
                <a:p>
                  <a:pPr algn="r" defTabSz="913814">
                    <a:defRPr/>
                  </a:pPr>
                  <a:r>
                    <a:rPr lang="en-GB" sz="999" dirty="0">
                      <a:solidFill>
                        <a:srgbClr val="444444"/>
                      </a:solidFill>
                    </a:rPr>
                    <a:t>List Level</a:t>
                  </a:r>
                </a:p>
              </p:txBody>
            </p:sp>
            <p:pic>
              <p:nvPicPr>
                <p:cNvPr id="7" name="Listenebene erhöhen"/>
                <p:cNvPicPr>
                  <a:picLocks noChangeAspect="1"/>
                </p:cNvPicPr>
                <p:nvPr userDrawn="1"/>
              </p:nvPicPr>
              <p:blipFill>
                <a:blip r:embed="rId39"/>
                <a:stretch>
                  <a:fillRect/>
                </a:stretch>
              </p:blipFill>
              <p:spPr>
                <a:xfrm>
                  <a:off x="-900000" y="2160000"/>
                  <a:ext cx="756000" cy="324000"/>
                </a:xfrm>
                <a:prstGeom prst="rect">
                  <a:avLst/>
                </a:prstGeom>
              </p:spPr>
            </p:pic>
            <p:pic>
              <p:nvPicPr>
                <p:cNvPr id="34" name="Listenebene verringern"/>
                <p:cNvPicPr>
                  <a:picLocks noChangeAspect="1"/>
                </p:cNvPicPr>
                <p:nvPr userDrawn="1"/>
              </p:nvPicPr>
              <p:blipFill>
                <a:blip r:embed="rId40"/>
                <a:stretch>
                  <a:fillRect/>
                </a:stretch>
              </p:blipFill>
              <p:spPr>
                <a:xfrm>
                  <a:off x="-900000" y="2628000"/>
                  <a:ext cx="756000" cy="322369"/>
                </a:xfrm>
                <a:prstGeom prst="rect">
                  <a:avLst/>
                </a:prstGeom>
              </p:spPr>
            </p:pic>
          </p:grpSp>
        </p:grpSp>
      </p:grpSp>
      <p:cxnSp>
        <p:nvCxnSpPr>
          <p:cNvPr id="14" name="Footerline"/>
          <p:cNvCxnSpPr/>
          <p:nvPr/>
        </p:nvCxnSpPr>
        <p:spPr bwMode="auto">
          <a:xfrm>
            <a:off x="629671" y="6487838"/>
            <a:ext cx="10931107" cy="0"/>
          </a:xfrm>
          <a:prstGeom prst="line">
            <a:avLst/>
          </a:prstGeom>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 name="Textplatzhalter 2"/>
          <p:cNvSpPr>
            <a:spLocks noGrp="1"/>
          </p:cNvSpPr>
          <p:nvPr>
            <p:ph type="body" idx="1"/>
          </p:nvPr>
        </p:nvSpPr>
        <p:spPr>
          <a:xfrm>
            <a:off x="630117" y="1504603"/>
            <a:ext cx="10930387" cy="4875670"/>
          </a:xfrm>
          <a:prstGeom prst="rect">
            <a:avLst/>
          </a:prstGeom>
        </p:spPr>
        <p:txBody>
          <a:bodyPr vert="horz" lIns="0" tIns="0" rIns="0" bIns="0" rtlCol="0" anchor="t" anchorCtr="0">
            <a:noAutofit/>
          </a:body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 (Conclusion, summary or short highlight)</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p:ph type="title"/>
          </p:nvPr>
        </p:nvSpPr>
        <p:spPr>
          <a:xfrm>
            <a:off x="628324" y="285982"/>
            <a:ext cx="10932454" cy="1151733"/>
          </a:xfrm>
          <a:prstGeom prst="rect">
            <a:avLst/>
          </a:prstGeom>
        </p:spPr>
        <p:txBody>
          <a:bodyPr vert="horz" lIns="0" tIns="0" rIns="0" bIns="0" rtlCol="0" anchor="t" anchorCtr="0">
            <a:noAutofit/>
          </a:bodyPr>
          <a:lstStyle/>
          <a:p>
            <a:r>
              <a:rPr lang="en-GB" noProof="0" dirty="0"/>
              <a:t>Headline in CorpoS (Body) 35 pt.</a:t>
            </a:r>
            <a:br>
              <a:rPr lang="en-GB" noProof="0" dirty="0"/>
            </a:br>
            <a:r>
              <a:rPr lang="en-GB" noProof="0" dirty="0"/>
              <a:t>in two lines</a:t>
            </a:r>
          </a:p>
        </p:txBody>
      </p:sp>
      <p:sp>
        <p:nvSpPr>
          <p:cNvPr id="5" name="Fußzeilenplatzhalter 4"/>
          <p:cNvSpPr>
            <a:spLocks noGrp="1"/>
          </p:cNvSpPr>
          <p:nvPr>
            <p:ph type="ftr" sz="quarter" idx="3"/>
          </p:nvPr>
        </p:nvSpPr>
        <p:spPr>
          <a:xfrm>
            <a:off x="2878500" y="6564880"/>
            <a:ext cx="8120970" cy="215950"/>
          </a:xfrm>
          <a:prstGeom prst="rect">
            <a:avLst/>
          </a:prstGeom>
        </p:spPr>
        <p:txBody>
          <a:bodyPr vert="horz" lIns="0" tIns="0" rIns="0" bIns="0" rtlCol="0" anchor="t" anchorCtr="0"/>
          <a:lstStyle>
            <a:lvl1pPr marL="0" indent="0" algn="r">
              <a:spcBef>
                <a:spcPts val="0"/>
              </a:spcBef>
              <a:buFont typeface="Arial" panose="020B0604020202020204" pitchFamily="34" charset="0"/>
              <a:buNone/>
              <a:defRPr sz="1199">
                <a:solidFill>
                  <a:schemeClr val="tx1"/>
                </a:solidFill>
                <a:latin typeface="+mn-lt"/>
              </a:defRPr>
            </a:lvl1pPr>
            <a:lvl2pPr marL="0" indent="0" algn="r">
              <a:spcBef>
                <a:spcPts val="0"/>
              </a:spcBef>
              <a:defRPr sz="1199">
                <a:latin typeface="+mn-lt"/>
              </a:defRPr>
            </a:lvl2pPr>
            <a:lvl3pPr marL="0" indent="0" algn="r">
              <a:spcBef>
                <a:spcPts val="0"/>
              </a:spcBef>
              <a:defRPr sz="1199">
                <a:latin typeface="+mn-lt"/>
              </a:defRPr>
            </a:lvl3pPr>
            <a:lvl4pPr marL="0" indent="0" algn="r">
              <a:spcBef>
                <a:spcPts val="0"/>
              </a:spcBef>
              <a:defRPr sz="1199">
                <a:latin typeface="+mn-lt"/>
              </a:defRPr>
            </a:lvl4pPr>
            <a:lvl5pPr marL="0" indent="0" algn="r">
              <a:spcBef>
                <a:spcPts val="0"/>
              </a:spcBef>
              <a:defRPr sz="1199">
                <a:latin typeface="+mn-lt"/>
              </a:defRPr>
            </a:lvl5pPr>
            <a:lvl6pPr marL="0" indent="0" algn="r">
              <a:spcBef>
                <a:spcPts val="0"/>
              </a:spcBef>
              <a:defRPr sz="1199">
                <a:latin typeface="+mn-lt"/>
              </a:defRPr>
            </a:lvl6pPr>
            <a:lvl7pPr marL="0" indent="0" algn="r">
              <a:spcBef>
                <a:spcPts val="0"/>
              </a:spcBef>
              <a:defRPr sz="1199">
                <a:latin typeface="+mn-lt"/>
              </a:defRPr>
            </a:lvl7pPr>
            <a:lvl8pPr marL="0" indent="0" algn="r">
              <a:spcBef>
                <a:spcPts val="0"/>
              </a:spcBef>
              <a:defRPr sz="1199">
                <a:latin typeface="+mn-lt"/>
              </a:defRPr>
            </a:lvl8pPr>
            <a:lvl9pPr marL="0" indent="0" algn="r">
              <a:spcBef>
                <a:spcPts val="0"/>
              </a:spcBef>
              <a:defRPr sz="1199">
                <a:latin typeface="+mn-lt"/>
              </a:defRPr>
            </a:lvl9pPr>
          </a:lstStyle>
          <a:p>
            <a:r>
              <a:rPr lang="en-US">
                <a:solidFill>
                  <a:prstClr val="black"/>
                </a:solidFill>
              </a:rPr>
              <a:t>DFS Capital Market Day</a:t>
            </a:r>
            <a:endParaRPr lang="en-GB" dirty="0">
              <a:solidFill>
                <a:prstClr val="black"/>
              </a:solidFill>
            </a:endParaRPr>
          </a:p>
        </p:txBody>
      </p:sp>
      <p:sp>
        <p:nvSpPr>
          <p:cNvPr id="6" name="Foliennummernplatzhalter 5"/>
          <p:cNvSpPr>
            <a:spLocks noGrp="1"/>
          </p:cNvSpPr>
          <p:nvPr>
            <p:ph type="sldNum" sz="quarter" idx="4"/>
          </p:nvPr>
        </p:nvSpPr>
        <p:spPr>
          <a:xfrm>
            <a:off x="11036804" y="6564880"/>
            <a:ext cx="1155196" cy="215950"/>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1199">
                <a:solidFill>
                  <a:schemeClr val="tx1"/>
                </a:solidFill>
                <a:latin typeface="+mn-lt"/>
              </a:defRPr>
            </a:lvl1pPr>
            <a:lvl2pPr marL="0" indent="0" algn="l">
              <a:spcBef>
                <a:spcPts val="0"/>
              </a:spcBef>
              <a:defRPr sz="1199">
                <a:latin typeface="+mn-lt"/>
              </a:defRPr>
            </a:lvl2pPr>
            <a:lvl3pPr marL="0" indent="0" algn="l">
              <a:spcBef>
                <a:spcPts val="0"/>
              </a:spcBef>
              <a:defRPr sz="1199">
                <a:latin typeface="+mn-lt"/>
              </a:defRPr>
            </a:lvl3pPr>
            <a:lvl4pPr marL="0" indent="0" algn="l">
              <a:spcBef>
                <a:spcPts val="0"/>
              </a:spcBef>
              <a:defRPr sz="1199">
                <a:latin typeface="+mn-lt"/>
              </a:defRPr>
            </a:lvl4pPr>
            <a:lvl5pPr marL="0" indent="0" algn="l">
              <a:spcBef>
                <a:spcPts val="0"/>
              </a:spcBef>
              <a:defRPr sz="1199">
                <a:latin typeface="+mn-lt"/>
              </a:defRPr>
            </a:lvl5pPr>
            <a:lvl6pPr marL="0" indent="0" algn="l">
              <a:spcBef>
                <a:spcPts val="0"/>
              </a:spcBef>
              <a:defRPr sz="1199">
                <a:latin typeface="+mn-lt"/>
              </a:defRPr>
            </a:lvl6pPr>
            <a:lvl7pPr marL="0" indent="0" algn="l">
              <a:spcBef>
                <a:spcPts val="0"/>
              </a:spcBef>
              <a:defRPr sz="1199">
                <a:latin typeface="+mn-lt"/>
              </a:defRPr>
            </a:lvl7pPr>
            <a:lvl8pPr marL="0" indent="0" algn="l">
              <a:spcBef>
                <a:spcPts val="0"/>
              </a:spcBef>
              <a:defRPr sz="1199">
                <a:latin typeface="+mn-lt"/>
              </a:defRPr>
            </a:lvl8pPr>
            <a:lvl9pPr marL="0" indent="0" algn="l">
              <a:spcBef>
                <a:spcPts val="0"/>
              </a:spcBef>
              <a:defRPr sz="1199">
                <a:latin typeface="+mn-lt"/>
              </a:defRPr>
            </a:lvl9pPr>
          </a:lstStyle>
          <a:p>
            <a:r>
              <a:rPr lang="en-GB" dirty="0">
                <a:solidFill>
                  <a:prstClr val="black"/>
                </a:solidFill>
              </a:rPr>
              <a:t>Page </a:t>
            </a:r>
            <a:fld id="{52531704-8F80-415D-BD2B-6B9991AE822F}" type="slidenum">
              <a:rPr lang="en-GB" smtClean="0">
                <a:solidFill>
                  <a:prstClr val="black"/>
                </a:solidFill>
              </a:rPr>
              <a:pPr/>
              <a:t>‹#›</a:t>
            </a:fld>
            <a:endParaRPr lang="en-GB" dirty="0">
              <a:solidFill>
                <a:prstClr val="black"/>
              </a:solidFill>
            </a:endParaRPr>
          </a:p>
        </p:txBody>
      </p:sp>
      <p:sp>
        <p:nvSpPr>
          <p:cNvPr id="19" name="Daimler AG (Wortmarke)"/>
          <p:cNvSpPr>
            <a:spLocks noChangeArrowheads="1"/>
          </p:cNvSpPr>
          <p:nvPr/>
        </p:nvSpPr>
        <p:spPr bwMode="auto">
          <a:xfrm>
            <a:off x="629672" y="6564880"/>
            <a:ext cx="2086913" cy="2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de-DE" sz="1199" dirty="0">
                <a:solidFill>
                  <a:prstClr val="black"/>
                </a:solidFill>
                <a:latin typeface="CorpoS"/>
                <a:cs typeface="Daimler CS"/>
              </a:rPr>
              <a:t>Daimler Financial Services AG</a:t>
            </a:r>
          </a:p>
        </p:txBody>
      </p:sp>
    </p:spTree>
    <p:extLst>
      <p:ext uri="{BB962C8B-B14F-4D97-AF65-F5344CB8AC3E}">
        <p14:creationId xmlns:p14="http://schemas.microsoft.com/office/powerpoint/2010/main" val="3912589136"/>
      </p:ext>
    </p:extLst>
  </p:cSld>
  <p:clrMap bg1="lt1" tx1="dk1" bg2="lt2" tx2="dk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 id="2147483972" r:id="rId12"/>
    <p:sldLayoutId id="2147483973" r:id="rId13"/>
    <p:sldLayoutId id="2147483974" r:id="rId14"/>
    <p:sldLayoutId id="2147483975" r:id="rId15"/>
    <p:sldLayoutId id="2147483976" r:id="rId16"/>
    <p:sldLayoutId id="2147483977" r:id="rId17"/>
    <p:sldLayoutId id="2147483978" r:id="rId18"/>
    <p:sldLayoutId id="2147483979" r:id="rId19"/>
    <p:sldLayoutId id="2147483980" r:id="rId20"/>
    <p:sldLayoutId id="2147483981" r:id="rId21"/>
    <p:sldLayoutId id="2147483982" r:id="rId22"/>
    <p:sldLayoutId id="2147483983" r:id="rId23"/>
    <p:sldLayoutId id="2147483984" r:id="rId24"/>
    <p:sldLayoutId id="2147483985" r:id="rId25"/>
    <p:sldLayoutId id="2147483986" r:id="rId26"/>
    <p:sldLayoutId id="2147483987" r:id="rId27"/>
    <p:sldLayoutId id="2147483988" r:id="rId28"/>
    <p:sldLayoutId id="2147483989" r:id="rId29"/>
    <p:sldLayoutId id="2147483990" r:id="rId30"/>
    <p:sldLayoutId id="2147483991" r:id="rId31"/>
    <p:sldLayoutId id="2147483992" r:id="rId32"/>
    <p:sldLayoutId id="2147483994" r:id="rId33"/>
  </p:sldLayoutIdLst>
  <p:hf sldNum="0" hdr="0" dt="0"/>
  <p:txStyles>
    <p:title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p:titleStyle>
    <p:bodyStyle>
      <a:lvl1pPr marL="237481" indent="-237481" algn="l" defTabSz="1088415" rtl="0" eaLnBrk="1" latinLnBrk="0" hangingPunct="1">
        <a:lnSpc>
          <a:spcPts val="3198"/>
        </a:lnSpc>
        <a:spcBef>
          <a:spcPts val="0"/>
        </a:spcBef>
        <a:buSzPct val="80000"/>
        <a:buFont typeface="Arial" panose="020B0604020202020204" pitchFamily="34" charset="0"/>
        <a:buChar char="•"/>
        <a:defRPr sz="2399" kern="1200">
          <a:solidFill>
            <a:schemeClr val="tx1"/>
          </a:solidFill>
          <a:latin typeface="+mn-lt"/>
          <a:ea typeface="+mn-ea"/>
          <a:cs typeface="+mn-cs"/>
        </a:defRPr>
      </a:lvl1pPr>
      <a:lvl2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2pPr>
      <a:lvl3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3pPr>
      <a:lvl4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4pPr>
      <a:lvl5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5pPr>
      <a:lvl6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6pPr>
      <a:lvl7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7pPr>
      <a:lvl8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8pPr>
      <a:lvl9pPr marL="0" indent="0" algn="l" defTabSz="1088415" rtl="0" eaLnBrk="1" latinLnBrk="0" hangingPunct="1">
        <a:lnSpc>
          <a:spcPts val="3198"/>
        </a:lnSpc>
        <a:spcBef>
          <a:spcPts val="0"/>
        </a:spcBef>
        <a:buFont typeface="Arial" panose="020B0604020202020204" pitchFamily="34" charset="0"/>
        <a:buNone/>
        <a:defRPr sz="2399" kern="1200">
          <a:solidFill>
            <a:schemeClr val="accent2"/>
          </a:solidFill>
          <a:latin typeface="+mn-lt"/>
          <a:ea typeface="+mn-ea"/>
          <a:cs typeface="+mn-cs"/>
        </a:defRPr>
      </a:lvl9pPr>
    </p:bodyStyle>
    <p:otherStyle>
      <a:defPPr>
        <a:defRPr lang="de-DE"/>
      </a:defPPr>
      <a:lvl1pPr marL="0" algn="l" defTabSz="1088415" rtl="0" eaLnBrk="1" latinLnBrk="0" hangingPunct="1">
        <a:defRPr sz="2099" kern="1200">
          <a:solidFill>
            <a:schemeClr val="tx1"/>
          </a:solidFill>
          <a:latin typeface="+mn-lt"/>
          <a:ea typeface="+mn-ea"/>
          <a:cs typeface="+mn-cs"/>
        </a:defRPr>
      </a:lvl1pPr>
      <a:lvl2pPr marL="544207" algn="l" defTabSz="1088415" rtl="0" eaLnBrk="1" latinLnBrk="0" hangingPunct="1">
        <a:defRPr sz="2099" kern="1200">
          <a:solidFill>
            <a:schemeClr val="tx1"/>
          </a:solidFill>
          <a:latin typeface="+mn-lt"/>
          <a:ea typeface="+mn-ea"/>
          <a:cs typeface="+mn-cs"/>
        </a:defRPr>
      </a:lvl2pPr>
      <a:lvl3pPr marL="1088415" algn="l" defTabSz="1088415" rtl="0" eaLnBrk="1" latinLnBrk="0" hangingPunct="1">
        <a:defRPr sz="2099" kern="1200">
          <a:solidFill>
            <a:schemeClr val="tx1"/>
          </a:solidFill>
          <a:latin typeface="+mn-lt"/>
          <a:ea typeface="+mn-ea"/>
          <a:cs typeface="+mn-cs"/>
        </a:defRPr>
      </a:lvl3pPr>
      <a:lvl4pPr marL="1632621" algn="l" defTabSz="1088415" rtl="0" eaLnBrk="1" latinLnBrk="0" hangingPunct="1">
        <a:defRPr sz="2099" kern="1200">
          <a:solidFill>
            <a:schemeClr val="tx1"/>
          </a:solidFill>
          <a:latin typeface="+mn-lt"/>
          <a:ea typeface="+mn-ea"/>
          <a:cs typeface="+mn-cs"/>
        </a:defRPr>
      </a:lvl4pPr>
      <a:lvl5pPr marL="2176829" algn="l" defTabSz="1088415" rtl="0" eaLnBrk="1" latinLnBrk="0" hangingPunct="1">
        <a:defRPr sz="2099" kern="1200">
          <a:solidFill>
            <a:schemeClr val="tx1"/>
          </a:solidFill>
          <a:latin typeface="+mn-lt"/>
          <a:ea typeface="+mn-ea"/>
          <a:cs typeface="+mn-cs"/>
        </a:defRPr>
      </a:lvl5pPr>
      <a:lvl6pPr marL="2721036" algn="l" defTabSz="1088415" rtl="0" eaLnBrk="1" latinLnBrk="0" hangingPunct="1">
        <a:defRPr sz="2099" kern="1200">
          <a:solidFill>
            <a:schemeClr val="tx1"/>
          </a:solidFill>
          <a:latin typeface="+mn-lt"/>
          <a:ea typeface="+mn-ea"/>
          <a:cs typeface="+mn-cs"/>
        </a:defRPr>
      </a:lvl6pPr>
      <a:lvl7pPr marL="3265244" algn="l" defTabSz="1088415" rtl="0" eaLnBrk="1" latinLnBrk="0" hangingPunct="1">
        <a:defRPr sz="2099" kern="1200">
          <a:solidFill>
            <a:schemeClr val="tx1"/>
          </a:solidFill>
          <a:latin typeface="+mn-lt"/>
          <a:ea typeface="+mn-ea"/>
          <a:cs typeface="+mn-cs"/>
        </a:defRPr>
      </a:lvl7pPr>
      <a:lvl8pPr marL="3809450" algn="l" defTabSz="1088415" rtl="0" eaLnBrk="1" latinLnBrk="0" hangingPunct="1">
        <a:defRPr sz="2099" kern="1200">
          <a:solidFill>
            <a:schemeClr val="tx1"/>
          </a:solidFill>
          <a:latin typeface="+mn-lt"/>
          <a:ea typeface="+mn-ea"/>
          <a:cs typeface="+mn-cs"/>
        </a:defRPr>
      </a:lvl8pPr>
      <a:lvl9pPr marL="4353658" algn="l" defTabSz="1088415"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26B43"/>
          </p15:clr>
        </p15:guide>
        <p15:guide id="2" pos="728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notesSlide" Target="../notesSlides/notesSlide1.xml"/><Relationship Id="rId1" Type="http://schemas.openxmlformats.org/officeDocument/2006/relationships/slideLayout" Target="../slideLayouts/slideLayout710.xml"/><Relationship Id="rId4" Type="http://schemas.openxmlformats.org/officeDocument/2006/relationships/image" Target="../media/image77.png"/></Relationships>
</file>

<file path=ppt/slides/_rels/slide10.xml.rels><?xml version="1.0" encoding="UTF-8" standalone="yes"?>
<Relationships xmlns="http://schemas.openxmlformats.org/package/2006/relationships"><Relationship Id="rId3" Type="http://schemas.openxmlformats.org/officeDocument/2006/relationships/image" Target="../media/image139.jpg"/><Relationship Id="rId2" Type="http://schemas.openxmlformats.org/officeDocument/2006/relationships/notesSlide" Target="../notesSlides/notesSlide10.xml"/><Relationship Id="rId1" Type="http://schemas.openxmlformats.org/officeDocument/2006/relationships/slideLayout" Target="../slideLayouts/slideLayout581.xml"/></Relationships>
</file>

<file path=ppt/slides/_rels/slide11.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image" Target="../media/image140.jpeg"/><Relationship Id="rId7" Type="http://schemas.openxmlformats.org/officeDocument/2006/relationships/image" Target="../media/image144.png"/><Relationship Id="rId2" Type="http://schemas.openxmlformats.org/officeDocument/2006/relationships/notesSlide" Target="../notesSlides/notesSlide11.xml"/><Relationship Id="rId1" Type="http://schemas.openxmlformats.org/officeDocument/2006/relationships/slideLayout" Target="../slideLayouts/slideLayout1005.xml"/><Relationship Id="rId6" Type="http://schemas.openxmlformats.org/officeDocument/2006/relationships/image" Target="../media/image143.png"/><Relationship Id="rId5" Type="http://schemas.openxmlformats.org/officeDocument/2006/relationships/image" Target="../media/image142.png"/><Relationship Id="rId10" Type="http://schemas.openxmlformats.org/officeDocument/2006/relationships/image" Target="../media/image147.jpeg"/><Relationship Id="rId4" Type="http://schemas.openxmlformats.org/officeDocument/2006/relationships/image" Target="../media/image141.png"/><Relationship Id="rId9" Type="http://schemas.openxmlformats.org/officeDocument/2006/relationships/image" Target="../media/image146.jpg"/></Relationships>
</file>

<file path=ppt/slides/_rels/slide12.xml.rels><?xml version="1.0" encoding="UTF-8" standalone="yes"?>
<Relationships xmlns="http://schemas.openxmlformats.org/package/2006/relationships"><Relationship Id="rId3" Type="http://schemas.openxmlformats.org/officeDocument/2006/relationships/image" Target="../media/image148.jpg"/><Relationship Id="rId2" Type="http://schemas.openxmlformats.org/officeDocument/2006/relationships/notesSlide" Target="../notesSlides/notesSlide12.xml"/><Relationship Id="rId1" Type="http://schemas.openxmlformats.org/officeDocument/2006/relationships/slideLayout" Target="../slideLayouts/slideLayout594.xml"/></Relationships>
</file>

<file path=ppt/slides/_rels/slide13.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notesSlide" Target="../notesSlides/notesSlide13.xml"/><Relationship Id="rId1" Type="http://schemas.openxmlformats.org/officeDocument/2006/relationships/slideLayout" Target="../slideLayouts/slideLayout594.xml"/></Relationships>
</file>

<file path=ppt/slides/_rels/slide14.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notesSlide" Target="../notesSlides/notesSlide14.xml"/><Relationship Id="rId1" Type="http://schemas.openxmlformats.org/officeDocument/2006/relationships/slideLayout" Target="../slideLayouts/slideLayout614.xml"/></Relationships>
</file>

<file path=ppt/slides/_rels/slide15.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notesSlide" Target="../notesSlides/notesSlide15.xml"/><Relationship Id="rId1" Type="http://schemas.openxmlformats.org/officeDocument/2006/relationships/slideLayout" Target="../slideLayouts/slideLayout581.xml"/><Relationship Id="rId5" Type="http://schemas.openxmlformats.org/officeDocument/2006/relationships/image" Target="../media/image153.png"/><Relationship Id="rId4" Type="http://schemas.openxmlformats.org/officeDocument/2006/relationships/image" Target="../media/image152.png"/></Relationships>
</file>

<file path=ppt/slides/_rels/slide16.xml.rels><?xml version="1.0" encoding="UTF-8" standalone="yes"?>
<Relationships xmlns="http://schemas.openxmlformats.org/package/2006/relationships"><Relationship Id="rId8" Type="http://schemas.openxmlformats.org/officeDocument/2006/relationships/image" Target="../media/image159.png"/><Relationship Id="rId3" Type="http://schemas.openxmlformats.org/officeDocument/2006/relationships/image" Target="../media/image154.jpeg"/><Relationship Id="rId7" Type="http://schemas.openxmlformats.org/officeDocument/2006/relationships/image" Target="../media/image158.png"/><Relationship Id="rId2" Type="http://schemas.openxmlformats.org/officeDocument/2006/relationships/notesSlide" Target="../notesSlides/notesSlide16.xml"/><Relationship Id="rId1" Type="http://schemas.openxmlformats.org/officeDocument/2006/relationships/slideLayout" Target="../slideLayouts/slideLayout581.xml"/><Relationship Id="rId6" Type="http://schemas.openxmlformats.org/officeDocument/2006/relationships/image" Target="../media/image157.png"/><Relationship Id="rId5" Type="http://schemas.openxmlformats.org/officeDocument/2006/relationships/image" Target="../media/image156.png"/><Relationship Id="rId10" Type="http://schemas.openxmlformats.org/officeDocument/2006/relationships/image" Target="../media/image161.png"/><Relationship Id="rId4" Type="http://schemas.openxmlformats.org/officeDocument/2006/relationships/image" Target="../media/image155.png"/><Relationship Id="rId9" Type="http://schemas.openxmlformats.org/officeDocument/2006/relationships/image" Target="../media/image160.png"/></Relationships>
</file>

<file path=ppt/slides/_rels/slide17.xml.rels><?xml version="1.0" encoding="UTF-8" standalone="yes"?>
<Relationships xmlns="http://schemas.openxmlformats.org/package/2006/relationships"><Relationship Id="rId8" Type="http://schemas.openxmlformats.org/officeDocument/2006/relationships/image" Target="../media/image167.png"/><Relationship Id="rId13" Type="http://schemas.openxmlformats.org/officeDocument/2006/relationships/image" Target="../media/image172.png"/><Relationship Id="rId18" Type="http://schemas.openxmlformats.org/officeDocument/2006/relationships/image" Target="../media/image177.png"/><Relationship Id="rId3" Type="http://schemas.openxmlformats.org/officeDocument/2006/relationships/image" Target="../media/image162.png"/><Relationship Id="rId21" Type="http://schemas.openxmlformats.org/officeDocument/2006/relationships/image" Target="../media/image180.png"/><Relationship Id="rId7" Type="http://schemas.openxmlformats.org/officeDocument/2006/relationships/image" Target="../media/image166.png"/><Relationship Id="rId12" Type="http://schemas.openxmlformats.org/officeDocument/2006/relationships/image" Target="../media/image171.png"/><Relationship Id="rId17" Type="http://schemas.openxmlformats.org/officeDocument/2006/relationships/image" Target="../media/image176.png"/><Relationship Id="rId2" Type="http://schemas.openxmlformats.org/officeDocument/2006/relationships/notesSlide" Target="../notesSlides/notesSlide17.xml"/><Relationship Id="rId16" Type="http://schemas.openxmlformats.org/officeDocument/2006/relationships/image" Target="../media/image175.png"/><Relationship Id="rId20" Type="http://schemas.openxmlformats.org/officeDocument/2006/relationships/image" Target="../media/image179.png"/><Relationship Id="rId1" Type="http://schemas.openxmlformats.org/officeDocument/2006/relationships/slideLayout" Target="../slideLayouts/slideLayout581.xml"/><Relationship Id="rId6" Type="http://schemas.openxmlformats.org/officeDocument/2006/relationships/image" Target="../media/image165.png"/><Relationship Id="rId11" Type="http://schemas.openxmlformats.org/officeDocument/2006/relationships/image" Target="../media/image170.png"/><Relationship Id="rId5" Type="http://schemas.openxmlformats.org/officeDocument/2006/relationships/image" Target="../media/image164.png"/><Relationship Id="rId15" Type="http://schemas.openxmlformats.org/officeDocument/2006/relationships/image" Target="../media/image174.png"/><Relationship Id="rId10" Type="http://schemas.openxmlformats.org/officeDocument/2006/relationships/image" Target="../media/image169.png"/><Relationship Id="rId19" Type="http://schemas.openxmlformats.org/officeDocument/2006/relationships/image" Target="../media/image178.png"/><Relationship Id="rId4" Type="http://schemas.openxmlformats.org/officeDocument/2006/relationships/image" Target="../media/image163.png"/><Relationship Id="rId9" Type="http://schemas.openxmlformats.org/officeDocument/2006/relationships/image" Target="../media/image168.png"/><Relationship Id="rId14" Type="http://schemas.openxmlformats.org/officeDocument/2006/relationships/image" Target="../media/image173.png"/><Relationship Id="rId22" Type="http://schemas.openxmlformats.org/officeDocument/2006/relationships/image" Target="../media/image181.png"/></Relationships>
</file>

<file path=ppt/slides/_rels/slide18.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8.png"/><Relationship Id="rId3" Type="http://schemas.openxmlformats.org/officeDocument/2006/relationships/slideLayout" Target="../slideLayouts/slideLayout1149.xml"/><Relationship Id="rId7" Type="http://schemas.openxmlformats.org/officeDocument/2006/relationships/image" Target="../media/image182.png"/><Relationship Id="rId12" Type="http://schemas.openxmlformats.org/officeDocument/2006/relationships/image" Target="../media/image187.png"/><Relationship Id="rId2" Type="http://schemas.openxmlformats.org/officeDocument/2006/relationships/tags" Target="../tags/tag245.xml"/><Relationship Id="rId1" Type="http://schemas.openxmlformats.org/officeDocument/2006/relationships/vmlDrawing" Target="../drawings/vmlDrawing194.vml"/><Relationship Id="rId6" Type="http://schemas.openxmlformats.org/officeDocument/2006/relationships/image" Target="../media/image1.emf"/><Relationship Id="rId11" Type="http://schemas.openxmlformats.org/officeDocument/2006/relationships/image" Target="../media/image186.png"/><Relationship Id="rId5" Type="http://schemas.openxmlformats.org/officeDocument/2006/relationships/oleObject" Target="../embeddings/oleObject194.bin"/><Relationship Id="rId10" Type="http://schemas.openxmlformats.org/officeDocument/2006/relationships/image" Target="../media/image185.png"/><Relationship Id="rId4" Type="http://schemas.openxmlformats.org/officeDocument/2006/relationships/notesSlide" Target="../notesSlides/notesSlide18.xml"/><Relationship Id="rId9" Type="http://schemas.openxmlformats.org/officeDocument/2006/relationships/image" Target="../media/image184.png"/><Relationship Id="rId14" Type="http://schemas.openxmlformats.org/officeDocument/2006/relationships/image" Target="../media/image189.png"/></Relationships>
</file>

<file path=ppt/slides/_rels/slide19.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image" Target="../media/image190.png"/><Relationship Id="rId7" Type="http://schemas.openxmlformats.org/officeDocument/2006/relationships/image" Target="../media/image194.jpg"/><Relationship Id="rId2" Type="http://schemas.openxmlformats.org/officeDocument/2006/relationships/notesSlide" Target="../notesSlides/notesSlide19.xml"/><Relationship Id="rId1" Type="http://schemas.openxmlformats.org/officeDocument/2006/relationships/slideLayout" Target="../slideLayouts/slideLayout586.xml"/><Relationship Id="rId6" Type="http://schemas.openxmlformats.org/officeDocument/2006/relationships/image" Target="../media/image193.png"/><Relationship Id="rId5" Type="http://schemas.openxmlformats.org/officeDocument/2006/relationships/image" Target="../media/image192.png"/><Relationship Id="rId4" Type="http://schemas.openxmlformats.org/officeDocument/2006/relationships/image" Target="../media/image191.jpg"/></Relationships>
</file>

<file path=ppt/slides/_rels/slide2.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notesSlide" Target="../notesSlides/notesSlide2.xml"/><Relationship Id="rId1" Type="http://schemas.openxmlformats.org/officeDocument/2006/relationships/slideLayout" Target="../slideLayouts/slideLayout591.xml"/><Relationship Id="rId4" Type="http://schemas.openxmlformats.org/officeDocument/2006/relationships/image" Target="../media/image79.jpeg"/></Relationships>
</file>

<file path=ppt/slides/_rels/slide20.xml.rels><?xml version="1.0" encoding="UTF-8" standalone="yes"?>
<Relationships xmlns="http://schemas.openxmlformats.org/package/2006/relationships"><Relationship Id="rId8" Type="http://schemas.openxmlformats.org/officeDocument/2006/relationships/image" Target="../media/image197.png"/><Relationship Id="rId3" Type="http://schemas.openxmlformats.org/officeDocument/2006/relationships/slideLayout" Target="../slideLayouts/slideLayout612.xml"/><Relationship Id="rId7" Type="http://schemas.openxmlformats.org/officeDocument/2006/relationships/image" Target="../media/image196.png"/><Relationship Id="rId2" Type="http://schemas.openxmlformats.org/officeDocument/2006/relationships/tags" Target="../tags/tag246.xml"/><Relationship Id="rId1" Type="http://schemas.openxmlformats.org/officeDocument/2006/relationships/vmlDrawing" Target="../drawings/vmlDrawing195.vml"/><Relationship Id="rId6" Type="http://schemas.openxmlformats.org/officeDocument/2006/relationships/image" Target="../media/image195.emf"/><Relationship Id="rId5" Type="http://schemas.openxmlformats.org/officeDocument/2006/relationships/oleObject" Target="../embeddings/oleObject195.bin"/><Relationship Id="rId10" Type="http://schemas.openxmlformats.org/officeDocument/2006/relationships/image" Target="../media/image199.png"/><Relationship Id="rId4" Type="http://schemas.openxmlformats.org/officeDocument/2006/relationships/notesSlide" Target="../notesSlides/notesSlide20.xml"/><Relationship Id="rId9" Type="http://schemas.openxmlformats.org/officeDocument/2006/relationships/image" Target="../media/image198.png"/></Relationships>
</file>

<file path=ppt/slides/_rels/slide21.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205.png"/><Relationship Id="rId18" Type="http://schemas.openxmlformats.org/officeDocument/2006/relationships/image" Target="../media/image54.svg"/><Relationship Id="rId3" Type="http://schemas.openxmlformats.org/officeDocument/2006/relationships/image" Target="../media/image200.jpg"/><Relationship Id="rId21" Type="http://schemas.openxmlformats.org/officeDocument/2006/relationships/image" Target="../media/image209.png"/><Relationship Id="rId12" Type="http://schemas.openxmlformats.org/officeDocument/2006/relationships/image" Target="../media/image48.svg"/><Relationship Id="rId17" Type="http://schemas.openxmlformats.org/officeDocument/2006/relationships/image" Target="../media/image207.png"/><Relationship Id="rId25" Type="http://schemas.openxmlformats.org/officeDocument/2006/relationships/image" Target="../media/image211.png"/><Relationship Id="rId2" Type="http://schemas.openxmlformats.org/officeDocument/2006/relationships/notesSlide" Target="../notesSlides/notesSlide21.xml"/><Relationship Id="rId16" Type="http://schemas.openxmlformats.org/officeDocument/2006/relationships/image" Target="../media/image52.svg"/><Relationship Id="rId20" Type="http://schemas.openxmlformats.org/officeDocument/2006/relationships/image" Target="../media/image56.svg"/><Relationship Id="rId1" Type="http://schemas.openxmlformats.org/officeDocument/2006/relationships/slideLayout" Target="../slideLayouts/slideLayout1132.xml"/><Relationship Id="rId11" Type="http://schemas.openxmlformats.org/officeDocument/2006/relationships/image" Target="../media/image204.png"/><Relationship Id="rId24" Type="http://schemas.openxmlformats.org/officeDocument/2006/relationships/image" Target="../media/image60.svg"/><Relationship Id="rId5" Type="http://schemas.openxmlformats.org/officeDocument/2006/relationships/image" Target="../media/image202.png"/><Relationship Id="rId15" Type="http://schemas.openxmlformats.org/officeDocument/2006/relationships/image" Target="../media/image206.png"/><Relationship Id="rId23" Type="http://schemas.openxmlformats.org/officeDocument/2006/relationships/image" Target="../media/image210.png"/><Relationship Id="rId10" Type="http://schemas.openxmlformats.org/officeDocument/2006/relationships/image" Target="../media/image46.svg"/><Relationship Id="rId19" Type="http://schemas.openxmlformats.org/officeDocument/2006/relationships/image" Target="../media/image208.png"/><Relationship Id="rId4" Type="http://schemas.openxmlformats.org/officeDocument/2006/relationships/image" Target="../media/image201.png"/><Relationship Id="rId9" Type="http://schemas.openxmlformats.org/officeDocument/2006/relationships/image" Target="../media/image203.png"/><Relationship Id="rId14" Type="http://schemas.openxmlformats.org/officeDocument/2006/relationships/image" Target="../media/image50.svg"/><Relationship Id="rId22" Type="http://schemas.openxmlformats.org/officeDocument/2006/relationships/image" Target="../media/image58.svg"/></Relationships>
</file>

<file path=ppt/slides/_rels/slide22.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image" Target="../media/image211.png"/><Relationship Id="rId7" Type="http://schemas.openxmlformats.org/officeDocument/2006/relationships/image" Target="../media/image215.png"/><Relationship Id="rId2" Type="http://schemas.openxmlformats.org/officeDocument/2006/relationships/notesSlide" Target="../notesSlides/notesSlide22.xml"/><Relationship Id="rId1" Type="http://schemas.openxmlformats.org/officeDocument/2006/relationships/slideLayout" Target="../slideLayouts/slideLayout1132.xml"/><Relationship Id="rId6" Type="http://schemas.openxmlformats.org/officeDocument/2006/relationships/image" Target="../media/image214.png"/><Relationship Id="rId5" Type="http://schemas.openxmlformats.org/officeDocument/2006/relationships/image" Target="../media/image213.png"/><Relationship Id="rId10" Type="http://schemas.openxmlformats.org/officeDocument/2006/relationships/image" Target="../media/image218.png"/><Relationship Id="rId4" Type="http://schemas.openxmlformats.org/officeDocument/2006/relationships/image" Target="../media/image212.png"/><Relationship Id="rId9" Type="http://schemas.openxmlformats.org/officeDocument/2006/relationships/image" Target="../media/image217.png"/></Relationships>
</file>

<file path=ppt/slides/_rels/slide23.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image" Target="../media/image211.png"/><Relationship Id="rId1" Type="http://schemas.openxmlformats.org/officeDocument/2006/relationships/slideLayout" Target="../slideLayouts/slideLayout1132.xml"/><Relationship Id="rId5" Type="http://schemas.openxmlformats.org/officeDocument/2006/relationships/image" Target="../media/image221.png"/><Relationship Id="rId4" Type="http://schemas.openxmlformats.org/officeDocument/2006/relationships/image" Target="../media/image220.png"/></Relationships>
</file>

<file path=ppt/slides/_rels/slide24.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23.xml"/><Relationship Id="rId1" Type="http://schemas.openxmlformats.org/officeDocument/2006/relationships/slideLayout" Target="../slideLayouts/slideLayout1132.xml"/><Relationship Id="rId6" Type="http://schemas.openxmlformats.org/officeDocument/2006/relationships/image" Target="../media/image221.png"/><Relationship Id="rId5" Type="http://schemas.openxmlformats.org/officeDocument/2006/relationships/image" Target="../media/image220.png"/><Relationship Id="rId4" Type="http://schemas.openxmlformats.org/officeDocument/2006/relationships/image" Target="../media/image222.png"/></Relationships>
</file>

<file path=ppt/slides/_rels/slide25.xml.rels><?xml version="1.0" encoding="UTF-8" standalone="yes"?>
<Relationships xmlns="http://schemas.openxmlformats.org/package/2006/relationships"><Relationship Id="rId8" Type="http://schemas.openxmlformats.org/officeDocument/2006/relationships/image" Target="../media/image224.jpeg"/><Relationship Id="rId13" Type="http://schemas.openxmlformats.org/officeDocument/2006/relationships/image" Target="../media/image229.png"/><Relationship Id="rId3" Type="http://schemas.openxmlformats.org/officeDocument/2006/relationships/slideLayout" Target="../slideLayouts/slideLayout616.xml"/><Relationship Id="rId7" Type="http://schemas.openxmlformats.org/officeDocument/2006/relationships/image" Target="../media/image223.png"/><Relationship Id="rId12" Type="http://schemas.openxmlformats.org/officeDocument/2006/relationships/image" Target="../media/image228.png"/><Relationship Id="rId2" Type="http://schemas.openxmlformats.org/officeDocument/2006/relationships/tags" Target="../tags/tag247.xml"/><Relationship Id="rId1" Type="http://schemas.openxmlformats.org/officeDocument/2006/relationships/vmlDrawing" Target="../drawings/vmlDrawing196.vml"/><Relationship Id="rId6" Type="http://schemas.openxmlformats.org/officeDocument/2006/relationships/image" Target="../media/image195.emf"/><Relationship Id="rId11" Type="http://schemas.openxmlformats.org/officeDocument/2006/relationships/image" Target="../media/image227.png"/><Relationship Id="rId5" Type="http://schemas.openxmlformats.org/officeDocument/2006/relationships/oleObject" Target="../embeddings/oleObject196.bin"/><Relationship Id="rId10" Type="http://schemas.openxmlformats.org/officeDocument/2006/relationships/image" Target="../media/image226.png"/><Relationship Id="rId4" Type="http://schemas.openxmlformats.org/officeDocument/2006/relationships/notesSlide" Target="../notesSlides/notesSlide24.xml"/><Relationship Id="rId9" Type="http://schemas.openxmlformats.org/officeDocument/2006/relationships/image" Target="../media/image225.png"/><Relationship Id="rId14" Type="http://schemas.openxmlformats.org/officeDocument/2006/relationships/image" Target="../media/image177.png"/></Relationships>
</file>

<file path=ppt/slides/_rels/slide26.xml.rels><?xml version="1.0" encoding="UTF-8" standalone="yes"?>
<Relationships xmlns="http://schemas.openxmlformats.org/package/2006/relationships"><Relationship Id="rId13" Type="http://schemas.openxmlformats.org/officeDocument/2006/relationships/image" Target="../media/image235.png"/><Relationship Id="rId18" Type="http://schemas.openxmlformats.org/officeDocument/2006/relationships/image" Target="../media/image198.png"/><Relationship Id="rId26" Type="http://schemas.openxmlformats.org/officeDocument/2006/relationships/image" Target="../media/image223.png"/><Relationship Id="rId3" Type="http://schemas.openxmlformats.org/officeDocument/2006/relationships/tags" Target="../tags/tag249.xml"/><Relationship Id="rId21" Type="http://schemas.openxmlformats.org/officeDocument/2006/relationships/image" Target="../media/image216.png"/><Relationship Id="rId34" Type="http://schemas.openxmlformats.org/officeDocument/2006/relationships/image" Target="../media/image242.png"/><Relationship Id="rId7" Type="http://schemas.openxmlformats.org/officeDocument/2006/relationships/image" Target="../media/image1.emf"/><Relationship Id="rId12" Type="http://schemas.openxmlformats.org/officeDocument/2006/relationships/image" Target="../media/image234.png"/><Relationship Id="rId17" Type="http://schemas.openxmlformats.org/officeDocument/2006/relationships/image" Target="../media/image197.png"/><Relationship Id="rId25" Type="http://schemas.openxmlformats.org/officeDocument/2006/relationships/image" Target="../media/image90.png"/><Relationship Id="rId33" Type="http://schemas.openxmlformats.org/officeDocument/2006/relationships/image" Target="../media/image241.jpeg"/><Relationship Id="rId2" Type="http://schemas.openxmlformats.org/officeDocument/2006/relationships/tags" Target="../tags/tag248.xml"/><Relationship Id="rId16" Type="http://schemas.openxmlformats.org/officeDocument/2006/relationships/image" Target="../media/image91.png"/><Relationship Id="rId20" Type="http://schemas.openxmlformats.org/officeDocument/2006/relationships/image" Target="../media/image215.png"/><Relationship Id="rId29" Type="http://schemas.openxmlformats.org/officeDocument/2006/relationships/image" Target="../media/image226.png"/><Relationship Id="rId1" Type="http://schemas.openxmlformats.org/officeDocument/2006/relationships/vmlDrawing" Target="../drawings/vmlDrawing197.vml"/><Relationship Id="rId6" Type="http://schemas.openxmlformats.org/officeDocument/2006/relationships/oleObject" Target="../embeddings/oleObject197.bin"/><Relationship Id="rId11" Type="http://schemas.openxmlformats.org/officeDocument/2006/relationships/image" Target="../media/image233.png"/><Relationship Id="rId24" Type="http://schemas.openxmlformats.org/officeDocument/2006/relationships/image" Target="../media/image89.png"/><Relationship Id="rId32" Type="http://schemas.openxmlformats.org/officeDocument/2006/relationships/image" Target="../media/image240.png"/><Relationship Id="rId5" Type="http://schemas.openxmlformats.org/officeDocument/2006/relationships/notesSlide" Target="../notesSlides/notesSlide25.xml"/><Relationship Id="rId15" Type="http://schemas.openxmlformats.org/officeDocument/2006/relationships/image" Target="../media/image237.png"/><Relationship Id="rId23" Type="http://schemas.openxmlformats.org/officeDocument/2006/relationships/image" Target="../media/image227.png"/><Relationship Id="rId28" Type="http://schemas.openxmlformats.org/officeDocument/2006/relationships/image" Target="../media/image225.png"/><Relationship Id="rId10" Type="http://schemas.openxmlformats.org/officeDocument/2006/relationships/image" Target="../media/image232.png"/><Relationship Id="rId19" Type="http://schemas.openxmlformats.org/officeDocument/2006/relationships/image" Target="../media/image92.png"/><Relationship Id="rId31" Type="http://schemas.openxmlformats.org/officeDocument/2006/relationships/image" Target="../media/image239.png"/><Relationship Id="rId4" Type="http://schemas.openxmlformats.org/officeDocument/2006/relationships/slideLayout" Target="../slideLayouts/slideLayout594.xml"/><Relationship Id="rId9" Type="http://schemas.openxmlformats.org/officeDocument/2006/relationships/image" Target="../media/image231.png"/><Relationship Id="rId14" Type="http://schemas.openxmlformats.org/officeDocument/2006/relationships/image" Target="../media/image236.png"/><Relationship Id="rId22" Type="http://schemas.openxmlformats.org/officeDocument/2006/relationships/image" Target="../media/image88.png"/><Relationship Id="rId27" Type="http://schemas.openxmlformats.org/officeDocument/2006/relationships/image" Target="../media/image224.jpeg"/><Relationship Id="rId30" Type="http://schemas.openxmlformats.org/officeDocument/2006/relationships/image" Target="../media/image238.png"/><Relationship Id="rId35" Type="http://schemas.openxmlformats.org/officeDocument/2006/relationships/image" Target="../media/image176.png"/><Relationship Id="rId8" Type="http://schemas.openxmlformats.org/officeDocument/2006/relationships/image" Target="../media/image230.jpg"/></Relationships>
</file>

<file path=ppt/slides/_rels/slide27.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image" Target="../media/image243.jpg"/><Relationship Id="rId1" Type="http://schemas.openxmlformats.org/officeDocument/2006/relationships/slideLayout" Target="../slideLayouts/slideLayout581.xml"/></Relationships>
</file>

<file path=ppt/slides/_rels/slide28.xml.rels><?xml version="1.0" encoding="UTF-8" standalone="yes"?>
<Relationships xmlns="http://schemas.openxmlformats.org/package/2006/relationships"><Relationship Id="rId3" Type="http://schemas.openxmlformats.org/officeDocument/2006/relationships/image" Target="../media/image245.jpeg"/><Relationship Id="rId2" Type="http://schemas.openxmlformats.org/officeDocument/2006/relationships/notesSlide" Target="../notesSlides/notesSlide26.xml"/><Relationship Id="rId1" Type="http://schemas.openxmlformats.org/officeDocument/2006/relationships/slideLayout" Target="../slideLayouts/slideLayout581.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594.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46.png"/><Relationship Id="rId4" Type="http://schemas.openxmlformats.org/officeDocument/2006/relationships/notesSlide" Target="../notesSlides/notesSlide27.xml"/></Relationships>
</file>

<file path=ppt/slides/_rels/slide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xml"/><Relationship Id="rId1" Type="http://schemas.openxmlformats.org/officeDocument/2006/relationships/slideLayout" Target="../slideLayouts/slideLayout586.xml"/></Relationships>
</file>

<file path=ppt/slides/_rels/slide30.xml.rels><?xml version="1.0" encoding="UTF-8" standalone="yes"?>
<Relationships xmlns="http://schemas.openxmlformats.org/package/2006/relationships"><Relationship Id="rId3" Type="http://schemas.openxmlformats.org/officeDocument/2006/relationships/image" Target="../media/image247.jpg"/><Relationship Id="rId2" Type="http://schemas.openxmlformats.org/officeDocument/2006/relationships/notesSlide" Target="../notesSlides/notesSlide28.xml"/><Relationship Id="rId1" Type="http://schemas.openxmlformats.org/officeDocument/2006/relationships/slideLayout" Target="../slideLayouts/slideLayout751.xml"/><Relationship Id="rId4" Type="http://schemas.openxmlformats.org/officeDocument/2006/relationships/image" Target="../media/image77.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027.xml"/><Relationship Id="rId1" Type="http://schemas.openxmlformats.org/officeDocument/2006/relationships/tags" Target="../tags/tag250.xml"/><Relationship Id="rId4" Type="http://schemas.openxmlformats.org/officeDocument/2006/relationships/image" Target="../media/image248.emf"/></Relationships>
</file>

<file path=ppt/slides/_rels/slide4.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90.png"/><Relationship Id="rId3" Type="http://schemas.openxmlformats.org/officeDocument/2006/relationships/image" Target="../media/image81.jpg"/><Relationship Id="rId7" Type="http://schemas.openxmlformats.org/officeDocument/2006/relationships/image" Target="../media/image85.png"/><Relationship Id="rId12" Type="http://schemas.openxmlformats.org/officeDocument/2006/relationships/image" Target="../media/image89.png"/><Relationship Id="rId2" Type="http://schemas.openxmlformats.org/officeDocument/2006/relationships/notesSlide" Target="../notesSlides/notesSlide4.xml"/><Relationship Id="rId1" Type="http://schemas.openxmlformats.org/officeDocument/2006/relationships/slideLayout" Target="../slideLayouts/slideLayout591.xml"/><Relationship Id="rId6" Type="http://schemas.openxmlformats.org/officeDocument/2006/relationships/image" Target="../media/image84.png"/><Relationship Id="rId11" Type="http://schemas.openxmlformats.org/officeDocument/2006/relationships/image" Target="../media/image88.png"/><Relationship Id="rId5" Type="http://schemas.openxmlformats.org/officeDocument/2006/relationships/image" Target="../media/image83.png"/><Relationship Id="rId15" Type="http://schemas.openxmlformats.org/officeDocument/2006/relationships/image" Target="../media/image92.png"/><Relationship Id="rId10" Type="http://schemas.microsoft.com/office/2007/relationships/hdphoto" Target="../media/hdphoto3.wdp"/><Relationship Id="rId4" Type="http://schemas.openxmlformats.org/officeDocument/2006/relationships/image" Target="../media/image82.png"/><Relationship Id="rId9" Type="http://schemas.openxmlformats.org/officeDocument/2006/relationships/image" Target="../media/image87.png"/><Relationship Id="rId14" Type="http://schemas.openxmlformats.org/officeDocument/2006/relationships/image" Target="../media/image91.png"/></Relationships>
</file>

<file path=ppt/slides/_rels/slide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xml"/><Relationship Id="rId1" Type="http://schemas.openxmlformats.org/officeDocument/2006/relationships/slideLayout" Target="../slideLayouts/slideLayout586.xml"/><Relationship Id="rId5" Type="http://schemas.openxmlformats.org/officeDocument/2006/relationships/image" Target="../media/image94.png"/><Relationship Id="rId4" Type="http://schemas.microsoft.com/office/2007/relationships/hdphoto" Target="../media/hdphoto4.wdp"/></Relationships>
</file>

<file path=ppt/slides/_rels/slide6.xml.rels><?xml version="1.0" encoding="UTF-8" standalone="yes"?>
<Relationships xmlns="http://schemas.openxmlformats.org/package/2006/relationships"><Relationship Id="rId3" Type="http://schemas.openxmlformats.org/officeDocument/2006/relationships/tags" Target="../tags/tag224.xml"/><Relationship Id="rId7" Type="http://schemas.openxmlformats.org/officeDocument/2006/relationships/image" Target="../media/image1.emf"/><Relationship Id="rId2" Type="http://schemas.openxmlformats.org/officeDocument/2006/relationships/tags" Target="../tags/tag223.xml"/><Relationship Id="rId1" Type="http://schemas.openxmlformats.org/officeDocument/2006/relationships/vmlDrawing" Target="../drawings/vmlDrawing191.vml"/><Relationship Id="rId6" Type="http://schemas.openxmlformats.org/officeDocument/2006/relationships/oleObject" Target="../embeddings/oleObject191.bin"/><Relationship Id="rId5" Type="http://schemas.openxmlformats.org/officeDocument/2006/relationships/notesSlide" Target="../notesSlides/notesSlide6.xml"/><Relationship Id="rId4" Type="http://schemas.openxmlformats.org/officeDocument/2006/relationships/slideLayout" Target="../slideLayouts/slideLayout615.xml"/></Relationships>
</file>

<file path=ppt/slides/_rels/slide7.xml.rels><?xml version="1.0" encoding="UTF-8" standalone="yes"?>
<Relationships xmlns="http://schemas.openxmlformats.org/package/2006/relationships"><Relationship Id="rId8" Type="http://schemas.openxmlformats.org/officeDocument/2006/relationships/tags" Target="../tags/tag231.xml"/><Relationship Id="rId13" Type="http://schemas.openxmlformats.org/officeDocument/2006/relationships/tags" Target="../tags/tag236.xml"/><Relationship Id="rId18" Type="http://schemas.openxmlformats.org/officeDocument/2006/relationships/tags" Target="../tags/tag241.xml"/><Relationship Id="rId26" Type="http://schemas.openxmlformats.org/officeDocument/2006/relationships/chart" Target="../charts/chart1.xml"/><Relationship Id="rId3" Type="http://schemas.openxmlformats.org/officeDocument/2006/relationships/tags" Target="../tags/tag226.xml"/><Relationship Id="rId21" Type="http://schemas.openxmlformats.org/officeDocument/2006/relationships/oleObject" Target="../embeddings/oleObject192.bin"/><Relationship Id="rId7" Type="http://schemas.openxmlformats.org/officeDocument/2006/relationships/tags" Target="../tags/tag230.xml"/><Relationship Id="rId12" Type="http://schemas.openxmlformats.org/officeDocument/2006/relationships/tags" Target="../tags/tag235.xml"/><Relationship Id="rId17" Type="http://schemas.openxmlformats.org/officeDocument/2006/relationships/tags" Target="../tags/tag240.xml"/><Relationship Id="rId25" Type="http://schemas.openxmlformats.org/officeDocument/2006/relationships/image" Target="../media/image97.png"/><Relationship Id="rId2" Type="http://schemas.openxmlformats.org/officeDocument/2006/relationships/tags" Target="../tags/tag225.xml"/><Relationship Id="rId16" Type="http://schemas.openxmlformats.org/officeDocument/2006/relationships/tags" Target="../tags/tag239.xml"/><Relationship Id="rId20" Type="http://schemas.openxmlformats.org/officeDocument/2006/relationships/notesSlide" Target="../notesSlides/notesSlide7.xml"/><Relationship Id="rId1" Type="http://schemas.openxmlformats.org/officeDocument/2006/relationships/vmlDrawing" Target="../drawings/vmlDrawing192.vml"/><Relationship Id="rId6" Type="http://schemas.openxmlformats.org/officeDocument/2006/relationships/tags" Target="../tags/tag229.xml"/><Relationship Id="rId11" Type="http://schemas.openxmlformats.org/officeDocument/2006/relationships/tags" Target="../tags/tag234.xml"/><Relationship Id="rId24" Type="http://schemas.openxmlformats.org/officeDocument/2006/relationships/image" Target="../media/image96.jpeg"/><Relationship Id="rId5" Type="http://schemas.openxmlformats.org/officeDocument/2006/relationships/tags" Target="../tags/tag228.xml"/><Relationship Id="rId15" Type="http://schemas.openxmlformats.org/officeDocument/2006/relationships/tags" Target="../tags/tag238.xml"/><Relationship Id="rId23" Type="http://schemas.openxmlformats.org/officeDocument/2006/relationships/image" Target="../media/image95.jpeg"/><Relationship Id="rId10" Type="http://schemas.openxmlformats.org/officeDocument/2006/relationships/tags" Target="../tags/tag233.xml"/><Relationship Id="rId19" Type="http://schemas.openxmlformats.org/officeDocument/2006/relationships/slideLayout" Target="../slideLayouts/slideLayout594.xml"/><Relationship Id="rId4" Type="http://schemas.openxmlformats.org/officeDocument/2006/relationships/tags" Target="../tags/tag227.xml"/><Relationship Id="rId9" Type="http://schemas.openxmlformats.org/officeDocument/2006/relationships/tags" Target="../tags/tag232.xml"/><Relationship Id="rId14" Type="http://schemas.openxmlformats.org/officeDocument/2006/relationships/tags" Target="../tags/tag237.xml"/><Relationship Id="rId22" Type="http://schemas.openxmlformats.org/officeDocument/2006/relationships/image" Target="../media/image1.emf"/></Relationships>
</file>

<file path=ppt/slides/_rels/slide8.xml.rels><?xml version="1.0" encoding="UTF-8" standalone="yes"?>
<Relationships xmlns="http://schemas.openxmlformats.org/package/2006/relationships"><Relationship Id="rId13" Type="http://schemas.openxmlformats.org/officeDocument/2006/relationships/hyperlink" Target="https://www.google.de/url?sa=i&amp;rct=j&amp;q=&amp;esrc=s&amp;source=images&amp;cd=&amp;cad=rja&amp;uact=8&amp;ved=2ahUKEwjt7tbM46PdAhUI6RoKHcDOBv4QjRx6BAgBEAU&amp;url=https://www.countryflags.com/en/austria-flag-icon.html&amp;psig=AOvVaw1ALCqFtz8H60fQetOBzw5X&amp;ust=1536233936160704" TargetMode="External"/><Relationship Id="rId18" Type="http://schemas.openxmlformats.org/officeDocument/2006/relationships/image" Target="../media/image105.png"/><Relationship Id="rId26" Type="http://schemas.openxmlformats.org/officeDocument/2006/relationships/image" Target="../media/image113.png"/><Relationship Id="rId3" Type="http://schemas.openxmlformats.org/officeDocument/2006/relationships/tags" Target="../tags/tag243.xml"/><Relationship Id="rId21" Type="http://schemas.openxmlformats.org/officeDocument/2006/relationships/image" Target="../media/image108.png"/><Relationship Id="rId34" Type="http://schemas.openxmlformats.org/officeDocument/2006/relationships/image" Target="../media/image121.png"/><Relationship Id="rId7" Type="http://schemas.openxmlformats.org/officeDocument/2006/relationships/image" Target="../media/image15.emf"/><Relationship Id="rId12" Type="http://schemas.openxmlformats.org/officeDocument/2006/relationships/image" Target="../media/image101.png"/><Relationship Id="rId17" Type="http://schemas.openxmlformats.org/officeDocument/2006/relationships/image" Target="../media/image104.png"/><Relationship Id="rId25" Type="http://schemas.openxmlformats.org/officeDocument/2006/relationships/image" Target="../media/image112.png"/><Relationship Id="rId33" Type="http://schemas.openxmlformats.org/officeDocument/2006/relationships/image" Target="../media/image120.png"/><Relationship Id="rId2" Type="http://schemas.openxmlformats.org/officeDocument/2006/relationships/tags" Target="../tags/tag242.xml"/><Relationship Id="rId16" Type="http://schemas.openxmlformats.org/officeDocument/2006/relationships/image" Target="../media/image103.png"/><Relationship Id="rId20" Type="http://schemas.openxmlformats.org/officeDocument/2006/relationships/image" Target="../media/image107.png"/><Relationship Id="rId29" Type="http://schemas.openxmlformats.org/officeDocument/2006/relationships/image" Target="../media/image116.png"/><Relationship Id="rId1" Type="http://schemas.openxmlformats.org/officeDocument/2006/relationships/vmlDrawing" Target="../drawings/vmlDrawing193.vml"/><Relationship Id="rId6" Type="http://schemas.openxmlformats.org/officeDocument/2006/relationships/oleObject" Target="../embeddings/oleObject193.bin"/><Relationship Id="rId11" Type="http://schemas.openxmlformats.org/officeDocument/2006/relationships/hyperlink" Target="http://www.google.de/url?sa=i&amp;rct=j&amp;q=&amp;esrc=s&amp;source=images&amp;cd=&amp;cad=rja&amp;uact=8&amp;ved=2ahUKEwj89Pik46PdAhWK4IUKHdjcD9YQjRx6BAgBEAU&amp;url=http://www.freeflagicons.com/country/spain/round_icon/&amp;psig=AOvVaw2b8ODDdZ6uL0zNroXZwa3F&amp;ust=1536233858536571" TargetMode="External"/><Relationship Id="rId24" Type="http://schemas.openxmlformats.org/officeDocument/2006/relationships/image" Target="../media/image111.png"/><Relationship Id="rId32" Type="http://schemas.openxmlformats.org/officeDocument/2006/relationships/image" Target="../media/image119.png"/><Relationship Id="rId5" Type="http://schemas.openxmlformats.org/officeDocument/2006/relationships/notesSlide" Target="../notesSlides/notesSlide8.xml"/><Relationship Id="rId15" Type="http://schemas.openxmlformats.org/officeDocument/2006/relationships/hyperlink" Target="https://www.fg-a.com/flags70.shtml" TargetMode="External"/><Relationship Id="rId23" Type="http://schemas.openxmlformats.org/officeDocument/2006/relationships/image" Target="../media/image110.png"/><Relationship Id="rId28" Type="http://schemas.openxmlformats.org/officeDocument/2006/relationships/image" Target="../media/image115.png"/><Relationship Id="rId10" Type="http://schemas.openxmlformats.org/officeDocument/2006/relationships/image" Target="../media/image100.png"/><Relationship Id="rId19" Type="http://schemas.openxmlformats.org/officeDocument/2006/relationships/image" Target="../media/image106.png"/><Relationship Id="rId31" Type="http://schemas.openxmlformats.org/officeDocument/2006/relationships/image" Target="../media/image118.png"/><Relationship Id="rId4" Type="http://schemas.openxmlformats.org/officeDocument/2006/relationships/slideLayout" Target="../slideLayouts/slideLayout594.xml"/><Relationship Id="rId9" Type="http://schemas.openxmlformats.org/officeDocument/2006/relationships/image" Target="../media/image99.emf"/><Relationship Id="rId14" Type="http://schemas.openxmlformats.org/officeDocument/2006/relationships/image" Target="../media/image102.png"/><Relationship Id="rId22" Type="http://schemas.openxmlformats.org/officeDocument/2006/relationships/image" Target="../media/image109.png"/><Relationship Id="rId27" Type="http://schemas.openxmlformats.org/officeDocument/2006/relationships/image" Target="../media/image114.png"/><Relationship Id="rId30" Type="http://schemas.openxmlformats.org/officeDocument/2006/relationships/image" Target="../media/image117.png"/><Relationship Id="rId35" Type="http://schemas.openxmlformats.org/officeDocument/2006/relationships/image" Target="../media/image122.png"/><Relationship Id="rId8" Type="http://schemas.openxmlformats.org/officeDocument/2006/relationships/image" Target="../media/image98.jpeg"/></Relationships>
</file>

<file path=ppt/slides/_rels/slide9.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132.png"/><Relationship Id="rId18" Type="http://schemas.openxmlformats.org/officeDocument/2006/relationships/image" Target="../media/image137.png"/><Relationship Id="rId3" Type="http://schemas.openxmlformats.org/officeDocument/2006/relationships/notesSlide" Target="../notesSlides/notesSlide9.xml"/><Relationship Id="rId7" Type="http://schemas.openxmlformats.org/officeDocument/2006/relationships/image" Target="../media/image126.png"/><Relationship Id="rId12" Type="http://schemas.openxmlformats.org/officeDocument/2006/relationships/image" Target="../media/image131.png"/><Relationship Id="rId17" Type="http://schemas.openxmlformats.org/officeDocument/2006/relationships/image" Target="../media/image136.png"/><Relationship Id="rId2" Type="http://schemas.openxmlformats.org/officeDocument/2006/relationships/slideLayout" Target="../slideLayouts/slideLayout594.xml"/><Relationship Id="rId16" Type="http://schemas.openxmlformats.org/officeDocument/2006/relationships/image" Target="../media/image135.png"/><Relationship Id="rId1" Type="http://schemas.openxmlformats.org/officeDocument/2006/relationships/tags" Target="../tags/tag244.xml"/><Relationship Id="rId6" Type="http://schemas.openxmlformats.org/officeDocument/2006/relationships/image" Target="../media/image125.png"/><Relationship Id="rId11" Type="http://schemas.openxmlformats.org/officeDocument/2006/relationships/image" Target="../media/image130.png"/><Relationship Id="rId5" Type="http://schemas.openxmlformats.org/officeDocument/2006/relationships/image" Target="../media/image124.png"/><Relationship Id="rId15" Type="http://schemas.openxmlformats.org/officeDocument/2006/relationships/image" Target="../media/image134.png"/><Relationship Id="rId10" Type="http://schemas.openxmlformats.org/officeDocument/2006/relationships/image" Target="../media/image129.png"/><Relationship Id="rId19" Type="http://schemas.openxmlformats.org/officeDocument/2006/relationships/image" Target="../media/image138.png"/><Relationship Id="rId4" Type="http://schemas.openxmlformats.org/officeDocument/2006/relationships/image" Target="../media/image123.jpeg"/><Relationship Id="rId9" Type="http://schemas.openxmlformats.org/officeDocument/2006/relationships/image" Target="../media/image128.png"/><Relationship Id="rId14" Type="http://schemas.openxmlformats.org/officeDocument/2006/relationships/image" Target="../media/image1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57480" y="-20320"/>
            <a:ext cx="12198350" cy="6850174"/>
          </a:xfrm>
          <a:prstGeom prst="rect">
            <a:avLst/>
          </a:prstGeom>
          <a:solidFill>
            <a:schemeClr val="accent1">
              <a:lumMod val="50000"/>
              <a:alpha val="84000"/>
            </a:schemeClr>
          </a:solidFill>
          <a:ln>
            <a:noFill/>
          </a:ln>
        </p:spPr>
      </p:pic>
      <p:pic>
        <p:nvPicPr>
          <p:cNvPr id="12" name="Wortmarke DAIMLER" descr="Daimler_RGB_100mm.png">
            <a:extLst>
              <a:ext uri="{FF2B5EF4-FFF2-40B4-BE49-F238E27FC236}">
                <a16:creationId xmlns:a16="http://schemas.microsoft.com/office/drawing/2014/main" id="{5B94C94C-DBDE-4A21-A9C3-B648BFAB179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375539" y="5827829"/>
            <a:ext cx="2569941" cy="347795"/>
          </a:xfrm>
          <a:prstGeom prst="rect">
            <a:avLst/>
          </a:prstGeom>
        </p:spPr>
      </p:pic>
      <p:cxnSp>
        <p:nvCxnSpPr>
          <p:cNvPr id="13" name="Gerader Verbinder 12">
            <a:extLst>
              <a:ext uri="{FF2B5EF4-FFF2-40B4-BE49-F238E27FC236}">
                <a16:creationId xmlns:a16="http://schemas.microsoft.com/office/drawing/2014/main" id="{18FE1D07-BE42-4526-8BB4-05BABB178F47}"/>
              </a:ext>
            </a:extLst>
          </p:cNvPr>
          <p:cNvCxnSpPr>
            <a:cxnSpLocks/>
          </p:cNvCxnSpPr>
          <p:nvPr/>
        </p:nvCxnSpPr>
        <p:spPr bwMode="auto">
          <a:xfrm flipH="1">
            <a:off x="9375539" y="6291295"/>
            <a:ext cx="2544541" cy="0"/>
          </a:xfrm>
          <a:prstGeom prst="line">
            <a:avLst/>
          </a:prstGeom>
          <a:solidFill>
            <a:sysClr val="window" lastClr="FFFFFF"/>
          </a:solidFill>
          <a:ln w="12700" cap="flat" cmpd="sng" algn="ctr">
            <a:solidFill>
              <a:sysClr val="windowText" lastClr="000000"/>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4" name="Textfeld 13">
            <a:extLst>
              <a:ext uri="{FF2B5EF4-FFF2-40B4-BE49-F238E27FC236}">
                <a16:creationId xmlns:a16="http://schemas.microsoft.com/office/drawing/2014/main" id="{79DA7B81-7A92-45A5-90BD-57AEDA95830F}"/>
              </a:ext>
            </a:extLst>
          </p:cNvPr>
          <p:cNvSpPr txBox="1"/>
          <p:nvPr/>
        </p:nvSpPr>
        <p:spPr bwMode="auto">
          <a:xfrm>
            <a:off x="9375539" y="6356738"/>
            <a:ext cx="2544541" cy="261610"/>
          </a:xfrm>
          <a:prstGeom prst="rect">
            <a:avLst/>
          </a:prstGeom>
          <a:noFill/>
          <a:ln w="9525">
            <a:noFill/>
            <a:miter lim="800000"/>
            <a:headEnd/>
            <a:tailEnd/>
          </a:ln>
        </p:spPr>
        <p:txBody>
          <a:bodyPr wrap="square" lIns="0" tIns="0" rIns="0" bIns="0" rtlCol="0" anchor="t" anchorCtr="0">
            <a:spAutoFit/>
          </a:bodyPr>
          <a:lstStyle/>
          <a:p>
            <a:pPr algn="ctr" defTabSz="1088959" fontAlgn="base">
              <a:spcBef>
                <a:spcPct val="0"/>
              </a:spcBef>
              <a:spcAft>
                <a:spcPct val="0"/>
              </a:spcAft>
            </a:pPr>
            <a:r>
              <a:rPr lang="de-DE" sz="1700" b="1" dirty="0">
                <a:solidFill>
                  <a:prstClr val="black"/>
                </a:solidFill>
                <a:latin typeface="CorpoS"/>
                <a:ea typeface="CorporateS-Regular" charset="0"/>
                <a:cs typeface="CorporateS-Regular" charset="0"/>
              </a:rPr>
              <a:t>Daimler Financial Services</a:t>
            </a:r>
          </a:p>
        </p:txBody>
      </p:sp>
      <p:sp>
        <p:nvSpPr>
          <p:cNvPr id="25" name="Title 6">
            <a:extLst>
              <a:ext uri="{FF2B5EF4-FFF2-40B4-BE49-F238E27FC236}">
                <a16:creationId xmlns:a16="http://schemas.microsoft.com/office/drawing/2014/main" id="{E4165A34-3F37-40FC-9DCB-12D77393BC9E}"/>
              </a:ext>
            </a:extLst>
          </p:cNvPr>
          <p:cNvSpPr txBox="1">
            <a:spLocks/>
          </p:cNvSpPr>
          <p:nvPr/>
        </p:nvSpPr>
        <p:spPr>
          <a:xfrm>
            <a:off x="446547" y="5612937"/>
            <a:ext cx="8485872" cy="686348"/>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vert="horz" wrap="square" lIns="0" tIns="0" rIns="0" bIns="0" rtlCol="0" anchor="t" anchorCtr="0">
            <a:noAutofit/>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bg1"/>
                </a:solidFill>
                <a:latin typeface="+mn-lt"/>
                <a:ea typeface="+mj-ea"/>
                <a:cs typeface="+mj-cs"/>
              </a:defRPr>
            </a:lvl1pPr>
          </a:lstStyle>
          <a:p>
            <a:pPr>
              <a:lnSpc>
                <a:spcPct val="100000"/>
              </a:lnSpc>
              <a:defRPr/>
            </a:pPr>
            <a:r>
              <a:rPr lang="de-DE" sz="1800" b="1" dirty="0" smtClean="0">
                <a:solidFill>
                  <a:sysClr val="windowText" lastClr="000000"/>
                </a:solidFill>
                <a:latin typeface="CorpoS"/>
                <a:ea typeface="CorporateS-Regular" charset="0"/>
                <a:cs typeface="CorporateS-Regular" charset="0"/>
              </a:rPr>
              <a:t>KLAUS ENTENMANN</a:t>
            </a:r>
          </a:p>
          <a:p>
            <a:pPr>
              <a:lnSpc>
                <a:spcPct val="100000"/>
              </a:lnSpc>
              <a:defRPr/>
            </a:pPr>
            <a:r>
              <a:rPr lang="ru-RU" sz="1800" b="1" dirty="0" smtClean="0">
                <a:solidFill>
                  <a:schemeClr val="tx1"/>
                </a:solidFill>
                <a:latin typeface="CorpoS"/>
                <a:ea typeface="CorporateS-Regular" charset="0"/>
                <a:cs typeface="CorporateS-Regular" charset="0"/>
              </a:rPr>
              <a:t>ГЛАВА СОВЕТА ДИРЕКТОРОВ </a:t>
            </a:r>
            <a:r>
              <a:rPr lang="de-DE" sz="1800" b="1" dirty="0" smtClean="0">
                <a:solidFill>
                  <a:schemeClr val="tx1"/>
                </a:solidFill>
                <a:latin typeface="CorpoS"/>
                <a:ea typeface="CorporateS-Regular" charset="0"/>
                <a:cs typeface="CorporateS-Regular" charset="0"/>
              </a:rPr>
              <a:t>DAIMLER </a:t>
            </a:r>
            <a:r>
              <a:rPr lang="de-DE" sz="1800" b="1" dirty="0" smtClean="0">
                <a:solidFill>
                  <a:schemeClr val="tx1"/>
                </a:solidFill>
                <a:latin typeface="CorpoS"/>
                <a:ea typeface="CorporateS-Regular" charset="0"/>
                <a:cs typeface="CorporateS-Regular" charset="0"/>
              </a:rPr>
              <a:t>FINANCIAL </a:t>
            </a:r>
            <a:r>
              <a:rPr lang="de-DE" sz="1800" b="1" dirty="0" smtClean="0">
                <a:solidFill>
                  <a:schemeClr val="tx1"/>
                </a:solidFill>
                <a:latin typeface="CorpoS"/>
                <a:ea typeface="CorporateS-Regular" charset="0"/>
                <a:cs typeface="CorporateS-Regular" charset="0"/>
              </a:rPr>
              <a:t>SERVICES</a:t>
            </a:r>
            <a:r>
              <a:rPr lang="de-DE" sz="1800" b="1" dirty="0" smtClean="0">
                <a:solidFill>
                  <a:schemeClr val="tx1"/>
                </a:solidFill>
                <a:latin typeface="CorpoS"/>
                <a:ea typeface="CorporateS-Regular" charset="0"/>
                <a:cs typeface="CorporateS-Regular" charset="0"/>
              </a:rPr>
              <a:t/>
            </a:r>
            <a:br>
              <a:rPr lang="de-DE" sz="1800" b="1" dirty="0" smtClean="0">
                <a:solidFill>
                  <a:schemeClr val="tx1"/>
                </a:solidFill>
                <a:latin typeface="CorpoS"/>
                <a:ea typeface="CorporateS-Regular" charset="0"/>
                <a:cs typeface="CorporateS-Regular" charset="0"/>
              </a:rPr>
            </a:br>
            <a:r>
              <a:rPr lang="en-US" sz="1800" dirty="0">
                <a:solidFill>
                  <a:schemeClr val="tx1"/>
                </a:solidFill>
                <a:latin typeface="CorpoS"/>
                <a:ea typeface="CorporateS-Regular" charset="0"/>
                <a:cs typeface="CorporateS-Regular" charset="0"/>
              </a:rPr>
              <a:t>LEADERS IN URBAN TRANSPORTATION SUMMIT</a:t>
            </a:r>
            <a:endParaRPr lang="de-DE" sz="1800" dirty="0" smtClean="0">
              <a:solidFill>
                <a:schemeClr val="tx1"/>
              </a:solidFill>
              <a:latin typeface="CorpoS"/>
              <a:ea typeface="CorporateS-Regular" charset="0"/>
              <a:cs typeface="CorporateS-Regular" charset="0"/>
            </a:endParaRPr>
          </a:p>
          <a:p>
            <a:pPr>
              <a:lnSpc>
                <a:spcPct val="100000"/>
              </a:lnSpc>
              <a:defRPr/>
            </a:pPr>
            <a:r>
              <a:rPr lang="ru-RU" sz="1600" dirty="0" smtClean="0">
                <a:solidFill>
                  <a:schemeClr val="tx1"/>
                </a:solidFill>
                <a:latin typeface="CorpoS"/>
                <a:ea typeface="CorporateS-Regular" charset="0"/>
                <a:cs typeface="CorporateS-Regular" charset="0"/>
              </a:rPr>
              <a:t>Москва</a:t>
            </a:r>
            <a:r>
              <a:rPr lang="de-DE" sz="1600" dirty="0" smtClean="0">
                <a:solidFill>
                  <a:schemeClr val="tx1"/>
                </a:solidFill>
                <a:latin typeface="CorpoS"/>
                <a:ea typeface="CorporateS-Regular" charset="0"/>
                <a:cs typeface="CorporateS-Regular" charset="0"/>
              </a:rPr>
              <a:t>, </a:t>
            </a:r>
            <a:r>
              <a:rPr lang="de-DE" sz="1600" dirty="0" smtClean="0">
                <a:solidFill>
                  <a:schemeClr val="tx1"/>
                </a:solidFill>
                <a:latin typeface="CorpoS"/>
                <a:ea typeface="CorporateS-Regular" charset="0"/>
                <a:cs typeface="CorporateS-Regular" charset="0"/>
              </a:rPr>
              <a:t>April 19</a:t>
            </a:r>
            <a:r>
              <a:rPr lang="de-DE" sz="1600" baseline="30000" dirty="0" smtClean="0">
                <a:solidFill>
                  <a:schemeClr val="tx1"/>
                </a:solidFill>
                <a:latin typeface="CorpoS"/>
                <a:ea typeface="CorporateS-Regular" charset="0"/>
                <a:cs typeface="CorporateS-Regular" charset="0"/>
              </a:rPr>
              <a:t>th</a:t>
            </a:r>
            <a:r>
              <a:rPr lang="de-DE" sz="1600" dirty="0" smtClean="0">
                <a:solidFill>
                  <a:schemeClr val="tx1"/>
                </a:solidFill>
                <a:latin typeface="CorpoS"/>
                <a:ea typeface="CorporateS-Regular" charset="0"/>
                <a:cs typeface="CorporateS-Regular" charset="0"/>
              </a:rPr>
              <a:t>, 2019</a:t>
            </a:r>
            <a:endParaRPr lang="de-DE" sz="1800" dirty="0">
              <a:solidFill>
                <a:schemeClr val="tx1"/>
              </a:solidFill>
              <a:latin typeface="CorpoS"/>
              <a:ea typeface="CorporateS-Regular" charset="0"/>
              <a:cs typeface="CorporateS-Regular" charset="0"/>
            </a:endParaRPr>
          </a:p>
        </p:txBody>
      </p:sp>
      <p:sp>
        <p:nvSpPr>
          <p:cNvPr id="9" name="Rechteck 8"/>
          <p:cNvSpPr/>
          <p:nvPr/>
        </p:nvSpPr>
        <p:spPr>
          <a:xfrm>
            <a:off x="319314" y="232229"/>
            <a:ext cx="6606780" cy="1872342"/>
          </a:xfrm>
          <a:prstGeom prst="rect">
            <a:avLst/>
          </a:prstGeom>
          <a:solidFill>
            <a:srgbClr val="005478">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Title 6">
            <a:extLst>
              <a:ext uri="{FF2B5EF4-FFF2-40B4-BE49-F238E27FC236}">
                <a16:creationId xmlns:a16="http://schemas.microsoft.com/office/drawing/2014/main" id="{61B7A580-1E10-4301-BAC2-B0F77502CE9E}"/>
              </a:ext>
            </a:extLst>
          </p:cNvPr>
          <p:cNvSpPr txBox="1">
            <a:spLocks/>
          </p:cNvSpPr>
          <p:nvPr/>
        </p:nvSpPr>
        <p:spPr>
          <a:xfrm>
            <a:off x="446547" y="657225"/>
            <a:ext cx="10937875" cy="1152389"/>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vert="horz" wrap="square" lIns="0" tIns="0" rIns="0" bIns="0" rtlCol="0" anchor="t" anchorCtr="0">
            <a:noAutofit/>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bg1"/>
                </a:solidFill>
                <a:latin typeface="+mn-lt"/>
                <a:ea typeface="+mj-ea"/>
                <a:cs typeface="+mj-cs"/>
              </a:defRPr>
            </a:lvl1pPr>
          </a:lstStyle>
          <a:p>
            <a:pPr defTabSz="1088415">
              <a:lnSpc>
                <a:spcPct val="72000"/>
              </a:lnSpc>
              <a:defRPr/>
            </a:pPr>
            <a:r>
              <a:rPr lang="ru-RU" sz="3600" b="1" cap="all" dirty="0" smtClean="0">
                <a:solidFill>
                  <a:prstClr val="white"/>
                </a:solidFill>
                <a:latin typeface="CorpoS"/>
                <a:ea typeface="CorporateS-Regular" charset="0"/>
                <a:cs typeface="CorporateS-Regular" charset="0"/>
              </a:rPr>
              <a:t>Дорожная карта будущего автоиндустрии</a:t>
            </a:r>
            <a:endParaRPr lang="de-DE" sz="2400" cap="all" dirty="0">
              <a:solidFill>
                <a:srgbClr val="007A93"/>
              </a:solidFill>
              <a:latin typeface="CorpoS"/>
              <a:ea typeface="CorporateS-Regular" charset="0"/>
              <a:cs typeface="CorporateS-Regular" charset="0"/>
            </a:endParaRPr>
          </a:p>
        </p:txBody>
      </p:sp>
      <p:sp>
        <p:nvSpPr>
          <p:cNvPr id="15" name="Title 6">
            <a:extLst>
              <a:ext uri="{FF2B5EF4-FFF2-40B4-BE49-F238E27FC236}">
                <a16:creationId xmlns:a16="http://schemas.microsoft.com/office/drawing/2014/main" id="{61B7A580-1E10-4301-BAC2-B0F77502CE9E}"/>
              </a:ext>
            </a:extLst>
          </p:cNvPr>
          <p:cNvSpPr txBox="1">
            <a:spLocks/>
          </p:cNvSpPr>
          <p:nvPr/>
        </p:nvSpPr>
        <p:spPr>
          <a:xfrm>
            <a:off x="454928" y="1557909"/>
            <a:ext cx="10937875" cy="2801263"/>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vert="horz" wrap="square" lIns="0" tIns="0" rIns="0" bIns="0" rtlCol="0" anchor="t" anchorCtr="0">
            <a:noAutofit/>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bg1"/>
                </a:solidFill>
                <a:latin typeface="+mn-lt"/>
                <a:ea typeface="+mj-ea"/>
                <a:cs typeface="+mj-cs"/>
              </a:defRPr>
            </a:lvl1pPr>
          </a:lstStyle>
          <a:p>
            <a:pPr defTabSz="1088415">
              <a:lnSpc>
                <a:spcPct val="80000"/>
              </a:lnSpc>
              <a:defRPr/>
            </a:pPr>
            <a:r>
              <a:rPr lang="ru-RU" sz="2400" cap="all" dirty="0" smtClean="0">
                <a:solidFill>
                  <a:srgbClr val="FFFF00"/>
                </a:solidFill>
                <a:latin typeface="CorpoS"/>
                <a:ea typeface="CorporateS-Regular" charset="0"/>
                <a:cs typeface="CorporateS-Regular" charset="0"/>
              </a:rPr>
              <a:t>Видение будущего </a:t>
            </a:r>
            <a:r>
              <a:rPr lang="en-US" sz="2400" cap="all" dirty="0" err="1" smtClean="0">
                <a:solidFill>
                  <a:srgbClr val="FFFF00"/>
                </a:solidFill>
                <a:latin typeface="CorpoS"/>
                <a:ea typeface="CorporateS-Regular" charset="0"/>
                <a:cs typeface="CorporateS-Regular" charset="0"/>
              </a:rPr>
              <a:t>daimler</a:t>
            </a:r>
            <a:endParaRPr lang="de-DE" sz="4000" cap="all" dirty="0">
              <a:solidFill>
                <a:srgbClr val="FFFF00"/>
              </a:solidFill>
              <a:latin typeface="CorpoS"/>
              <a:ea typeface="CorporateS-Regular" charset="0"/>
              <a:cs typeface="CorporateS-Regular" charset="0"/>
            </a:endParaRPr>
          </a:p>
        </p:txBody>
      </p:sp>
      <p:cxnSp>
        <p:nvCxnSpPr>
          <p:cNvPr id="16" name="Gerader Verbinder 15"/>
          <p:cNvCxnSpPr/>
          <p:nvPr/>
        </p:nvCxnSpPr>
        <p:spPr>
          <a:xfrm>
            <a:off x="6913130" y="232229"/>
            <a:ext cx="0" cy="1872342"/>
          </a:xfrm>
          <a:prstGeom prst="line">
            <a:avLst/>
          </a:prstGeom>
          <a:ln w="571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p:nvCxnSpPr>
        <p:spPr>
          <a:xfrm>
            <a:off x="319314" y="226317"/>
            <a:ext cx="0" cy="9579777"/>
          </a:xfrm>
          <a:prstGeom prst="line">
            <a:avLst/>
          </a:prstGeom>
          <a:ln w="571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a:xfrm rot="5400000">
            <a:off x="7517237" y="-6947989"/>
            <a:ext cx="4154" cy="14400000"/>
          </a:xfrm>
          <a:prstGeom prst="line">
            <a:avLst/>
          </a:prstGeom>
          <a:ln w="571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a:xfrm flipH="1">
            <a:off x="314234" y="2104571"/>
            <a:ext cx="6627586" cy="0"/>
          </a:xfrm>
          <a:prstGeom prst="line">
            <a:avLst/>
          </a:prstGeom>
          <a:ln w="571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56949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3">
            <a:extLst>
              <a:ext uri="{28A0092B-C50C-407E-A947-70E740481C1C}">
                <a14:useLocalDpi xmlns:a14="http://schemas.microsoft.com/office/drawing/2010/main" val="0"/>
              </a:ext>
            </a:extLst>
          </a:blip>
          <a:srcRect t="8218" b="8218"/>
          <a:stretch/>
        </p:blipFill>
        <p:spPr>
          <a:xfrm>
            <a:off x="-139160" y="-38100"/>
            <a:ext cx="12470321" cy="6934200"/>
          </a:xfrm>
          <a:prstGeom prst="rect">
            <a:avLst/>
          </a:prstGeom>
        </p:spPr>
      </p:pic>
      <p:sp>
        <p:nvSpPr>
          <p:cNvPr id="5" name="Rechteck 4"/>
          <p:cNvSpPr/>
          <p:nvPr/>
        </p:nvSpPr>
        <p:spPr bwMode="gray">
          <a:xfrm>
            <a:off x="216000" y="431999"/>
            <a:ext cx="11528329" cy="828000"/>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7306"/>
            <a:r>
              <a:rPr lang="ru-RU" sz="2800" b="1" dirty="0" smtClean="0">
                <a:solidFill>
                  <a:schemeClr val="bg1"/>
                </a:solidFill>
                <a:latin typeface="CorpoS" pitchFamily="2" charset="0"/>
                <a:ea typeface="MS Mincho" panose="02020609040205080304" pitchFamily="49" charset="-128"/>
                <a:cs typeface="Helvetica" panose="020B0604020202020204" pitchFamily="34" charset="0"/>
              </a:rPr>
              <a:t>РАЗНЫЕ ТРЕНДЫ МЕНЯЮТ ТО КАК МЫ ПЕРЕДВИГАЕМСЯ</a:t>
            </a:r>
            <a:endParaRPr lang="de-DE" sz="2800" b="1" dirty="0">
              <a:solidFill>
                <a:schemeClr val="bg1"/>
              </a:solidFill>
              <a:latin typeface="CorpoS" pitchFamily="2" charset="0"/>
              <a:ea typeface="MS Mincho" panose="02020609040205080304" pitchFamily="49" charset="-128"/>
              <a:cs typeface="Helvetica" panose="020B0604020202020204" pitchFamily="34" charset="0"/>
            </a:endParaRPr>
          </a:p>
        </p:txBody>
      </p:sp>
      <p:sp>
        <p:nvSpPr>
          <p:cNvPr id="6" name="Rechteck 5"/>
          <p:cNvSpPr/>
          <p:nvPr/>
        </p:nvSpPr>
        <p:spPr bwMode="gray">
          <a:xfrm>
            <a:off x="216885" y="2899434"/>
            <a:ext cx="2285490" cy="1273433"/>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ru-RU" b="1" dirty="0" smtClean="0">
                <a:solidFill>
                  <a:srgbClr val="FFFF00"/>
                </a:solidFill>
                <a:latin typeface="CorpoS" pitchFamily="2" charset="0"/>
                <a:ea typeface="MS Mincho" panose="02020609040205080304" pitchFamily="49" charset="-128"/>
                <a:cs typeface="Helvetica" panose="020B0604020202020204" pitchFamily="34" charset="0"/>
              </a:rPr>
              <a:t>ПОКУПАТЕЛЬНАЯ СПОСОБНОСТЬ</a:t>
            </a:r>
            <a:endParaRPr lang="de-DE" b="1" dirty="0" smtClean="0">
              <a:solidFill>
                <a:srgbClr val="FFFF00"/>
              </a:solidFill>
              <a:latin typeface="CorpoS" pitchFamily="2" charset="0"/>
              <a:ea typeface="MS Mincho" panose="02020609040205080304" pitchFamily="49" charset="-128"/>
              <a:cs typeface="Helvetica" panose="020B0604020202020204" pitchFamily="34" charset="0"/>
            </a:endParaRPr>
          </a:p>
          <a:p>
            <a:pPr algn="ctr" defTabSz="1087306"/>
            <a:r>
              <a:rPr lang="ru-RU" sz="1400" b="1" dirty="0" smtClean="0">
                <a:solidFill>
                  <a:schemeClr val="bg1"/>
                </a:solidFill>
                <a:latin typeface="CorpoS" pitchFamily="2" charset="0"/>
                <a:ea typeface="MS Mincho" panose="02020609040205080304" pitchFamily="49" charset="-128"/>
                <a:cs typeface="Helvetica" panose="020B0604020202020204" pitchFamily="34" charset="0"/>
              </a:rPr>
              <a:t>ДВИГАЕТСЯ В ГОРОД</a:t>
            </a:r>
            <a:endParaRPr lang="de-DE" sz="1400" b="1" dirty="0">
              <a:solidFill>
                <a:schemeClr val="bg1"/>
              </a:solidFill>
              <a:latin typeface="CorpoS" pitchFamily="2" charset="0"/>
              <a:ea typeface="MS Mincho" panose="02020609040205080304" pitchFamily="49" charset="-128"/>
              <a:cs typeface="Helvetica" panose="020B0604020202020204" pitchFamily="34" charset="0"/>
            </a:endParaRPr>
          </a:p>
        </p:txBody>
      </p:sp>
      <p:sp>
        <p:nvSpPr>
          <p:cNvPr id="11" name="Rechteck 10"/>
          <p:cNvSpPr/>
          <p:nvPr/>
        </p:nvSpPr>
        <p:spPr bwMode="gray">
          <a:xfrm>
            <a:off x="2566706" y="2899434"/>
            <a:ext cx="2285490" cy="1273433"/>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ru-RU" sz="1600" b="1" dirty="0" smtClean="0">
                <a:solidFill>
                  <a:srgbClr val="FFFF00"/>
                </a:solidFill>
                <a:latin typeface="CorpoS" pitchFamily="2" charset="0"/>
                <a:ea typeface="MS Mincho" panose="02020609040205080304" pitchFamily="49" charset="-128"/>
                <a:cs typeface="Helvetica" panose="020B0604020202020204" pitchFamily="34" charset="0"/>
              </a:rPr>
              <a:t>УПРАВЛЕНИЕ ДОРОЖНЫМ ДВИЖЕНИЕМ</a:t>
            </a:r>
            <a:endParaRPr lang="de-DE" sz="1600" b="1" dirty="0" smtClean="0">
              <a:solidFill>
                <a:srgbClr val="FFFF00"/>
              </a:solidFill>
              <a:latin typeface="CorpoS" pitchFamily="2" charset="0"/>
              <a:ea typeface="MS Mincho" panose="02020609040205080304" pitchFamily="49" charset="-128"/>
              <a:cs typeface="Helvetica" panose="020B0604020202020204" pitchFamily="34" charset="0"/>
            </a:endParaRPr>
          </a:p>
          <a:p>
            <a:pPr algn="ctr" defTabSz="1087306"/>
            <a:r>
              <a:rPr lang="ru-RU" sz="1200" b="1" dirty="0" smtClean="0">
                <a:solidFill>
                  <a:schemeClr val="bg1"/>
                </a:solidFill>
                <a:latin typeface="CorpoS" pitchFamily="2" charset="0"/>
                <a:ea typeface="MS Mincho" panose="02020609040205080304" pitchFamily="49" charset="-128"/>
                <a:cs typeface="Helvetica" panose="020B0604020202020204" pitchFamily="34" charset="0"/>
              </a:rPr>
              <a:t>В ГОРОДАХ СТАНОВИТСЯ СЛОЖНЕЕ</a:t>
            </a:r>
            <a:endParaRPr lang="de-DE" sz="1200" b="1" dirty="0">
              <a:solidFill>
                <a:schemeClr val="bg1"/>
              </a:solidFill>
              <a:latin typeface="CorpoS" pitchFamily="2" charset="0"/>
              <a:ea typeface="MS Mincho" panose="02020609040205080304" pitchFamily="49" charset="-128"/>
              <a:cs typeface="Helvetica" panose="020B0604020202020204" pitchFamily="34" charset="0"/>
            </a:endParaRPr>
          </a:p>
        </p:txBody>
      </p:sp>
      <p:sp>
        <p:nvSpPr>
          <p:cNvPr id="12" name="Rechteck 11"/>
          <p:cNvSpPr/>
          <p:nvPr/>
        </p:nvSpPr>
        <p:spPr bwMode="gray">
          <a:xfrm>
            <a:off x="4916527" y="2899434"/>
            <a:ext cx="2285490" cy="1273433"/>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ru-RU" b="1" dirty="0" smtClean="0">
                <a:solidFill>
                  <a:srgbClr val="FFFF00"/>
                </a:solidFill>
                <a:latin typeface="CorpoS" pitchFamily="2" charset="0"/>
                <a:ea typeface="MS Mincho" panose="02020609040205080304" pitchFamily="49" charset="-128"/>
                <a:cs typeface="Helvetica" panose="020B0604020202020204" pitchFamily="34" charset="0"/>
              </a:rPr>
              <a:t>ИЗМЕНЕНИЯ ОБЩЕСТВА</a:t>
            </a:r>
            <a:r>
              <a:rPr lang="de-DE" b="1" dirty="0" smtClean="0">
                <a:solidFill>
                  <a:srgbClr val="FFFF00"/>
                </a:solidFill>
                <a:latin typeface="CorpoS" pitchFamily="2" charset="0"/>
                <a:ea typeface="MS Mincho" panose="02020609040205080304" pitchFamily="49" charset="-128"/>
                <a:cs typeface="Helvetica" panose="020B0604020202020204" pitchFamily="34" charset="0"/>
              </a:rPr>
              <a:t>:</a:t>
            </a:r>
            <a:endParaRPr lang="de-DE" b="1" dirty="0" smtClean="0">
              <a:solidFill>
                <a:srgbClr val="FFFF00"/>
              </a:solidFill>
              <a:latin typeface="CorpoS" pitchFamily="2" charset="0"/>
              <a:ea typeface="MS Mincho" panose="02020609040205080304" pitchFamily="49" charset="-128"/>
              <a:cs typeface="Helvetica" panose="020B0604020202020204" pitchFamily="34" charset="0"/>
            </a:endParaRPr>
          </a:p>
          <a:p>
            <a:pPr algn="ctr" defTabSz="1087306"/>
            <a:r>
              <a:rPr lang="ru-RU" sz="1400" b="1" dirty="0" smtClean="0">
                <a:solidFill>
                  <a:schemeClr val="bg1"/>
                </a:solidFill>
                <a:latin typeface="CorpoS" pitchFamily="2" charset="0"/>
                <a:ea typeface="MS Mincho" panose="02020609040205080304" pitchFamily="49" charset="-128"/>
                <a:cs typeface="Helvetica" panose="020B0604020202020204" pitchFamily="34" charset="0"/>
              </a:rPr>
              <a:t>ИСПОЛЬЗОВАНИЕ – НОВОЕ ВЛАДЕНИЕ</a:t>
            </a:r>
            <a:endParaRPr lang="de-DE" sz="1400" b="1" dirty="0">
              <a:solidFill>
                <a:schemeClr val="bg1"/>
              </a:solidFill>
              <a:latin typeface="CorpoS" pitchFamily="2" charset="0"/>
              <a:ea typeface="MS Mincho" panose="02020609040205080304" pitchFamily="49" charset="-128"/>
              <a:cs typeface="Helvetica" panose="020B0604020202020204" pitchFamily="34" charset="0"/>
            </a:endParaRPr>
          </a:p>
        </p:txBody>
      </p:sp>
      <p:sp>
        <p:nvSpPr>
          <p:cNvPr id="13" name="Rechteck 12"/>
          <p:cNvSpPr/>
          <p:nvPr/>
        </p:nvSpPr>
        <p:spPr bwMode="gray">
          <a:xfrm>
            <a:off x="7266348" y="2899434"/>
            <a:ext cx="2285490" cy="1273433"/>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ru-RU" sz="2400" b="1" dirty="0" smtClean="0">
                <a:solidFill>
                  <a:srgbClr val="FFFF00"/>
                </a:solidFill>
                <a:latin typeface="CorpoS" pitchFamily="2" charset="0"/>
                <a:ea typeface="MS Mincho" panose="02020609040205080304" pitchFamily="49" charset="-128"/>
                <a:cs typeface="Helvetica" panose="020B0604020202020204" pitchFamily="34" charset="0"/>
              </a:rPr>
              <a:t>СВЯЗНОСТЬ И ИИ:</a:t>
            </a:r>
            <a:endParaRPr lang="de-DE" sz="2400" b="1" dirty="0" smtClean="0">
              <a:solidFill>
                <a:srgbClr val="FFFF00"/>
              </a:solidFill>
              <a:latin typeface="CorpoS" pitchFamily="2" charset="0"/>
              <a:ea typeface="MS Mincho" panose="02020609040205080304" pitchFamily="49" charset="-128"/>
              <a:cs typeface="Helvetica" panose="020B0604020202020204" pitchFamily="34" charset="0"/>
            </a:endParaRPr>
          </a:p>
          <a:p>
            <a:pPr algn="ctr" defTabSz="1087306"/>
            <a:r>
              <a:rPr lang="ru-RU" b="1" dirty="0" smtClean="0">
                <a:solidFill>
                  <a:schemeClr val="bg1"/>
                </a:solidFill>
                <a:latin typeface="CorpoS" pitchFamily="2" charset="0"/>
                <a:ea typeface="MS Mincho" panose="02020609040205080304" pitchFamily="49" charset="-128"/>
                <a:cs typeface="Helvetica" panose="020B0604020202020204" pitchFamily="34" charset="0"/>
              </a:rPr>
              <a:t>ТРАНСФОРМИРУЮТ МИР</a:t>
            </a:r>
            <a:endParaRPr lang="de-DE" b="1" dirty="0">
              <a:solidFill>
                <a:schemeClr val="bg1"/>
              </a:solidFill>
              <a:latin typeface="CorpoS" pitchFamily="2" charset="0"/>
              <a:ea typeface="MS Mincho" panose="02020609040205080304" pitchFamily="49" charset="-128"/>
              <a:cs typeface="Helvetica" panose="020B0604020202020204" pitchFamily="34" charset="0"/>
            </a:endParaRPr>
          </a:p>
        </p:txBody>
      </p:sp>
      <p:sp>
        <p:nvSpPr>
          <p:cNvPr id="14" name="Rechteck 13"/>
          <p:cNvSpPr/>
          <p:nvPr/>
        </p:nvSpPr>
        <p:spPr bwMode="gray">
          <a:xfrm>
            <a:off x="9693979" y="2899434"/>
            <a:ext cx="2285490" cy="1273433"/>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ru-RU" b="1" dirty="0" smtClean="0">
                <a:solidFill>
                  <a:srgbClr val="FFFF00"/>
                </a:solidFill>
                <a:latin typeface="CorpoS" pitchFamily="2" charset="0"/>
                <a:ea typeface="MS Mincho" panose="02020609040205080304" pitchFamily="49" charset="-128"/>
                <a:cs typeface="Helvetica" panose="020B0604020202020204" pitchFamily="34" charset="0"/>
              </a:rPr>
              <a:t>АВТОНОМНЫЕ МАШИНЫ</a:t>
            </a:r>
            <a:endParaRPr lang="de-DE" b="1" dirty="0" smtClean="0">
              <a:solidFill>
                <a:srgbClr val="FFFF00"/>
              </a:solidFill>
              <a:latin typeface="CorpoS" pitchFamily="2" charset="0"/>
              <a:ea typeface="MS Mincho" panose="02020609040205080304" pitchFamily="49" charset="-128"/>
              <a:cs typeface="Helvetica" panose="020B0604020202020204" pitchFamily="34" charset="0"/>
            </a:endParaRPr>
          </a:p>
          <a:p>
            <a:pPr algn="ctr" defTabSz="1087306"/>
            <a:r>
              <a:rPr lang="ru-RU" sz="1400" b="1" dirty="0" smtClean="0">
                <a:solidFill>
                  <a:schemeClr val="bg1"/>
                </a:solidFill>
                <a:latin typeface="CorpoS" pitchFamily="2" charset="0"/>
                <a:ea typeface="MS Mincho" panose="02020609040205080304" pitchFamily="49" charset="-128"/>
                <a:cs typeface="Helvetica" panose="020B0604020202020204" pitchFamily="34" charset="0"/>
              </a:rPr>
              <a:t>ПРЕВРАЩАЮТ ФАНТАСТИКУ В НАУКУ</a:t>
            </a:r>
            <a:endParaRPr lang="de-DE" sz="1400" b="1" dirty="0">
              <a:solidFill>
                <a:schemeClr val="bg1"/>
              </a:solidFill>
              <a:latin typeface="CorpoS" pitchFamily="2" charset="0"/>
              <a:ea typeface="MS Mincho" panose="02020609040205080304" pitchFamily="49" charset="-128"/>
              <a:cs typeface="Helvetica" panose="020B0604020202020204" pitchFamily="34" charset="0"/>
            </a:endParaRPr>
          </a:p>
        </p:txBody>
      </p:sp>
      <p:sp>
        <p:nvSpPr>
          <p:cNvPr id="9" name="Rechteck 8"/>
          <p:cNvSpPr/>
          <p:nvPr/>
        </p:nvSpPr>
        <p:spPr bwMode="gray">
          <a:xfrm>
            <a:off x="232218" y="4863700"/>
            <a:ext cx="11727564" cy="837001"/>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ru-RU" sz="2400" b="1" dirty="0" smtClean="0">
                <a:solidFill>
                  <a:srgbClr val="FFFF00"/>
                </a:solidFill>
                <a:latin typeface="CorpoS" pitchFamily="2" charset="0"/>
                <a:ea typeface="MS Mincho" panose="02020609040205080304" pitchFamily="49" charset="-128"/>
                <a:cs typeface="Helvetica" panose="020B0604020202020204" pitchFamily="34" charset="0"/>
              </a:rPr>
              <a:t>НЕХВАТКА ПАРКОВОК</a:t>
            </a:r>
            <a:r>
              <a:rPr lang="de-DE" sz="2400" b="1" dirty="0" smtClean="0">
                <a:solidFill>
                  <a:schemeClr val="bg1"/>
                </a:solidFill>
                <a:latin typeface="CorpoS" pitchFamily="2" charset="0"/>
                <a:ea typeface="MS Mincho" panose="02020609040205080304" pitchFamily="49" charset="-128"/>
                <a:cs typeface="Helvetica" panose="020B0604020202020204" pitchFamily="34" charset="0"/>
              </a:rPr>
              <a:t>|</a:t>
            </a:r>
            <a:r>
              <a:rPr lang="de-DE" sz="2400" b="1" dirty="0" smtClean="0">
                <a:solidFill>
                  <a:srgbClr val="FFFF00"/>
                </a:solidFill>
                <a:latin typeface="CorpoS" pitchFamily="2" charset="0"/>
                <a:ea typeface="MS Mincho" panose="02020609040205080304" pitchFamily="49" charset="-128"/>
                <a:cs typeface="Helvetica" panose="020B0604020202020204" pitchFamily="34" charset="0"/>
              </a:rPr>
              <a:t> </a:t>
            </a:r>
            <a:r>
              <a:rPr lang="ru-RU" sz="2400" b="1" dirty="0" smtClean="0">
                <a:solidFill>
                  <a:srgbClr val="FFFF00"/>
                </a:solidFill>
                <a:latin typeface="CorpoS" pitchFamily="2" charset="0"/>
                <a:ea typeface="MS Mincho" panose="02020609040205080304" pitchFamily="49" charset="-128"/>
                <a:cs typeface="Helvetica" panose="020B0604020202020204" pitchFamily="34" charset="0"/>
              </a:rPr>
              <a:t>ЗАГРЯЗНЕНИЕ</a:t>
            </a:r>
            <a:r>
              <a:rPr lang="de-DE" sz="2400" b="1" dirty="0" smtClean="0">
                <a:solidFill>
                  <a:schemeClr val="bg1"/>
                </a:solidFill>
                <a:latin typeface="CorpoS" pitchFamily="2" charset="0"/>
                <a:ea typeface="MS Mincho" panose="02020609040205080304" pitchFamily="49" charset="-128"/>
                <a:cs typeface="Helvetica" panose="020B0604020202020204" pitchFamily="34" charset="0"/>
              </a:rPr>
              <a:t>|</a:t>
            </a:r>
            <a:r>
              <a:rPr lang="de-DE" sz="2400" b="1" dirty="0" smtClean="0">
                <a:solidFill>
                  <a:srgbClr val="FFFF00"/>
                </a:solidFill>
                <a:latin typeface="CorpoS" pitchFamily="2" charset="0"/>
                <a:ea typeface="MS Mincho" panose="02020609040205080304" pitchFamily="49" charset="-128"/>
                <a:cs typeface="Helvetica" panose="020B0604020202020204" pitchFamily="34" charset="0"/>
              </a:rPr>
              <a:t> </a:t>
            </a:r>
            <a:r>
              <a:rPr lang="ru-RU" sz="2400" b="1" dirty="0" smtClean="0">
                <a:solidFill>
                  <a:srgbClr val="FFFF00"/>
                </a:solidFill>
                <a:latin typeface="CorpoS" pitchFamily="2" charset="0"/>
                <a:ea typeface="MS Mincho" panose="02020609040205080304" pitchFamily="49" charset="-128"/>
                <a:cs typeface="Helvetica" panose="020B0604020202020204" pitchFamily="34" charset="0"/>
              </a:rPr>
              <a:t>ПРОБКИ</a:t>
            </a:r>
            <a:endParaRPr lang="de-DE" sz="2400" b="1" dirty="0" smtClean="0">
              <a:solidFill>
                <a:srgbClr val="FFFF00"/>
              </a:solidFill>
              <a:latin typeface="CorpoS" pitchFamily="2" charset="0"/>
              <a:ea typeface="MS Mincho" panose="02020609040205080304" pitchFamily="49" charset="-128"/>
              <a:cs typeface="Helvetica" panose="020B0604020202020204" pitchFamily="34" charset="0"/>
            </a:endParaRPr>
          </a:p>
        </p:txBody>
      </p:sp>
    </p:spTree>
    <p:extLst>
      <p:ext uri="{BB962C8B-B14F-4D97-AF65-F5344CB8AC3E}">
        <p14:creationId xmlns:p14="http://schemas.microsoft.com/office/powerpoint/2010/main" val="20138512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Grafik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268592"/>
            <a:ext cx="12192000" cy="8128000"/>
          </a:xfrm>
          <a:prstGeom prst="rect">
            <a:avLst/>
          </a:prstGeom>
        </p:spPr>
      </p:pic>
      <p:sp>
        <p:nvSpPr>
          <p:cNvPr id="21" name="Textfeld 20"/>
          <p:cNvSpPr txBox="1"/>
          <p:nvPr/>
        </p:nvSpPr>
        <p:spPr bwMode="auto">
          <a:xfrm>
            <a:off x="968600" y="5922088"/>
            <a:ext cx="10407400" cy="646331"/>
          </a:xfrm>
          <a:prstGeom prst="rect">
            <a:avLst/>
          </a:prstGeom>
          <a:solidFill>
            <a:srgbClr val="005478">
              <a:alpha val="90000"/>
            </a:srgbClr>
          </a:solidFill>
          <a:ln w="9525">
            <a:noFill/>
            <a:miter lim="800000"/>
            <a:headEnd/>
            <a:tailEnd/>
          </a:ln>
        </p:spPr>
        <p:txBody>
          <a:bodyPr wrap="square" lIns="0" tIns="0" rIns="0" bIns="0" rtlCol="0" anchor="ctr" anchorCtr="0">
            <a:spAutoFit/>
          </a:bodyPr>
          <a:lstStyle/>
          <a:p>
            <a:pPr defTabSz="1088415" fontAlgn="base">
              <a:spcBef>
                <a:spcPct val="0"/>
              </a:spcBef>
              <a:spcAft>
                <a:spcPct val="0"/>
              </a:spcAft>
            </a:pPr>
            <a:r>
              <a:rPr lang="en-US" b="1" dirty="0" smtClean="0">
                <a:solidFill>
                  <a:schemeClr val="bg1"/>
                </a:solidFill>
                <a:ea typeface="Calibri" panose="020F0502020204030204" pitchFamily="34" charset="0"/>
                <a:cs typeface="Times New Roman" panose="02020603050405020304" pitchFamily="18" charset="0"/>
              </a:rPr>
              <a:t> </a:t>
            </a:r>
            <a:r>
              <a:rPr lang="ru-RU" sz="2400" b="1" dirty="0" smtClean="0">
                <a:solidFill>
                  <a:srgbClr val="FFFF00"/>
                </a:solidFill>
                <a:ea typeface="Calibri" panose="020F0502020204030204" pitchFamily="34" charset="0"/>
                <a:cs typeface="Times New Roman" panose="02020603050405020304" pitchFamily="18" charset="0"/>
              </a:rPr>
              <a:t>ПЛЮС</a:t>
            </a:r>
            <a:r>
              <a:rPr lang="en-US" b="1" dirty="0" smtClean="0">
                <a:solidFill>
                  <a:schemeClr val="bg1"/>
                </a:solidFill>
                <a:ea typeface="Calibri" panose="020F0502020204030204" pitchFamily="34" charset="0"/>
                <a:cs typeface="Times New Roman" panose="02020603050405020304" pitchFamily="18" charset="0"/>
              </a:rPr>
              <a:t>: </a:t>
            </a:r>
            <a:r>
              <a:rPr lang="ru-RU" b="1" dirty="0" smtClean="0">
                <a:solidFill>
                  <a:schemeClr val="bg1"/>
                </a:solidFill>
                <a:ea typeface="Calibri" panose="020F0502020204030204" pitchFamily="34" charset="0"/>
                <a:cs typeface="Times New Roman" panose="02020603050405020304" pitchFamily="18" charset="0"/>
              </a:rPr>
              <a:t>СОЗДАТЬ НОВЫЕ РЕШЕНИЯ ДЛЯ УМНЫХ ГОРОДОВ ЧЕРЕЗ </a:t>
            </a:r>
            <a:r>
              <a:rPr lang="en-US" b="1" dirty="0" smtClean="0">
                <a:solidFill>
                  <a:schemeClr val="bg1"/>
                </a:solidFill>
                <a:ea typeface="Calibri" panose="020F0502020204030204" pitchFamily="34" charset="0"/>
                <a:cs typeface="Times New Roman" panose="02020603050405020304" pitchFamily="18" charset="0"/>
              </a:rPr>
              <a:t>DAIMLER </a:t>
            </a:r>
            <a:r>
              <a:rPr lang="en-US" b="1" dirty="0" smtClean="0">
                <a:solidFill>
                  <a:schemeClr val="bg1"/>
                </a:solidFill>
                <a:ea typeface="Calibri" panose="020F0502020204030204" pitchFamily="34" charset="0"/>
                <a:cs typeface="Times New Roman" panose="02020603050405020304" pitchFamily="18" charset="0"/>
              </a:rPr>
              <a:t>URBAN MOBILITY TEAM!</a:t>
            </a:r>
            <a:endParaRPr lang="de-DE" dirty="0">
              <a:solidFill>
                <a:schemeClr val="bg1"/>
              </a:solidFill>
              <a:cs typeface="Daimler CS"/>
            </a:endParaRPr>
          </a:p>
        </p:txBody>
      </p:sp>
      <p:sp>
        <p:nvSpPr>
          <p:cNvPr id="25" name="Rechteck 24"/>
          <p:cNvSpPr/>
          <p:nvPr/>
        </p:nvSpPr>
        <p:spPr bwMode="gray">
          <a:xfrm>
            <a:off x="216000" y="431999"/>
            <a:ext cx="11528329" cy="828000"/>
          </a:xfrm>
          <a:prstGeom prst="rect">
            <a:avLst/>
          </a:prstGeom>
          <a:solidFill>
            <a:srgbClr val="005478">
              <a:alpha val="90000"/>
            </a:srgbClr>
          </a:solidFill>
          <a:ln w="12700" cap="flat" cmpd="sng" algn="ctr">
            <a:noFill/>
            <a:prstDash val="solid"/>
            <a:miter lim="800000"/>
          </a:ln>
          <a:effectLst/>
          <a:extLst/>
        </p:spPr>
        <p:txBody>
          <a:bodyPr rtlCol="0" anchor="ctr"/>
          <a:lstStyle/>
          <a:p>
            <a:pPr marL="0" marR="0" lvl="0" indent="0" defTabSz="1087306" eaLnBrk="1" fontAlgn="auto" latinLnBrk="0" hangingPunct="1">
              <a:lnSpc>
                <a:spcPct val="100000"/>
              </a:lnSpc>
              <a:spcBef>
                <a:spcPts val="0"/>
              </a:spcBef>
              <a:spcAft>
                <a:spcPts val="0"/>
              </a:spcAft>
              <a:buClrTx/>
              <a:buSzTx/>
              <a:buFontTx/>
              <a:buNone/>
              <a:tabLst/>
              <a:defRPr/>
            </a:pPr>
            <a:r>
              <a:rPr lang="ru-RU" sz="2800" b="1" kern="0" dirty="0" smtClean="0">
                <a:solidFill>
                  <a:srgbClr val="FFFF00"/>
                </a:solidFill>
                <a:latin typeface="Calibri" panose="020F0502020204030204"/>
                <a:ea typeface="MS Mincho" panose="02020609040205080304" pitchFamily="49" charset="-128"/>
                <a:cs typeface="Helvetica" panose="020B0604020202020204" pitchFamily="34" charset="0"/>
              </a:rPr>
              <a:t>ВИДЕНИЕ И ЦЕЛИ</a:t>
            </a:r>
            <a:endParaRPr kumimoji="0" lang="de-DE" sz="2800" b="1" i="0" u="none" strike="noStrike" kern="0" cap="none" spc="0" normalizeH="0" baseline="0" noProof="0" dirty="0" smtClean="0">
              <a:ln>
                <a:noFill/>
              </a:ln>
              <a:solidFill>
                <a:srgbClr val="FFFF00"/>
              </a:solidFill>
              <a:effectLst/>
              <a:uLnTx/>
              <a:uFillTx/>
              <a:latin typeface="Calibri" panose="020F0502020204030204"/>
              <a:ea typeface="MS Mincho" panose="02020609040205080304" pitchFamily="49" charset="-128"/>
              <a:cs typeface="Helvetica" panose="020B0604020202020204" pitchFamily="34" charset="0"/>
            </a:endParaRPr>
          </a:p>
        </p:txBody>
      </p:sp>
      <p:sp>
        <p:nvSpPr>
          <p:cNvPr id="15" name="Textfeld 14"/>
          <p:cNvSpPr txBox="1"/>
          <p:nvPr/>
        </p:nvSpPr>
        <p:spPr bwMode="auto">
          <a:xfrm>
            <a:off x="1728000" y="1584000"/>
            <a:ext cx="3924000" cy="1080000"/>
          </a:xfrm>
          <a:prstGeom prst="rect">
            <a:avLst/>
          </a:prstGeom>
          <a:solidFill>
            <a:srgbClr val="005478">
              <a:alpha val="90000"/>
            </a:srgbClr>
          </a:solidFill>
          <a:ln w="9525">
            <a:noFill/>
            <a:miter lim="800000"/>
            <a:headEnd/>
            <a:tailEnd/>
          </a:ln>
        </p:spPr>
        <p:txBody>
          <a:bodyPr wrap="square" lIns="0" tIns="0" rIns="0" bIns="0" rtlCol="0" anchor="ctr" anchorCtr="0">
            <a:noAutofit/>
          </a:bodyPr>
          <a:lstStyle/>
          <a:p>
            <a:pPr algn="ctr" defTabSz="1088415" fontAlgn="base">
              <a:spcBef>
                <a:spcPct val="0"/>
              </a:spcBef>
              <a:spcAft>
                <a:spcPct val="0"/>
              </a:spcAft>
            </a:pPr>
            <a:endParaRPr lang="en-US" sz="1600" b="1" dirty="0" smtClean="0">
              <a:solidFill>
                <a:schemeClr val="bg1"/>
              </a:solidFill>
              <a:ea typeface="Calibri" panose="020F0502020204030204" pitchFamily="34" charset="0"/>
              <a:cs typeface="Times New Roman" panose="02020603050405020304" pitchFamily="18" charset="0"/>
            </a:endParaRPr>
          </a:p>
          <a:p>
            <a:pPr algn="ctr" defTabSz="1088415" fontAlgn="base">
              <a:spcBef>
                <a:spcPct val="0"/>
              </a:spcBef>
              <a:spcAft>
                <a:spcPct val="0"/>
              </a:spcAft>
            </a:pPr>
            <a:r>
              <a:rPr lang="ru-RU" b="1" dirty="0" smtClean="0">
                <a:solidFill>
                  <a:schemeClr val="bg1"/>
                </a:solidFill>
                <a:ea typeface="Calibri" panose="020F0502020204030204" pitchFamily="34" charset="0"/>
                <a:cs typeface="Times New Roman" panose="02020603050405020304" pitchFamily="18" charset="0"/>
              </a:rPr>
              <a:t>УМЕНЬШИТЬ ТРАФИК</a:t>
            </a:r>
            <a:r>
              <a:rPr lang="en-US" sz="2400" b="1" dirty="0" smtClean="0">
                <a:solidFill>
                  <a:srgbClr val="FFFF00"/>
                </a:solidFill>
                <a:ea typeface="Calibri" panose="020F0502020204030204" pitchFamily="34" charset="0"/>
                <a:cs typeface="Times New Roman" panose="02020603050405020304" pitchFamily="18" charset="0"/>
              </a:rPr>
              <a:t/>
            </a:r>
            <a:br>
              <a:rPr lang="en-US" sz="2400" b="1" dirty="0" smtClean="0">
                <a:solidFill>
                  <a:srgbClr val="FFFF00"/>
                </a:solidFill>
                <a:ea typeface="Calibri" panose="020F0502020204030204" pitchFamily="34" charset="0"/>
                <a:cs typeface="Times New Roman" panose="02020603050405020304" pitchFamily="18" charset="0"/>
              </a:rPr>
            </a:br>
            <a:endParaRPr lang="de-DE" sz="2400" dirty="0">
              <a:solidFill>
                <a:srgbClr val="FFFF00"/>
              </a:solidFill>
              <a:cs typeface="Daimler CS"/>
            </a:endParaRPr>
          </a:p>
        </p:txBody>
      </p:sp>
      <p:sp>
        <p:nvSpPr>
          <p:cNvPr id="16" name="Textfeld 15"/>
          <p:cNvSpPr txBox="1"/>
          <p:nvPr/>
        </p:nvSpPr>
        <p:spPr bwMode="auto">
          <a:xfrm>
            <a:off x="1728000" y="3168000"/>
            <a:ext cx="3924000" cy="1080000"/>
          </a:xfrm>
          <a:prstGeom prst="rect">
            <a:avLst/>
          </a:prstGeom>
          <a:solidFill>
            <a:srgbClr val="005478">
              <a:alpha val="90000"/>
            </a:srgbClr>
          </a:solidFill>
          <a:ln w="9525">
            <a:noFill/>
            <a:miter lim="800000"/>
            <a:headEnd/>
            <a:tailEnd/>
          </a:ln>
        </p:spPr>
        <p:txBody>
          <a:bodyPr wrap="square" lIns="0" tIns="0" rIns="0" bIns="0" rtlCol="0" anchor="ctr" anchorCtr="0">
            <a:noAutofit/>
          </a:bodyPr>
          <a:lstStyle/>
          <a:p>
            <a:pPr algn="ctr" defTabSz="1088415" fontAlgn="base">
              <a:spcBef>
                <a:spcPct val="0"/>
              </a:spcBef>
              <a:spcAft>
                <a:spcPct val="0"/>
              </a:spcAft>
            </a:pPr>
            <a:r>
              <a:rPr lang="ru-RU" b="1" dirty="0" smtClean="0">
                <a:solidFill>
                  <a:schemeClr val="bg1"/>
                </a:solidFill>
                <a:ea typeface="Calibri" panose="020F0502020204030204" pitchFamily="34" charset="0"/>
                <a:cs typeface="Times New Roman" panose="02020603050405020304" pitchFamily="18" charset="0"/>
              </a:rPr>
              <a:t>СНИЗИТЬ ВЫБРОСЫ</a:t>
            </a:r>
            <a:endParaRPr lang="en-US" sz="1599" b="1" dirty="0" smtClean="0">
              <a:solidFill>
                <a:srgbClr val="FFFF00"/>
              </a:solidFill>
              <a:ea typeface="Calibri" panose="020F0502020204030204" pitchFamily="34" charset="0"/>
              <a:cs typeface="Times New Roman" panose="02020603050405020304" pitchFamily="18" charset="0"/>
            </a:endParaRPr>
          </a:p>
        </p:txBody>
      </p:sp>
      <p:sp>
        <p:nvSpPr>
          <p:cNvPr id="17" name="Textfeld 16"/>
          <p:cNvSpPr txBox="1"/>
          <p:nvPr/>
        </p:nvSpPr>
        <p:spPr bwMode="auto">
          <a:xfrm>
            <a:off x="1728000" y="4680000"/>
            <a:ext cx="3924000" cy="1080000"/>
          </a:xfrm>
          <a:prstGeom prst="rect">
            <a:avLst/>
          </a:prstGeom>
          <a:solidFill>
            <a:srgbClr val="005478">
              <a:alpha val="90000"/>
            </a:srgbClr>
          </a:solidFill>
          <a:ln w="9525">
            <a:noFill/>
            <a:miter lim="800000"/>
            <a:headEnd/>
            <a:tailEnd/>
          </a:ln>
        </p:spPr>
        <p:txBody>
          <a:bodyPr wrap="square" lIns="0" tIns="0" rIns="0" bIns="0" rtlCol="0" anchor="ctr" anchorCtr="0">
            <a:noAutofit/>
          </a:bodyPr>
          <a:lstStyle/>
          <a:p>
            <a:pPr algn="ctr" defTabSz="1088415" fontAlgn="base">
              <a:spcBef>
                <a:spcPct val="0"/>
              </a:spcBef>
              <a:spcAft>
                <a:spcPct val="0"/>
              </a:spcAft>
            </a:pPr>
            <a:r>
              <a:rPr lang="ru-RU" b="1" dirty="0" smtClean="0">
                <a:solidFill>
                  <a:schemeClr val="bg1"/>
                </a:solidFill>
                <a:ea typeface="Calibri" panose="020F0502020204030204" pitchFamily="34" charset="0"/>
                <a:cs typeface="Times New Roman" panose="02020603050405020304" pitchFamily="18" charset="0"/>
              </a:rPr>
              <a:t>ПОМОЧЬ ПАРКОВКЕ И ЗАРЯДКЕ</a:t>
            </a:r>
            <a:endParaRPr lang="en-US" sz="2400" b="1" dirty="0" smtClean="0">
              <a:solidFill>
                <a:srgbClr val="FFFF00"/>
              </a:solidFill>
              <a:ea typeface="Calibri" panose="020F0502020204030204" pitchFamily="34" charset="0"/>
              <a:cs typeface="Times New Roman" panose="02020603050405020304" pitchFamily="18" charset="0"/>
            </a:endParaRPr>
          </a:p>
        </p:txBody>
      </p:sp>
      <p:sp>
        <p:nvSpPr>
          <p:cNvPr id="6" name="Ellipse 5"/>
          <p:cNvSpPr/>
          <p:nvPr/>
        </p:nvSpPr>
        <p:spPr>
          <a:xfrm>
            <a:off x="1008000" y="4644000"/>
            <a:ext cx="1144858" cy="1144858"/>
          </a:xfrm>
          <a:prstGeom prst="ellipse">
            <a:avLst/>
          </a:prstGeom>
          <a:blipFill>
            <a:blip r:embed="rId4"/>
            <a:stretch>
              <a:fillRect l="-11000" r="-16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15"/>
            <a:endParaRPr lang="de-DE" sz="1399" dirty="0">
              <a:solidFill>
                <a:prstClr val="white"/>
              </a:solidFill>
            </a:endParaRPr>
          </a:p>
        </p:txBody>
      </p:sp>
      <p:sp>
        <p:nvSpPr>
          <p:cNvPr id="10" name="Ellipse 9"/>
          <p:cNvSpPr/>
          <p:nvPr/>
        </p:nvSpPr>
        <p:spPr>
          <a:xfrm>
            <a:off x="1008000" y="3132000"/>
            <a:ext cx="1144858" cy="1144858"/>
          </a:xfrm>
          <a:prstGeom prst="ellipse">
            <a:avLst/>
          </a:prstGeom>
          <a:blipFill dpi="0" rotWithShape="1">
            <a:blip r:embed="rId5"/>
            <a:srcRect/>
            <a:stretch>
              <a:fillRect l="-18000" t="1000" r="-20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15"/>
            <a:endParaRPr lang="de-DE" sz="1399" dirty="0">
              <a:solidFill>
                <a:prstClr val="white"/>
              </a:solidFill>
            </a:endParaRPr>
          </a:p>
        </p:txBody>
      </p:sp>
      <p:sp>
        <p:nvSpPr>
          <p:cNvPr id="18" name="Textfeld 17"/>
          <p:cNvSpPr txBox="1"/>
          <p:nvPr/>
        </p:nvSpPr>
        <p:spPr bwMode="auto">
          <a:xfrm>
            <a:off x="7308000" y="1584000"/>
            <a:ext cx="3924000" cy="1080000"/>
          </a:xfrm>
          <a:prstGeom prst="rect">
            <a:avLst/>
          </a:prstGeom>
          <a:solidFill>
            <a:srgbClr val="005478">
              <a:alpha val="90000"/>
            </a:srgbClr>
          </a:solidFill>
          <a:ln w="9525">
            <a:noFill/>
            <a:miter lim="800000"/>
            <a:headEnd/>
            <a:tailEnd/>
          </a:ln>
        </p:spPr>
        <p:txBody>
          <a:bodyPr wrap="square" lIns="0" tIns="0" rIns="0" bIns="0" rtlCol="0" anchor="ctr" anchorCtr="0">
            <a:noAutofit/>
          </a:bodyPr>
          <a:lstStyle/>
          <a:p>
            <a:pPr algn="ctr" defTabSz="1088415" fontAlgn="base">
              <a:spcBef>
                <a:spcPct val="0"/>
              </a:spcBef>
              <a:spcAft>
                <a:spcPct val="0"/>
              </a:spcAft>
            </a:pPr>
            <a:r>
              <a:rPr lang="ru-RU" sz="1600" b="1" dirty="0" smtClean="0">
                <a:solidFill>
                  <a:schemeClr val="bg1"/>
                </a:solidFill>
                <a:ea typeface="Calibri" panose="020F0502020204030204" pitchFamily="34" charset="0"/>
                <a:cs typeface="Times New Roman" panose="02020603050405020304" pitchFamily="18" charset="0"/>
              </a:rPr>
              <a:t>УЛУЧШИТЬ</a:t>
            </a:r>
          </a:p>
          <a:p>
            <a:pPr algn="ctr" defTabSz="1088415" fontAlgn="base">
              <a:spcBef>
                <a:spcPct val="0"/>
              </a:spcBef>
              <a:spcAft>
                <a:spcPct val="0"/>
              </a:spcAft>
            </a:pPr>
            <a:r>
              <a:rPr lang="ru-RU" sz="1600" b="1" dirty="0" smtClean="0">
                <a:solidFill>
                  <a:schemeClr val="bg1"/>
                </a:solidFill>
                <a:ea typeface="Calibri" panose="020F0502020204030204" pitchFamily="34" charset="0"/>
                <a:cs typeface="Times New Roman" panose="02020603050405020304" pitchFamily="18" charset="0"/>
              </a:rPr>
              <a:t> ПЕРЕВОЗКУ ТОВАРОВ</a:t>
            </a:r>
            <a:endParaRPr lang="en-US" sz="2400" b="1" dirty="0" smtClean="0">
              <a:solidFill>
                <a:srgbClr val="FFFF00"/>
              </a:solidFill>
              <a:ea typeface="Calibri" panose="020F0502020204030204" pitchFamily="34" charset="0"/>
              <a:cs typeface="Times New Roman" panose="02020603050405020304" pitchFamily="18" charset="0"/>
            </a:endParaRPr>
          </a:p>
        </p:txBody>
      </p:sp>
      <p:sp>
        <p:nvSpPr>
          <p:cNvPr id="19" name="Textfeld 18"/>
          <p:cNvSpPr txBox="1"/>
          <p:nvPr/>
        </p:nvSpPr>
        <p:spPr bwMode="auto">
          <a:xfrm>
            <a:off x="7308000" y="3168000"/>
            <a:ext cx="3924000" cy="1080000"/>
          </a:xfrm>
          <a:prstGeom prst="rect">
            <a:avLst/>
          </a:prstGeom>
          <a:solidFill>
            <a:srgbClr val="005478">
              <a:alpha val="90000"/>
            </a:srgbClr>
          </a:solidFill>
          <a:ln w="9525">
            <a:noFill/>
            <a:miter lim="800000"/>
            <a:headEnd/>
            <a:tailEnd/>
          </a:ln>
        </p:spPr>
        <p:txBody>
          <a:bodyPr wrap="square" lIns="0" tIns="0" rIns="0" bIns="0" rtlCol="0" anchor="ctr" anchorCtr="0">
            <a:noAutofit/>
          </a:bodyPr>
          <a:lstStyle/>
          <a:p>
            <a:pPr algn="ctr" defTabSz="1088415" fontAlgn="base">
              <a:spcBef>
                <a:spcPct val="0"/>
              </a:spcBef>
              <a:spcAft>
                <a:spcPct val="0"/>
              </a:spcAft>
            </a:pPr>
            <a:r>
              <a:rPr lang="ru-RU" sz="1600" b="1" dirty="0" smtClean="0">
                <a:solidFill>
                  <a:schemeClr val="bg1"/>
                </a:solidFill>
                <a:ea typeface="Calibri" panose="020F0502020204030204" pitchFamily="34" charset="0"/>
                <a:cs typeface="Times New Roman" panose="02020603050405020304" pitchFamily="18" charset="0"/>
              </a:rPr>
              <a:t>СДЕЛАТЬ ОБЩЕСТВЕННЫЙ ТРАНСПОРТ БОЛЕЕ ПРИВЛЕКАТЕЛЬНЫМ</a:t>
            </a:r>
            <a:endParaRPr lang="en-US" sz="2400" b="1" dirty="0" smtClean="0">
              <a:solidFill>
                <a:srgbClr val="FFFF00"/>
              </a:solidFill>
              <a:ea typeface="Calibri" panose="020F0502020204030204" pitchFamily="34" charset="0"/>
              <a:cs typeface="Times New Roman" panose="02020603050405020304" pitchFamily="18" charset="0"/>
            </a:endParaRPr>
          </a:p>
        </p:txBody>
      </p:sp>
      <p:sp>
        <p:nvSpPr>
          <p:cNvPr id="20" name="Textfeld 19"/>
          <p:cNvSpPr txBox="1"/>
          <p:nvPr/>
        </p:nvSpPr>
        <p:spPr bwMode="auto">
          <a:xfrm>
            <a:off x="7308000" y="4679999"/>
            <a:ext cx="3924000" cy="1080000"/>
          </a:xfrm>
          <a:prstGeom prst="rect">
            <a:avLst/>
          </a:prstGeom>
          <a:solidFill>
            <a:srgbClr val="005478">
              <a:alpha val="90000"/>
            </a:srgbClr>
          </a:solidFill>
          <a:ln w="9525">
            <a:noFill/>
            <a:miter lim="800000"/>
            <a:headEnd/>
            <a:tailEnd/>
          </a:ln>
        </p:spPr>
        <p:txBody>
          <a:bodyPr wrap="square" lIns="0" tIns="0" rIns="0" bIns="0" rtlCol="0" anchor="ctr" anchorCtr="0">
            <a:noAutofit/>
          </a:bodyPr>
          <a:lstStyle/>
          <a:p>
            <a:pPr algn="ctr" defTabSz="1088415" fontAlgn="base">
              <a:spcBef>
                <a:spcPct val="0"/>
              </a:spcBef>
              <a:spcAft>
                <a:spcPct val="0"/>
              </a:spcAft>
            </a:pPr>
            <a:r>
              <a:rPr lang="ru-RU" b="1" dirty="0" smtClean="0">
                <a:solidFill>
                  <a:schemeClr val="bg1"/>
                </a:solidFill>
                <a:ea typeface="Calibri" panose="020F0502020204030204" pitchFamily="34" charset="0"/>
                <a:cs typeface="Times New Roman" panose="02020603050405020304" pitchFamily="18" charset="0"/>
              </a:rPr>
              <a:t>СВЯЗАТЬ РАЗНЫЕ </a:t>
            </a:r>
          </a:p>
          <a:p>
            <a:pPr algn="ctr" defTabSz="1088415" fontAlgn="base">
              <a:spcBef>
                <a:spcPct val="0"/>
              </a:spcBef>
              <a:spcAft>
                <a:spcPct val="0"/>
              </a:spcAft>
            </a:pPr>
            <a:r>
              <a:rPr lang="ru-RU" b="1" dirty="0" smtClean="0">
                <a:solidFill>
                  <a:schemeClr val="bg1"/>
                </a:solidFill>
                <a:ea typeface="Calibri" panose="020F0502020204030204" pitchFamily="34" charset="0"/>
                <a:cs typeface="Times New Roman" panose="02020603050405020304" pitchFamily="18" charset="0"/>
              </a:rPr>
              <a:t>РЕШЕНИЯ МОБИЛЬНОСТИ</a:t>
            </a:r>
            <a:endParaRPr lang="en-US" sz="2400" b="1" dirty="0" smtClean="0">
              <a:solidFill>
                <a:srgbClr val="FFFF00"/>
              </a:solidFill>
              <a:ea typeface="Calibri" panose="020F0502020204030204" pitchFamily="34" charset="0"/>
              <a:cs typeface="Times New Roman" panose="02020603050405020304" pitchFamily="18" charset="0"/>
            </a:endParaRPr>
          </a:p>
        </p:txBody>
      </p:sp>
      <p:sp>
        <p:nvSpPr>
          <p:cNvPr id="12" name="Ellipse 11"/>
          <p:cNvSpPr/>
          <p:nvPr/>
        </p:nvSpPr>
        <p:spPr>
          <a:xfrm>
            <a:off x="6588000" y="4644000"/>
            <a:ext cx="1144800" cy="1144800"/>
          </a:xfrm>
          <a:prstGeom prst="ellipse">
            <a:avLst/>
          </a:prstGeom>
          <a:blipFill>
            <a:blip r:embed="rId6"/>
            <a:stretch>
              <a:fillRect l="-32000" r="-24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15"/>
            <a:endParaRPr lang="de-DE" sz="1199" dirty="0">
              <a:solidFill>
                <a:prstClr val="white"/>
              </a:solidFill>
            </a:endParaRPr>
          </a:p>
        </p:txBody>
      </p:sp>
      <p:pic>
        <p:nvPicPr>
          <p:cNvPr id="2" name="Grafik 1"/>
          <p:cNvPicPr>
            <a:picLocks noChangeAspect="1"/>
          </p:cNvPicPr>
          <p:nvPr/>
        </p:nvPicPr>
        <p:blipFill rotWithShape="1">
          <a:blip r:embed="rId7" cstate="print">
            <a:extLst>
              <a:ext uri="{28A0092B-C50C-407E-A947-70E740481C1C}">
                <a14:useLocalDpi xmlns:a14="http://schemas.microsoft.com/office/drawing/2010/main" val="0"/>
              </a:ext>
            </a:extLst>
          </a:blip>
          <a:srcRect l="22973" r="22973"/>
          <a:stretch/>
        </p:blipFill>
        <p:spPr>
          <a:xfrm>
            <a:off x="1008000" y="1548000"/>
            <a:ext cx="1144800" cy="1144800"/>
          </a:xfrm>
          <a:prstGeom prst="ellipse">
            <a:avLst/>
          </a:prstGeom>
          <a:blipFill dpi="0" rotWithShape="1">
            <a:blip r:embed="rId8"/>
            <a:srcRect/>
            <a:stretch>
              <a:fillRect l="-25000" t="1000" r="-53000"/>
            </a:stretch>
          </a:blipFill>
          <a:ln>
            <a:noFill/>
          </a:ln>
        </p:spPr>
      </p:pic>
      <p:pic>
        <p:nvPicPr>
          <p:cNvPr id="3" name="Grafik 2"/>
          <p:cNvPicPr>
            <a:picLocks noChangeAspect="1"/>
          </p:cNvPicPr>
          <p:nvPr/>
        </p:nvPicPr>
        <p:blipFill rotWithShape="1">
          <a:blip r:embed="rId9">
            <a:extLst>
              <a:ext uri="{28A0092B-C50C-407E-A947-70E740481C1C}">
                <a14:useLocalDpi xmlns:a14="http://schemas.microsoft.com/office/drawing/2010/main" val="0"/>
              </a:ext>
            </a:extLst>
          </a:blip>
          <a:srcRect l="45923" t="-1450" r="7125" b="1450"/>
          <a:stretch/>
        </p:blipFill>
        <p:spPr>
          <a:xfrm>
            <a:off x="6588000" y="1548000"/>
            <a:ext cx="1144800" cy="1144800"/>
          </a:xfrm>
          <a:prstGeom prst="ellipse">
            <a:avLst/>
          </a:prstGeom>
        </p:spPr>
      </p:pic>
      <p:pic>
        <p:nvPicPr>
          <p:cNvPr id="5" name="Grafik 4"/>
          <p:cNvPicPr>
            <a:picLocks/>
          </p:cNvPicPr>
          <p:nvPr/>
        </p:nvPicPr>
        <p:blipFill>
          <a:blip r:embed="rId10" cstate="print">
            <a:extLst>
              <a:ext uri="{28A0092B-C50C-407E-A947-70E740481C1C}">
                <a14:useLocalDpi xmlns:a14="http://schemas.microsoft.com/office/drawing/2010/main" val="0"/>
              </a:ext>
            </a:extLst>
          </a:blip>
          <a:stretch>
            <a:fillRect/>
          </a:stretch>
        </p:blipFill>
        <p:spPr>
          <a:xfrm>
            <a:off x="6588000" y="3132000"/>
            <a:ext cx="1144800" cy="1144800"/>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73005044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0" y="0"/>
            <a:ext cx="12192000" cy="6858000"/>
          </a:xfrm>
          <a:prstGeom prst="rect">
            <a:avLst/>
          </a:prstGeom>
        </p:spPr>
      </p:pic>
      <p:sp>
        <p:nvSpPr>
          <p:cNvPr id="13" name="Rechteck 12"/>
          <p:cNvSpPr/>
          <p:nvPr/>
        </p:nvSpPr>
        <p:spPr bwMode="gray">
          <a:xfrm>
            <a:off x="6348027" y="1498500"/>
            <a:ext cx="1944217" cy="418331"/>
          </a:xfrm>
          <a:prstGeom prst="rect">
            <a:avLst/>
          </a:prstGeom>
          <a:noFill/>
          <a:ln>
            <a:noFill/>
          </a:ln>
          <a:effectLst>
            <a:outerShdw blurRad="203200" dir="2700000" algn="tl" rotWithShape="0">
              <a:prstClr val="black">
                <a:alpha val="5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ru-RU" sz="2400" b="1" cap="all" spc="300" dirty="0" smtClean="0">
                <a:solidFill>
                  <a:srgbClr val="00677F"/>
                </a:solidFill>
                <a:latin typeface="Arial monospaced for SAP" panose="020B0609020202030204" pitchFamily="49" charset="0"/>
              </a:rPr>
              <a:t>УСЛУГИ</a:t>
            </a:r>
            <a:endParaRPr lang="en-US" sz="2400" b="1" cap="all" spc="300" dirty="0">
              <a:solidFill>
                <a:srgbClr val="00677F"/>
              </a:solidFill>
              <a:latin typeface="Arial monospaced for SAP" panose="020B0609020202030204" pitchFamily="49" charset="0"/>
            </a:endParaRPr>
          </a:p>
        </p:txBody>
      </p:sp>
      <p:sp>
        <p:nvSpPr>
          <p:cNvPr id="14" name="Rechteck 13"/>
          <p:cNvSpPr/>
          <p:nvPr/>
        </p:nvSpPr>
        <p:spPr bwMode="gray">
          <a:xfrm>
            <a:off x="6348026" y="3991978"/>
            <a:ext cx="1944216" cy="395437"/>
          </a:xfrm>
          <a:prstGeom prst="rect">
            <a:avLst/>
          </a:prstGeom>
          <a:noFill/>
          <a:ln>
            <a:noFill/>
          </a:ln>
          <a:effectLst>
            <a:outerShdw blurRad="203200" dir="2700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ru-RU" sz="2400" b="1" cap="all" spc="300" dirty="0" smtClean="0">
                <a:solidFill>
                  <a:srgbClr val="00677F"/>
                </a:solidFill>
                <a:latin typeface="Arial monospaced for SAP" panose="020B0609020202030204" pitchFamily="49" charset="0"/>
              </a:rPr>
              <a:t>СОВМЕСТНО</a:t>
            </a:r>
            <a:endParaRPr lang="en-US" sz="2400" b="1" cap="all" spc="300" dirty="0">
              <a:solidFill>
                <a:srgbClr val="00677F"/>
              </a:solidFill>
              <a:latin typeface="Arial monospaced for SAP" panose="020B0609020202030204" pitchFamily="49" charset="0"/>
            </a:endParaRPr>
          </a:p>
        </p:txBody>
      </p:sp>
      <p:sp>
        <p:nvSpPr>
          <p:cNvPr id="12" name="Rechteck 11"/>
          <p:cNvSpPr/>
          <p:nvPr/>
        </p:nvSpPr>
        <p:spPr bwMode="gray">
          <a:xfrm>
            <a:off x="216000" y="431999"/>
            <a:ext cx="11528329" cy="828000"/>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7306"/>
            <a:r>
              <a:rPr lang="ru-RU" sz="2800" b="1" dirty="0" smtClean="0">
                <a:solidFill>
                  <a:prstClr val="white"/>
                </a:solidFill>
                <a:latin typeface="CorpoS" pitchFamily="2" charset="0"/>
                <a:ea typeface="MS Mincho" panose="02020609040205080304" pitchFamily="49" charset="-128"/>
                <a:cs typeface="Helvetica" panose="020B0604020202020204" pitchFamily="34" charset="0"/>
              </a:rPr>
              <a:t>НАШ ОТВЕТ</a:t>
            </a:r>
            <a:r>
              <a:rPr lang="de-DE" sz="2800" b="1" dirty="0" smtClean="0">
                <a:solidFill>
                  <a:prstClr val="white"/>
                </a:solidFill>
                <a:latin typeface="CorpoS" pitchFamily="2" charset="0"/>
                <a:ea typeface="MS Mincho" panose="02020609040205080304" pitchFamily="49" charset="-128"/>
                <a:cs typeface="Helvetica" panose="020B0604020202020204" pitchFamily="34" charset="0"/>
              </a:rPr>
              <a:t>– </a:t>
            </a:r>
            <a:r>
              <a:rPr lang="ru-RU" sz="2800" b="1" dirty="0" smtClean="0">
                <a:solidFill>
                  <a:srgbClr val="FFFF00"/>
                </a:solidFill>
                <a:latin typeface="CorpoS" pitchFamily="2" charset="0"/>
                <a:ea typeface="MS Mincho" panose="02020609040205080304" pitchFamily="49" charset="-128"/>
                <a:cs typeface="Helvetica" panose="020B0604020202020204" pitchFamily="34" charset="0"/>
              </a:rPr>
              <a:t>НАШ ПОДХОД</a:t>
            </a:r>
            <a:endParaRPr lang="de-DE" sz="2800" b="1" dirty="0">
              <a:solidFill>
                <a:srgbClr val="FFFF00"/>
              </a:solidFill>
              <a:latin typeface="CorpoS" pitchFamily="2" charset="0"/>
              <a:ea typeface="MS Mincho" panose="02020609040205080304" pitchFamily="49" charset="-128"/>
              <a:cs typeface="Helvetica" panose="020B0604020202020204" pitchFamily="34" charset="0"/>
            </a:endParaRPr>
          </a:p>
        </p:txBody>
      </p:sp>
    </p:spTree>
    <p:extLst>
      <p:ext uri="{BB962C8B-B14F-4D97-AF65-F5344CB8AC3E}">
        <p14:creationId xmlns:p14="http://schemas.microsoft.com/office/powerpoint/2010/main" val="16705376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grpId="0" nodeType="afterEffect">
                                  <p:stCondLst>
                                    <p:cond delay="0"/>
                                  </p:stCondLst>
                                  <p:childTnLst>
                                    <p:animScale>
                                      <p:cBhvr>
                                        <p:cTn id="6" dur="2000" fill="hold"/>
                                        <p:tgtEl>
                                          <p:spTgt spid="14"/>
                                        </p:tgtEl>
                                      </p:cBhvr>
                                      <p:by x="150000" y="150000"/>
                                    </p:animScale>
                                  </p:childTnLst>
                                </p:cTn>
                              </p:par>
                              <p:par>
                                <p:cTn id="7" presetID="6" presetClass="emph" presetSubtype="0" fill="hold" grpId="0" nodeType="withEffect">
                                  <p:stCondLst>
                                    <p:cond delay="0"/>
                                  </p:stCondLst>
                                  <p:childTnLst>
                                    <p:animScale>
                                      <p:cBhvr>
                                        <p:cTn id="8" dur="2000" fill="hold"/>
                                        <p:tgtEl>
                                          <p:spTgt spid="13"/>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0"/>
            <a:ext cx="12192001" cy="8151947"/>
          </a:xfrm>
          <a:prstGeom prst="rect">
            <a:avLst/>
          </a:prstGeom>
        </p:spPr>
      </p:pic>
      <p:sp>
        <p:nvSpPr>
          <p:cNvPr id="8" name="Rechteck 7"/>
          <p:cNvSpPr/>
          <p:nvPr/>
        </p:nvSpPr>
        <p:spPr bwMode="gray">
          <a:xfrm>
            <a:off x="216000" y="431999"/>
            <a:ext cx="11528329" cy="828000"/>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7306"/>
            <a:r>
              <a:rPr lang="ru-RU" sz="2800" b="1" dirty="0" smtClean="0">
                <a:solidFill>
                  <a:prstClr val="white"/>
                </a:solidFill>
                <a:latin typeface="CorpoS" pitchFamily="2" charset="0"/>
                <a:ea typeface="MS Mincho" panose="02020609040205080304" pitchFamily="49" charset="-128"/>
                <a:cs typeface="Helvetica" panose="020B0604020202020204" pitchFamily="34" charset="0"/>
              </a:rPr>
              <a:t>КОГДА АВТОНОМНЫЕ ЭЛЕКТРОМОБИЛИ СТАНУТ РЕАЛЬНОСТЬЮ</a:t>
            </a:r>
            <a:r>
              <a:rPr lang="de-DE" sz="2800" b="1" dirty="0" smtClean="0">
                <a:solidFill>
                  <a:prstClr val="white"/>
                </a:solidFill>
                <a:latin typeface="CorpoS" pitchFamily="2" charset="0"/>
                <a:ea typeface="MS Mincho" panose="02020609040205080304" pitchFamily="49" charset="-128"/>
                <a:cs typeface="Helvetica" panose="020B0604020202020204" pitchFamily="34" charset="0"/>
              </a:rPr>
              <a:t>…</a:t>
            </a:r>
            <a:endParaRPr lang="de-DE" sz="2800" b="1" dirty="0">
              <a:solidFill>
                <a:prstClr val="white"/>
              </a:solidFill>
              <a:latin typeface="CorpoS" pitchFamily="2" charset="0"/>
              <a:ea typeface="MS Mincho" panose="02020609040205080304" pitchFamily="49" charset="-128"/>
              <a:cs typeface="Helvetica" panose="020B0604020202020204" pitchFamily="34" charset="0"/>
            </a:endParaRPr>
          </a:p>
        </p:txBody>
      </p:sp>
      <p:sp>
        <p:nvSpPr>
          <p:cNvPr id="10" name="Rechteck 9"/>
          <p:cNvSpPr/>
          <p:nvPr/>
        </p:nvSpPr>
        <p:spPr bwMode="gray">
          <a:xfrm>
            <a:off x="6776329" y="2235775"/>
            <a:ext cx="4968000" cy="1273433"/>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7306"/>
            <a:r>
              <a:rPr lang="de-DE" sz="2400" b="1" dirty="0" smtClean="0">
                <a:solidFill>
                  <a:srgbClr val="FFFF00"/>
                </a:solidFill>
                <a:latin typeface="CorpoS" pitchFamily="2" charset="0"/>
                <a:ea typeface="MS Mincho" panose="02020609040205080304" pitchFamily="49" charset="-128"/>
                <a:cs typeface="Helvetica" panose="020B0604020202020204" pitchFamily="34" charset="0"/>
              </a:rPr>
              <a:t>~94% </a:t>
            </a:r>
            <a:r>
              <a:rPr lang="ru-RU" sz="2400" b="1" dirty="0" smtClean="0">
                <a:solidFill>
                  <a:srgbClr val="FFFF00"/>
                </a:solidFill>
                <a:latin typeface="CorpoS" pitchFamily="2" charset="0"/>
                <a:ea typeface="MS Mincho" panose="02020609040205080304" pitchFamily="49" charset="-128"/>
                <a:cs typeface="Helvetica" panose="020B0604020202020204" pitchFamily="34" charset="0"/>
              </a:rPr>
              <a:t>СНИЖЕНИЕ ВЫБРОСОВ </a:t>
            </a:r>
            <a:r>
              <a:rPr lang="de-DE" sz="2400" b="1" dirty="0" smtClean="0">
                <a:solidFill>
                  <a:srgbClr val="FFFF00"/>
                </a:solidFill>
                <a:latin typeface="CorpoS" pitchFamily="2" charset="0"/>
                <a:ea typeface="MS Mincho" panose="02020609040205080304" pitchFamily="49" charset="-128"/>
                <a:cs typeface="Helvetica" panose="020B0604020202020204" pitchFamily="34" charset="0"/>
              </a:rPr>
              <a:t> </a:t>
            </a:r>
            <a:r>
              <a:rPr lang="ru-RU" sz="2400" b="1" dirty="0" smtClean="0">
                <a:solidFill>
                  <a:schemeClr val="bg1"/>
                </a:solidFill>
                <a:latin typeface="CorpoS" pitchFamily="2" charset="0"/>
                <a:ea typeface="MS Mincho" panose="02020609040205080304" pitchFamily="49" charset="-128"/>
                <a:cs typeface="Helvetica" panose="020B0604020202020204" pitchFamily="34" charset="0"/>
              </a:rPr>
              <a:t>НА КИЛОМЕТР К </a:t>
            </a:r>
            <a:r>
              <a:rPr lang="de-DE" sz="2400" b="1" dirty="0" smtClean="0">
                <a:solidFill>
                  <a:prstClr val="white"/>
                </a:solidFill>
                <a:latin typeface="CorpoS" pitchFamily="2" charset="0"/>
                <a:ea typeface="MS Mincho" panose="02020609040205080304" pitchFamily="49" charset="-128"/>
                <a:cs typeface="Helvetica" panose="020B0604020202020204" pitchFamily="34" charset="0"/>
              </a:rPr>
              <a:t>2030</a:t>
            </a:r>
            <a:r>
              <a:rPr lang="de-DE" sz="2400" b="1" dirty="0" smtClean="0">
                <a:solidFill>
                  <a:prstClr val="white"/>
                </a:solidFill>
                <a:latin typeface="CorpoS" pitchFamily="2" charset="0"/>
                <a:ea typeface="MS Mincho" panose="02020609040205080304" pitchFamily="49" charset="-128"/>
                <a:cs typeface="Helvetica" panose="020B0604020202020204" pitchFamily="34" charset="0"/>
              </a:rPr>
              <a:t>*</a:t>
            </a:r>
            <a:endParaRPr lang="de-DE" sz="1400" b="1" dirty="0">
              <a:solidFill>
                <a:srgbClr val="FFFF00"/>
              </a:solidFill>
              <a:latin typeface="CorpoS" pitchFamily="2" charset="0"/>
              <a:ea typeface="MS Mincho" panose="02020609040205080304" pitchFamily="49" charset="-128"/>
              <a:cs typeface="Helvetica" panose="020B0604020202020204" pitchFamily="34" charset="0"/>
            </a:endParaRPr>
          </a:p>
        </p:txBody>
      </p:sp>
      <p:sp>
        <p:nvSpPr>
          <p:cNvPr id="6" name="Rechteck 5"/>
          <p:cNvSpPr/>
          <p:nvPr/>
        </p:nvSpPr>
        <p:spPr bwMode="gray">
          <a:xfrm>
            <a:off x="6776329" y="3785147"/>
            <a:ext cx="4968000" cy="1273433"/>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7306"/>
            <a:r>
              <a:rPr lang="ru-RU" sz="2400" b="1" dirty="0" smtClean="0">
                <a:solidFill>
                  <a:srgbClr val="FFFF00"/>
                </a:solidFill>
                <a:latin typeface="CorpoS" pitchFamily="2" charset="0"/>
                <a:ea typeface="MS Mincho" panose="02020609040205080304" pitchFamily="49" charset="-128"/>
                <a:cs typeface="Helvetica" panose="020B0604020202020204" pitchFamily="34" charset="0"/>
              </a:rPr>
              <a:t>БУДУТ ПРОДАВАТЬСЯ НЕ ТОЛЬКО МАШИНЫ, НО И КИЛОМЕТРЫ</a:t>
            </a:r>
            <a:endParaRPr lang="de-DE" b="1" dirty="0">
              <a:solidFill>
                <a:srgbClr val="FFFF00"/>
              </a:solidFill>
              <a:latin typeface="CorpoS" pitchFamily="2" charset="0"/>
              <a:ea typeface="MS Mincho" panose="02020609040205080304" pitchFamily="49" charset="-128"/>
              <a:cs typeface="Helvetica" panose="020B0604020202020204" pitchFamily="34" charset="0"/>
            </a:endParaRPr>
          </a:p>
        </p:txBody>
      </p:sp>
      <p:sp>
        <p:nvSpPr>
          <p:cNvPr id="11" name="Textfeld 10"/>
          <p:cNvSpPr txBox="1"/>
          <p:nvPr/>
        </p:nvSpPr>
        <p:spPr bwMode="auto">
          <a:xfrm>
            <a:off x="9203565" y="7583728"/>
            <a:ext cx="5329168" cy="138499"/>
          </a:xfrm>
          <a:prstGeom prst="rect">
            <a:avLst/>
          </a:prstGeom>
          <a:noFill/>
          <a:ln w="9525">
            <a:noFill/>
            <a:miter lim="800000"/>
            <a:headEnd/>
            <a:tailEnd/>
          </a:ln>
        </p:spPr>
        <p:txBody>
          <a:bodyPr wrap="square" lIns="0" tIns="0" rIns="0" bIns="0" rtlCol="0" anchor="t" anchorCtr="0">
            <a:spAutoFit/>
          </a:bodyPr>
          <a:lstStyle/>
          <a:p>
            <a:pPr defTabSz="914583" fontAlgn="base">
              <a:spcBef>
                <a:spcPct val="0"/>
              </a:spcBef>
              <a:spcAft>
                <a:spcPct val="0"/>
              </a:spcAft>
            </a:pPr>
            <a:r>
              <a:rPr lang="en-US" sz="900" b="1" dirty="0" smtClean="0">
                <a:solidFill>
                  <a:prstClr val="white">
                    <a:alpha val="61000"/>
                  </a:prstClr>
                </a:solidFill>
                <a:latin typeface="CorpoS" pitchFamily="2" charset="0"/>
                <a:cs typeface="Daimler CS"/>
              </a:rPr>
              <a:t>*SOURCE: FUTURES CENTRE</a:t>
            </a:r>
            <a:endParaRPr lang="en-US" sz="900" b="1" dirty="0">
              <a:solidFill>
                <a:prstClr val="white">
                  <a:alpha val="61000"/>
                </a:prstClr>
              </a:solidFill>
              <a:latin typeface="CorpoS" pitchFamily="2" charset="0"/>
              <a:cs typeface="Daimler CS"/>
            </a:endParaRPr>
          </a:p>
        </p:txBody>
      </p:sp>
    </p:spTree>
    <p:extLst>
      <p:ext uri="{BB962C8B-B14F-4D97-AF65-F5344CB8AC3E}">
        <p14:creationId xmlns:p14="http://schemas.microsoft.com/office/powerpoint/2010/main" val="21223685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405" y="0"/>
            <a:ext cx="12294405" cy="8170084"/>
          </a:xfrm>
          <a:prstGeom prst="rect">
            <a:avLst/>
          </a:prstGeom>
        </p:spPr>
      </p:pic>
      <p:sp>
        <p:nvSpPr>
          <p:cNvPr id="17" name="Rechteck 16"/>
          <p:cNvSpPr/>
          <p:nvPr/>
        </p:nvSpPr>
        <p:spPr>
          <a:xfrm>
            <a:off x="231543" y="2895074"/>
            <a:ext cx="4239089" cy="1376247"/>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dirty="0" smtClean="0">
                <a:solidFill>
                  <a:srgbClr val="FFFF00"/>
                </a:solidFill>
                <a:latin typeface="CorpoS" pitchFamily="2" charset="0"/>
              </a:rPr>
              <a:t>10 </a:t>
            </a:r>
            <a:r>
              <a:rPr lang="ru-RU" sz="2400" b="1" dirty="0" smtClean="0">
                <a:solidFill>
                  <a:srgbClr val="FFFF00"/>
                </a:solidFill>
                <a:latin typeface="CorpoS" pitchFamily="2" charset="0"/>
              </a:rPr>
              <a:t>МЛРД ЕВРО ИНВЕСТИЦИЙ</a:t>
            </a:r>
            <a:endParaRPr lang="de-DE" sz="2400" b="1" dirty="0" smtClean="0">
              <a:solidFill>
                <a:srgbClr val="FFFF00"/>
              </a:solidFill>
              <a:latin typeface="CorpoS" pitchFamily="2" charset="0"/>
            </a:endParaRPr>
          </a:p>
          <a:p>
            <a:pPr algn="ctr"/>
            <a:r>
              <a:rPr lang="de-DE" sz="2000" b="1" dirty="0" smtClean="0">
                <a:solidFill>
                  <a:srgbClr val="FFFF00"/>
                </a:solidFill>
                <a:latin typeface="CorpoS" pitchFamily="2" charset="0"/>
              </a:rPr>
              <a:t> </a:t>
            </a:r>
            <a:r>
              <a:rPr lang="ru-RU" b="1" dirty="0" smtClean="0">
                <a:solidFill>
                  <a:schemeClr val="bg1"/>
                </a:solidFill>
                <a:latin typeface="CorpoS" pitchFamily="2" charset="0"/>
              </a:rPr>
              <a:t>В МОБИЛЬНОСТЬ БЕЗ ВЫБРОСОВ</a:t>
            </a:r>
            <a:endParaRPr lang="de-DE" sz="2000" b="1" dirty="0">
              <a:solidFill>
                <a:schemeClr val="bg1"/>
              </a:solidFill>
              <a:latin typeface="CorpoS" pitchFamily="2" charset="0"/>
            </a:endParaRPr>
          </a:p>
        </p:txBody>
      </p:sp>
      <p:sp>
        <p:nvSpPr>
          <p:cNvPr id="18" name="Rechteck 17"/>
          <p:cNvSpPr/>
          <p:nvPr/>
        </p:nvSpPr>
        <p:spPr>
          <a:xfrm>
            <a:off x="8424329" y="2386034"/>
            <a:ext cx="3822043" cy="1062697"/>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dirty="0" smtClean="0">
                <a:solidFill>
                  <a:srgbClr val="FFFF00"/>
                </a:solidFill>
                <a:latin typeface="CorpoS" pitchFamily="2" charset="0"/>
              </a:rPr>
              <a:t>1 </a:t>
            </a:r>
            <a:r>
              <a:rPr lang="ru-RU" sz="2400" b="1" dirty="0" smtClean="0">
                <a:solidFill>
                  <a:srgbClr val="FFFF00"/>
                </a:solidFill>
                <a:latin typeface="CorpoS" pitchFamily="2" charset="0"/>
              </a:rPr>
              <a:t>МЛРД ЕВРО ИНВЕСТИЦИЙ</a:t>
            </a:r>
            <a:endParaRPr lang="de-DE" sz="2400" b="1" dirty="0" smtClean="0">
              <a:solidFill>
                <a:srgbClr val="FFFF00"/>
              </a:solidFill>
              <a:latin typeface="CorpoS" pitchFamily="2" charset="0"/>
            </a:endParaRPr>
          </a:p>
          <a:p>
            <a:pPr algn="ctr"/>
            <a:r>
              <a:rPr lang="ru-RU" b="1" dirty="0" smtClean="0">
                <a:solidFill>
                  <a:prstClr val="white"/>
                </a:solidFill>
                <a:latin typeface="CorpoS" pitchFamily="2" charset="0"/>
              </a:rPr>
              <a:t>В ПРОИЗВОДСТВО БАТАРЕЙ</a:t>
            </a:r>
            <a:endParaRPr lang="de-DE" b="1" dirty="0">
              <a:solidFill>
                <a:prstClr val="white"/>
              </a:solidFill>
              <a:latin typeface="CorpoS" pitchFamily="2" charset="0"/>
            </a:endParaRPr>
          </a:p>
        </p:txBody>
      </p:sp>
      <p:cxnSp>
        <p:nvCxnSpPr>
          <p:cNvPr id="20" name="Gerader Verbinder 19"/>
          <p:cNvCxnSpPr/>
          <p:nvPr/>
        </p:nvCxnSpPr>
        <p:spPr>
          <a:xfrm rot="5400000">
            <a:off x="15622252" y="-4842269"/>
            <a:ext cx="4154" cy="14400000"/>
          </a:xfrm>
          <a:prstGeom prst="line">
            <a:avLst/>
          </a:prstGeom>
          <a:ln w="571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rot="5400000">
            <a:off x="2348155" y="2169202"/>
            <a:ext cx="4154" cy="4240800"/>
          </a:xfrm>
          <a:prstGeom prst="line">
            <a:avLst/>
          </a:prstGeom>
          <a:ln w="57150">
            <a:solidFill>
              <a:srgbClr val="FFFFFF"/>
            </a:solidFill>
          </a:ln>
        </p:spPr>
        <p:style>
          <a:lnRef idx="1">
            <a:schemeClr val="accent1"/>
          </a:lnRef>
          <a:fillRef idx="0">
            <a:schemeClr val="accent1"/>
          </a:fillRef>
          <a:effectRef idx="0">
            <a:schemeClr val="accent1"/>
          </a:effectRef>
          <a:fontRef idx="minor">
            <a:schemeClr val="tx1"/>
          </a:fontRef>
        </p:style>
      </p:cxnSp>
      <p:sp>
        <p:nvSpPr>
          <p:cNvPr id="9" name="Rechteck 8"/>
          <p:cNvSpPr/>
          <p:nvPr/>
        </p:nvSpPr>
        <p:spPr>
          <a:xfrm>
            <a:off x="231543" y="4316191"/>
            <a:ext cx="4239089" cy="842569"/>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prstClr val="white"/>
                </a:solidFill>
                <a:latin typeface="CorpoS" pitchFamily="2" charset="0"/>
              </a:rPr>
              <a:t>К 2022 КАЖДАЯ СЕРИЯ МАШИН ПОЛУЧИТ ЭЛЕКТРО ВЕРСИЮ</a:t>
            </a:r>
            <a:endParaRPr lang="de-DE" b="1" dirty="0">
              <a:solidFill>
                <a:prstClr val="white"/>
              </a:solidFill>
              <a:latin typeface="CorpoS" pitchFamily="2" charset="0"/>
            </a:endParaRPr>
          </a:p>
        </p:txBody>
      </p:sp>
      <p:sp>
        <p:nvSpPr>
          <p:cNvPr id="8" name="Rechteck 7"/>
          <p:cNvSpPr/>
          <p:nvPr/>
        </p:nvSpPr>
        <p:spPr bwMode="gray">
          <a:xfrm>
            <a:off x="216000" y="431999"/>
            <a:ext cx="11528329" cy="828000"/>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7306"/>
            <a:r>
              <a:rPr lang="ru-RU" sz="2800" b="1" dirty="0" smtClean="0">
                <a:solidFill>
                  <a:prstClr val="white"/>
                </a:solidFill>
                <a:latin typeface="CorpoS" pitchFamily="2" charset="0"/>
                <a:ea typeface="MS Mincho" panose="02020609040205080304" pitchFamily="49" charset="-128"/>
                <a:cs typeface="Helvetica" panose="020B0604020202020204" pitchFamily="34" charset="0"/>
              </a:rPr>
              <a:t>НАША ЦЕЛЬ ЯСНА</a:t>
            </a:r>
            <a:r>
              <a:rPr lang="en-US" sz="2800" b="1" dirty="0" smtClean="0">
                <a:solidFill>
                  <a:prstClr val="white"/>
                </a:solidFill>
                <a:latin typeface="CorpoS" pitchFamily="2" charset="0"/>
                <a:ea typeface="MS Mincho" panose="02020609040205080304" pitchFamily="49" charset="-128"/>
                <a:cs typeface="Helvetica" panose="020B0604020202020204" pitchFamily="34" charset="0"/>
              </a:rPr>
              <a:t>: </a:t>
            </a:r>
            <a:r>
              <a:rPr lang="ru-RU" sz="2800" b="1" dirty="0" smtClean="0">
                <a:solidFill>
                  <a:srgbClr val="FFFF00"/>
                </a:solidFill>
                <a:latin typeface="CorpoS" pitchFamily="2" charset="0"/>
                <a:ea typeface="MS Mincho" panose="02020609040205080304" pitchFamily="49" charset="-128"/>
                <a:cs typeface="Helvetica" panose="020B0604020202020204" pitchFamily="34" charset="0"/>
              </a:rPr>
              <a:t>МОБИЛЬНОСТЬ БЕЗ ВЫБРОСОВ</a:t>
            </a:r>
            <a:endParaRPr lang="en-US" sz="2800" b="1" dirty="0">
              <a:solidFill>
                <a:prstClr val="white"/>
              </a:solidFill>
              <a:latin typeface="CorpoS" pitchFamily="2" charset="0"/>
              <a:ea typeface="MS Mincho" panose="02020609040205080304" pitchFamily="49" charset="-128"/>
              <a:cs typeface="Helvetica" panose="020B0604020202020204" pitchFamily="34" charset="0"/>
            </a:endParaRPr>
          </a:p>
        </p:txBody>
      </p:sp>
    </p:spTree>
    <p:extLst>
      <p:ext uri="{BB962C8B-B14F-4D97-AF65-F5344CB8AC3E}">
        <p14:creationId xmlns:p14="http://schemas.microsoft.com/office/powerpoint/2010/main" val="16064146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1820" y="-1591399"/>
            <a:ext cx="13389080" cy="10040798"/>
          </a:xfrm>
          <a:prstGeom prst="rect">
            <a:avLst/>
          </a:prstGeom>
        </p:spPr>
      </p:pic>
      <p:sp>
        <p:nvSpPr>
          <p:cNvPr id="6" name="Rechteck 5"/>
          <p:cNvSpPr/>
          <p:nvPr/>
        </p:nvSpPr>
        <p:spPr bwMode="gray">
          <a:xfrm>
            <a:off x="216000" y="431999"/>
            <a:ext cx="11528329" cy="828000"/>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7306"/>
            <a:r>
              <a:rPr lang="ru-RU" sz="2800" b="1" dirty="0" smtClean="0">
                <a:solidFill>
                  <a:prstClr val="white"/>
                </a:solidFill>
                <a:latin typeface="CorpoS" pitchFamily="2" charset="0"/>
                <a:ea typeface="MS Mincho" panose="02020609040205080304" pitchFamily="49" charset="-128"/>
                <a:cs typeface="Helvetica" panose="020B0604020202020204" pitchFamily="34" charset="0"/>
              </a:rPr>
              <a:t>И СЕЙЧАС МЫ ПОДНИМЕМ МОБИЛЬНОСТЬ НА НОВЫЙ УРОВЕНЬ!</a:t>
            </a:r>
            <a:endParaRPr lang="de-DE" sz="2800" b="1" dirty="0">
              <a:solidFill>
                <a:srgbClr val="FFFF00"/>
              </a:solidFill>
              <a:latin typeface="CorpoS" pitchFamily="2" charset="0"/>
              <a:ea typeface="MS Mincho" panose="02020609040205080304" pitchFamily="49" charset="-128"/>
              <a:cs typeface="Helvetica" panose="020B0604020202020204" pitchFamily="34" charset="0"/>
            </a:endParaRPr>
          </a:p>
        </p:txBody>
      </p:sp>
      <p:sp>
        <p:nvSpPr>
          <p:cNvPr id="10" name="Rechteck 9"/>
          <p:cNvSpPr/>
          <p:nvPr/>
        </p:nvSpPr>
        <p:spPr>
          <a:xfrm>
            <a:off x="8352249" y="2006122"/>
            <a:ext cx="3515900" cy="4004132"/>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ru-RU" sz="2000" b="1" dirty="0" smtClean="0">
                <a:solidFill>
                  <a:prstClr val="white"/>
                </a:solidFill>
                <a:latin typeface="CorpoS" pitchFamily="2" charset="0"/>
              </a:rPr>
              <a:t>МЫ ОБЪЕДИНЯЕМ СИЛЫ </a:t>
            </a:r>
            <a:endParaRPr lang="en-US" sz="2000" b="1" dirty="0" smtClean="0">
              <a:solidFill>
                <a:prstClr val="white"/>
              </a:solidFill>
              <a:latin typeface="CorpoS" pitchFamily="2" charset="0"/>
            </a:endParaRPr>
          </a:p>
          <a:p>
            <a:pPr algn="ctr" defTabSz="1087306"/>
            <a:r>
              <a:rPr lang="ru-RU" sz="3600" b="1" dirty="0" smtClean="0">
                <a:solidFill>
                  <a:srgbClr val="FFFF00"/>
                </a:solidFill>
                <a:latin typeface="CorpoS" pitchFamily="2" charset="0"/>
              </a:rPr>
              <a:t>С</a:t>
            </a:r>
            <a:r>
              <a:rPr lang="en-US" sz="3600" b="1" dirty="0" smtClean="0">
                <a:solidFill>
                  <a:srgbClr val="FFFF00"/>
                </a:solidFill>
                <a:latin typeface="CorpoS" pitchFamily="2" charset="0"/>
              </a:rPr>
              <a:t> </a:t>
            </a:r>
            <a:r>
              <a:rPr lang="en-US" sz="3600" b="1" dirty="0" smtClean="0">
                <a:solidFill>
                  <a:srgbClr val="FFFF00"/>
                </a:solidFill>
                <a:latin typeface="CorpoS" pitchFamily="2" charset="0"/>
              </a:rPr>
              <a:t>BMW</a:t>
            </a:r>
          </a:p>
          <a:p>
            <a:pPr algn="ctr" defTabSz="1087306"/>
            <a:r>
              <a:rPr lang="ru-RU" sz="2000" b="1" dirty="0" smtClean="0">
                <a:solidFill>
                  <a:prstClr val="white"/>
                </a:solidFill>
                <a:latin typeface="CorpoS" pitchFamily="2" charset="0"/>
              </a:rPr>
              <a:t>И ИНВЕСТИРУЕМ</a:t>
            </a:r>
            <a:endParaRPr lang="en-US" sz="2000" b="1" dirty="0" smtClean="0">
              <a:solidFill>
                <a:prstClr val="white"/>
              </a:solidFill>
              <a:latin typeface="CorpoS" pitchFamily="2" charset="0"/>
            </a:endParaRPr>
          </a:p>
          <a:p>
            <a:pPr algn="ctr" defTabSz="1087306"/>
            <a:r>
              <a:rPr lang="ru-RU" sz="3600" b="1" dirty="0" smtClean="0">
                <a:solidFill>
                  <a:srgbClr val="FFFF00"/>
                </a:solidFill>
                <a:latin typeface="CorpoS" pitchFamily="2" charset="0"/>
              </a:rPr>
              <a:t>БОЛЕЕ МИЛЛИАРДА ЕВРО</a:t>
            </a:r>
            <a:endParaRPr lang="en-US" sz="3600" b="1" dirty="0" smtClean="0">
              <a:solidFill>
                <a:srgbClr val="FFFF00"/>
              </a:solidFill>
              <a:latin typeface="CorpoS" pitchFamily="2" charset="0"/>
            </a:endParaRPr>
          </a:p>
          <a:p>
            <a:pPr algn="ctr" defTabSz="1087306"/>
            <a:r>
              <a:rPr lang="ru-RU" sz="2000" b="1" dirty="0" smtClean="0">
                <a:solidFill>
                  <a:prstClr val="white"/>
                </a:solidFill>
                <a:latin typeface="CorpoS" pitchFamily="2" charset="0"/>
              </a:rPr>
              <a:t>ЧТОБЫ СТАТЬ НОВЫМ ЛОКОМОТИВОМ МОБИЛЬНОСТИ</a:t>
            </a:r>
            <a:endParaRPr lang="en-US" sz="2000" b="1" dirty="0">
              <a:solidFill>
                <a:prstClr val="white"/>
              </a:solidFill>
              <a:latin typeface="CorpoS" pitchFamily="2" charset="0"/>
            </a:endParaRPr>
          </a:p>
        </p:txBody>
      </p:sp>
      <p:pic>
        <p:nvPicPr>
          <p:cNvPr id="11" name="Wortmarke DAIMLER" descr="Daimler_RGB_100mm.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32085" y="5178186"/>
            <a:ext cx="2852535" cy="386040"/>
          </a:xfrm>
          <a:prstGeom prst="rect">
            <a:avLst/>
          </a:prstGeom>
        </p:spPr>
      </p:pic>
      <p:pic>
        <p:nvPicPr>
          <p:cNvPr id="12" name="Grafik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89231" y="4873672"/>
            <a:ext cx="995068" cy="995068"/>
          </a:xfrm>
          <a:prstGeom prst="rect">
            <a:avLst/>
          </a:prstGeom>
        </p:spPr>
      </p:pic>
    </p:spTree>
    <p:extLst>
      <p:ext uri="{BB962C8B-B14F-4D97-AF65-F5344CB8AC3E}">
        <p14:creationId xmlns:p14="http://schemas.microsoft.com/office/powerpoint/2010/main" val="1417072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7140" y="-613410"/>
            <a:ext cx="12446280" cy="8298180"/>
          </a:xfrm>
          <a:prstGeom prst="rect">
            <a:avLst/>
          </a:prstGeom>
        </p:spPr>
      </p:pic>
      <p:sp>
        <p:nvSpPr>
          <p:cNvPr id="5" name="Rechteck 4"/>
          <p:cNvSpPr/>
          <p:nvPr/>
        </p:nvSpPr>
        <p:spPr bwMode="gray">
          <a:xfrm>
            <a:off x="216000" y="431999"/>
            <a:ext cx="11528329" cy="828000"/>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7306"/>
            <a:r>
              <a:rPr lang="ru-RU" sz="2800" b="1" dirty="0" smtClean="0">
                <a:solidFill>
                  <a:prstClr val="white"/>
                </a:solidFill>
                <a:latin typeface="CorpoS" pitchFamily="2" charset="0"/>
                <a:ea typeface="MS Mincho" panose="02020609040205080304" pitchFamily="49" charset="-128"/>
                <a:cs typeface="Helvetica" panose="020B0604020202020204" pitchFamily="34" charset="0"/>
              </a:rPr>
              <a:t>МЫ ОБЪЕДИНЯЕМ ДОПОЛНЯЮЩИЕ ДРУГ ДРУГА ЧАСТИ</a:t>
            </a:r>
            <a:endParaRPr lang="de-DE" sz="2800" b="1" dirty="0">
              <a:solidFill>
                <a:srgbClr val="FFFF00"/>
              </a:solidFill>
              <a:latin typeface="CorpoS" pitchFamily="2" charset="0"/>
              <a:ea typeface="MS Mincho" panose="02020609040205080304" pitchFamily="49" charset="-128"/>
              <a:cs typeface="Helvetica" panose="020B0604020202020204" pitchFamily="34" charset="0"/>
            </a:endParaRPr>
          </a:p>
        </p:txBody>
      </p:sp>
      <p:sp>
        <p:nvSpPr>
          <p:cNvPr id="20" name="Eine Ecke des Rechtecks schneiden 19"/>
          <p:cNvSpPr/>
          <p:nvPr/>
        </p:nvSpPr>
        <p:spPr>
          <a:xfrm rot="10800000">
            <a:off x="6587837" y="2717443"/>
            <a:ext cx="5264538" cy="547234"/>
          </a:xfrm>
          <a:prstGeom prst="snip1Rect">
            <a:avLst>
              <a:gd name="adj" fmla="val 50000"/>
            </a:avLst>
          </a:prstGeom>
          <a:solidFill>
            <a:srgbClr val="005478">
              <a:alpha val="90000"/>
            </a:srgbClr>
          </a:solidFill>
          <a:ln w="12700" cap="flat" cmpd="sng" algn="ctr">
            <a:noFill/>
            <a:prstDash val="solid"/>
          </a:ln>
          <a:effectLst>
            <a:outerShdw blurRad="50800" dist="38100" dir="2700000" algn="tl" rotWithShape="0">
              <a:prstClr val="black">
                <a:alpha val="40000"/>
              </a:prstClr>
            </a:outerShdw>
          </a:effectLst>
        </p:spPr>
        <p:txBody>
          <a:bodyPr vert="horz" lIns="90000" tIns="0" rIns="0" bIns="0" rtlCol="0" anchor="t"/>
          <a:lstStyle/>
          <a:p>
            <a:pPr defTabSz="1088959"/>
            <a:r>
              <a:rPr lang="de-DE" sz="1600" kern="0" dirty="0">
                <a:solidFill>
                  <a:prstClr val="black"/>
                </a:solidFill>
                <a:latin typeface="CorpoS"/>
                <a:ea typeface="CorporateS-Regular" charset="0"/>
                <a:cs typeface="CorporateS-Regular" charset="0"/>
              </a:rPr>
              <a:t> </a:t>
            </a:r>
          </a:p>
        </p:txBody>
      </p:sp>
      <p:sp>
        <p:nvSpPr>
          <p:cNvPr id="21" name="Eine Ecke des Rechtecks schneiden 20"/>
          <p:cNvSpPr/>
          <p:nvPr/>
        </p:nvSpPr>
        <p:spPr>
          <a:xfrm>
            <a:off x="441077" y="4355087"/>
            <a:ext cx="5802113" cy="547234"/>
          </a:xfrm>
          <a:prstGeom prst="snip1Rect">
            <a:avLst>
              <a:gd name="adj" fmla="val 50000"/>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087306"/>
            <a:r>
              <a:rPr lang="ru-RU" sz="1600" b="1" dirty="0" smtClean="0">
                <a:solidFill>
                  <a:srgbClr val="FFFF00"/>
                </a:solidFill>
                <a:latin typeface="CorpoS" pitchFamily="2" charset="0"/>
                <a:ea typeface="MS Mincho" panose="02020609040205080304" pitchFamily="49" charset="-128"/>
                <a:cs typeface="Helvetica" panose="020B0604020202020204" pitchFamily="34" charset="0"/>
              </a:rPr>
              <a:t>МИРОВОЙ ЛИДЕР СВОБОДНОГО КАРШЕРИНГА</a:t>
            </a:r>
            <a:endParaRPr lang="en-US" sz="1600" b="1" dirty="0">
              <a:solidFill>
                <a:srgbClr val="FFFF00"/>
              </a:solidFill>
              <a:latin typeface="CorpoS" pitchFamily="2" charset="0"/>
              <a:ea typeface="MS Mincho" panose="02020609040205080304" pitchFamily="49" charset="-128"/>
              <a:cs typeface="Helvetica" panose="020B0604020202020204" pitchFamily="34" charset="0"/>
            </a:endParaRPr>
          </a:p>
        </p:txBody>
      </p:sp>
      <p:sp>
        <p:nvSpPr>
          <p:cNvPr id="22" name="Eine Ecke des Rechtecks schneiden 21"/>
          <p:cNvSpPr/>
          <p:nvPr/>
        </p:nvSpPr>
        <p:spPr>
          <a:xfrm>
            <a:off x="441077" y="5091358"/>
            <a:ext cx="6139320" cy="547234"/>
          </a:xfrm>
          <a:prstGeom prst="snip1Rect">
            <a:avLst>
              <a:gd name="adj" fmla="val 50000"/>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087306"/>
            <a:r>
              <a:rPr lang="ru-RU" sz="1200" b="1" dirty="0" smtClean="0">
                <a:solidFill>
                  <a:srgbClr val="FFFF00"/>
                </a:solidFill>
                <a:latin typeface="CorpoS" pitchFamily="2" charset="0"/>
                <a:ea typeface="MS Mincho" panose="02020609040205080304" pitchFamily="49" charset="-128"/>
                <a:cs typeface="Helvetica" panose="020B0604020202020204" pitchFamily="34" charset="0"/>
              </a:rPr>
              <a:t>ВЕДУЩЕЕ ПРИЛОЖЕНИЕ </a:t>
            </a:r>
            <a:r>
              <a:rPr lang="ru-RU" sz="1200" b="1" dirty="0" smtClean="0">
                <a:solidFill>
                  <a:srgbClr val="FFFF00"/>
                </a:solidFill>
                <a:latin typeface="CorpoS" pitchFamily="2" charset="0"/>
                <a:ea typeface="MS Mincho" panose="02020609040205080304" pitchFamily="49" charset="-128"/>
                <a:cs typeface="Helvetica" panose="020B0604020202020204" pitchFamily="34" charset="0"/>
              </a:rPr>
              <a:t>СОВМЕСТНОГО ИСПОЛЬЗОВАНИЯ АВТО В ЕВРОПЕ</a:t>
            </a:r>
            <a:endParaRPr lang="en-US" sz="1200" b="1" dirty="0">
              <a:solidFill>
                <a:prstClr val="white"/>
              </a:solidFill>
              <a:latin typeface="CorpoS" pitchFamily="2" charset="0"/>
              <a:ea typeface="MS Mincho" panose="02020609040205080304" pitchFamily="49" charset="-128"/>
              <a:cs typeface="Helvetica" panose="020B0604020202020204" pitchFamily="34" charset="0"/>
            </a:endParaRPr>
          </a:p>
        </p:txBody>
      </p:sp>
      <p:sp>
        <p:nvSpPr>
          <p:cNvPr id="23" name="Eine Ecke des Rechtecks schneiden 22"/>
          <p:cNvSpPr/>
          <p:nvPr/>
        </p:nvSpPr>
        <p:spPr>
          <a:xfrm>
            <a:off x="441078" y="5813232"/>
            <a:ext cx="6453708" cy="547234"/>
          </a:xfrm>
          <a:prstGeom prst="snip1Rect">
            <a:avLst>
              <a:gd name="adj" fmla="val 50000"/>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1087306"/>
            <a:r>
              <a:rPr lang="ru-RU" sz="1400" b="1" dirty="0" smtClean="0">
                <a:solidFill>
                  <a:prstClr val="white"/>
                </a:solidFill>
                <a:latin typeface="CorpoS" pitchFamily="2" charset="0"/>
                <a:ea typeface="MS Mincho" panose="02020609040205080304" pitchFamily="49" charset="-128"/>
                <a:cs typeface="Helvetica" panose="020B0604020202020204" pitchFamily="34" charset="0"/>
              </a:rPr>
              <a:t>ИННОВАЦИОННЫЕ РЕШЕНИЯ ГОРОДСКОЙ МОБИЛЬНОСТИ</a:t>
            </a:r>
            <a:endParaRPr lang="de-DE" sz="1400" b="1" dirty="0">
              <a:solidFill>
                <a:srgbClr val="FFFF00"/>
              </a:solidFill>
              <a:latin typeface="CorpoS" pitchFamily="2" charset="0"/>
              <a:ea typeface="MS Mincho" panose="02020609040205080304" pitchFamily="49" charset="-128"/>
              <a:cs typeface="Helvetica" panose="020B0604020202020204" pitchFamily="34" charset="0"/>
            </a:endParaRPr>
          </a:p>
        </p:txBody>
      </p:sp>
      <p:sp>
        <p:nvSpPr>
          <p:cNvPr id="24" name="Eine Ecke des Rechtecks schneiden 23"/>
          <p:cNvSpPr/>
          <p:nvPr/>
        </p:nvSpPr>
        <p:spPr>
          <a:xfrm rot="10800000">
            <a:off x="6243191" y="1995569"/>
            <a:ext cx="5609184" cy="547234"/>
          </a:xfrm>
          <a:prstGeom prst="snip1Rect">
            <a:avLst>
              <a:gd name="adj" fmla="val 50000"/>
            </a:avLst>
          </a:prstGeom>
          <a:solidFill>
            <a:srgbClr val="005478">
              <a:alpha val="90000"/>
            </a:srgbClr>
          </a:solidFill>
          <a:ln w="12700" cap="flat" cmpd="sng" algn="ctr">
            <a:noFill/>
            <a:prstDash val="solid"/>
          </a:ln>
          <a:effectLst>
            <a:outerShdw blurRad="50800" dist="38100" dir="2700000" algn="tl" rotWithShape="0">
              <a:prstClr val="black">
                <a:alpha val="40000"/>
              </a:prstClr>
            </a:outerShdw>
          </a:effectLst>
        </p:spPr>
        <p:txBody>
          <a:bodyPr vert="horz" lIns="90000" tIns="0" rIns="0" bIns="0" rtlCol="0" anchor="t"/>
          <a:lstStyle/>
          <a:p>
            <a:pPr defTabSz="1088959">
              <a:defRPr/>
            </a:pPr>
            <a:r>
              <a:rPr lang="de-DE" sz="1600" kern="0" dirty="0" smtClean="0">
                <a:solidFill>
                  <a:prstClr val="black"/>
                </a:solidFill>
                <a:latin typeface="CorpoS"/>
                <a:ea typeface="CorporateS-Regular" charset="0"/>
                <a:cs typeface="CorporateS-Regular" charset="0"/>
              </a:rPr>
              <a:t> </a:t>
            </a:r>
          </a:p>
        </p:txBody>
      </p:sp>
      <p:sp>
        <p:nvSpPr>
          <p:cNvPr id="25" name="Eine Ecke des Rechtecks schneiden 24"/>
          <p:cNvSpPr/>
          <p:nvPr/>
        </p:nvSpPr>
        <p:spPr>
          <a:xfrm rot="10800000">
            <a:off x="7335957" y="4161191"/>
            <a:ext cx="4516417" cy="547234"/>
          </a:xfrm>
          <a:prstGeom prst="snip1Rect">
            <a:avLst>
              <a:gd name="adj" fmla="val 50000"/>
            </a:avLst>
          </a:prstGeom>
          <a:solidFill>
            <a:srgbClr val="005478">
              <a:alpha val="90000"/>
            </a:srgbClr>
          </a:solidFill>
          <a:ln w="12700" cap="flat" cmpd="sng" algn="ctr">
            <a:noFill/>
            <a:prstDash val="solid"/>
          </a:ln>
          <a:effectLst>
            <a:outerShdw blurRad="50800" dist="38100" dir="2700000" algn="tl" rotWithShape="0">
              <a:prstClr val="black">
                <a:alpha val="40000"/>
              </a:prstClr>
            </a:outerShdw>
          </a:effectLst>
        </p:spPr>
        <p:txBody>
          <a:bodyPr vert="horz" lIns="90000" tIns="0" rIns="0" bIns="0" rtlCol="0" anchor="t"/>
          <a:lstStyle/>
          <a:p>
            <a:pPr defTabSz="1088959"/>
            <a:r>
              <a:rPr lang="de-DE" sz="1600" kern="0" dirty="0">
                <a:solidFill>
                  <a:prstClr val="black"/>
                </a:solidFill>
                <a:latin typeface="CorpoS"/>
                <a:ea typeface="CorporateS-Regular" charset="0"/>
                <a:cs typeface="CorporateS-Regular" charset="0"/>
              </a:rPr>
              <a:t> </a:t>
            </a:r>
          </a:p>
        </p:txBody>
      </p:sp>
      <p:sp>
        <p:nvSpPr>
          <p:cNvPr id="26" name="Eine Ecke des Rechtecks schneiden 25"/>
          <p:cNvSpPr/>
          <p:nvPr/>
        </p:nvSpPr>
        <p:spPr>
          <a:xfrm rot="10800000">
            <a:off x="6999275" y="3439317"/>
            <a:ext cx="4853100" cy="547234"/>
          </a:xfrm>
          <a:prstGeom prst="snip1Rect">
            <a:avLst>
              <a:gd name="adj" fmla="val 50000"/>
            </a:avLst>
          </a:prstGeom>
          <a:solidFill>
            <a:srgbClr val="005478">
              <a:alpha val="90000"/>
            </a:srgbClr>
          </a:solidFill>
          <a:ln w="12700" cap="flat" cmpd="sng" algn="ctr">
            <a:noFill/>
            <a:prstDash val="solid"/>
          </a:ln>
          <a:effectLst>
            <a:outerShdw blurRad="50800" dist="38100" dir="2700000" algn="tl" rotWithShape="0">
              <a:prstClr val="black">
                <a:alpha val="40000"/>
              </a:prstClr>
            </a:outerShdw>
          </a:effectLst>
        </p:spPr>
        <p:txBody>
          <a:bodyPr vert="horz" lIns="90000" tIns="0" rIns="0" bIns="0" rtlCol="0" anchor="t"/>
          <a:lstStyle/>
          <a:p>
            <a:pPr defTabSz="1088959"/>
            <a:r>
              <a:rPr lang="de-DE" sz="1600" kern="0" dirty="0">
                <a:solidFill>
                  <a:prstClr val="black"/>
                </a:solidFill>
                <a:latin typeface="CorpoS"/>
                <a:ea typeface="CorporateS-Regular" charset="0"/>
                <a:cs typeface="CorporateS-Regular" charset="0"/>
              </a:rPr>
              <a:t> </a:t>
            </a:r>
          </a:p>
        </p:txBody>
      </p:sp>
      <p:pic>
        <p:nvPicPr>
          <p:cNvPr id="27" name="Grafik 26">
            <a:extLst>
              <a:ext uri="{FF2B5EF4-FFF2-40B4-BE49-F238E27FC236}">
                <a16:creationId xmlns:a16="http://schemas.microsoft.com/office/drawing/2014/main" id="{F16A83F4-D1B7-964F-A607-513B8660B6D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59630" y="6016493"/>
            <a:ext cx="702089" cy="140711"/>
          </a:xfrm>
          <a:prstGeom prst="rect">
            <a:avLst/>
          </a:prstGeom>
        </p:spPr>
      </p:pic>
      <p:pic>
        <p:nvPicPr>
          <p:cNvPr id="28" name="Grafik 27">
            <a:extLst>
              <a:ext uri="{FF2B5EF4-FFF2-40B4-BE49-F238E27FC236}">
                <a16:creationId xmlns:a16="http://schemas.microsoft.com/office/drawing/2014/main" id="{CC140D08-4B8F-1847-AF00-6777FCC4A60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17721" y="5266384"/>
            <a:ext cx="492953" cy="197181"/>
          </a:xfrm>
          <a:prstGeom prst="rect">
            <a:avLst/>
          </a:prstGeom>
        </p:spPr>
      </p:pic>
      <p:pic>
        <p:nvPicPr>
          <p:cNvPr id="29" name="Picture 5" descr="Ãhnliches Fot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15587" y="4511367"/>
            <a:ext cx="404268" cy="263469"/>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2" descr="Bildergebnis für drivenow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576" b="3225"/>
          <a:stretch/>
        </p:blipFill>
        <p:spPr bwMode="auto">
          <a:xfrm>
            <a:off x="6459215" y="2196948"/>
            <a:ext cx="876743" cy="13521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0" descr="Bildergebnis für reachnow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783251" y="2918912"/>
            <a:ext cx="931047" cy="13333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4" descr="Bildergebnis für parknow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577783" y="4356244"/>
            <a:ext cx="897656" cy="14666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Image result for chargenow logo"/>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215299" y="3629307"/>
            <a:ext cx="1007548" cy="167253"/>
          </a:xfrm>
          <a:prstGeom prst="rect">
            <a:avLst/>
          </a:prstGeom>
          <a:noFill/>
          <a:extLst>
            <a:ext uri="{909E8E84-426E-40DD-AFC4-6F175D3DCCD1}">
              <a14:hiddenFill xmlns:a14="http://schemas.microsoft.com/office/drawing/2010/main">
                <a:solidFill>
                  <a:srgbClr val="FFFFFF"/>
                </a:solidFill>
              </a14:hiddenFill>
            </a:ext>
          </a:extLst>
        </p:spPr>
      </p:pic>
      <p:sp>
        <p:nvSpPr>
          <p:cNvPr id="34" name="Eine Ecke des Rechtecks schneiden 33"/>
          <p:cNvSpPr/>
          <p:nvPr/>
        </p:nvSpPr>
        <p:spPr>
          <a:xfrm>
            <a:off x="6587837" y="2010810"/>
            <a:ext cx="5271978" cy="547234"/>
          </a:xfrm>
          <a:prstGeom prst="snip1Rect">
            <a:avLst>
              <a:gd name="adj" fmla="val 50000"/>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90000" tIns="0" rIns="0" bIns="0" rtlCol="0" anchor="t"/>
          <a:lstStyle/>
          <a:p>
            <a:pPr algn="r"/>
            <a:r>
              <a:rPr lang="ru-RU" b="1" dirty="0" smtClean="0">
                <a:solidFill>
                  <a:prstClr val="white"/>
                </a:solidFill>
                <a:latin typeface="CorpoS" pitchFamily="2" charset="0"/>
                <a:ea typeface="CorporateS-Regular" charset="0"/>
                <a:cs typeface="CorporateS-Regular" charset="0"/>
              </a:rPr>
              <a:t>СВОБОДНЫЙ КАРШЕРИНГ В ЕС</a:t>
            </a:r>
            <a:endParaRPr lang="en-US" b="1" dirty="0">
              <a:solidFill>
                <a:prstClr val="white"/>
              </a:solidFill>
              <a:latin typeface="CorpoS" pitchFamily="2" charset="0"/>
              <a:ea typeface="CorporateS-Regular" charset="0"/>
              <a:cs typeface="CorporateS-Regular" charset="0"/>
            </a:endParaRPr>
          </a:p>
        </p:txBody>
      </p:sp>
      <p:sp>
        <p:nvSpPr>
          <p:cNvPr id="35" name="Eine Ecke des Rechtecks schneiden 34"/>
          <p:cNvSpPr/>
          <p:nvPr/>
        </p:nvSpPr>
        <p:spPr>
          <a:xfrm>
            <a:off x="6587837" y="2732683"/>
            <a:ext cx="5271978" cy="547234"/>
          </a:xfrm>
          <a:prstGeom prst="snip1Rect">
            <a:avLst>
              <a:gd name="adj" fmla="val 50000"/>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90000" tIns="0" rIns="0" bIns="0" rtlCol="0" anchor="t"/>
          <a:lstStyle/>
          <a:p>
            <a:pPr algn="r"/>
            <a:r>
              <a:rPr lang="ru-RU" b="1" dirty="0" smtClean="0">
                <a:solidFill>
                  <a:srgbClr val="FFFF00"/>
                </a:solidFill>
                <a:latin typeface="CorpoS" pitchFamily="2" charset="0"/>
                <a:ea typeface="CorporateS-Regular" charset="0"/>
                <a:cs typeface="CorporateS-Regular" charset="0"/>
              </a:rPr>
              <a:t>МАШИНА КАК УСЛУГА В США</a:t>
            </a:r>
            <a:endParaRPr lang="en-US" b="1" dirty="0">
              <a:solidFill>
                <a:prstClr val="white"/>
              </a:solidFill>
              <a:latin typeface="CorpoS" pitchFamily="2" charset="0"/>
              <a:ea typeface="CorporateS-Regular" charset="0"/>
              <a:cs typeface="CorporateS-Regular" charset="0"/>
            </a:endParaRPr>
          </a:p>
        </p:txBody>
      </p:sp>
      <p:sp>
        <p:nvSpPr>
          <p:cNvPr id="36" name="Eine Ecke des Rechtecks schneiden 35"/>
          <p:cNvSpPr/>
          <p:nvPr/>
        </p:nvSpPr>
        <p:spPr>
          <a:xfrm>
            <a:off x="6587837" y="3454557"/>
            <a:ext cx="5271978" cy="547234"/>
          </a:xfrm>
          <a:prstGeom prst="snip1Rect">
            <a:avLst>
              <a:gd name="adj" fmla="val 50000"/>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90000" tIns="0" rIns="0" bIns="0" rtlCol="0" anchor="t"/>
          <a:lstStyle/>
          <a:p>
            <a:pPr algn="r"/>
            <a:r>
              <a:rPr lang="ru-RU" b="1" dirty="0" smtClean="0">
                <a:solidFill>
                  <a:prstClr val="white"/>
                </a:solidFill>
                <a:latin typeface="CorpoS" pitchFamily="2" charset="0"/>
                <a:ea typeface="CorporateS-Regular" charset="0"/>
                <a:cs typeface="CorporateS-Regular" charset="0"/>
              </a:rPr>
              <a:t>ЗАРЯДНЫЕ УСТРОЙСТВА</a:t>
            </a:r>
            <a:endParaRPr lang="de-DE" b="1" dirty="0">
              <a:solidFill>
                <a:prstClr val="white"/>
              </a:solidFill>
              <a:latin typeface="CorpoS" pitchFamily="2" charset="0"/>
              <a:ea typeface="CorporateS-Regular" charset="0"/>
              <a:cs typeface="CorporateS-Regular" charset="0"/>
            </a:endParaRPr>
          </a:p>
        </p:txBody>
      </p:sp>
      <p:sp>
        <p:nvSpPr>
          <p:cNvPr id="37" name="Eine Ecke des Rechtecks schneiden 36"/>
          <p:cNvSpPr/>
          <p:nvPr/>
        </p:nvSpPr>
        <p:spPr>
          <a:xfrm>
            <a:off x="6580397" y="4166050"/>
            <a:ext cx="5271978" cy="547234"/>
          </a:xfrm>
          <a:prstGeom prst="snip1Rect">
            <a:avLst>
              <a:gd name="adj" fmla="val 50000"/>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90000" tIns="0" rIns="0" bIns="0" rtlCol="0" anchor="t"/>
          <a:lstStyle/>
          <a:p>
            <a:pPr algn="r"/>
            <a:r>
              <a:rPr lang="ru-RU" b="1" dirty="0" smtClean="0">
                <a:solidFill>
                  <a:prstClr val="white"/>
                </a:solidFill>
                <a:latin typeface="CorpoS" pitchFamily="2" charset="0"/>
                <a:ea typeface="CorporateS-Regular" charset="0"/>
                <a:cs typeface="CorporateS-Regular" charset="0"/>
              </a:rPr>
              <a:t>МОБИЛЬНЫЕ РЕШЕНИЯ </a:t>
            </a:r>
          </a:p>
          <a:p>
            <a:pPr algn="r"/>
            <a:r>
              <a:rPr lang="ru-RU" b="1" dirty="0" smtClean="0">
                <a:solidFill>
                  <a:prstClr val="white"/>
                </a:solidFill>
                <a:latin typeface="CorpoS" pitchFamily="2" charset="0"/>
                <a:ea typeface="CorporateS-Regular" charset="0"/>
                <a:cs typeface="CorporateS-Regular" charset="0"/>
              </a:rPr>
              <a:t>ПАРКОВОК</a:t>
            </a:r>
            <a:endParaRPr lang="de-DE" b="1" dirty="0">
              <a:solidFill>
                <a:prstClr val="white"/>
              </a:solidFill>
              <a:latin typeface="CorpoS" pitchFamily="2" charset="0"/>
              <a:ea typeface="CorporateS-Regular" charset="0"/>
              <a:cs typeface="CorporateS-Regular" charset="0"/>
            </a:endParaRPr>
          </a:p>
        </p:txBody>
      </p:sp>
    </p:spTree>
    <p:extLst>
      <p:ext uri="{BB962C8B-B14F-4D97-AF65-F5344CB8AC3E}">
        <p14:creationId xmlns:p14="http://schemas.microsoft.com/office/powerpoint/2010/main" val="24997731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337693">
            <a:alpha val="80000"/>
          </a:srgbClr>
        </a:solidFill>
        <a:effectLst/>
      </p:bgPr>
    </p:bg>
    <p:spTree>
      <p:nvGrpSpPr>
        <p:cNvPr id="1" name=""/>
        <p:cNvGrpSpPr/>
        <p:nvPr/>
      </p:nvGrpSpPr>
      <p:grpSpPr>
        <a:xfrm>
          <a:off x="0" y="0"/>
          <a:ext cx="0" cy="0"/>
          <a:chOff x="0" y="0"/>
          <a:chExt cx="0" cy="0"/>
        </a:xfrm>
      </p:grpSpPr>
      <p:sp>
        <p:nvSpPr>
          <p:cNvPr id="3" name="Rechteck 2"/>
          <p:cNvSpPr/>
          <p:nvPr/>
        </p:nvSpPr>
        <p:spPr bwMode="gray">
          <a:xfrm>
            <a:off x="216000" y="431999"/>
            <a:ext cx="11528329" cy="828000"/>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7306"/>
            <a:r>
              <a:rPr lang="ru-RU" sz="2800" b="1" dirty="0" smtClean="0">
                <a:solidFill>
                  <a:prstClr val="white"/>
                </a:solidFill>
                <a:latin typeface="CorpoS" pitchFamily="2" charset="0"/>
                <a:ea typeface="MS Mincho" panose="02020609040205080304" pitchFamily="49" charset="-128"/>
                <a:cs typeface="Helvetica" panose="020B0604020202020204" pitchFamily="34" charset="0"/>
              </a:rPr>
              <a:t>СОВМЕСТНОЕ ПРЕДПРИЯТИЕ ИЗ 5 ВЕРТИКАЛЕЙ</a:t>
            </a:r>
            <a:endParaRPr lang="de-DE" sz="2800" b="1" dirty="0">
              <a:solidFill>
                <a:srgbClr val="FFFF00"/>
              </a:solidFill>
              <a:latin typeface="CorpoS" pitchFamily="2" charset="0"/>
              <a:ea typeface="MS Mincho" panose="02020609040205080304" pitchFamily="49" charset="-128"/>
              <a:cs typeface="Helvetica" panose="020B0604020202020204" pitchFamily="34" charset="0"/>
            </a:endParaRPr>
          </a:p>
        </p:txBody>
      </p:sp>
      <p:grpSp>
        <p:nvGrpSpPr>
          <p:cNvPr id="9" name="Gruppieren 8"/>
          <p:cNvGrpSpPr/>
          <p:nvPr/>
        </p:nvGrpSpPr>
        <p:grpSpPr>
          <a:xfrm>
            <a:off x="848585" y="4372867"/>
            <a:ext cx="1029885" cy="2039431"/>
            <a:chOff x="6614385" y="4504885"/>
            <a:chExt cx="1029885" cy="1856031"/>
          </a:xfrm>
        </p:grpSpPr>
        <p:sp>
          <p:nvSpPr>
            <p:cNvPr id="6" name="Rechteck 5"/>
            <p:cNvSpPr/>
            <p:nvPr/>
          </p:nvSpPr>
          <p:spPr>
            <a:xfrm>
              <a:off x="6614385" y="4558972"/>
              <a:ext cx="1029885" cy="1801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83377" y="5302278"/>
              <a:ext cx="871854" cy="457723"/>
            </a:xfrm>
            <a:prstGeom prst="rect">
              <a:avLst/>
            </a:prstGeom>
          </p:spPr>
        </p:pic>
        <p:pic>
          <p:nvPicPr>
            <p:cNvPr id="5" name="Grafik 4"/>
            <p:cNvPicPr>
              <a:picLocks noChangeAspect="1"/>
            </p:cNvPicPr>
            <p:nvPr/>
          </p:nvPicPr>
          <p:blipFill>
            <a:blip r:embed="rId4"/>
            <a:stretch>
              <a:fillRect/>
            </a:stretch>
          </p:blipFill>
          <p:spPr>
            <a:xfrm>
              <a:off x="6882760" y="4883302"/>
              <a:ext cx="468149" cy="468149"/>
            </a:xfrm>
            <a:prstGeom prst="rect">
              <a:avLst/>
            </a:prstGeom>
          </p:spPr>
        </p:pic>
        <p:pic>
          <p:nvPicPr>
            <p:cNvPr id="7" name="Grafik 6"/>
            <p:cNvPicPr>
              <a:picLocks noChangeAspect="1"/>
            </p:cNvPicPr>
            <p:nvPr/>
          </p:nvPicPr>
          <p:blipFill rotWithShape="1">
            <a:blip r:embed="rId5"/>
            <a:srcRect t="37215" b="17901"/>
            <a:stretch/>
          </p:blipFill>
          <p:spPr>
            <a:xfrm>
              <a:off x="6656456" y="5707890"/>
              <a:ext cx="962414" cy="200298"/>
            </a:xfrm>
            <a:prstGeom prst="rect">
              <a:avLst/>
            </a:prstGeom>
          </p:spPr>
        </p:pic>
        <p:pic>
          <p:nvPicPr>
            <p:cNvPr id="8" name="Grafik 7"/>
            <p:cNvPicPr>
              <a:picLocks noChangeAspect="1"/>
            </p:cNvPicPr>
            <p:nvPr/>
          </p:nvPicPr>
          <p:blipFill>
            <a:blip r:embed="rId6"/>
            <a:stretch>
              <a:fillRect/>
            </a:stretch>
          </p:blipFill>
          <p:spPr>
            <a:xfrm>
              <a:off x="6625950" y="4504885"/>
              <a:ext cx="981769" cy="419914"/>
            </a:xfrm>
            <a:prstGeom prst="rect">
              <a:avLst/>
            </a:prstGeom>
          </p:spPr>
        </p:pic>
      </p:grpSp>
      <p:grpSp>
        <p:nvGrpSpPr>
          <p:cNvPr id="28" name="Gruppieren 27"/>
          <p:cNvGrpSpPr/>
          <p:nvPr/>
        </p:nvGrpSpPr>
        <p:grpSpPr>
          <a:xfrm>
            <a:off x="3220310" y="4432300"/>
            <a:ext cx="1029885" cy="1980000"/>
            <a:chOff x="3223485" y="4432300"/>
            <a:chExt cx="1029885" cy="1980000"/>
          </a:xfrm>
        </p:grpSpPr>
        <p:sp>
          <p:nvSpPr>
            <p:cNvPr id="12" name="Rechteck 11"/>
            <p:cNvSpPr/>
            <p:nvPr/>
          </p:nvSpPr>
          <p:spPr>
            <a:xfrm>
              <a:off x="3223485" y="4432300"/>
              <a:ext cx="1029885" cy="19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pic>
          <p:nvPicPr>
            <p:cNvPr id="10" name="Grafik 9"/>
            <p:cNvPicPr>
              <a:picLocks noChangeAspect="1"/>
            </p:cNvPicPr>
            <p:nvPr/>
          </p:nvPicPr>
          <p:blipFill>
            <a:blip r:embed="rId7"/>
            <a:stretch>
              <a:fillRect/>
            </a:stretch>
          </p:blipFill>
          <p:spPr>
            <a:xfrm>
              <a:off x="3384060" y="4747854"/>
              <a:ext cx="708735" cy="464344"/>
            </a:xfrm>
            <a:prstGeom prst="rect">
              <a:avLst/>
            </a:prstGeom>
          </p:spPr>
        </p:pic>
        <p:pic>
          <p:nvPicPr>
            <p:cNvPr id="11" name="Grafik 10"/>
            <p:cNvPicPr>
              <a:picLocks noChangeAspect="1"/>
            </p:cNvPicPr>
            <p:nvPr/>
          </p:nvPicPr>
          <p:blipFill rotWithShape="1">
            <a:blip r:embed="rId8"/>
            <a:srcRect l="16026" t="19951" r="7693"/>
            <a:stretch/>
          </p:blipFill>
          <p:spPr>
            <a:xfrm>
              <a:off x="3283917" y="5542138"/>
              <a:ext cx="938398" cy="388215"/>
            </a:xfrm>
            <a:prstGeom prst="rect">
              <a:avLst/>
            </a:prstGeom>
          </p:spPr>
        </p:pic>
      </p:grpSp>
      <p:grpSp>
        <p:nvGrpSpPr>
          <p:cNvPr id="27" name="Gruppieren 26"/>
          <p:cNvGrpSpPr/>
          <p:nvPr/>
        </p:nvGrpSpPr>
        <p:grpSpPr>
          <a:xfrm>
            <a:off x="5592035" y="4432300"/>
            <a:ext cx="1029885" cy="1980000"/>
            <a:chOff x="5585685" y="4432300"/>
            <a:chExt cx="1029885" cy="1980000"/>
          </a:xfrm>
        </p:grpSpPr>
        <p:sp>
          <p:nvSpPr>
            <p:cNvPr id="15" name="Rechteck 14"/>
            <p:cNvSpPr/>
            <p:nvPr/>
          </p:nvSpPr>
          <p:spPr>
            <a:xfrm>
              <a:off x="5585685" y="4432300"/>
              <a:ext cx="1029885" cy="19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pic>
          <p:nvPicPr>
            <p:cNvPr id="13" name="Grafik 12"/>
            <p:cNvPicPr>
              <a:picLocks noChangeAspect="1"/>
            </p:cNvPicPr>
            <p:nvPr/>
          </p:nvPicPr>
          <p:blipFill>
            <a:blip r:embed="rId9"/>
            <a:stretch>
              <a:fillRect/>
            </a:stretch>
          </p:blipFill>
          <p:spPr>
            <a:xfrm>
              <a:off x="5608401" y="4753052"/>
              <a:ext cx="981769" cy="360771"/>
            </a:xfrm>
            <a:prstGeom prst="rect">
              <a:avLst/>
            </a:prstGeom>
          </p:spPr>
        </p:pic>
        <p:pic>
          <p:nvPicPr>
            <p:cNvPr id="14" name="Grafik 13"/>
            <p:cNvPicPr>
              <a:picLocks noChangeAspect="1"/>
            </p:cNvPicPr>
            <p:nvPr/>
          </p:nvPicPr>
          <p:blipFill>
            <a:blip r:embed="rId10"/>
            <a:stretch>
              <a:fillRect/>
            </a:stretch>
          </p:blipFill>
          <p:spPr>
            <a:xfrm>
              <a:off x="5661090" y="5616409"/>
              <a:ext cx="876388" cy="231195"/>
            </a:xfrm>
            <a:prstGeom prst="rect">
              <a:avLst/>
            </a:prstGeom>
          </p:spPr>
        </p:pic>
      </p:grpSp>
      <p:grpSp>
        <p:nvGrpSpPr>
          <p:cNvPr id="26" name="Gruppieren 25"/>
          <p:cNvGrpSpPr/>
          <p:nvPr/>
        </p:nvGrpSpPr>
        <p:grpSpPr>
          <a:xfrm>
            <a:off x="7963760" y="4432300"/>
            <a:ext cx="1029885" cy="1980000"/>
            <a:chOff x="7833975" y="4432300"/>
            <a:chExt cx="1029885" cy="1980000"/>
          </a:xfrm>
        </p:grpSpPr>
        <p:sp>
          <p:nvSpPr>
            <p:cNvPr id="19" name="Rechteck 18"/>
            <p:cNvSpPr/>
            <p:nvPr/>
          </p:nvSpPr>
          <p:spPr>
            <a:xfrm>
              <a:off x="7833975" y="4432300"/>
              <a:ext cx="1029885" cy="19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pic>
          <p:nvPicPr>
            <p:cNvPr id="17" name="Grafik 16"/>
            <p:cNvPicPr>
              <a:picLocks noChangeAspect="1"/>
            </p:cNvPicPr>
            <p:nvPr/>
          </p:nvPicPr>
          <p:blipFill>
            <a:blip r:embed="rId11"/>
            <a:stretch>
              <a:fillRect/>
            </a:stretch>
          </p:blipFill>
          <p:spPr>
            <a:xfrm>
              <a:off x="7984773" y="5856724"/>
              <a:ext cx="728286" cy="312822"/>
            </a:xfrm>
            <a:prstGeom prst="rect">
              <a:avLst/>
            </a:prstGeom>
          </p:spPr>
        </p:pic>
        <p:pic>
          <p:nvPicPr>
            <p:cNvPr id="18" name="Grafik 17"/>
            <p:cNvPicPr>
              <a:picLocks noChangeAspect="1"/>
            </p:cNvPicPr>
            <p:nvPr/>
          </p:nvPicPr>
          <p:blipFill>
            <a:blip r:embed="rId12"/>
            <a:stretch>
              <a:fillRect/>
            </a:stretch>
          </p:blipFill>
          <p:spPr>
            <a:xfrm>
              <a:off x="7922485" y="5557267"/>
              <a:ext cx="919401" cy="290337"/>
            </a:xfrm>
            <a:prstGeom prst="rect">
              <a:avLst/>
            </a:prstGeom>
          </p:spPr>
        </p:pic>
        <p:pic>
          <p:nvPicPr>
            <p:cNvPr id="20" name="Grafik 19"/>
            <p:cNvPicPr>
              <a:picLocks noChangeAspect="1"/>
            </p:cNvPicPr>
            <p:nvPr/>
          </p:nvPicPr>
          <p:blipFill>
            <a:blip r:embed="rId13"/>
            <a:stretch>
              <a:fillRect/>
            </a:stretch>
          </p:blipFill>
          <p:spPr>
            <a:xfrm>
              <a:off x="8097397" y="5163612"/>
              <a:ext cx="569575" cy="339320"/>
            </a:xfrm>
            <a:prstGeom prst="rect">
              <a:avLst/>
            </a:prstGeom>
          </p:spPr>
        </p:pic>
        <p:pic>
          <p:nvPicPr>
            <p:cNvPr id="21" name="Grafik 20"/>
            <p:cNvPicPr>
              <a:picLocks noChangeAspect="1"/>
            </p:cNvPicPr>
            <p:nvPr/>
          </p:nvPicPr>
          <p:blipFill>
            <a:blip r:embed="rId14"/>
            <a:stretch>
              <a:fillRect/>
            </a:stretch>
          </p:blipFill>
          <p:spPr>
            <a:xfrm>
              <a:off x="7908250" y="4903988"/>
              <a:ext cx="860259" cy="205289"/>
            </a:xfrm>
            <a:prstGeom prst="rect">
              <a:avLst/>
            </a:prstGeom>
          </p:spPr>
        </p:pic>
        <p:pic>
          <p:nvPicPr>
            <p:cNvPr id="22" name="Grafik 21"/>
            <p:cNvPicPr>
              <a:picLocks noChangeAspect="1"/>
            </p:cNvPicPr>
            <p:nvPr/>
          </p:nvPicPr>
          <p:blipFill>
            <a:blip r:embed="rId15"/>
            <a:stretch>
              <a:fillRect/>
            </a:stretch>
          </p:blipFill>
          <p:spPr>
            <a:xfrm>
              <a:off x="7934535" y="4592612"/>
              <a:ext cx="844128" cy="231195"/>
            </a:xfrm>
            <a:prstGeom prst="rect">
              <a:avLst/>
            </a:prstGeom>
          </p:spPr>
        </p:pic>
      </p:grpSp>
      <p:grpSp>
        <p:nvGrpSpPr>
          <p:cNvPr id="24" name="Gruppieren 23"/>
          <p:cNvGrpSpPr/>
          <p:nvPr/>
        </p:nvGrpSpPr>
        <p:grpSpPr>
          <a:xfrm>
            <a:off x="10335485" y="4432300"/>
            <a:ext cx="1029885" cy="1980000"/>
            <a:chOff x="10335485" y="4432300"/>
            <a:chExt cx="1029885" cy="1980000"/>
          </a:xfrm>
        </p:grpSpPr>
        <p:sp>
          <p:nvSpPr>
            <p:cNvPr id="25" name="Rechteck 24"/>
            <p:cNvSpPr/>
            <p:nvPr/>
          </p:nvSpPr>
          <p:spPr>
            <a:xfrm>
              <a:off x="10335485" y="4432300"/>
              <a:ext cx="1029885" cy="19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pic>
          <p:nvPicPr>
            <p:cNvPr id="23" name="Grafik 22"/>
            <p:cNvPicPr>
              <a:picLocks noChangeAspect="1"/>
            </p:cNvPicPr>
            <p:nvPr/>
          </p:nvPicPr>
          <p:blipFill>
            <a:blip r:embed="rId16"/>
            <a:stretch>
              <a:fillRect/>
            </a:stretch>
          </p:blipFill>
          <p:spPr>
            <a:xfrm>
              <a:off x="10337971" y="5226815"/>
              <a:ext cx="999513" cy="212914"/>
            </a:xfrm>
            <a:prstGeom prst="rect">
              <a:avLst/>
            </a:prstGeom>
          </p:spPr>
        </p:pic>
      </p:grpSp>
      <p:sp>
        <p:nvSpPr>
          <p:cNvPr id="29" name="Pfeil nach oben 28"/>
          <p:cNvSpPr/>
          <p:nvPr/>
        </p:nvSpPr>
        <p:spPr>
          <a:xfrm>
            <a:off x="1244863" y="4001612"/>
            <a:ext cx="254000" cy="304799"/>
          </a:xfrm>
          <a:prstGeom prst="up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32" name="Pfeil nach oben 31"/>
          <p:cNvSpPr/>
          <p:nvPr/>
        </p:nvSpPr>
        <p:spPr>
          <a:xfrm>
            <a:off x="3608252" y="4001612"/>
            <a:ext cx="254000" cy="304799"/>
          </a:xfrm>
          <a:prstGeom prst="up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33" name="Pfeil nach oben 32"/>
          <p:cNvSpPr/>
          <p:nvPr/>
        </p:nvSpPr>
        <p:spPr>
          <a:xfrm>
            <a:off x="5969000" y="4001612"/>
            <a:ext cx="254000" cy="304799"/>
          </a:xfrm>
          <a:prstGeom prst="up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34" name="Pfeil nach oben 33"/>
          <p:cNvSpPr/>
          <p:nvPr/>
        </p:nvSpPr>
        <p:spPr>
          <a:xfrm>
            <a:off x="8359384" y="4001612"/>
            <a:ext cx="254000" cy="304799"/>
          </a:xfrm>
          <a:prstGeom prst="up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35" name="Pfeil nach oben 34"/>
          <p:cNvSpPr/>
          <p:nvPr/>
        </p:nvSpPr>
        <p:spPr>
          <a:xfrm>
            <a:off x="10723427" y="4001611"/>
            <a:ext cx="254000" cy="304799"/>
          </a:xfrm>
          <a:prstGeom prst="up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pic>
        <p:nvPicPr>
          <p:cNvPr id="36" name="Google Shape;162;p30">
            <a:extLst>
              <a:ext uri="{FF2B5EF4-FFF2-40B4-BE49-F238E27FC236}">
                <a16:creationId xmlns:a16="http://schemas.microsoft.com/office/drawing/2014/main" id="{50863E8D-6D70-47C4-B434-D58E9DDC9A3B}"/>
              </a:ext>
            </a:extLst>
          </p:cNvPr>
          <p:cNvPicPr preferRelativeResize="0"/>
          <p:nvPr/>
        </p:nvPicPr>
        <p:blipFill rotWithShape="1">
          <a:blip r:embed="rId17">
            <a:alphaModFix/>
          </a:blip>
          <a:srcRect t="19006" b="17589"/>
          <a:stretch/>
        </p:blipFill>
        <p:spPr>
          <a:xfrm>
            <a:off x="823308" y="5965336"/>
            <a:ext cx="1065424" cy="360308"/>
          </a:xfrm>
          <a:prstGeom prst="rect">
            <a:avLst/>
          </a:prstGeom>
          <a:noFill/>
          <a:ln>
            <a:noFill/>
          </a:ln>
        </p:spPr>
      </p:pic>
      <p:pic>
        <p:nvPicPr>
          <p:cNvPr id="40" name="Grafik 3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586384" y="2880000"/>
            <a:ext cx="1800000" cy="1007898"/>
          </a:xfrm>
          <a:prstGeom prst="rect">
            <a:avLst/>
          </a:prstGeom>
        </p:spPr>
      </p:pic>
      <p:pic>
        <p:nvPicPr>
          <p:cNvPr id="41" name="Grafik 40"/>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9937060" y="2880000"/>
            <a:ext cx="1800000" cy="1007899"/>
          </a:xfrm>
          <a:prstGeom prst="rect">
            <a:avLst/>
          </a:prstGeom>
        </p:spPr>
      </p:pic>
      <p:pic>
        <p:nvPicPr>
          <p:cNvPr id="42" name="Grafik 4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194800" y="2880000"/>
            <a:ext cx="1800000" cy="1007899"/>
          </a:xfrm>
          <a:prstGeom prst="rect">
            <a:avLst/>
          </a:prstGeom>
        </p:spPr>
      </p:pic>
      <p:pic>
        <p:nvPicPr>
          <p:cNvPr id="43" name="Grafik 4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833200" y="2880000"/>
            <a:ext cx="1800000" cy="1007899"/>
          </a:xfrm>
          <a:prstGeom prst="rect">
            <a:avLst/>
          </a:prstGeom>
        </p:spPr>
      </p:pic>
      <p:pic>
        <p:nvPicPr>
          <p:cNvPr id="44" name="Grafik 4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453600" y="2880000"/>
            <a:ext cx="1800000" cy="1007899"/>
          </a:xfrm>
          <a:prstGeom prst="rect">
            <a:avLst/>
          </a:prstGeom>
        </p:spPr>
      </p:pic>
    </p:spTree>
    <p:extLst>
      <p:ext uri="{BB962C8B-B14F-4D97-AF65-F5344CB8AC3E}">
        <p14:creationId xmlns:p14="http://schemas.microsoft.com/office/powerpoint/2010/main" val="382634736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337693">
            <a:alpha val="80000"/>
          </a:srgbClr>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87" y="2579"/>
          <a:ext cx="1587" cy="1587"/>
        </p:xfrm>
        <a:graphic>
          <a:graphicData uri="http://schemas.openxmlformats.org/presentationml/2006/ole">
            <mc:AlternateContent xmlns:mc="http://schemas.openxmlformats.org/markup-compatibility/2006">
              <mc:Choice xmlns:v="urn:schemas-microsoft-com:vml" Requires="v">
                <p:oleObj spid="_x0000_s259152"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7" y="2579"/>
                        <a:ext cx="1587" cy="1587"/>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2BD49C9D-5393-4438-B5F8-4E5F09D063B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449706" y="418086"/>
            <a:ext cx="12184948" cy="6069628"/>
          </a:xfrm>
          <a:prstGeom prst="rect">
            <a:avLst/>
          </a:prstGeom>
        </p:spPr>
      </p:pic>
      <p:sp>
        <p:nvSpPr>
          <p:cNvPr id="439" name="Ellipse 438">
            <a:extLst>
              <a:ext uri="{FF2B5EF4-FFF2-40B4-BE49-F238E27FC236}">
                <a16:creationId xmlns:a16="http://schemas.microsoft.com/office/drawing/2014/main" id="{370C4465-3089-414C-81AF-BF9E0D9D6C20}"/>
              </a:ext>
            </a:extLst>
          </p:cNvPr>
          <p:cNvSpPr/>
          <p:nvPr/>
        </p:nvSpPr>
        <p:spPr>
          <a:xfrm>
            <a:off x="6479822" y="1174375"/>
            <a:ext cx="4427924" cy="4529688"/>
          </a:xfrm>
          <a:prstGeom prst="ellipse">
            <a:avLst/>
          </a:prstGeom>
          <a:ln>
            <a:noFill/>
          </a:ln>
          <a:effectLst>
            <a:outerShdw blurRad="381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089"/>
            <a:endParaRPr lang="de-DE" sz="2800" dirty="0" err="1">
              <a:solidFill>
                <a:prstClr val="white"/>
              </a:solidFill>
            </a:endParaRPr>
          </a:p>
        </p:txBody>
      </p:sp>
      <p:pic>
        <p:nvPicPr>
          <p:cNvPr id="14" name="Grafik 13">
            <a:extLst>
              <a:ext uri="{FF2B5EF4-FFF2-40B4-BE49-F238E27FC236}">
                <a16:creationId xmlns:a16="http://schemas.microsoft.com/office/drawing/2014/main" id="{9D53AD14-78BF-4BEC-815C-792090AC2E0A}"/>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6479821" y="407903"/>
            <a:ext cx="6127527" cy="6127527"/>
          </a:xfrm>
          <a:prstGeom prst="ellipse">
            <a:avLst/>
          </a:prstGeom>
          <a:solidFill>
            <a:srgbClr val="337693"/>
          </a:solidFill>
        </p:spPr>
      </p:pic>
      <p:sp>
        <p:nvSpPr>
          <p:cNvPr id="435" name="Google Shape;169;p31">
            <a:extLst>
              <a:ext uri="{FF2B5EF4-FFF2-40B4-BE49-F238E27FC236}">
                <a16:creationId xmlns:a16="http://schemas.microsoft.com/office/drawing/2014/main" id="{982A3F2C-DA0E-4C74-9B6B-B25590652781}"/>
              </a:ext>
            </a:extLst>
          </p:cNvPr>
          <p:cNvSpPr/>
          <p:nvPr/>
        </p:nvSpPr>
        <p:spPr>
          <a:xfrm>
            <a:off x="192088" y="2622176"/>
            <a:ext cx="3015136" cy="3695088"/>
          </a:xfrm>
          <a:prstGeom prst="rect">
            <a:avLst/>
          </a:prstGeom>
          <a:solidFill>
            <a:srgbClr val="005478">
              <a:alpha val="90000"/>
            </a:srgbClr>
          </a:solidFill>
          <a:ln>
            <a:noFill/>
          </a:ln>
        </p:spPr>
        <p:txBody>
          <a:bodyPr spcFirstLastPara="1" wrap="square" lIns="91379" tIns="45674" rIns="91379" bIns="45674" anchor="ctr" anchorCtr="0">
            <a:noAutofit/>
          </a:bodyPr>
          <a:lstStyle/>
          <a:p>
            <a:pPr defTabSz="1088089">
              <a:lnSpc>
                <a:spcPct val="150000"/>
              </a:lnSpc>
            </a:pPr>
            <a:r>
              <a:rPr lang="en-GB" sz="3198" b="1" dirty="0">
                <a:solidFill>
                  <a:srgbClr val="FFFF00"/>
                </a:solidFill>
                <a:latin typeface="+mj-lt"/>
                <a:ea typeface="Calibri"/>
                <a:cs typeface="Calibri"/>
                <a:sym typeface="Calibri"/>
              </a:rPr>
              <a:t>5</a:t>
            </a:r>
            <a:r>
              <a:rPr lang="en-GB" sz="2800" b="1" dirty="0">
                <a:solidFill>
                  <a:prstClr val="white"/>
                </a:solidFill>
                <a:latin typeface="+mj-lt"/>
                <a:ea typeface="Calibri"/>
                <a:cs typeface="Calibri"/>
                <a:sym typeface="Calibri"/>
              </a:rPr>
              <a:t> </a:t>
            </a:r>
            <a:r>
              <a:rPr lang="ru-RU" sz="2400" b="1" dirty="0" smtClean="0">
                <a:solidFill>
                  <a:prstClr val="white"/>
                </a:solidFill>
                <a:latin typeface="+mj-lt"/>
                <a:ea typeface="Calibri"/>
                <a:cs typeface="Calibri"/>
                <a:sym typeface="Calibri"/>
              </a:rPr>
              <a:t>БРЕНДОВ</a:t>
            </a:r>
            <a:r>
              <a:rPr lang="en-GB" sz="2400" b="1" dirty="0" smtClean="0">
                <a:solidFill>
                  <a:prstClr val="white"/>
                </a:solidFill>
                <a:latin typeface="+mj-lt"/>
                <a:ea typeface="Calibri"/>
                <a:cs typeface="Calibri"/>
                <a:sym typeface="Calibri"/>
              </a:rPr>
              <a:t> </a:t>
            </a:r>
            <a:endParaRPr sz="2800" b="1" dirty="0">
              <a:solidFill>
                <a:prstClr val="white"/>
              </a:solidFill>
              <a:latin typeface="+mj-lt"/>
              <a:ea typeface="Calibri"/>
              <a:cs typeface="Calibri"/>
              <a:sym typeface="Calibri"/>
            </a:endParaRPr>
          </a:p>
          <a:p>
            <a:pPr defTabSz="1088089">
              <a:lnSpc>
                <a:spcPct val="150000"/>
              </a:lnSpc>
            </a:pPr>
            <a:r>
              <a:rPr lang="en-GB" sz="3198" b="1" dirty="0" smtClean="0">
                <a:solidFill>
                  <a:srgbClr val="FFFF00"/>
                </a:solidFill>
                <a:latin typeface="+mj-lt"/>
                <a:ea typeface="Calibri"/>
                <a:cs typeface="Calibri"/>
                <a:sym typeface="Calibri"/>
              </a:rPr>
              <a:t>17</a:t>
            </a:r>
            <a:r>
              <a:rPr lang="en-GB" sz="2800" b="1" dirty="0" smtClean="0">
                <a:solidFill>
                  <a:prstClr val="white"/>
                </a:solidFill>
                <a:latin typeface="+mj-lt"/>
                <a:ea typeface="Calibri"/>
                <a:cs typeface="Calibri"/>
                <a:sym typeface="Calibri"/>
              </a:rPr>
              <a:t> </a:t>
            </a:r>
            <a:r>
              <a:rPr lang="ru-RU" sz="2400" b="1" dirty="0" smtClean="0">
                <a:solidFill>
                  <a:prstClr val="white"/>
                </a:solidFill>
                <a:latin typeface="+mj-lt"/>
                <a:ea typeface="Calibri"/>
                <a:cs typeface="Calibri"/>
                <a:sym typeface="Calibri"/>
              </a:rPr>
              <a:t>РЫНКОВ</a:t>
            </a:r>
            <a:endParaRPr sz="2800" b="1" dirty="0">
              <a:solidFill>
                <a:prstClr val="white"/>
              </a:solidFill>
              <a:latin typeface="+mj-lt"/>
              <a:ea typeface="Calibri"/>
              <a:cs typeface="Calibri"/>
              <a:sym typeface="Calibri"/>
            </a:endParaRPr>
          </a:p>
          <a:p>
            <a:pPr defTabSz="1088089">
              <a:lnSpc>
                <a:spcPct val="150000"/>
              </a:lnSpc>
            </a:pPr>
            <a:r>
              <a:rPr lang="en-GB" sz="3198" b="1" dirty="0">
                <a:solidFill>
                  <a:srgbClr val="FFFF00"/>
                </a:solidFill>
                <a:latin typeface="+mj-lt"/>
                <a:ea typeface="Calibri"/>
                <a:cs typeface="Calibri"/>
                <a:sym typeface="Calibri"/>
              </a:rPr>
              <a:t>130</a:t>
            </a:r>
            <a:r>
              <a:rPr lang="en-GB" sz="2800" dirty="0">
                <a:solidFill>
                  <a:prstClr val="white"/>
                </a:solidFill>
                <a:latin typeface="+mj-lt"/>
                <a:ea typeface="Calibri"/>
                <a:cs typeface="Calibri"/>
                <a:sym typeface="Calibri"/>
              </a:rPr>
              <a:t> </a:t>
            </a:r>
            <a:r>
              <a:rPr lang="ru-RU" sz="2400" b="1" dirty="0" smtClean="0">
                <a:solidFill>
                  <a:prstClr val="white"/>
                </a:solidFill>
                <a:latin typeface="+mj-lt"/>
                <a:ea typeface="Calibri"/>
                <a:cs typeface="Calibri"/>
                <a:sym typeface="Calibri"/>
              </a:rPr>
              <a:t>ГОРОДОВ</a:t>
            </a:r>
            <a:r>
              <a:rPr lang="en-GB" sz="2400" b="1" dirty="0" smtClean="0">
                <a:solidFill>
                  <a:prstClr val="white"/>
                </a:solidFill>
                <a:latin typeface="+mj-lt"/>
                <a:ea typeface="Calibri"/>
                <a:cs typeface="Calibri"/>
                <a:sym typeface="Calibri"/>
              </a:rPr>
              <a:t> </a:t>
            </a:r>
            <a:endParaRPr lang="en-GB" sz="2800" b="1" dirty="0">
              <a:solidFill>
                <a:prstClr val="white"/>
              </a:solidFill>
              <a:latin typeface="+mj-lt"/>
              <a:ea typeface="Calibri"/>
              <a:cs typeface="Calibri"/>
              <a:sym typeface="Calibri"/>
            </a:endParaRPr>
          </a:p>
          <a:p>
            <a:pPr defTabSz="1088089">
              <a:lnSpc>
                <a:spcPct val="150000"/>
              </a:lnSpc>
            </a:pPr>
            <a:r>
              <a:rPr lang="en-GB" sz="3198" b="1" dirty="0" smtClean="0">
                <a:solidFill>
                  <a:srgbClr val="FFFF00"/>
                </a:solidFill>
                <a:latin typeface="+mj-lt"/>
                <a:ea typeface="Calibri"/>
                <a:cs typeface="Calibri"/>
                <a:sym typeface="Calibri"/>
              </a:rPr>
              <a:t>250,000</a:t>
            </a:r>
            <a:r>
              <a:rPr lang="en-GB" sz="3198" b="1" dirty="0" smtClean="0">
                <a:solidFill>
                  <a:prstClr val="white"/>
                </a:solidFill>
                <a:latin typeface="+mj-lt"/>
                <a:ea typeface="Calibri"/>
                <a:cs typeface="Calibri"/>
                <a:sym typeface="Calibri"/>
              </a:rPr>
              <a:t> </a:t>
            </a:r>
            <a:r>
              <a:rPr lang="ru-RU" sz="2400" b="1" dirty="0" smtClean="0">
                <a:solidFill>
                  <a:prstClr val="white"/>
                </a:solidFill>
                <a:latin typeface="+mj-lt"/>
                <a:ea typeface="Calibri"/>
                <a:cs typeface="Calibri"/>
                <a:sym typeface="Calibri"/>
              </a:rPr>
              <a:t>ВОДИТЕЛЕЙ</a:t>
            </a:r>
            <a:r>
              <a:rPr lang="en-GB" sz="2400" b="1" dirty="0" smtClean="0">
                <a:solidFill>
                  <a:prstClr val="white"/>
                </a:solidFill>
                <a:latin typeface="+mj-lt"/>
                <a:ea typeface="Calibri"/>
                <a:cs typeface="Calibri"/>
                <a:sym typeface="Calibri"/>
              </a:rPr>
              <a:t> </a:t>
            </a:r>
            <a:endParaRPr sz="2800" b="1" dirty="0">
              <a:solidFill>
                <a:prstClr val="white"/>
              </a:solidFill>
              <a:latin typeface="+mj-lt"/>
              <a:ea typeface="Calibri"/>
              <a:cs typeface="Calibri"/>
              <a:sym typeface="Calibri"/>
            </a:endParaRPr>
          </a:p>
          <a:p>
            <a:pPr defTabSz="1088089">
              <a:lnSpc>
                <a:spcPct val="150000"/>
              </a:lnSpc>
            </a:pPr>
            <a:r>
              <a:rPr lang="en-GB" sz="3198" b="1" dirty="0">
                <a:solidFill>
                  <a:srgbClr val="FFFF00"/>
                </a:solidFill>
                <a:latin typeface="+mj-lt"/>
                <a:ea typeface="Calibri"/>
                <a:cs typeface="Calibri"/>
                <a:sym typeface="Calibri"/>
              </a:rPr>
              <a:t>21 </a:t>
            </a:r>
            <a:r>
              <a:rPr lang="en-GB" sz="3198" b="1" dirty="0" smtClean="0">
                <a:solidFill>
                  <a:srgbClr val="FFFF00"/>
                </a:solidFill>
                <a:latin typeface="+mj-lt"/>
                <a:ea typeface="Calibri"/>
                <a:cs typeface="Calibri"/>
                <a:sym typeface="Calibri"/>
              </a:rPr>
              <a:t>M </a:t>
            </a:r>
            <a:r>
              <a:rPr lang="ru-RU" sz="2400" b="1" dirty="0" smtClean="0">
                <a:solidFill>
                  <a:prstClr val="white"/>
                </a:solidFill>
                <a:latin typeface="+mj-lt"/>
                <a:ea typeface="Calibri"/>
                <a:cs typeface="Calibri"/>
                <a:sym typeface="Calibri"/>
              </a:rPr>
              <a:t>КЛИЕНТОВ</a:t>
            </a:r>
            <a:endParaRPr sz="2800" b="1" dirty="0">
              <a:solidFill>
                <a:prstClr val="white"/>
              </a:solidFill>
              <a:latin typeface="+mj-lt"/>
              <a:ea typeface="Calibri"/>
              <a:cs typeface="Calibri"/>
              <a:sym typeface="Calibri"/>
            </a:endParaRPr>
          </a:p>
        </p:txBody>
      </p:sp>
      <p:sp>
        <p:nvSpPr>
          <p:cNvPr id="23" name="Freihandform: Form 10">
            <a:extLst>
              <a:ext uri="{FF2B5EF4-FFF2-40B4-BE49-F238E27FC236}">
                <a16:creationId xmlns:a16="http://schemas.microsoft.com/office/drawing/2014/main" id="{C86F15C2-E9C3-4FA6-9FC3-633F97D07B92}"/>
              </a:ext>
            </a:extLst>
          </p:cNvPr>
          <p:cNvSpPr/>
          <p:nvPr/>
        </p:nvSpPr>
        <p:spPr>
          <a:xfrm>
            <a:off x="10150745" y="5306462"/>
            <a:ext cx="1969156" cy="1401022"/>
          </a:xfrm>
          <a:custGeom>
            <a:avLst/>
            <a:gdLst>
              <a:gd name="connsiteX0" fmla="*/ 3746500 w 3981450"/>
              <a:gd name="connsiteY0" fmla="*/ 2546350 h 2819400"/>
              <a:gd name="connsiteX1" fmla="*/ 3981450 w 3981450"/>
              <a:gd name="connsiteY1" fmla="*/ 781050 h 2819400"/>
              <a:gd name="connsiteX2" fmla="*/ 0 w 3981450"/>
              <a:gd name="connsiteY2" fmla="*/ 0 h 2819400"/>
              <a:gd name="connsiteX3" fmla="*/ 0 w 3981450"/>
              <a:gd name="connsiteY3" fmla="*/ 2819400 h 2819400"/>
              <a:gd name="connsiteX4" fmla="*/ 3746500 w 3981450"/>
              <a:gd name="connsiteY4" fmla="*/ 2546350 h 2819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2819400">
                <a:moveTo>
                  <a:pt x="3746500" y="2546350"/>
                </a:moveTo>
                <a:lnTo>
                  <a:pt x="3981450" y="781050"/>
                </a:lnTo>
                <a:lnTo>
                  <a:pt x="0" y="0"/>
                </a:lnTo>
                <a:lnTo>
                  <a:pt x="0" y="2819400"/>
                </a:lnTo>
                <a:lnTo>
                  <a:pt x="3746500" y="25463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590" tIns="27294" rIns="54590" bIns="27294" rtlCol="0" anchor="ctr"/>
          <a:lstStyle/>
          <a:p>
            <a:pPr algn="ctr" defTabSz="1088089"/>
            <a:endParaRPr lang="de-DE" sz="2800" dirty="0" err="1">
              <a:solidFill>
                <a:prstClr val="white"/>
              </a:solidFill>
            </a:endParaRPr>
          </a:p>
        </p:txBody>
      </p:sp>
      <p:pic>
        <p:nvPicPr>
          <p:cNvPr id="16" name="Google Shape;151;p30">
            <a:extLst>
              <a:ext uri="{FF2B5EF4-FFF2-40B4-BE49-F238E27FC236}">
                <a16:creationId xmlns:a16="http://schemas.microsoft.com/office/drawing/2014/main" id="{48D007A4-14E7-44F4-8590-EA1C84A6A419}"/>
              </a:ext>
            </a:extLst>
          </p:cNvPr>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10462405" y="5599514"/>
            <a:ext cx="601162" cy="234101"/>
          </a:xfrm>
          <a:prstGeom prst="rect">
            <a:avLst/>
          </a:prstGeom>
          <a:noFill/>
          <a:ln>
            <a:noFill/>
          </a:ln>
        </p:spPr>
      </p:pic>
      <p:pic>
        <p:nvPicPr>
          <p:cNvPr id="17" name="Google Shape;156;p30">
            <a:extLst>
              <a:ext uri="{FF2B5EF4-FFF2-40B4-BE49-F238E27FC236}">
                <a16:creationId xmlns:a16="http://schemas.microsoft.com/office/drawing/2014/main" id="{97D96102-07B3-4044-B66A-515F63620E60}"/>
              </a:ext>
            </a:extLst>
          </p:cNvPr>
          <p:cNvPicPr preferRelativeResize="0"/>
          <p:nvPr/>
        </p:nvPicPr>
        <p:blipFill rotWithShape="1">
          <a:blip r:embed="rId10" cstate="email">
            <a:alphaModFix/>
            <a:extLst>
              <a:ext uri="{28A0092B-C50C-407E-A947-70E740481C1C}">
                <a14:useLocalDpi xmlns:a14="http://schemas.microsoft.com/office/drawing/2010/main"/>
              </a:ext>
            </a:extLst>
          </a:blip>
          <a:srcRect/>
          <a:stretch/>
        </p:blipFill>
        <p:spPr>
          <a:xfrm>
            <a:off x="11206310" y="5701390"/>
            <a:ext cx="642112" cy="252032"/>
          </a:xfrm>
          <a:prstGeom prst="rect">
            <a:avLst/>
          </a:prstGeom>
          <a:noFill/>
          <a:ln>
            <a:noFill/>
          </a:ln>
        </p:spPr>
      </p:pic>
      <p:pic>
        <p:nvPicPr>
          <p:cNvPr id="18" name="Google Shape;160;p30">
            <a:extLst>
              <a:ext uri="{FF2B5EF4-FFF2-40B4-BE49-F238E27FC236}">
                <a16:creationId xmlns:a16="http://schemas.microsoft.com/office/drawing/2014/main" id="{E3B19E15-8577-44A9-A414-4189E49C1F96}"/>
              </a:ext>
            </a:extLst>
          </p:cNvPr>
          <p:cNvPicPr preferRelativeResize="0"/>
          <p:nvPr/>
        </p:nvPicPr>
        <p:blipFill>
          <a:blip r:embed="rId11" cstate="email">
            <a:alphaModFix/>
            <a:extLst>
              <a:ext uri="{28A0092B-C50C-407E-A947-70E740481C1C}">
                <a14:useLocalDpi xmlns:a14="http://schemas.microsoft.com/office/drawing/2010/main"/>
              </a:ext>
            </a:extLst>
          </a:blip>
          <a:stretch>
            <a:fillRect/>
          </a:stretch>
        </p:blipFill>
        <p:spPr>
          <a:xfrm>
            <a:off x="10995826" y="6100818"/>
            <a:ext cx="811138" cy="175871"/>
          </a:xfrm>
          <a:prstGeom prst="rect">
            <a:avLst/>
          </a:prstGeom>
          <a:noFill/>
          <a:ln>
            <a:noFill/>
          </a:ln>
        </p:spPr>
      </p:pic>
      <p:pic>
        <p:nvPicPr>
          <p:cNvPr id="19" name="Google Shape;161;p30">
            <a:extLst>
              <a:ext uri="{FF2B5EF4-FFF2-40B4-BE49-F238E27FC236}">
                <a16:creationId xmlns:a16="http://schemas.microsoft.com/office/drawing/2014/main" id="{53E6D9C0-007B-4683-9787-321274A76FBF}"/>
              </a:ext>
            </a:extLst>
          </p:cNvPr>
          <p:cNvPicPr preferRelativeResize="0"/>
          <p:nvPr/>
        </p:nvPicPr>
        <p:blipFill rotWithShape="1">
          <a:blip r:embed="rId12" cstate="email">
            <a:alphaModFix/>
            <a:extLst>
              <a:ext uri="{28A0092B-C50C-407E-A947-70E740481C1C}">
                <a14:useLocalDpi xmlns:a14="http://schemas.microsoft.com/office/drawing/2010/main"/>
              </a:ext>
            </a:extLst>
          </a:blip>
          <a:srcRect/>
          <a:stretch/>
        </p:blipFill>
        <p:spPr>
          <a:xfrm>
            <a:off x="10551482" y="6317517"/>
            <a:ext cx="791530" cy="251307"/>
          </a:xfrm>
          <a:prstGeom prst="rect">
            <a:avLst/>
          </a:prstGeom>
          <a:noFill/>
          <a:ln>
            <a:noFill/>
          </a:ln>
        </p:spPr>
      </p:pic>
      <p:pic>
        <p:nvPicPr>
          <p:cNvPr id="20" name="Google Shape;162;p30">
            <a:extLst>
              <a:ext uri="{FF2B5EF4-FFF2-40B4-BE49-F238E27FC236}">
                <a16:creationId xmlns:a16="http://schemas.microsoft.com/office/drawing/2014/main" id="{50863E8D-6D70-47C4-B434-D58E9DDC9A3B}"/>
              </a:ext>
            </a:extLst>
          </p:cNvPr>
          <p:cNvPicPr preferRelativeResize="0"/>
          <p:nvPr/>
        </p:nvPicPr>
        <p:blipFill rotWithShape="1">
          <a:blip r:embed="rId13" cstate="email">
            <a:alphaModFix/>
            <a:extLst>
              <a:ext uri="{28A0092B-C50C-407E-A947-70E740481C1C}">
                <a14:useLocalDpi xmlns:a14="http://schemas.microsoft.com/office/drawing/2010/main"/>
              </a:ext>
            </a:extLst>
          </a:blip>
          <a:srcRect/>
          <a:stretch/>
        </p:blipFill>
        <p:spPr>
          <a:xfrm>
            <a:off x="10197320" y="5923289"/>
            <a:ext cx="726392" cy="300646"/>
          </a:xfrm>
          <a:prstGeom prst="rect">
            <a:avLst/>
          </a:prstGeom>
          <a:noFill/>
          <a:ln>
            <a:noFill/>
          </a:ln>
        </p:spPr>
      </p:pic>
      <p:sp>
        <p:nvSpPr>
          <p:cNvPr id="24" name="Rechteck 23"/>
          <p:cNvSpPr/>
          <p:nvPr/>
        </p:nvSpPr>
        <p:spPr bwMode="gray">
          <a:xfrm>
            <a:off x="2304000" y="431999"/>
            <a:ext cx="9526120" cy="828000"/>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7306"/>
            <a:r>
              <a:rPr lang="ru-RU" sz="2800" b="1" dirty="0" smtClean="0">
                <a:solidFill>
                  <a:schemeClr val="bg1"/>
                </a:solidFill>
                <a:latin typeface="CorpoS" pitchFamily="2" charset="0"/>
                <a:ea typeface="MS Mincho" panose="02020609040205080304" pitchFamily="49" charset="-128"/>
                <a:cs typeface="Helvetica" panose="020B0604020202020204" pitchFamily="34" charset="0"/>
              </a:rPr>
              <a:t>ВЕДУЩЕЕ ПРИЛОЖЕНИЕ ТАКСИ В ЕВРОПЕ</a:t>
            </a:r>
            <a:endParaRPr lang="de-DE" sz="2800" b="1" dirty="0">
              <a:solidFill>
                <a:srgbClr val="FFFF00"/>
              </a:solidFill>
              <a:latin typeface="CorpoS" pitchFamily="2" charset="0"/>
              <a:ea typeface="MS Mincho" panose="02020609040205080304" pitchFamily="49" charset="-128"/>
              <a:cs typeface="Helvetica" panose="020B0604020202020204" pitchFamily="34" charset="0"/>
            </a:endParaRPr>
          </a:p>
        </p:txBody>
      </p:sp>
      <p:pic>
        <p:nvPicPr>
          <p:cNvPr id="26" name="Grafik 25"/>
          <p:cNvPicPr>
            <a:picLocks noChangeAspect="1"/>
          </p:cNvPicPr>
          <p:nvPr/>
        </p:nvPicPr>
        <p:blipFill>
          <a:blip r:embed="rId14"/>
          <a:stretch>
            <a:fillRect/>
          </a:stretch>
        </p:blipFill>
        <p:spPr>
          <a:xfrm>
            <a:off x="180000" y="252000"/>
            <a:ext cx="2153009" cy="1207267"/>
          </a:xfrm>
          <a:prstGeom prst="rect">
            <a:avLst/>
          </a:prstGeom>
        </p:spPr>
      </p:pic>
      <p:sp>
        <p:nvSpPr>
          <p:cNvPr id="4" name="Ellipse 3"/>
          <p:cNvSpPr/>
          <p:nvPr/>
        </p:nvSpPr>
        <p:spPr>
          <a:xfrm>
            <a:off x="10251290" y="5903370"/>
            <a:ext cx="597098" cy="413894"/>
          </a:xfrm>
          <a:prstGeom prst="ellipse">
            <a:avLst/>
          </a:prstGeom>
          <a:noFill/>
          <a:ln w="9525" cap="rnd">
            <a:solidFill>
              <a:schemeClr val="accent1"/>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smtClean="0">
              <a:solidFill>
                <a:schemeClr val="bg1"/>
              </a:solidFill>
            </a:endParaRPr>
          </a:p>
        </p:txBody>
      </p:sp>
    </p:spTree>
    <p:extLst>
      <p:ext uri="{BB962C8B-B14F-4D97-AF65-F5344CB8AC3E}">
        <p14:creationId xmlns:p14="http://schemas.microsoft.com/office/powerpoint/2010/main" val="3610256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337693">
            <a:alpha val="80000"/>
          </a:srgbClr>
        </a:solidFill>
        <a:effectLst/>
      </p:bgPr>
    </p:bg>
    <p:spTree>
      <p:nvGrpSpPr>
        <p:cNvPr id="1" name="Shape 3002"/>
        <p:cNvGrpSpPr/>
        <p:nvPr/>
      </p:nvGrpSpPr>
      <p:grpSpPr>
        <a:xfrm>
          <a:off x="0" y="0"/>
          <a:ext cx="0" cy="0"/>
          <a:chOff x="0" y="0"/>
          <a:chExt cx="0" cy="0"/>
        </a:xfrm>
      </p:grpSpPr>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34" y="219917"/>
            <a:ext cx="2950204" cy="6385799"/>
          </a:xfrm>
          <a:prstGeom prst="rect">
            <a:avLst/>
          </a:prstGeom>
        </p:spPr>
      </p:pic>
      <p:sp>
        <p:nvSpPr>
          <p:cNvPr id="54" name="Rechteck 53"/>
          <p:cNvSpPr/>
          <p:nvPr/>
        </p:nvSpPr>
        <p:spPr bwMode="gray">
          <a:xfrm>
            <a:off x="2858814" y="431999"/>
            <a:ext cx="8967294" cy="828000"/>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7306"/>
            <a:r>
              <a:rPr lang="ru-RU" sz="2800" b="1" dirty="0" smtClean="0">
                <a:solidFill>
                  <a:srgbClr val="FFFF00"/>
                </a:solidFill>
                <a:latin typeface="CorpoS" pitchFamily="2" charset="0"/>
              </a:rPr>
              <a:t>ЭЛЕКТРОСАМОКАТЫ – ЧАСТЬ СЕМЬИ</a:t>
            </a:r>
            <a:r>
              <a:rPr lang="en-GB" sz="2800" b="1" dirty="0" smtClean="0">
                <a:latin typeface="CorpoS" pitchFamily="2" charset="0"/>
              </a:rPr>
              <a:t> </a:t>
            </a:r>
            <a:r>
              <a:rPr lang="en-GB" sz="2800" b="1" dirty="0" smtClean="0">
                <a:solidFill>
                  <a:srgbClr val="FFFF00"/>
                </a:solidFill>
                <a:latin typeface="CorpoS" pitchFamily="2" charset="0"/>
              </a:rPr>
              <a:t>FREE </a:t>
            </a:r>
            <a:r>
              <a:rPr lang="en-GB" sz="2800" b="1" dirty="0" smtClean="0">
                <a:solidFill>
                  <a:srgbClr val="FFFF00"/>
                </a:solidFill>
                <a:latin typeface="CorpoS" pitchFamily="2" charset="0"/>
              </a:rPr>
              <a:t>NOW</a:t>
            </a:r>
            <a:endParaRPr lang="de-DE" sz="2800" b="1" dirty="0">
              <a:solidFill>
                <a:srgbClr val="FFFF00"/>
              </a:solidFill>
              <a:latin typeface="CorpoS" pitchFamily="2" charset="0"/>
              <a:ea typeface="MS Mincho" panose="02020609040205080304" pitchFamily="49" charset="-128"/>
              <a:cs typeface="Helvetica" panose="020B0604020202020204" pitchFamily="34" charset="0"/>
            </a:endParaRPr>
          </a:p>
        </p:txBody>
      </p:sp>
      <p:sp>
        <p:nvSpPr>
          <p:cNvPr id="3004" name="Google Shape;3004;p90"/>
          <p:cNvSpPr txBox="1">
            <a:spLocks noGrp="1"/>
          </p:cNvSpPr>
          <p:nvPr>
            <p:ph type="sldNum" sz="quarter" idx="12"/>
          </p:nvPr>
        </p:nvSpPr>
        <p:spPr>
          <a:xfrm>
            <a:off x="8568559" y="6282778"/>
            <a:ext cx="2743200" cy="365125"/>
          </a:xfrm>
          <a:prstGeom prst="rect">
            <a:avLst/>
          </a:prstGeom>
        </p:spPr>
        <p:txBody>
          <a:bodyPr spcFirstLastPara="1" wrap="square" lIns="0" tIns="0" rIns="0" bIns="0" anchor="b" anchorCtr="0">
            <a:noAutofit/>
          </a:bodyPr>
          <a:lstStyle/>
          <a:p>
            <a:pPr defTabSz="1219170">
              <a:buClr>
                <a:srgbClr val="000000"/>
              </a:buClr>
              <a:buSzPts val="1100"/>
            </a:pPr>
            <a:fld id="{00000000-1234-1234-1234-123412341234}" type="slidenum">
              <a:rPr lang="en-GB" kern="0">
                <a:solidFill>
                  <a:srgbClr val="001E3E"/>
                </a:solidFill>
              </a:rPr>
              <a:pPr defTabSz="1219170">
                <a:buClr>
                  <a:srgbClr val="000000"/>
                </a:buClr>
                <a:buSzPts val="1100"/>
              </a:pPr>
              <a:t>19</a:t>
            </a:fld>
            <a:endParaRPr kern="0">
              <a:solidFill>
                <a:srgbClr val="001E3E"/>
              </a:solidFill>
            </a:endParaRPr>
          </a:p>
        </p:txBody>
      </p:sp>
      <p:grpSp>
        <p:nvGrpSpPr>
          <p:cNvPr id="3017" name="Google Shape;3017;p90"/>
          <p:cNvGrpSpPr/>
          <p:nvPr/>
        </p:nvGrpSpPr>
        <p:grpSpPr>
          <a:xfrm>
            <a:off x="8586639" y="1607356"/>
            <a:ext cx="3170225" cy="5003650"/>
            <a:chOff x="3662425" y="900273"/>
            <a:chExt cx="2572400" cy="4059878"/>
          </a:xfrm>
        </p:grpSpPr>
        <p:grpSp>
          <p:nvGrpSpPr>
            <p:cNvPr id="3018" name="Google Shape;3018;p90"/>
            <p:cNvGrpSpPr/>
            <p:nvPr/>
          </p:nvGrpSpPr>
          <p:grpSpPr>
            <a:xfrm>
              <a:off x="3662425" y="900273"/>
              <a:ext cx="2572400" cy="4059878"/>
              <a:chOff x="4195825" y="900273"/>
              <a:chExt cx="2572400" cy="4059878"/>
            </a:xfrm>
          </p:grpSpPr>
          <p:pic>
            <p:nvPicPr>
              <p:cNvPr id="3019" name="Google Shape;3019;p90"/>
              <p:cNvPicPr preferRelativeResize="0"/>
              <p:nvPr/>
            </p:nvPicPr>
            <p:blipFill rotWithShape="1">
              <a:blip r:embed="rId4">
                <a:alphaModFix/>
              </a:blip>
              <a:srcRect b="10518"/>
              <a:stretch/>
            </p:blipFill>
            <p:spPr>
              <a:xfrm>
                <a:off x="4290275" y="1168449"/>
                <a:ext cx="2383500" cy="3791702"/>
              </a:xfrm>
              <a:prstGeom prst="rect">
                <a:avLst/>
              </a:prstGeom>
              <a:noFill/>
              <a:ln>
                <a:noFill/>
              </a:ln>
            </p:spPr>
          </p:pic>
          <p:pic>
            <p:nvPicPr>
              <p:cNvPr id="3020" name="Google Shape;3020;p90"/>
              <p:cNvPicPr preferRelativeResize="0"/>
              <p:nvPr/>
            </p:nvPicPr>
            <p:blipFill rotWithShape="1">
              <a:blip r:embed="rId5">
                <a:alphaModFix/>
              </a:blip>
              <a:srcRect b="21065"/>
              <a:stretch/>
            </p:blipFill>
            <p:spPr>
              <a:xfrm>
                <a:off x="4195825" y="900273"/>
                <a:ext cx="2572400" cy="4059878"/>
              </a:xfrm>
              <a:prstGeom prst="rect">
                <a:avLst/>
              </a:prstGeom>
              <a:noFill/>
              <a:ln>
                <a:noFill/>
              </a:ln>
            </p:spPr>
          </p:pic>
        </p:grpSp>
        <p:grpSp>
          <p:nvGrpSpPr>
            <p:cNvPr id="3021" name="Google Shape;3021;p90"/>
            <p:cNvGrpSpPr/>
            <p:nvPr/>
          </p:nvGrpSpPr>
          <p:grpSpPr>
            <a:xfrm>
              <a:off x="4912626" y="2905950"/>
              <a:ext cx="991299" cy="1061375"/>
              <a:chOff x="6418201" y="2905950"/>
              <a:chExt cx="991299" cy="1061375"/>
            </a:xfrm>
          </p:grpSpPr>
          <p:pic>
            <p:nvPicPr>
              <p:cNvPr id="3022" name="Google Shape;3022;p90"/>
              <p:cNvPicPr preferRelativeResize="0"/>
              <p:nvPr/>
            </p:nvPicPr>
            <p:blipFill>
              <a:blip r:embed="rId6">
                <a:alphaModFix/>
              </a:blip>
              <a:stretch>
                <a:fillRect/>
              </a:stretch>
            </p:blipFill>
            <p:spPr>
              <a:xfrm>
                <a:off x="6418201" y="3525064"/>
                <a:ext cx="216448" cy="208015"/>
              </a:xfrm>
              <a:prstGeom prst="rect">
                <a:avLst/>
              </a:prstGeom>
              <a:noFill/>
              <a:ln>
                <a:noFill/>
              </a:ln>
            </p:spPr>
          </p:pic>
          <p:pic>
            <p:nvPicPr>
              <p:cNvPr id="3023" name="Google Shape;3023;p90"/>
              <p:cNvPicPr preferRelativeResize="0"/>
              <p:nvPr/>
            </p:nvPicPr>
            <p:blipFill rotWithShape="1">
              <a:blip r:embed="rId7">
                <a:alphaModFix/>
              </a:blip>
              <a:srcRect l="60115" t="31266" r="25748" b="61100"/>
              <a:stretch/>
            </p:blipFill>
            <p:spPr>
              <a:xfrm>
                <a:off x="6993150" y="3247525"/>
                <a:ext cx="262500" cy="252300"/>
              </a:xfrm>
              <a:prstGeom prst="ellipse">
                <a:avLst/>
              </a:prstGeom>
              <a:noFill/>
              <a:ln>
                <a:noFill/>
              </a:ln>
            </p:spPr>
          </p:pic>
          <p:pic>
            <p:nvPicPr>
              <p:cNvPr id="3024" name="Google Shape;3024;p90"/>
              <p:cNvPicPr preferRelativeResize="0"/>
              <p:nvPr/>
            </p:nvPicPr>
            <p:blipFill rotWithShape="1">
              <a:blip r:embed="rId7">
                <a:alphaModFix/>
              </a:blip>
              <a:srcRect l="60115" t="31266" r="25748" b="61100"/>
              <a:stretch/>
            </p:blipFill>
            <p:spPr>
              <a:xfrm>
                <a:off x="6655525" y="3715025"/>
                <a:ext cx="262500" cy="252300"/>
              </a:xfrm>
              <a:prstGeom prst="ellipse">
                <a:avLst/>
              </a:prstGeom>
              <a:noFill/>
              <a:ln>
                <a:noFill/>
              </a:ln>
            </p:spPr>
          </p:pic>
          <p:pic>
            <p:nvPicPr>
              <p:cNvPr id="3025" name="Google Shape;3025;p90"/>
              <p:cNvPicPr preferRelativeResize="0"/>
              <p:nvPr/>
            </p:nvPicPr>
            <p:blipFill rotWithShape="1">
              <a:blip r:embed="rId7">
                <a:alphaModFix/>
              </a:blip>
              <a:srcRect l="60115" t="31266" r="25748" b="61100"/>
              <a:stretch/>
            </p:blipFill>
            <p:spPr>
              <a:xfrm>
                <a:off x="7147000" y="2905950"/>
                <a:ext cx="262500" cy="252300"/>
              </a:xfrm>
              <a:prstGeom prst="ellipse">
                <a:avLst/>
              </a:prstGeom>
              <a:noFill/>
              <a:ln>
                <a:noFill/>
              </a:ln>
            </p:spPr>
          </p:pic>
          <p:pic>
            <p:nvPicPr>
              <p:cNvPr id="3026" name="Google Shape;3026;p90"/>
              <p:cNvPicPr preferRelativeResize="0"/>
              <p:nvPr/>
            </p:nvPicPr>
            <p:blipFill rotWithShape="1">
              <a:blip r:embed="rId7">
                <a:alphaModFix/>
              </a:blip>
              <a:srcRect l="60115" t="31266" r="25748" b="61100"/>
              <a:stretch/>
            </p:blipFill>
            <p:spPr>
              <a:xfrm>
                <a:off x="7075725" y="3589100"/>
                <a:ext cx="262500" cy="252300"/>
              </a:xfrm>
              <a:prstGeom prst="ellipse">
                <a:avLst/>
              </a:prstGeom>
              <a:noFill/>
              <a:ln>
                <a:noFill/>
              </a:ln>
            </p:spPr>
          </p:pic>
          <p:pic>
            <p:nvPicPr>
              <p:cNvPr id="3027" name="Google Shape;3027;p90"/>
              <p:cNvPicPr preferRelativeResize="0"/>
              <p:nvPr/>
            </p:nvPicPr>
            <p:blipFill>
              <a:blip r:embed="rId6">
                <a:alphaModFix/>
              </a:blip>
              <a:stretch>
                <a:fillRect/>
              </a:stretch>
            </p:blipFill>
            <p:spPr>
              <a:xfrm>
                <a:off x="6464252" y="3721209"/>
                <a:ext cx="216448" cy="208015"/>
              </a:xfrm>
              <a:prstGeom prst="rect">
                <a:avLst/>
              </a:prstGeom>
              <a:noFill/>
              <a:ln>
                <a:noFill/>
              </a:ln>
            </p:spPr>
          </p:pic>
          <p:pic>
            <p:nvPicPr>
              <p:cNvPr id="3028" name="Google Shape;3028;p90"/>
              <p:cNvPicPr preferRelativeResize="0"/>
              <p:nvPr/>
            </p:nvPicPr>
            <p:blipFill>
              <a:blip r:embed="rId6">
                <a:alphaModFix/>
              </a:blip>
              <a:stretch>
                <a:fillRect/>
              </a:stretch>
            </p:blipFill>
            <p:spPr>
              <a:xfrm>
                <a:off x="6721677" y="3412134"/>
                <a:ext cx="216448" cy="208015"/>
              </a:xfrm>
              <a:prstGeom prst="rect">
                <a:avLst/>
              </a:prstGeom>
              <a:noFill/>
              <a:ln>
                <a:noFill/>
              </a:ln>
            </p:spPr>
          </p:pic>
          <p:pic>
            <p:nvPicPr>
              <p:cNvPr id="3029" name="Google Shape;3029;p90"/>
              <p:cNvPicPr preferRelativeResize="0"/>
              <p:nvPr/>
            </p:nvPicPr>
            <p:blipFill>
              <a:blip r:embed="rId6">
                <a:alphaModFix/>
              </a:blip>
              <a:stretch>
                <a:fillRect/>
              </a:stretch>
            </p:blipFill>
            <p:spPr>
              <a:xfrm>
                <a:off x="6655527" y="3317059"/>
                <a:ext cx="216448" cy="208015"/>
              </a:xfrm>
              <a:prstGeom prst="rect">
                <a:avLst/>
              </a:prstGeom>
              <a:noFill/>
              <a:ln>
                <a:noFill/>
              </a:ln>
            </p:spPr>
          </p:pic>
          <p:pic>
            <p:nvPicPr>
              <p:cNvPr id="3030" name="Google Shape;3030;p90"/>
              <p:cNvPicPr preferRelativeResize="0"/>
              <p:nvPr/>
            </p:nvPicPr>
            <p:blipFill>
              <a:blip r:embed="rId6">
                <a:alphaModFix/>
              </a:blip>
              <a:stretch>
                <a:fillRect/>
              </a:stretch>
            </p:blipFill>
            <p:spPr>
              <a:xfrm>
                <a:off x="6776702" y="3291809"/>
                <a:ext cx="216448" cy="208015"/>
              </a:xfrm>
              <a:prstGeom prst="rect">
                <a:avLst/>
              </a:prstGeom>
              <a:noFill/>
              <a:ln>
                <a:noFill/>
              </a:ln>
            </p:spPr>
          </p:pic>
          <p:pic>
            <p:nvPicPr>
              <p:cNvPr id="3031" name="Google Shape;3031;p90"/>
              <p:cNvPicPr preferRelativeResize="0"/>
              <p:nvPr/>
            </p:nvPicPr>
            <p:blipFill>
              <a:blip r:embed="rId6">
                <a:alphaModFix/>
              </a:blip>
              <a:stretch>
                <a:fillRect/>
              </a:stretch>
            </p:blipFill>
            <p:spPr>
              <a:xfrm>
                <a:off x="6839052" y="3412134"/>
                <a:ext cx="216448" cy="208015"/>
              </a:xfrm>
              <a:prstGeom prst="rect">
                <a:avLst/>
              </a:prstGeom>
              <a:noFill/>
              <a:ln>
                <a:noFill/>
              </a:ln>
            </p:spPr>
          </p:pic>
          <p:pic>
            <p:nvPicPr>
              <p:cNvPr id="3032" name="Google Shape;3032;p90"/>
              <p:cNvPicPr preferRelativeResize="0"/>
              <p:nvPr/>
            </p:nvPicPr>
            <p:blipFill>
              <a:blip r:embed="rId6">
                <a:alphaModFix/>
              </a:blip>
              <a:stretch>
                <a:fillRect/>
              </a:stretch>
            </p:blipFill>
            <p:spPr>
              <a:xfrm>
                <a:off x="6548102" y="3444209"/>
                <a:ext cx="216448" cy="208015"/>
              </a:xfrm>
              <a:prstGeom prst="rect">
                <a:avLst/>
              </a:prstGeom>
              <a:noFill/>
              <a:ln>
                <a:noFill/>
              </a:ln>
            </p:spPr>
          </p:pic>
          <p:pic>
            <p:nvPicPr>
              <p:cNvPr id="3033" name="Google Shape;3033;p90"/>
              <p:cNvPicPr preferRelativeResize="0"/>
              <p:nvPr/>
            </p:nvPicPr>
            <p:blipFill>
              <a:blip r:embed="rId6">
                <a:alphaModFix/>
              </a:blip>
              <a:stretch>
                <a:fillRect/>
              </a:stretch>
            </p:blipFill>
            <p:spPr>
              <a:xfrm>
                <a:off x="6839052" y="3525071"/>
                <a:ext cx="216448" cy="208015"/>
              </a:xfrm>
              <a:prstGeom prst="rect">
                <a:avLst/>
              </a:prstGeom>
              <a:noFill/>
              <a:ln>
                <a:noFill/>
              </a:ln>
            </p:spPr>
          </p:pic>
          <p:pic>
            <p:nvPicPr>
              <p:cNvPr id="3034" name="Google Shape;3034;p90"/>
              <p:cNvPicPr preferRelativeResize="0"/>
              <p:nvPr/>
            </p:nvPicPr>
            <p:blipFill>
              <a:blip r:embed="rId6">
                <a:alphaModFix/>
              </a:blip>
              <a:stretch>
                <a:fillRect/>
              </a:stretch>
            </p:blipFill>
            <p:spPr>
              <a:xfrm>
                <a:off x="6871977" y="3611246"/>
                <a:ext cx="216448" cy="208015"/>
              </a:xfrm>
              <a:prstGeom prst="rect">
                <a:avLst/>
              </a:prstGeom>
              <a:noFill/>
              <a:ln>
                <a:noFill/>
              </a:ln>
            </p:spPr>
          </p:pic>
          <p:pic>
            <p:nvPicPr>
              <p:cNvPr id="3035" name="Google Shape;3035;p90"/>
              <p:cNvPicPr preferRelativeResize="0"/>
              <p:nvPr/>
            </p:nvPicPr>
            <p:blipFill>
              <a:blip r:embed="rId6">
                <a:alphaModFix/>
              </a:blip>
              <a:stretch>
                <a:fillRect/>
              </a:stretch>
            </p:blipFill>
            <p:spPr>
              <a:xfrm>
                <a:off x="6705677" y="3444209"/>
                <a:ext cx="216448" cy="208015"/>
              </a:xfrm>
              <a:prstGeom prst="rect">
                <a:avLst/>
              </a:prstGeom>
              <a:noFill/>
              <a:ln>
                <a:noFill/>
              </a:ln>
            </p:spPr>
          </p:pic>
        </p:grpSp>
      </p:grpSp>
      <p:pic>
        <p:nvPicPr>
          <p:cNvPr id="30" name="Google Shape;162;p30">
            <a:extLst>
              <a:ext uri="{FF2B5EF4-FFF2-40B4-BE49-F238E27FC236}">
                <a16:creationId xmlns:a16="http://schemas.microsoft.com/office/drawing/2014/main" id="{50863E8D-6D70-47C4-B434-D58E9DDC9A3B}"/>
              </a:ext>
            </a:extLst>
          </p:cNvPr>
          <p:cNvPicPr preferRelativeResize="0"/>
          <p:nvPr/>
        </p:nvPicPr>
        <p:blipFill rotWithShape="1">
          <a:blip r:embed="rId8">
            <a:alphaModFix/>
          </a:blip>
          <a:srcRect l="15890" t="19006" r="14156" b="17589"/>
          <a:stretch/>
        </p:blipFill>
        <p:spPr>
          <a:xfrm>
            <a:off x="2858400" y="1520825"/>
            <a:ext cx="1271751" cy="712794"/>
          </a:xfrm>
          <a:prstGeom prst="rect">
            <a:avLst/>
          </a:prstGeom>
          <a:noFill/>
          <a:ln>
            <a:noFill/>
          </a:ln>
        </p:spPr>
      </p:pic>
      <p:sp>
        <p:nvSpPr>
          <p:cNvPr id="26" name="Google Shape;169;p31">
            <a:extLst>
              <a:ext uri="{FF2B5EF4-FFF2-40B4-BE49-F238E27FC236}">
                <a16:creationId xmlns:a16="http://schemas.microsoft.com/office/drawing/2014/main" id="{982A3F2C-DA0E-4C74-9B6B-B25590652781}"/>
              </a:ext>
            </a:extLst>
          </p:cNvPr>
          <p:cNvSpPr/>
          <p:nvPr/>
        </p:nvSpPr>
        <p:spPr>
          <a:xfrm>
            <a:off x="2858814" y="2402213"/>
            <a:ext cx="5237067" cy="1080000"/>
          </a:xfrm>
          <a:prstGeom prst="rect">
            <a:avLst/>
          </a:prstGeom>
          <a:solidFill>
            <a:srgbClr val="005478">
              <a:alpha val="90000"/>
            </a:srgbClr>
          </a:solidFill>
          <a:ln>
            <a:noFill/>
          </a:ln>
        </p:spPr>
        <p:txBody>
          <a:bodyPr spcFirstLastPara="1" wrap="square" lIns="91379" tIns="45674" rIns="91379" bIns="45674" anchor="ctr" anchorCtr="0">
            <a:noAutofit/>
          </a:bodyPr>
          <a:lstStyle/>
          <a:p>
            <a:pPr defTabSz="1088089">
              <a:lnSpc>
                <a:spcPct val="150000"/>
              </a:lnSpc>
            </a:pPr>
            <a:r>
              <a:rPr lang="ru-RU" sz="2400" b="1" dirty="0" smtClean="0">
                <a:solidFill>
                  <a:srgbClr val="FFFF00"/>
                </a:solidFill>
                <a:latin typeface="CorpoS" pitchFamily="2" charset="0"/>
                <a:ea typeface="Calibri"/>
                <a:cs typeface="Calibri"/>
                <a:sym typeface="Calibri"/>
              </a:rPr>
              <a:t>ЭЛЕКТРОСАМОКАТЫ</a:t>
            </a:r>
            <a:endParaRPr lang="en-GB" sz="2400" b="1" dirty="0" smtClean="0">
              <a:solidFill>
                <a:srgbClr val="FFFF00"/>
              </a:solidFill>
              <a:latin typeface="CorpoS" pitchFamily="2" charset="0"/>
              <a:ea typeface="Calibri"/>
              <a:cs typeface="Calibri"/>
              <a:sym typeface="Calibri"/>
            </a:endParaRPr>
          </a:p>
          <a:p>
            <a:pPr defTabSz="1088089">
              <a:lnSpc>
                <a:spcPct val="150000"/>
              </a:lnSpc>
            </a:pPr>
            <a:r>
              <a:rPr lang="ru-RU" sz="2400" b="1" dirty="0" smtClean="0">
                <a:solidFill>
                  <a:schemeClr val="bg1"/>
                </a:solidFill>
                <a:latin typeface="CorpoS" pitchFamily="2" charset="0"/>
                <a:ea typeface="Calibri"/>
                <a:cs typeface="Calibri"/>
                <a:sym typeface="Calibri"/>
              </a:rPr>
              <a:t>НА ОБНОВЛЯЕМОЙ ЭНЕРГИИ</a:t>
            </a:r>
            <a:endParaRPr lang="en-GB" sz="2400" b="1" dirty="0" smtClean="0">
              <a:solidFill>
                <a:schemeClr val="bg1"/>
              </a:solidFill>
              <a:latin typeface="CorpoS" pitchFamily="2" charset="0"/>
              <a:ea typeface="Calibri"/>
              <a:cs typeface="Calibri"/>
              <a:sym typeface="Calibri"/>
            </a:endParaRPr>
          </a:p>
        </p:txBody>
      </p:sp>
      <p:sp>
        <p:nvSpPr>
          <p:cNvPr id="31" name="Google Shape;169;p31">
            <a:extLst>
              <a:ext uri="{FF2B5EF4-FFF2-40B4-BE49-F238E27FC236}">
                <a16:creationId xmlns:a16="http://schemas.microsoft.com/office/drawing/2014/main" id="{982A3F2C-DA0E-4C74-9B6B-B25590652781}"/>
              </a:ext>
            </a:extLst>
          </p:cNvPr>
          <p:cNvSpPr/>
          <p:nvPr/>
        </p:nvSpPr>
        <p:spPr>
          <a:xfrm>
            <a:off x="2858400" y="3790849"/>
            <a:ext cx="5237067" cy="2160000"/>
          </a:xfrm>
          <a:prstGeom prst="rect">
            <a:avLst/>
          </a:prstGeom>
          <a:solidFill>
            <a:srgbClr val="005478">
              <a:alpha val="90000"/>
            </a:srgbClr>
          </a:solidFill>
          <a:ln>
            <a:noFill/>
          </a:ln>
        </p:spPr>
        <p:txBody>
          <a:bodyPr spcFirstLastPara="1" wrap="square" lIns="91379" tIns="45674" rIns="91379" bIns="45674" anchor="ctr" anchorCtr="0">
            <a:noAutofit/>
          </a:bodyPr>
          <a:lstStyle/>
          <a:p>
            <a:pPr defTabSz="1088089">
              <a:lnSpc>
                <a:spcPct val="150000"/>
              </a:lnSpc>
            </a:pPr>
            <a:r>
              <a:rPr lang="en-GB" sz="3200" b="1" dirty="0" smtClean="0">
                <a:solidFill>
                  <a:srgbClr val="FFFF00"/>
                </a:solidFill>
                <a:latin typeface="CorpoS" pitchFamily="2" charset="0"/>
                <a:ea typeface="Calibri"/>
                <a:cs typeface="Calibri"/>
                <a:sym typeface="Calibri"/>
              </a:rPr>
              <a:t>3000+ </a:t>
            </a:r>
            <a:r>
              <a:rPr lang="ru-RU" sz="2400" b="1" dirty="0" smtClean="0">
                <a:solidFill>
                  <a:prstClr val="white"/>
                </a:solidFill>
                <a:latin typeface="CorpoS" pitchFamily="2" charset="0"/>
                <a:ea typeface="Calibri"/>
                <a:cs typeface="Calibri"/>
                <a:sym typeface="Calibri"/>
              </a:rPr>
              <a:t>САМОКАТОВ</a:t>
            </a:r>
            <a:r>
              <a:rPr lang="en-GB" sz="2400" dirty="0" smtClean="0">
                <a:solidFill>
                  <a:prstClr val="white"/>
                </a:solidFill>
                <a:latin typeface="CorpoS" pitchFamily="2" charset="0"/>
                <a:ea typeface="Calibri"/>
                <a:cs typeface="Calibri"/>
                <a:sym typeface="Calibri"/>
              </a:rPr>
              <a:t> </a:t>
            </a:r>
            <a:r>
              <a:rPr lang="en-GB" dirty="0" smtClean="0">
                <a:solidFill>
                  <a:prstClr val="white"/>
                </a:solidFill>
                <a:latin typeface="CorpoS" pitchFamily="2" charset="0"/>
                <a:ea typeface="Calibri"/>
                <a:cs typeface="Calibri"/>
                <a:sym typeface="Calibri"/>
              </a:rPr>
              <a:t>(</a:t>
            </a:r>
            <a:r>
              <a:rPr lang="ru-RU" dirty="0" smtClean="0">
                <a:solidFill>
                  <a:prstClr val="white"/>
                </a:solidFill>
                <a:latin typeface="CorpoS" pitchFamily="2" charset="0"/>
                <a:ea typeface="Calibri"/>
                <a:cs typeface="Calibri"/>
                <a:sym typeface="Calibri"/>
              </a:rPr>
              <a:t>СЕЙЧАС</a:t>
            </a:r>
            <a:r>
              <a:rPr lang="en-GB" dirty="0" smtClean="0">
                <a:solidFill>
                  <a:prstClr val="white"/>
                </a:solidFill>
                <a:latin typeface="CorpoS" pitchFamily="2" charset="0"/>
                <a:ea typeface="Calibri"/>
                <a:cs typeface="Calibri"/>
                <a:sym typeface="Calibri"/>
              </a:rPr>
              <a:t>)</a:t>
            </a:r>
            <a:endParaRPr sz="2400" dirty="0" smtClean="0">
              <a:solidFill>
                <a:prstClr val="white"/>
              </a:solidFill>
              <a:latin typeface="CorpoS" pitchFamily="2" charset="0"/>
              <a:ea typeface="Calibri"/>
              <a:cs typeface="Calibri"/>
              <a:sym typeface="Calibri"/>
            </a:endParaRPr>
          </a:p>
          <a:p>
            <a:pPr defTabSz="1088089">
              <a:lnSpc>
                <a:spcPct val="150000"/>
              </a:lnSpc>
            </a:pPr>
            <a:r>
              <a:rPr lang="en-GB" sz="3200" b="1" dirty="0" smtClean="0">
                <a:solidFill>
                  <a:srgbClr val="FFFF00"/>
                </a:solidFill>
                <a:latin typeface="CorpoS" pitchFamily="2" charset="0"/>
                <a:ea typeface="Calibri"/>
                <a:cs typeface="Calibri"/>
                <a:sym typeface="Calibri"/>
              </a:rPr>
              <a:t>4</a:t>
            </a:r>
            <a:r>
              <a:rPr lang="en-GB" sz="2400" dirty="0" smtClean="0">
                <a:solidFill>
                  <a:prstClr val="white"/>
                </a:solidFill>
                <a:latin typeface="CorpoS" pitchFamily="2" charset="0"/>
                <a:ea typeface="Calibri"/>
                <a:cs typeface="Calibri"/>
                <a:sym typeface="Calibri"/>
              </a:rPr>
              <a:t> </a:t>
            </a:r>
            <a:r>
              <a:rPr lang="ru-RU" sz="2400" b="1" dirty="0" smtClean="0">
                <a:solidFill>
                  <a:prstClr val="white"/>
                </a:solidFill>
                <a:latin typeface="CorpoS" pitchFamily="2" charset="0"/>
                <a:ea typeface="Calibri"/>
                <a:cs typeface="Calibri"/>
                <a:sym typeface="Calibri"/>
              </a:rPr>
              <a:t>ГОРОДА</a:t>
            </a:r>
            <a:r>
              <a:rPr lang="en-GB" sz="2400" b="1" dirty="0" smtClean="0">
                <a:solidFill>
                  <a:prstClr val="white"/>
                </a:solidFill>
                <a:latin typeface="CorpoS" pitchFamily="2" charset="0"/>
                <a:ea typeface="Calibri"/>
                <a:cs typeface="Calibri"/>
                <a:sym typeface="Calibri"/>
              </a:rPr>
              <a:t> </a:t>
            </a:r>
            <a:endParaRPr lang="en-GB" sz="2400" b="1" dirty="0">
              <a:solidFill>
                <a:prstClr val="white"/>
              </a:solidFill>
              <a:latin typeface="CorpoS" pitchFamily="2" charset="0"/>
              <a:ea typeface="Calibri"/>
              <a:cs typeface="Calibri"/>
              <a:sym typeface="Calibri"/>
            </a:endParaRPr>
          </a:p>
          <a:p>
            <a:pPr defTabSz="1088089">
              <a:lnSpc>
                <a:spcPct val="150000"/>
              </a:lnSpc>
            </a:pPr>
            <a:r>
              <a:rPr lang="en-GB" sz="3200" b="1" dirty="0" smtClean="0">
                <a:solidFill>
                  <a:srgbClr val="FFFF00"/>
                </a:solidFill>
                <a:latin typeface="CorpoS" pitchFamily="2" charset="0"/>
                <a:ea typeface="Calibri"/>
                <a:cs typeface="Calibri"/>
                <a:sym typeface="Calibri"/>
              </a:rPr>
              <a:t>10000</a:t>
            </a:r>
            <a:r>
              <a:rPr lang="en-GB" sz="2400" b="1" dirty="0" smtClean="0">
                <a:solidFill>
                  <a:srgbClr val="FFFF00"/>
                </a:solidFill>
                <a:latin typeface="CorpoS" pitchFamily="2" charset="0"/>
                <a:ea typeface="Calibri"/>
                <a:cs typeface="Calibri"/>
                <a:sym typeface="Calibri"/>
              </a:rPr>
              <a:t> </a:t>
            </a:r>
            <a:r>
              <a:rPr lang="ru-RU" sz="2400" b="1" dirty="0" smtClean="0">
                <a:solidFill>
                  <a:schemeClr val="bg1"/>
                </a:solidFill>
                <a:latin typeface="CorpoS" pitchFamily="2" charset="0"/>
                <a:ea typeface="Calibri"/>
                <a:cs typeface="Calibri"/>
                <a:sym typeface="Calibri"/>
              </a:rPr>
              <a:t>САМОКАТОВ</a:t>
            </a:r>
            <a:r>
              <a:rPr lang="en-GB" sz="2400" dirty="0" smtClean="0">
                <a:solidFill>
                  <a:srgbClr val="FFFF00"/>
                </a:solidFill>
                <a:latin typeface="CorpoS" pitchFamily="2" charset="0"/>
                <a:ea typeface="Calibri"/>
                <a:cs typeface="Calibri"/>
                <a:sym typeface="Calibri"/>
              </a:rPr>
              <a:t> </a:t>
            </a:r>
            <a:r>
              <a:rPr lang="en-GB" dirty="0" smtClean="0">
                <a:solidFill>
                  <a:schemeClr val="bg1"/>
                </a:solidFill>
                <a:latin typeface="CorpoS" pitchFamily="2" charset="0"/>
                <a:ea typeface="Calibri"/>
                <a:cs typeface="Calibri"/>
                <a:sym typeface="Calibri"/>
              </a:rPr>
              <a:t>(</a:t>
            </a:r>
            <a:r>
              <a:rPr lang="ru-RU" dirty="0" smtClean="0">
                <a:solidFill>
                  <a:schemeClr val="bg1"/>
                </a:solidFill>
                <a:latin typeface="CorpoS" pitchFamily="2" charset="0"/>
                <a:ea typeface="Calibri"/>
                <a:cs typeface="Calibri"/>
                <a:sym typeface="Calibri"/>
              </a:rPr>
              <a:t>К СЕРЕДИНЕ </a:t>
            </a:r>
            <a:r>
              <a:rPr lang="en-GB" dirty="0" smtClean="0">
                <a:solidFill>
                  <a:schemeClr val="bg1"/>
                </a:solidFill>
                <a:latin typeface="CorpoS" pitchFamily="2" charset="0"/>
                <a:ea typeface="Calibri"/>
                <a:cs typeface="Calibri"/>
                <a:sym typeface="Calibri"/>
              </a:rPr>
              <a:t>2019</a:t>
            </a:r>
            <a:r>
              <a:rPr lang="en-GB" dirty="0" smtClean="0">
                <a:solidFill>
                  <a:schemeClr val="bg1"/>
                </a:solidFill>
                <a:latin typeface="CorpoS" pitchFamily="2" charset="0"/>
                <a:ea typeface="Calibri"/>
                <a:cs typeface="Calibri"/>
                <a:sym typeface="Calibri"/>
              </a:rPr>
              <a:t>)</a:t>
            </a:r>
            <a:endParaRPr sz="2400" dirty="0">
              <a:solidFill>
                <a:schemeClr val="bg1"/>
              </a:solidFill>
              <a:latin typeface="CorpoS" pitchFamily="2" charset="0"/>
              <a:ea typeface="Calibri"/>
              <a:cs typeface="Calibri"/>
              <a:sym typeface="Calibri"/>
            </a:endParaRPr>
          </a:p>
        </p:txBody>
      </p:sp>
    </p:spTree>
    <p:extLst>
      <p:ext uri="{BB962C8B-B14F-4D97-AF65-F5344CB8AC3E}">
        <p14:creationId xmlns:p14="http://schemas.microsoft.com/office/powerpoint/2010/main" val="31704397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 1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 y="0"/>
            <a:ext cx="12205408" cy="6859587"/>
          </a:xfrm>
          <a:prstGeom prst="rect">
            <a:avLst/>
          </a:prstGeom>
        </p:spPr>
      </p:pic>
      <p:pic>
        <p:nvPicPr>
          <p:cNvPr id="6" name="Picture 2"/>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gray">
          <a:xfrm>
            <a:off x="5384441" y="2603420"/>
            <a:ext cx="1436523" cy="10150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echteck 17"/>
          <p:cNvSpPr/>
          <p:nvPr/>
        </p:nvSpPr>
        <p:spPr bwMode="gray">
          <a:xfrm>
            <a:off x="530321" y="5914070"/>
            <a:ext cx="2077718" cy="540060"/>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de-DE" b="1" dirty="0">
                <a:solidFill>
                  <a:schemeClr val="bg1"/>
                </a:solidFill>
                <a:latin typeface="CorpoS" pitchFamily="2" charset="0"/>
                <a:ea typeface="MS Mincho" panose="02020609040205080304" pitchFamily="49" charset="-128"/>
                <a:cs typeface="Helvetica" panose="020B0604020202020204" pitchFamily="34" charset="0"/>
              </a:rPr>
              <a:t>MERCEDES-BENZ</a:t>
            </a:r>
            <a:br>
              <a:rPr lang="de-DE" b="1" dirty="0">
                <a:solidFill>
                  <a:schemeClr val="bg1"/>
                </a:solidFill>
                <a:latin typeface="CorpoS" pitchFamily="2" charset="0"/>
                <a:ea typeface="MS Mincho" panose="02020609040205080304" pitchFamily="49" charset="-128"/>
                <a:cs typeface="Helvetica" panose="020B0604020202020204" pitchFamily="34" charset="0"/>
              </a:rPr>
            </a:br>
            <a:r>
              <a:rPr lang="de-DE" b="1" dirty="0">
                <a:solidFill>
                  <a:schemeClr val="bg1"/>
                </a:solidFill>
                <a:latin typeface="CorpoS" pitchFamily="2" charset="0"/>
                <a:ea typeface="MS Mincho" panose="02020609040205080304" pitchFamily="49" charset="-128"/>
                <a:cs typeface="Helvetica" panose="020B0604020202020204" pitchFamily="34" charset="0"/>
              </a:rPr>
              <a:t>CARS</a:t>
            </a:r>
          </a:p>
        </p:txBody>
      </p:sp>
      <p:sp>
        <p:nvSpPr>
          <p:cNvPr id="19" name="Rechteck 18"/>
          <p:cNvSpPr/>
          <p:nvPr/>
        </p:nvSpPr>
        <p:spPr bwMode="gray">
          <a:xfrm>
            <a:off x="7497964" y="5914070"/>
            <a:ext cx="2077718" cy="540060"/>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de-DE" b="1" dirty="0">
                <a:solidFill>
                  <a:schemeClr val="bg1"/>
                </a:solidFill>
                <a:latin typeface="CorpoS" pitchFamily="2" charset="0"/>
                <a:ea typeface="MS Mincho" panose="02020609040205080304" pitchFamily="49" charset="-128"/>
                <a:cs typeface="Helvetica" panose="020B0604020202020204" pitchFamily="34" charset="0"/>
              </a:rPr>
              <a:t>DAIMLER</a:t>
            </a:r>
            <a:br>
              <a:rPr lang="de-DE" b="1" dirty="0">
                <a:solidFill>
                  <a:schemeClr val="bg1"/>
                </a:solidFill>
                <a:latin typeface="CorpoS" pitchFamily="2" charset="0"/>
                <a:ea typeface="MS Mincho" panose="02020609040205080304" pitchFamily="49" charset="-128"/>
                <a:cs typeface="Helvetica" panose="020B0604020202020204" pitchFamily="34" charset="0"/>
              </a:rPr>
            </a:br>
            <a:r>
              <a:rPr lang="de-DE" b="1" dirty="0">
                <a:solidFill>
                  <a:schemeClr val="bg1"/>
                </a:solidFill>
                <a:latin typeface="CorpoS" pitchFamily="2" charset="0"/>
                <a:ea typeface="MS Mincho" panose="02020609040205080304" pitchFamily="49" charset="-128"/>
                <a:cs typeface="Helvetica" panose="020B0604020202020204" pitchFamily="34" charset="0"/>
              </a:rPr>
              <a:t>TRUCKS</a:t>
            </a:r>
          </a:p>
        </p:txBody>
      </p:sp>
      <p:sp>
        <p:nvSpPr>
          <p:cNvPr id="20" name="Rechteck 19"/>
          <p:cNvSpPr/>
          <p:nvPr/>
        </p:nvSpPr>
        <p:spPr bwMode="gray">
          <a:xfrm>
            <a:off x="2789442" y="5914070"/>
            <a:ext cx="2077718" cy="540060"/>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de-DE" b="1" dirty="0">
                <a:solidFill>
                  <a:schemeClr val="bg1"/>
                </a:solidFill>
                <a:latin typeface="CorpoS" pitchFamily="2" charset="0"/>
                <a:ea typeface="MS Mincho" panose="02020609040205080304" pitchFamily="49" charset="-128"/>
                <a:cs typeface="Helvetica" panose="020B0604020202020204" pitchFamily="34" charset="0"/>
              </a:rPr>
              <a:t>MERCEDES-BENZ</a:t>
            </a:r>
            <a:br>
              <a:rPr lang="de-DE" b="1" dirty="0">
                <a:solidFill>
                  <a:schemeClr val="bg1"/>
                </a:solidFill>
                <a:latin typeface="CorpoS" pitchFamily="2" charset="0"/>
                <a:ea typeface="MS Mincho" panose="02020609040205080304" pitchFamily="49" charset="-128"/>
                <a:cs typeface="Helvetica" panose="020B0604020202020204" pitchFamily="34" charset="0"/>
              </a:rPr>
            </a:br>
            <a:r>
              <a:rPr lang="de-DE" b="1" dirty="0">
                <a:solidFill>
                  <a:schemeClr val="bg1"/>
                </a:solidFill>
                <a:latin typeface="CorpoS" pitchFamily="2" charset="0"/>
                <a:ea typeface="MS Mincho" panose="02020609040205080304" pitchFamily="49" charset="-128"/>
                <a:cs typeface="Helvetica" panose="020B0604020202020204" pitchFamily="34" charset="0"/>
              </a:rPr>
              <a:t>VANS</a:t>
            </a:r>
          </a:p>
        </p:txBody>
      </p:sp>
      <p:sp>
        <p:nvSpPr>
          <p:cNvPr id="21" name="Rechteck 20"/>
          <p:cNvSpPr/>
          <p:nvPr/>
        </p:nvSpPr>
        <p:spPr bwMode="gray">
          <a:xfrm>
            <a:off x="5048562" y="5914070"/>
            <a:ext cx="2268000" cy="540060"/>
          </a:xfrm>
          <a:prstGeom prst="rect">
            <a:avLst/>
          </a:prstGeom>
          <a:solidFill>
            <a:srgbClr val="FFFF00">
              <a:alpha val="84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de-DE" b="1" dirty="0">
                <a:solidFill>
                  <a:schemeClr val="tx1"/>
                </a:solidFill>
                <a:latin typeface="CorpoS" pitchFamily="2" charset="0"/>
                <a:ea typeface="MS Mincho" panose="02020609040205080304" pitchFamily="49" charset="-128"/>
                <a:cs typeface="Helvetica" panose="020B0604020202020204" pitchFamily="34" charset="0"/>
              </a:rPr>
              <a:t>DAIMLER </a:t>
            </a:r>
            <a:r>
              <a:rPr lang="de-DE" b="1" dirty="0" smtClean="0">
                <a:solidFill>
                  <a:schemeClr val="tx1"/>
                </a:solidFill>
                <a:latin typeface="CorpoS" pitchFamily="2" charset="0"/>
                <a:ea typeface="MS Mincho" panose="02020609040205080304" pitchFamily="49" charset="-128"/>
                <a:cs typeface="Helvetica" panose="020B0604020202020204" pitchFamily="34" charset="0"/>
              </a:rPr>
              <a:t>FINANCIAL SERVICES</a:t>
            </a:r>
            <a:endParaRPr lang="de-DE" b="1" dirty="0">
              <a:solidFill>
                <a:schemeClr val="tx1"/>
              </a:solidFill>
              <a:latin typeface="CorpoS" pitchFamily="2" charset="0"/>
              <a:ea typeface="MS Mincho" panose="02020609040205080304" pitchFamily="49" charset="-128"/>
              <a:cs typeface="Helvetica" panose="020B0604020202020204" pitchFamily="34" charset="0"/>
            </a:endParaRPr>
          </a:p>
        </p:txBody>
      </p:sp>
      <p:sp>
        <p:nvSpPr>
          <p:cNvPr id="22" name="Rechteck 21"/>
          <p:cNvSpPr/>
          <p:nvPr/>
        </p:nvSpPr>
        <p:spPr bwMode="gray">
          <a:xfrm>
            <a:off x="9757084" y="5914070"/>
            <a:ext cx="2077718" cy="540060"/>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de-DE" b="1" dirty="0">
                <a:solidFill>
                  <a:schemeClr val="bg1"/>
                </a:solidFill>
                <a:latin typeface="CorpoS" pitchFamily="2" charset="0"/>
                <a:ea typeface="MS Mincho" panose="02020609040205080304" pitchFamily="49" charset="-128"/>
                <a:cs typeface="Helvetica" panose="020B0604020202020204" pitchFamily="34" charset="0"/>
              </a:rPr>
              <a:t>DAIMLER </a:t>
            </a:r>
          </a:p>
          <a:p>
            <a:pPr algn="ctr" defTabSz="1087306"/>
            <a:r>
              <a:rPr lang="de-DE" b="1" dirty="0">
                <a:solidFill>
                  <a:schemeClr val="bg1"/>
                </a:solidFill>
                <a:latin typeface="CorpoS" pitchFamily="2" charset="0"/>
                <a:ea typeface="MS Mincho" panose="02020609040205080304" pitchFamily="49" charset="-128"/>
                <a:cs typeface="Helvetica" panose="020B0604020202020204" pitchFamily="34" charset="0"/>
              </a:rPr>
              <a:t>BUSES</a:t>
            </a:r>
          </a:p>
        </p:txBody>
      </p:sp>
      <p:sp>
        <p:nvSpPr>
          <p:cNvPr id="13" name="Rechteck 12"/>
          <p:cNvSpPr/>
          <p:nvPr/>
        </p:nvSpPr>
        <p:spPr bwMode="gray">
          <a:xfrm>
            <a:off x="216000" y="432000"/>
            <a:ext cx="11644479" cy="828122"/>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800" b="1" cap="all" dirty="0">
                <a:solidFill>
                  <a:srgbClr val="FFFFFF"/>
                </a:solidFill>
                <a:latin typeface="CorpoS" pitchFamily="2" charset="0"/>
                <a:ea typeface="MS Mincho" panose="02020609040205080304" pitchFamily="49" charset="-128"/>
                <a:cs typeface="Helvetica" panose="020B0604020202020204" pitchFamily="34" charset="0"/>
              </a:rPr>
              <a:t>DAIMLER FINANCIAL SERVICES</a:t>
            </a:r>
          </a:p>
          <a:p>
            <a:r>
              <a:rPr lang="ru-RU" sz="2800" b="1" cap="all" dirty="0" smtClean="0">
                <a:solidFill>
                  <a:srgbClr val="FFFF00"/>
                </a:solidFill>
                <a:latin typeface="CorpoS" pitchFamily="2" charset="0"/>
                <a:ea typeface="MS Mincho" panose="02020609040205080304" pitchFamily="49" charset="-128"/>
                <a:cs typeface="Helvetica" panose="020B0604020202020204" pitchFamily="34" charset="0"/>
              </a:rPr>
              <a:t>Подразделение </a:t>
            </a:r>
            <a:r>
              <a:rPr lang="de-DE" sz="2800" b="1" cap="all" dirty="0" smtClean="0">
                <a:solidFill>
                  <a:srgbClr val="FFFF00"/>
                </a:solidFill>
                <a:latin typeface="CorpoS" pitchFamily="2" charset="0"/>
                <a:ea typeface="MS Mincho" panose="02020609040205080304" pitchFamily="49" charset="-128"/>
                <a:cs typeface="Helvetica" panose="020B0604020202020204" pitchFamily="34" charset="0"/>
              </a:rPr>
              <a:t>DAIMLER </a:t>
            </a:r>
            <a:endParaRPr lang="de-DE" sz="2800" b="1" cap="all" dirty="0">
              <a:solidFill>
                <a:srgbClr val="FFFF00"/>
              </a:solidFill>
              <a:latin typeface="CorpoS" pitchFamily="2" charset="0"/>
              <a:ea typeface="MS Mincho" panose="02020609040205080304" pitchFamily="49" charset="-128"/>
              <a:cs typeface="Helvetica" panose="020B0604020202020204" pitchFamily="34" charset="0"/>
            </a:endParaRPr>
          </a:p>
        </p:txBody>
      </p:sp>
    </p:spTree>
    <p:extLst>
      <p:ext uri="{BB962C8B-B14F-4D97-AF65-F5344CB8AC3E}">
        <p14:creationId xmlns:p14="http://schemas.microsoft.com/office/powerpoint/2010/main" val="21135823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337693">
            <a:alpha val="80000"/>
          </a:srgbClr>
        </a:solidFill>
        <a:effectLst/>
      </p:bgPr>
    </p:bg>
    <p:spTree>
      <p:nvGrpSpPr>
        <p:cNvPr id="1" name=""/>
        <p:cNvGrpSpPr/>
        <p:nvPr/>
      </p:nvGrpSpPr>
      <p:grpSpPr>
        <a:xfrm>
          <a:off x="0" y="0"/>
          <a:ext cx="0" cy="0"/>
          <a:chOff x="0" y="0"/>
          <a:chExt cx="0" cy="0"/>
        </a:xfrm>
      </p:grpSpPr>
      <p:sp>
        <p:nvSpPr>
          <p:cNvPr id="4" name="Rechteck 3"/>
          <p:cNvSpPr/>
          <p:nvPr/>
        </p:nvSpPr>
        <p:spPr>
          <a:xfrm>
            <a:off x="1692161" y="1919575"/>
            <a:ext cx="8029904" cy="4141076"/>
          </a:xfrm>
          <a:prstGeom prst="rect">
            <a:avLst/>
          </a:prstGeom>
          <a:solidFill>
            <a:srgbClr val="005478">
              <a:alpha val="9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2" name="Object 1" hidden="1">
            <a:extLst>
              <a:ext uri="{FF2B5EF4-FFF2-40B4-BE49-F238E27FC236}">
                <a16:creationId xmlns:a16="http://schemas.microsoft.com/office/drawing/2014/main" id="{5D982D69-F966-4C7D-A77F-AF0C698A2B81}"/>
              </a:ext>
            </a:extLst>
          </p:cNvPr>
          <p:cNvGraphicFramePr>
            <a:graphicFrameLocks noChangeAspect="1"/>
          </p:cNvGraphicFramePr>
          <p:nvPr>
            <p:custDataLst>
              <p:tags r:id="rId2"/>
            </p:custDataLst>
            <p:extLst/>
          </p:nvPr>
        </p:nvGraphicFramePr>
        <p:xfrm>
          <a:off x="5644" y="4100"/>
          <a:ext cx="2116" cy="2116"/>
        </p:xfrm>
        <a:graphic>
          <a:graphicData uri="http://schemas.openxmlformats.org/presentationml/2006/ole">
            <mc:AlternateContent xmlns:mc="http://schemas.openxmlformats.org/markup-compatibility/2006">
              <mc:Choice xmlns:v="urn:schemas-microsoft-com:vml" Requires="v">
                <p:oleObj spid="_x0000_s263213" name="think-cell Folie" r:id="rId5" imgW="395" imgH="396" progId="TCLayout.ActiveDocument.1">
                  <p:embed/>
                </p:oleObj>
              </mc:Choice>
              <mc:Fallback>
                <p:oleObj name="think-cell Folie" r:id="rId5" imgW="395" imgH="396" progId="TCLayout.ActiveDocument.1">
                  <p:embed/>
                  <p:pic>
                    <p:nvPicPr>
                      <p:cNvPr id="0" name=""/>
                      <p:cNvPicPr/>
                      <p:nvPr/>
                    </p:nvPicPr>
                    <p:blipFill>
                      <a:blip r:embed="rId6"/>
                      <a:stretch>
                        <a:fillRect/>
                      </a:stretch>
                    </p:blipFill>
                    <p:spPr>
                      <a:xfrm>
                        <a:off x="5644" y="4100"/>
                        <a:ext cx="2116" cy="2116"/>
                      </a:xfrm>
                      <a:prstGeom prst="rect">
                        <a:avLst/>
                      </a:prstGeom>
                    </p:spPr>
                  </p:pic>
                </p:oleObj>
              </mc:Fallback>
            </mc:AlternateContent>
          </a:graphicData>
        </a:graphic>
      </p:graphicFrame>
      <p:pic>
        <p:nvPicPr>
          <p:cNvPr id="92" name="Grafik 9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4911950" y="4972428"/>
            <a:ext cx="3710498" cy="1829161"/>
          </a:xfrm>
          <a:prstGeom prst="rect">
            <a:avLst/>
          </a:prstGeom>
        </p:spPr>
      </p:pic>
      <p:grpSp>
        <p:nvGrpSpPr>
          <p:cNvPr id="39" name="Gruppieren 38">
            <a:extLst>
              <a:ext uri="{FF2B5EF4-FFF2-40B4-BE49-F238E27FC236}">
                <a16:creationId xmlns:a16="http://schemas.microsoft.com/office/drawing/2014/main" id="{F4EEF126-9B3F-47D5-B920-7720312D3283}"/>
              </a:ext>
            </a:extLst>
          </p:cNvPr>
          <p:cNvGrpSpPr/>
          <p:nvPr/>
        </p:nvGrpSpPr>
        <p:grpSpPr>
          <a:xfrm>
            <a:off x="1692161" y="3708000"/>
            <a:ext cx="2860371" cy="584775"/>
            <a:chOff x="232667" y="1481989"/>
            <a:chExt cx="2146517" cy="438835"/>
          </a:xfrm>
        </p:grpSpPr>
        <p:sp>
          <p:nvSpPr>
            <p:cNvPr id="40" name="Rechteck 39">
              <a:extLst>
                <a:ext uri="{FF2B5EF4-FFF2-40B4-BE49-F238E27FC236}">
                  <a16:creationId xmlns:a16="http://schemas.microsoft.com/office/drawing/2014/main" id="{2C5D40CA-32F5-4619-A0FB-E65D4D4082FC}"/>
                </a:ext>
              </a:extLst>
            </p:cNvPr>
            <p:cNvSpPr/>
            <p:nvPr/>
          </p:nvSpPr>
          <p:spPr>
            <a:xfrm>
              <a:off x="1349221" y="1560762"/>
              <a:ext cx="1029963" cy="346449"/>
            </a:xfrm>
            <a:prstGeom prst="rect">
              <a:avLst/>
            </a:prstGeom>
          </p:spPr>
          <p:txBody>
            <a:bodyPr wrap="none">
              <a:spAutoFit/>
            </a:bodyPr>
            <a:lstStyle/>
            <a:p>
              <a:pPr defTabSz="1088089"/>
              <a:r>
                <a:rPr lang="ru-RU" sz="2400" dirty="0" smtClean="0">
                  <a:solidFill>
                    <a:schemeClr val="bg1"/>
                  </a:solidFill>
                  <a:latin typeface="CorpoS" pitchFamily="2" charset="0"/>
                </a:rPr>
                <a:t>МАШИН</a:t>
              </a:r>
              <a:endParaRPr lang="de-DE" sz="1600" dirty="0">
                <a:solidFill>
                  <a:schemeClr val="bg1"/>
                </a:solidFill>
                <a:latin typeface="CorpoS" pitchFamily="2" charset="0"/>
              </a:endParaRPr>
            </a:p>
          </p:txBody>
        </p:sp>
        <p:sp>
          <p:nvSpPr>
            <p:cNvPr id="41" name="Rechteck 40">
              <a:extLst>
                <a:ext uri="{FF2B5EF4-FFF2-40B4-BE49-F238E27FC236}">
                  <a16:creationId xmlns:a16="http://schemas.microsoft.com/office/drawing/2014/main" id="{BB2430B4-4495-42E8-8BCF-3309651A249F}"/>
                </a:ext>
              </a:extLst>
            </p:cNvPr>
            <p:cNvSpPr/>
            <p:nvPr/>
          </p:nvSpPr>
          <p:spPr>
            <a:xfrm>
              <a:off x="232667" y="1481989"/>
              <a:ext cx="1093720" cy="438835"/>
            </a:xfrm>
            <a:prstGeom prst="rect">
              <a:avLst/>
            </a:prstGeom>
          </p:spPr>
          <p:txBody>
            <a:bodyPr wrap="none">
              <a:spAutoFit/>
            </a:bodyPr>
            <a:lstStyle/>
            <a:p>
              <a:pPr algn="r" defTabSz="1088089"/>
              <a:r>
                <a:rPr lang="de-DE" sz="3200" b="1" dirty="0">
                  <a:solidFill>
                    <a:srgbClr val="FFFF00"/>
                  </a:solidFill>
                  <a:latin typeface="CorpoS" pitchFamily="2" charset="0"/>
                </a:rPr>
                <a:t>20,000</a:t>
              </a:r>
              <a:endParaRPr lang="de-DE" sz="2400" dirty="0">
                <a:solidFill>
                  <a:srgbClr val="FFFF00"/>
                </a:solidFill>
                <a:latin typeface="CorpoS" pitchFamily="2" charset="0"/>
              </a:endParaRPr>
            </a:p>
          </p:txBody>
        </p:sp>
      </p:grpSp>
      <p:grpSp>
        <p:nvGrpSpPr>
          <p:cNvPr id="3" name="Group 2"/>
          <p:cNvGrpSpPr/>
          <p:nvPr/>
        </p:nvGrpSpPr>
        <p:grpSpPr>
          <a:xfrm>
            <a:off x="1693320" y="4572000"/>
            <a:ext cx="4160820" cy="586483"/>
            <a:chOff x="2430773" y="3863664"/>
            <a:chExt cx="4164193" cy="586958"/>
          </a:xfrm>
        </p:grpSpPr>
        <p:sp>
          <p:nvSpPr>
            <p:cNvPr id="50" name="Rechteck 49">
              <a:extLst>
                <a:ext uri="{FF2B5EF4-FFF2-40B4-BE49-F238E27FC236}">
                  <a16:creationId xmlns:a16="http://schemas.microsoft.com/office/drawing/2014/main" id="{FE26A275-3BA9-4BD6-A041-BE9C2004F6FB}"/>
                </a:ext>
              </a:extLst>
            </p:cNvPr>
            <p:cNvSpPr/>
            <p:nvPr/>
          </p:nvSpPr>
          <p:spPr>
            <a:xfrm>
              <a:off x="2904172" y="3988583"/>
              <a:ext cx="3690794" cy="462039"/>
            </a:xfrm>
            <a:prstGeom prst="rect">
              <a:avLst/>
            </a:prstGeom>
          </p:spPr>
          <p:txBody>
            <a:bodyPr wrap="none">
              <a:spAutoFit/>
            </a:bodyPr>
            <a:lstStyle/>
            <a:p>
              <a:pPr defTabSz="1088089"/>
              <a:r>
                <a:rPr lang="ru-RU" sz="2400" dirty="0" smtClean="0">
                  <a:solidFill>
                    <a:schemeClr val="bg1"/>
                  </a:solidFill>
                  <a:latin typeface="CorpoS" pitchFamily="2" charset="0"/>
                </a:rPr>
                <a:t>МИЛЛИОНА КЛИЕНТОВ</a:t>
              </a:r>
              <a:endParaRPr lang="de-DE" sz="2000" dirty="0">
                <a:solidFill>
                  <a:schemeClr val="bg1"/>
                </a:solidFill>
                <a:latin typeface="CorpoS" pitchFamily="2" charset="0"/>
              </a:endParaRPr>
            </a:p>
          </p:txBody>
        </p:sp>
        <p:sp>
          <p:nvSpPr>
            <p:cNvPr id="51" name="Rechteck 50">
              <a:extLst>
                <a:ext uri="{FF2B5EF4-FFF2-40B4-BE49-F238E27FC236}">
                  <a16:creationId xmlns:a16="http://schemas.microsoft.com/office/drawing/2014/main" id="{2FB8D6A2-5566-4D59-809D-D209606DECBB}"/>
                </a:ext>
              </a:extLst>
            </p:cNvPr>
            <p:cNvSpPr/>
            <p:nvPr/>
          </p:nvSpPr>
          <p:spPr>
            <a:xfrm>
              <a:off x="2430773" y="3863664"/>
              <a:ext cx="624396" cy="585249"/>
            </a:xfrm>
            <a:prstGeom prst="rect">
              <a:avLst/>
            </a:prstGeom>
          </p:spPr>
          <p:txBody>
            <a:bodyPr wrap="none">
              <a:spAutoFit/>
            </a:bodyPr>
            <a:lstStyle/>
            <a:p>
              <a:pPr algn="r" defTabSz="1088089"/>
              <a:r>
                <a:rPr lang="de-DE" sz="3200" b="1" dirty="0">
                  <a:solidFill>
                    <a:srgbClr val="FFFF00"/>
                  </a:solidFill>
                  <a:latin typeface="CorpoS" pitchFamily="2" charset="0"/>
                </a:rPr>
                <a:t>&gt;4</a:t>
              </a:r>
              <a:endParaRPr lang="de-DE" sz="3200" dirty="0">
                <a:solidFill>
                  <a:srgbClr val="FFFF00"/>
                </a:solidFill>
                <a:latin typeface="CorpoS" pitchFamily="2" charset="0"/>
              </a:endParaRPr>
            </a:p>
          </p:txBody>
        </p:sp>
      </p:grpSp>
      <p:grpSp>
        <p:nvGrpSpPr>
          <p:cNvPr id="64" name="Gruppieren 63">
            <a:extLst>
              <a:ext uri="{FF2B5EF4-FFF2-40B4-BE49-F238E27FC236}">
                <a16:creationId xmlns:a16="http://schemas.microsoft.com/office/drawing/2014/main" id="{E4082D40-1994-4D63-8EE2-D6715D60D883}"/>
              </a:ext>
            </a:extLst>
          </p:cNvPr>
          <p:cNvGrpSpPr/>
          <p:nvPr/>
        </p:nvGrpSpPr>
        <p:grpSpPr>
          <a:xfrm>
            <a:off x="5581320" y="2844000"/>
            <a:ext cx="4340011" cy="584774"/>
            <a:chOff x="559318" y="1486731"/>
            <a:chExt cx="3256893" cy="438835"/>
          </a:xfrm>
        </p:grpSpPr>
        <p:sp>
          <p:nvSpPr>
            <p:cNvPr id="65" name="Rechteck 64">
              <a:extLst>
                <a:ext uri="{FF2B5EF4-FFF2-40B4-BE49-F238E27FC236}">
                  <a16:creationId xmlns:a16="http://schemas.microsoft.com/office/drawing/2014/main" id="{B3727C7B-90F5-435B-A7EB-7F4A4B60356D}"/>
                </a:ext>
              </a:extLst>
            </p:cNvPr>
            <p:cNvSpPr/>
            <p:nvPr/>
          </p:nvSpPr>
          <p:spPr>
            <a:xfrm>
              <a:off x="1449242" y="1544986"/>
              <a:ext cx="2366969" cy="346450"/>
            </a:xfrm>
            <a:prstGeom prst="rect">
              <a:avLst/>
            </a:prstGeom>
          </p:spPr>
          <p:txBody>
            <a:bodyPr wrap="none">
              <a:spAutoFit/>
            </a:bodyPr>
            <a:lstStyle/>
            <a:p>
              <a:pPr defTabSz="1088089"/>
              <a:r>
                <a:rPr lang="ru-RU" sz="2400" dirty="0" smtClean="0">
                  <a:solidFill>
                    <a:schemeClr val="bg1"/>
                  </a:solidFill>
                  <a:latin typeface="CorpoS" pitchFamily="2" charset="0"/>
                </a:rPr>
                <a:t>ЭЛЕКТРОМОБИЛЕЙ</a:t>
              </a:r>
              <a:endParaRPr lang="de-DE" sz="2000" dirty="0">
                <a:solidFill>
                  <a:schemeClr val="bg1"/>
                </a:solidFill>
                <a:latin typeface="CorpoS" pitchFamily="2" charset="0"/>
              </a:endParaRPr>
            </a:p>
          </p:txBody>
        </p:sp>
        <p:sp>
          <p:nvSpPr>
            <p:cNvPr id="66" name="Rechteck 65">
              <a:extLst>
                <a:ext uri="{FF2B5EF4-FFF2-40B4-BE49-F238E27FC236}">
                  <a16:creationId xmlns:a16="http://schemas.microsoft.com/office/drawing/2014/main" id="{4D5D5A22-E85B-47CE-87D4-94DFBA2F1EB3}"/>
                </a:ext>
              </a:extLst>
            </p:cNvPr>
            <p:cNvSpPr/>
            <p:nvPr/>
          </p:nvSpPr>
          <p:spPr>
            <a:xfrm>
              <a:off x="559318" y="1486731"/>
              <a:ext cx="918090" cy="438835"/>
            </a:xfrm>
            <a:prstGeom prst="rect">
              <a:avLst/>
            </a:prstGeom>
          </p:spPr>
          <p:txBody>
            <a:bodyPr wrap="none">
              <a:spAutoFit/>
            </a:bodyPr>
            <a:lstStyle/>
            <a:p>
              <a:pPr defTabSz="1088089"/>
              <a:r>
                <a:rPr lang="de-DE" sz="3200" b="1" dirty="0">
                  <a:solidFill>
                    <a:srgbClr val="FFFF00"/>
                  </a:solidFill>
                  <a:latin typeface="CorpoS" pitchFamily="2" charset="0"/>
                </a:rPr>
                <a:t>3,200</a:t>
              </a:r>
              <a:endParaRPr lang="de-DE" sz="3200" dirty="0">
                <a:solidFill>
                  <a:srgbClr val="FFFF00"/>
                </a:solidFill>
                <a:latin typeface="CorpoS" pitchFamily="2" charset="0"/>
              </a:endParaRPr>
            </a:p>
          </p:txBody>
        </p:sp>
      </p:grpSp>
      <p:grpSp>
        <p:nvGrpSpPr>
          <p:cNvPr id="74" name="Gruppieren 73">
            <a:extLst>
              <a:ext uri="{FF2B5EF4-FFF2-40B4-BE49-F238E27FC236}">
                <a16:creationId xmlns:a16="http://schemas.microsoft.com/office/drawing/2014/main" id="{656869C4-737A-4873-ADA1-777DBE4ADBCB}"/>
              </a:ext>
            </a:extLst>
          </p:cNvPr>
          <p:cNvGrpSpPr/>
          <p:nvPr/>
        </p:nvGrpSpPr>
        <p:grpSpPr>
          <a:xfrm>
            <a:off x="1692160" y="1980000"/>
            <a:ext cx="2203874" cy="584936"/>
            <a:chOff x="1236097" y="1572413"/>
            <a:chExt cx="1653863" cy="438956"/>
          </a:xfrm>
        </p:grpSpPr>
        <p:sp>
          <p:nvSpPr>
            <p:cNvPr id="75" name="Rechteck 74">
              <a:extLst>
                <a:ext uri="{FF2B5EF4-FFF2-40B4-BE49-F238E27FC236}">
                  <a16:creationId xmlns:a16="http://schemas.microsoft.com/office/drawing/2014/main" id="{A4868B8C-39CD-467B-9D6C-DDC72B26EF0E}"/>
                </a:ext>
              </a:extLst>
            </p:cNvPr>
            <p:cNvSpPr/>
            <p:nvPr/>
          </p:nvSpPr>
          <p:spPr>
            <a:xfrm>
              <a:off x="1647313" y="1664920"/>
              <a:ext cx="1242647" cy="346449"/>
            </a:xfrm>
            <a:prstGeom prst="rect">
              <a:avLst/>
            </a:prstGeom>
          </p:spPr>
          <p:txBody>
            <a:bodyPr wrap="none">
              <a:spAutoFit/>
            </a:bodyPr>
            <a:lstStyle/>
            <a:p>
              <a:pPr defTabSz="1088089"/>
              <a:r>
                <a:rPr lang="ru-RU" sz="2400" dirty="0" smtClean="0">
                  <a:solidFill>
                    <a:schemeClr val="bg1"/>
                  </a:solidFill>
                  <a:latin typeface="CorpoS" pitchFamily="2" charset="0"/>
                </a:rPr>
                <a:t>ГОРОДОВ</a:t>
              </a:r>
              <a:endParaRPr lang="de-DE" sz="1332" dirty="0">
                <a:solidFill>
                  <a:schemeClr val="bg1"/>
                </a:solidFill>
                <a:latin typeface="CorpoS" pitchFamily="2" charset="0"/>
              </a:endParaRPr>
            </a:p>
          </p:txBody>
        </p:sp>
        <p:sp>
          <p:nvSpPr>
            <p:cNvPr id="76" name="Rechteck 75">
              <a:extLst>
                <a:ext uri="{FF2B5EF4-FFF2-40B4-BE49-F238E27FC236}">
                  <a16:creationId xmlns:a16="http://schemas.microsoft.com/office/drawing/2014/main" id="{05819821-D373-4CC1-B80C-5BA8B64D262D}"/>
                </a:ext>
              </a:extLst>
            </p:cNvPr>
            <p:cNvSpPr/>
            <p:nvPr/>
          </p:nvSpPr>
          <p:spPr>
            <a:xfrm>
              <a:off x="1236097" y="1572413"/>
              <a:ext cx="462607" cy="438835"/>
            </a:xfrm>
            <a:prstGeom prst="rect">
              <a:avLst/>
            </a:prstGeom>
          </p:spPr>
          <p:txBody>
            <a:bodyPr wrap="none">
              <a:spAutoFit/>
            </a:bodyPr>
            <a:lstStyle/>
            <a:p>
              <a:pPr algn="r" defTabSz="1088089"/>
              <a:r>
                <a:rPr lang="de-DE" sz="3200" b="1" dirty="0">
                  <a:solidFill>
                    <a:srgbClr val="FFFF00"/>
                  </a:solidFill>
                  <a:latin typeface="CorpoS" pitchFamily="2" charset="0"/>
                </a:rPr>
                <a:t>31</a:t>
              </a:r>
              <a:endParaRPr lang="de-DE" sz="3200" dirty="0">
                <a:solidFill>
                  <a:srgbClr val="FFFF00"/>
                </a:solidFill>
                <a:latin typeface="CorpoS" pitchFamily="2" charset="0"/>
              </a:endParaRPr>
            </a:p>
          </p:txBody>
        </p:sp>
      </p:grpSp>
      <p:grpSp>
        <p:nvGrpSpPr>
          <p:cNvPr id="79" name="Gruppieren 78">
            <a:extLst>
              <a:ext uri="{FF2B5EF4-FFF2-40B4-BE49-F238E27FC236}">
                <a16:creationId xmlns:a16="http://schemas.microsoft.com/office/drawing/2014/main" id="{DAB38A88-9538-405A-ABE4-29B6F1EDC6F7}"/>
              </a:ext>
            </a:extLst>
          </p:cNvPr>
          <p:cNvGrpSpPr/>
          <p:nvPr/>
        </p:nvGrpSpPr>
        <p:grpSpPr>
          <a:xfrm>
            <a:off x="1693319" y="2844000"/>
            <a:ext cx="1757095" cy="584776"/>
            <a:chOff x="1307585" y="1397229"/>
            <a:chExt cx="1318585" cy="438836"/>
          </a:xfrm>
        </p:grpSpPr>
        <p:sp>
          <p:nvSpPr>
            <p:cNvPr id="80" name="Rechteck 79">
              <a:extLst>
                <a:ext uri="{FF2B5EF4-FFF2-40B4-BE49-F238E27FC236}">
                  <a16:creationId xmlns:a16="http://schemas.microsoft.com/office/drawing/2014/main" id="{F922D1EB-ED90-418A-8A78-F72CD0716DB3}"/>
                </a:ext>
              </a:extLst>
            </p:cNvPr>
            <p:cNvSpPr/>
            <p:nvPr/>
          </p:nvSpPr>
          <p:spPr>
            <a:xfrm>
              <a:off x="1727566" y="1478067"/>
              <a:ext cx="898604" cy="346449"/>
            </a:xfrm>
            <a:prstGeom prst="rect">
              <a:avLst/>
            </a:prstGeom>
          </p:spPr>
          <p:txBody>
            <a:bodyPr wrap="none">
              <a:spAutoFit/>
            </a:bodyPr>
            <a:lstStyle/>
            <a:p>
              <a:pPr defTabSz="1088089"/>
              <a:r>
                <a:rPr lang="ru-RU" sz="2400" dirty="0" smtClean="0">
                  <a:solidFill>
                    <a:schemeClr val="bg1"/>
                  </a:solidFill>
                  <a:latin typeface="CorpoS" pitchFamily="2" charset="0"/>
                </a:rPr>
                <a:t>СТРАН</a:t>
              </a:r>
              <a:endParaRPr lang="de-DE" sz="2000" dirty="0">
                <a:solidFill>
                  <a:schemeClr val="bg1"/>
                </a:solidFill>
                <a:latin typeface="CorpoS" pitchFamily="2" charset="0"/>
              </a:endParaRPr>
            </a:p>
          </p:txBody>
        </p:sp>
        <p:sp>
          <p:nvSpPr>
            <p:cNvPr id="81" name="Rechteck 80">
              <a:extLst>
                <a:ext uri="{FF2B5EF4-FFF2-40B4-BE49-F238E27FC236}">
                  <a16:creationId xmlns:a16="http://schemas.microsoft.com/office/drawing/2014/main" id="{02407C0B-C085-4E20-B253-A0058EF41501}"/>
                </a:ext>
              </a:extLst>
            </p:cNvPr>
            <p:cNvSpPr/>
            <p:nvPr/>
          </p:nvSpPr>
          <p:spPr>
            <a:xfrm>
              <a:off x="1307585" y="1397229"/>
              <a:ext cx="470161" cy="438836"/>
            </a:xfrm>
            <a:prstGeom prst="rect">
              <a:avLst/>
            </a:prstGeom>
          </p:spPr>
          <p:txBody>
            <a:bodyPr wrap="none">
              <a:spAutoFit/>
            </a:bodyPr>
            <a:lstStyle/>
            <a:p>
              <a:pPr algn="r" defTabSz="1088089"/>
              <a:r>
                <a:rPr lang="de-DE" sz="3200" b="1" dirty="0">
                  <a:solidFill>
                    <a:srgbClr val="FFFF00"/>
                  </a:solidFill>
                  <a:latin typeface="CorpoS" pitchFamily="2" charset="0"/>
                </a:rPr>
                <a:t>13</a:t>
              </a:r>
              <a:endParaRPr lang="de-DE" sz="3200" dirty="0">
                <a:solidFill>
                  <a:srgbClr val="FFFF00"/>
                </a:solidFill>
                <a:latin typeface="CorpoS" pitchFamily="2" charset="0"/>
              </a:endParaRPr>
            </a:p>
          </p:txBody>
        </p:sp>
      </p:grpSp>
      <p:sp>
        <p:nvSpPr>
          <p:cNvPr id="49" name="Freihandform: Form 10">
            <a:extLst>
              <a:ext uri="{FF2B5EF4-FFF2-40B4-BE49-F238E27FC236}">
                <a16:creationId xmlns:a16="http://schemas.microsoft.com/office/drawing/2014/main" id="{C86F15C2-E9C3-4FA6-9FC3-633F97D07B92}"/>
              </a:ext>
            </a:extLst>
          </p:cNvPr>
          <p:cNvSpPr/>
          <p:nvPr/>
        </p:nvSpPr>
        <p:spPr>
          <a:xfrm>
            <a:off x="10150745" y="5306462"/>
            <a:ext cx="1969156" cy="1401022"/>
          </a:xfrm>
          <a:custGeom>
            <a:avLst/>
            <a:gdLst>
              <a:gd name="connsiteX0" fmla="*/ 3746500 w 3981450"/>
              <a:gd name="connsiteY0" fmla="*/ 2546350 h 2819400"/>
              <a:gd name="connsiteX1" fmla="*/ 3981450 w 3981450"/>
              <a:gd name="connsiteY1" fmla="*/ 781050 h 2819400"/>
              <a:gd name="connsiteX2" fmla="*/ 0 w 3981450"/>
              <a:gd name="connsiteY2" fmla="*/ 0 h 2819400"/>
              <a:gd name="connsiteX3" fmla="*/ 0 w 3981450"/>
              <a:gd name="connsiteY3" fmla="*/ 2819400 h 2819400"/>
              <a:gd name="connsiteX4" fmla="*/ 3746500 w 3981450"/>
              <a:gd name="connsiteY4" fmla="*/ 2546350 h 2819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2819400">
                <a:moveTo>
                  <a:pt x="3746500" y="2546350"/>
                </a:moveTo>
                <a:lnTo>
                  <a:pt x="3981450" y="781050"/>
                </a:lnTo>
                <a:lnTo>
                  <a:pt x="0" y="0"/>
                </a:lnTo>
                <a:lnTo>
                  <a:pt x="0" y="2819400"/>
                </a:lnTo>
                <a:lnTo>
                  <a:pt x="3746500" y="25463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590" tIns="27294" rIns="54590" bIns="27294" rtlCol="0" anchor="ctr"/>
          <a:lstStyle/>
          <a:p>
            <a:pPr algn="ctr" defTabSz="1088089"/>
            <a:endParaRPr lang="de-DE" sz="2800" dirty="0" err="1">
              <a:solidFill>
                <a:prstClr val="white"/>
              </a:solidFill>
            </a:endParaRPr>
          </a:p>
        </p:txBody>
      </p:sp>
      <p:pic>
        <p:nvPicPr>
          <p:cNvPr id="9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415991" y="5857528"/>
            <a:ext cx="701034" cy="460681"/>
          </a:xfrm>
          <a:prstGeom prst="rect">
            <a:avLst/>
          </a:prstGeom>
          <a:solidFill>
            <a:schemeClr val="bg1">
              <a:alpha val="55000"/>
            </a:schemeClr>
          </a:solidFill>
          <a:ln>
            <a:noFill/>
          </a:ln>
        </p:spPr>
      </p:pic>
      <p:pic>
        <p:nvPicPr>
          <p:cNvPr id="91" name="Picture 22"/>
          <p:cNvPicPr>
            <a:picLocks noChangeAspect="1"/>
          </p:cNvPicPr>
          <p:nvPr/>
        </p:nvPicPr>
        <p:blipFill>
          <a:blip r:embed="rId9"/>
          <a:stretch>
            <a:fillRect/>
          </a:stretch>
        </p:blipFill>
        <p:spPr>
          <a:xfrm>
            <a:off x="11334357" y="5857529"/>
            <a:ext cx="459723" cy="526591"/>
          </a:xfrm>
          <a:prstGeom prst="rect">
            <a:avLst/>
          </a:prstGeom>
          <a:solidFill>
            <a:schemeClr val="bg1">
              <a:alpha val="55000"/>
            </a:schemeClr>
          </a:solidFill>
          <a:ln>
            <a:noFill/>
          </a:ln>
        </p:spPr>
      </p:pic>
      <p:sp>
        <p:nvSpPr>
          <p:cNvPr id="47" name="Rechteck 46"/>
          <p:cNvSpPr/>
          <p:nvPr/>
        </p:nvSpPr>
        <p:spPr bwMode="gray">
          <a:xfrm>
            <a:off x="2333788" y="431999"/>
            <a:ext cx="9520409" cy="828000"/>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7306"/>
            <a:r>
              <a:rPr lang="ru-RU" sz="2800" b="1" dirty="0" smtClean="0">
                <a:solidFill>
                  <a:srgbClr val="FFFF00"/>
                </a:solidFill>
                <a:latin typeface="CorpoS" pitchFamily="2" charset="0"/>
              </a:rPr>
              <a:t>МИРОВОЙ ЛИДЕР СВОБОДНОГО КАРШЕРИНГА</a:t>
            </a:r>
            <a:r>
              <a:rPr lang="en-US" sz="2800" b="1" dirty="0" smtClean="0">
                <a:solidFill>
                  <a:srgbClr val="FFFF00"/>
                </a:solidFill>
                <a:latin typeface="CorpoS" pitchFamily="2" charset="0"/>
              </a:rPr>
              <a:t> </a:t>
            </a:r>
            <a:endParaRPr lang="en-US" sz="2800" b="1" dirty="0">
              <a:solidFill>
                <a:prstClr val="white"/>
              </a:solidFill>
              <a:latin typeface="CorpoS" pitchFamily="2" charset="0"/>
            </a:endParaRPr>
          </a:p>
        </p:txBody>
      </p:sp>
      <p:pic>
        <p:nvPicPr>
          <p:cNvPr id="52" name="Grafik 51"/>
          <p:cNvPicPr>
            <a:picLocks noChangeAspect="1"/>
          </p:cNvPicPr>
          <p:nvPr/>
        </p:nvPicPr>
        <p:blipFill>
          <a:blip r:embed="rId10"/>
          <a:stretch>
            <a:fillRect/>
          </a:stretch>
        </p:blipFill>
        <p:spPr>
          <a:xfrm>
            <a:off x="180000" y="252000"/>
            <a:ext cx="2153788" cy="1206000"/>
          </a:xfrm>
          <a:prstGeom prst="rect">
            <a:avLst/>
          </a:prstGeom>
        </p:spPr>
      </p:pic>
      <p:grpSp>
        <p:nvGrpSpPr>
          <p:cNvPr id="77" name="Group 3"/>
          <p:cNvGrpSpPr/>
          <p:nvPr/>
        </p:nvGrpSpPr>
        <p:grpSpPr>
          <a:xfrm>
            <a:off x="5581321" y="1820437"/>
            <a:ext cx="3860404" cy="1200328"/>
            <a:chOff x="2227327" y="4793035"/>
            <a:chExt cx="3863534" cy="1201299"/>
          </a:xfrm>
        </p:grpSpPr>
        <p:sp>
          <p:nvSpPr>
            <p:cNvPr id="83" name="Rechteck 82">
              <a:extLst>
                <a:ext uri="{FF2B5EF4-FFF2-40B4-BE49-F238E27FC236}">
                  <a16:creationId xmlns:a16="http://schemas.microsoft.com/office/drawing/2014/main" id="{D370780B-CB30-4726-B0D7-518D4363A3B6}"/>
                </a:ext>
              </a:extLst>
            </p:cNvPr>
            <p:cNvSpPr/>
            <p:nvPr/>
          </p:nvSpPr>
          <p:spPr>
            <a:xfrm>
              <a:off x="3019134" y="4793035"/>
              <a:ext cx="3071727" cy="1201299"/>
            </a:xfrm>
            <a:prstGeom prst="rect">
              <a:avLst/>
            </a:prstGeom>
          </p:spPr>
          <p:txBody>
            <a:bodyPr wrap="none">
              <a:spAutoFit/>
            </a:bodyPr>
            <a:lstStyle/>
            <a:p>
              <a:pPr defTabSz="1088089"/>
              <a:r>
                <a:rPr lang="ru-RU" sz="2400" dirty="0" smtClean="0">
                  <a:solidFill>
                    <a:schemeClr val="bg1"/>
                  </a:solidFill>
                  <a:latin typeface="CorpoS" pitchFamily="2" charset="0"/>
                </a:rPr>
                <a:t>МЛН ПОЛНОСТЬЮ </a:t>
              </a:r>
            </a:p>
            <a:p>
              <a:pPr defTabSz="1088089"/>
              <a:r>
                <a:rPr lang="ru-RU" sz="2400" dirty="0" smtClean="0">
                  <a:solidFill>
                    <a:schemeClr val="bg1"/>
                  </a:solidFill>
                  <a:latin typeface="CorpoS" pitchFamily="2" charset="0"/>
                </a:rPr>
                <a:t>ЭЛЕКТРИЧЕСКИХ </a:t>
              </a:r>
            </a:p>
            <a:p>
              <a:pPr defTabSz="1088089"/>
              <a:r>
                <a:rPr lang="ru-RU" sz="2400" dirty="0" smtClean="0">
                  <a:solidFill>
                    <a:schemeClr val="bg1"/>
                  </a:solidFill>
                  <a:latin typeface="CorpoS" pitchFamily="2" charset="0"/>
                </a:rPr>
                <a:t>КИЛОМЕТРОВ</a:t>
              </a:r>
              <a:endParaRPr lang="de-DE" sz="2000" dirty="0">
                <a:solidFill>
                  <a:schemeClr val="bg1"/>
                </a:solidFill>
                <a:latin typeface="CorpoS" pitchFamily="2" charset="0"/>
              </a:endParaRPr>
            </a:p>
          </p:txBody>
        </p:sp>
        <p:sp>
          <p:nvSpPr>
            <p:cNvPr id="84" name="Rechteck 83">
              <a:extLst>
                <a:ext uri="{FF2B5EF4-FFF2-40B4-BE49-F238E27FC236}">
                  <a16:creationId xmlns:a16="http://schemas.microsoft.com/office/drawing/2014/main" id="{0A140BE3-93CE-437B-959C-DF6A88BC4FD5}"/>
                </a:ext>
              </a:extLst>
            </p:cNvPr>
            <p:cNvSpPr/>
            <p:nvPr/>
          </p:nvSpPr>
          <p:spPr>
            <a:xfrm>
              <a:off x="2227327" y="4952730"/>
              <a:ext cx="641016" cy="585248"/>
            </a:xfrm>
            <a:prstGeom prst="rect">
              <a:avLst/>
            </a:prstGeom>
          </p:spPr>
          <p:txBody>
            <a:bodyPr wrap="none">
              <a:spAutoFit/>
            </a:bodyPr>
            <a:lstStyle/>
            <a:p>
              <a:pPr defTabSz="1088089"/>
              <a:r>
                <a:rPr lang="de-DE" sz="3200" b="1" dirty="0" smtClean="0">
                  <a:solidFill>
                    <a:srgbClr val="FFFF00"/>
                  </a:solidFill>
                  <a:latin typeface="CorpoS" pitchFamily="2" charset="0"/>
                </a:rPr>
                <a:t>24</a:t>
              </a:r>
              <a:endParaRPr lang="de-DE" sz="3200" dirty="0">
                <a:solidFill>
                  <a:srgbClr val="FFFF00"/>
                </a:solidFill>
                <a:latin typeface="CorpoS" pitchFamily="2" charset="0"/>
              </a:endParaRPr>
            </a:p>
          </p:txBody>
        </p:sp>
      </p:grpSp>
      <p:grpSp>
        <p:nvGrpSpPr>
          <p:cNvPr id="85" name="Group 3"/>
          <p:cNvGrpSpPr/>
          <p:nvPr/>
        </p:nvGrpSpPr>
        <p:grpSpPr>
          <a:xfrm>
            <a:off x="5581323" y="3708000"/>
            <a:ext cx="4433694" cy="1200329"/>
            <a:chOff x="2313435" y="4969531"/>
            <a:chExt cx="2994472" cy="1201304"/>
          </a:xfrm>
        </p:grpSpPr>
        <p:sp>
          <p:nvSpPr>
            <p:cNvPr id="86" name="Rechteck 85">
              <a:extLst>
                <a:ext uri="{FF2B5EF4-FFF2-40B4-BE49-F238E27FC236}">
                  <a16:creationId xmlns:a16="http://schemas.microsoft.com/office/drawing/2014/main" id="{D370780B-CB30-4726-B0D7-518D4363A3B6}"/>
                </a:ext>
              </a:extLst>
            </p:cNvPr>
            <p:cNvSpPr/>
            <p:nvPr/>
          </p:nvSpPr>
          <p:spPr>
            <a:xfrm>
              <a:off x="2775021" y="4969531"/>
              <a:ext cx="2532886" cy="1201304"/>
            </a:xfrm>
            <a:prstGeom prst="rect">
              <a:avLst/>
            </a:prstGeom>
          </p:spPr>
          <p:txBody>
            <a:bodyPr wrap="none">
              <a:spAutoFit/>
            </a:bodyPr>
            <a:lstStyle/>
            <a:p>
              <a:pPr defTabSz="1088089"/>
              <a:r>
                <a:rPr lang="ru-RU" sz="2400" dirty="0" smtClean="0">
                  <a:solidFill>
                    <a:schemeClr val="bg1"/>
                  </a:solidFill>
                  <a:latin typeface="CorpoS" pitchFamily="2" charset="0"/>
                </a:rPr>
                <a:t>ЛИЧНЫХ МАШИН </a:t>
              </a:r>
            </a:p>
            <a:p>
              <a:pPr defTabSz="1088089"/>
              <a:r>
                <a:rPr lang="ru-RU" sz="2400" dirty="0" smtClean="0">
                  <a:solidFill>
                    <a:schemeClr val="bg1"/>
                  </a:solidFill>
                  <a:latin typeface="CorpoS" pitchFamily="2" charset="0"/>
                </a:rPr>
                <a:t>ЗАМЕНЯЕТ ОДНО АВТО</a:t>
              </a:r>
            </a:p>
            <a:p>
              <a:pPr defTabSz="1088089"/>
              <a:r>
                <a:rPr lang="ru-RU" sz="2400" dirty="0" smtClean="0">
                  <a:solidFill>
                    <a:schemeClr val="bg1"/>
                  </a:solidFill>
                  <a:latin typeface="CorpoS" pitchFamily="2" charset="0"/>
                </a:rPr>
                <a:t> В КАРШЕРИНГЕ</a:t>
              </a:r>
              <a:endParaRPr lang="de-DE" sz="2000" dirty="0">
                <a:solidFill>
                  <a:schemeClr val="bg1"/>
                </a:solidFill>
                <a:latin typeface="CorpoS" pitchFamily="2" charset="0"/>
              </a:endParaRPr>
            </a:p>
          </p:txBody>
        </p:sp>
        <p:sp>
          <p:nvSpPr>
            <p:cNvPr id="87" name="Rechteck 86">
              <a:extLst>
                <a:ext uri="{FF2B5EF4-FFF2-40B4-BE49-F238E27FC236}">
                  <a16:creationId xmlns:a16="http://schemas.microsoft.com/office/drawing/2014/main" id="{0A140BE3-93CE-437B-959C-DF6A88BC4FD5}"/>
                </a:ext>
              </a:extLst>
            </p:cNvPr>
            <p:cNvSpPr/>
            <p:nvPr/>
          </p:nvSpPr>
          <p:spPr>
            <a:xfrm>
              <a:off x="2313435" y="5012224"/>
              <a:ext cx="513394" cy="585250"/>
            </a:xfrm>
            <a:prstGeom prst="rect">
              <a:avLst/>
            </a:prstGeom>
          </p:spPr>
          <p:txBody>
            <a:bodyPr wrap="none">
              <a:spAutoFit/>
            </a:bodyPr>
            <a:lstStyle/>
            <a:p>
              <a:pPr defTabSz="1088089"/>
              <a:r>
                <a:rPr lang="de-DE" sz="3200" b="1" dirty="0">
                  <a:solidFill>
                    <a:srgbClr val="FFFF00"/>
                  </a:solidFill>
                  <a:latin typeface="CorpoS" pitchFamily="2" charset="0"/>
                </a:rPr>
                <a:t>6-8</a:t>
              </a:r>
              <a:endParaRPr lang="de-DE" sz="3200" dirty="0">
                <a:solidFill>
                  <a:srgbClr val="FFFF00"/>
                </a:solidFill>
                <a:latin typeface="CorpoS" pitchFamily="2" charset="0"/>
              </a:endParaRPr>
            </a:p>
          </p:txBody>
        </p:sp>
      </p:grpSp>
    </p:spTree>
    <p:extLst>
      <p:ext uri="{BB962C8B-B14F-4D97-AF65-F5344CB8AC3E}">
        <p14:creationId xmlns:p14="http://schemas.microsoft.com/office/powerpoint/2010/main" val="21396072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2553A3FF-8739-45B4-B97D-9BDE44A5C28F}"/>
              </a:ext>
            </a:extLst>
          </p:cNvPr>
          <p:cNvPicPr>
            <a:picLocks noChangeAspect="1"/>
          </p:cNvPicPr>
          <p:nvPr/>
        </p:nvPicPr>
        <p:blipFill>
          <a:blip r:embed="rId3"/>
          <a:stretch>
            <a:fillRect/>
          </a:stretch>
        </p:blipFill>
        <p:spPr>
          <a:xfrm>
            <a:off x="2709" y="1524"/>
            <a:ext cx="12186583" cy="6854952"/>
          </a:xfrm>
          <a:prstGeom prst="rect">
            <a:avLst/>
          </a:prstGeom>
        </p:spPr>
      </p:pic>
      <p:pic>
        <p:nvPicPr>
          <p:cNvPr id="5" name="Grafik 4">
            <a:extLst>
              <a:ext uri="{FF2B5EF4-FFF2-40B4-BE49-F238E27FC236}">
                <a16:creationId xmlns:a16="http://schemas.microsoft.com/office/drawing/2014/main" id="{66A90488-E0A9-4F3A-B138-44F246B12B21}"/>
              </a:ext>
            </a:extLst>
          </p:cNvPr>
          <p:cNvPicPr>
            <a:picLocks noChangeAspect="1"/>
          </p:cNvPicPr>
          <p:nvPr/>
        </p:nvPicPr>
        <p:blipFill>
          <a:blip r:embed="rId4"/>
          <a:stretch>
            <a:fillRect/>
          </a:stretch>
        </p:blipFill>
        <p:spPr>
          <a:xfrm>
            <a:off x="4080605" y="2029739"/>
            <a:ext cx="4859858" cy="3020111"/>
          </a:xfrm>
          <a:prstGeom prst="rect">
            <a:avLst/>
          </a:prstGeom>
        </p:spPr>
      </p:pic>
      <p:sp>
        <p:nvSpPr>
          <p:cNvPr id="2" name="Freihandform: Form 1">
            <a:extLst>
              <a:ext uri="{FF2B5EF4-FFF2-40B4-BE49-F238E27FC236}">
                <a16:creationId xmlns:a16="http://schemas.microsoft.com/office/drawing/2014/main" id="{0FEE299E-1FBD-47B6-AF11-53F7EA42BF25}"/>
              </a:ext>
            </a:extLst>
          </p:cNvPr>
          <p:cNvSpPr/>
          <p:nvPr/>
        </p:nvSpPr>
        <p:spPr>
          <a:xfrm>
            <a:off x="7461505" y="1443534"/>
            <a:ext cx="1209447" cy="760780"/>
          </a:xfrm>
          <a:custGeom>
            <a:avLst/>
            <a:gdLst>
              <a:gd name="connsiteX0" fmla="*/ 907085 w 907085"/>
              <a:gd name="connsiteY0" fmla="*/ 248716 h 570585"/>
              <a:gd name="connsiteX1" fmla="*/ 460858 w 907085"/>
              <a:gd name="connsiteY1" fmla="*/ 0 h 570585"/>
              <a:gd name="connsiteX2" fmla="*/ 197510 w 907085"/>
              <a:gd name="connsiteY2" fmla="*/ 277977 h 570585"/>
              <a:gd name="connsiteX3" fmla="*/ 0 w 907085"/>
              <a:gd name="connsiteY3" fmla="*/ 570585 h 570585"/>
            </a:gdLst>
            <a:ahLst/>
            <a:cxnLst>
              <a:cxn ang="0">
                <a:pos x="connsiteX0" y="connsiteY0"/>
              </a:cxn>
              <a:cxn ang="0">
                <a:pos x="connsiteX1" y="connsiteY1"/>
              </a:cxn>
              <a:cxn ang="0">
                <a:pos x="connsiteX2" y="connsiteY2"/>
              </a:cxn>
              <a:cxn ang="0">
                <a:pos x="connsiteX3" y="connsiteY3"/>
              </a:cxn>
            </a:cxnLst>
            <a:rect l="l" t="t" r="r" b="b"/>
            <a:pathLst>
              <a:path w="907085" h="570585">
                <a:moveTo>
                  <a:pt x="907085" y="248716"/>
                </a:moveTo>
                <a:lnTo>
                  <a:pt x="460858" y="0"/>
                </a:lnTo>
                <a:lnTo>
                  <a:pt x="197510" y="277977"/>
                </a:lnTo>
                <a:lnTo>
                  <a:pt x="0" y="570585"/>
                </a:lnTo>
              </a:path>
            </a:pathLst>
          </a:custGeom>
          <a:noFill/>
          <a:ln>
            <a:solidFill>
              <a:srgbClr val="D1DE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2400">
              <a:solidFill>
                <a:prstClr val="white"/>
              </a:solidFill>
            </a:endParaRPr>
          </a:p>
        </p:txBody>
      </p:sp>
      <p:sp>
        <p:nvSpPr>
          <p:cNvPr id="3" name="Freihandform: Form 2">
            <a:extLst>
              <a:ext uri="{FF2B5EF4-FFF2-40B4-BE49-F238E27FC236}">
                <a16:creationId xmlns:a16="http://schemas.microsoft.com/office/drawing/2014/main" id="{CA83A7DA-D798-4FB1-B09E-6EE288E1EC9A}"/>
              </a:ext>
            </a:extLst>
          </p:cNvPr>
          <p:cNvSpPr/>
          <p:nvPr/>
        </p:nvSpPr>
        <p:spPr>
          <a:xfrm>
            <a:off x="8331200" y="2672080"/>
            <a:ext cx="1173480" cy="431800"/>
          </a:xfrm>
          <a:custGeom>
            <a:avLst/>
            <a:gdLst>
              <a:gd name="connsiteX0" fmla="*/ 880110 w 880110"/>
              <a:gd name="connsiteY0" fmla="*/ 0 h 323850"/>
              <a:gd name="connsiteX1" fmla="*/ 0 w 880110"/>
              <a:gd name="connsiteY1" fmla="*/ 323850 h 323850"/>
            </a:gdLst>
            <a:ahLst/>
            <a:cxnLst>
              <a:cxn ang="0">
                <a:pos x="connsiteX0" y="connsiteY0"/>
              </a:cxn>
              <a:cxn ang="0">
                <a:pos x="connsiteX1" y="connsiteY1"/>
              </a:cxn>
            </a:cxnLst>
            <a:rect l="l" t="t" r="r" b="b"/>
            <a:pathLst>
              <a:path w="880110" h="323850">
                <a:moveTo>
                  <a:pt x="880110" y="0"/>
                </a:moveTo>
                <a:lnTo>
                  <a:pt x="0" y="323850"/>
                </a:lnTo>
              </a:path>
            </a:pathLst>
          </a:custGeom>
          <a:noFill/>
          <a:ln>
            <a:solidFill>
              <a:srgbClr val="D179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2400">
              <a:solidFill>
                <a:prstClr val="white"/>
              </a:solidFill>
            </a:endParaRPr>
          </a:p>
        </p:txBody>
      </p:sp>
      <p:sp>
        <p:nvSpPr>
          <p:cNvPr id="4" name="Freihandform: Form 3">
            <a:extLst>
              <a:ext uri="{FF2B5EF4-FFF2-40B4-BE49-F238E27FC236}">
                <a16:creationId xmlns:a16="http://schemas.microsoft.com/office/drawing/2014/main" id="{DBFE3F66-2CFB-4263-B880-311475E1ECC7}"/>
              </a:ext>
            </a:extLst>
          </p:cNvPr>
          <p:cNvSpPr/>
          <p:nvPr/>
        </p:nvSpPr>
        <p:spPr>
          <a:xfrm>
            <a:off x="4704080" y="5623560"/>
            <a:ext cx="574040" cy="695960"/>
          </a:xfrm>
          <a:custGeom>
            <a:avLst/>
            <a:gdLst>
              <a:gd name="connsiteX0" fmla="*/ 0 w 430530"/>
              <a:gd name="connsiteY0" fmla="*/ 521970 h 521970"/>
              <a:gd name="connsiteX1" fmla="*/ 137160 w 430530"/>
              <a:gd name="connsiteY1" fmla="*/ 186690 h 521970"/>
              <a:gd name="connsiteX2" fmla="*/ 384810 w 430530"/>
              <a:gd name="connsiteY2" fmla="*/ 140970 h 521970"/>
              <a:gd name="connsiteX3" fmla="*/ 430530 w 430530"/>
              <a:gd name="connsiteY3" fmla="*/ 0 h 521970"/>
            </a:gdLst>
            <a:ahLst/>
            <a:cxnLst>
              <a:cxn ang="0">
                <a:pos x="connsiteX0" y="connsiteY0"/>
              </a:cxn>
              <a:cxn ang="0">
                <a:pos x="connsiteX1" y="connsiteY1"/>
              </a:cxn>
              <a:cxn ang="0">
                <a:pos x="connsiteX2" y="connsiteY2"/>
              </a:cxn>
              <a:cxn ang="0">
                <a:pos x="connsiteX3" y="connsiteY3"/>
              </a:cxn>
            </a:cxnLst>
            <a:rect l="l" t="t" r="r" b="b"/>
            <a:pathLst>
              <a:path w="430530" h="521970">
                <a:moveTo>
                  <a:pt x="0" y="521970"/>
                </a:moveTo>
                <a:lnTo>
                  <a:pt x="137160" y="186690"/>
                </a:lnTo>
                <a:lnTo>
                  <a:pt x="384810" y="140970"/>
                </a:lnTo>
                <a:lnTo>
                  <a:pt x="430530" y="0"/>
                </a:lnTo>
              </a:path>
            </a:pathLst>
          </a:custGeom>
          <a:noFill/>
          <a:ln>
            <a:solidFill>
              <a:srgbClr val="92B8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2400">
              <a:solidFill>
                <a:prstClr val="white"/>
              </a:solidFill>
            </a:endParaRPr>
          </a:p>
        </p:txBody>
      </p:sp>
      <p:sp>
        <p:nvSpPr>
          <p:cNvPr id="9" name="Freihandform: Form 8">
            <a:extLst>
              <a:ext uri="{FF2B5EF4-FFF2-40B4-BE49-F238E27FC236}">
                <a16:creationId xmlns:a16="http://schemas.microsoft.com/office/drawing/2014/main" id="{738E58DC-7B23-4332-8D2A-3409AC98BD97}"/>
              </a:ext>
            </a:extLst>
          </p:cNvPr>
          <p:cNvSpPr/>
          <p:nvPr/>
        </p:nvSpPr>
        <p:spPr>
          <a:xfrm>
            <a:off x="3307080" y="4688840"/>
            <a:ext cx="594360" cy="807720"/>
          </a:xfrm>
          <a:custGeom>
            <a:avLst/>
            <a:gdLst>
              <a:gd name="connsiteX0" fmla="*/ 0 w 445770"/>
              <a:gd name="connsiteY0" fmla="*/ 605790 h 605790"/>
              <a:gd name="connsiteX1" fmla="*/ 228600 w 445770"/>
              <a:gd name="connsiteY1" fmla="*/ 278130 h 605790"/>
              <a:gd name="connsiteX2" fmla="*/ 350520 w 445770"/>
              <a:gd name="connsiteY2" fmla="*/ 15240 h 605790"/>
              <a:gd name="connsiteX3" fmla="*/ 445770 w 445770"/>
              <a:gd name="connsiteY3" fmla="*/ 0 h 605790"/>
            </a:gdLst>
            <a:ahLst/>
            <a:cxnLst>
              <a:cxn ang="0">
                <a:pos x="connsiteX0" y="connsiteY0"/>
              </a:cxn>
              <a:cxn ang="0">
                <a:pos x="connsiteX1" y="connsiteY1"/>
              </a:cxn>
              <a:cxn ang="0">
                <a:pos x="connsiteX2" y="connsiteY2"/>
              </a:cxn>
              <a:cxn ang="0">
                <a:pos x="connsiteX3" y="connsiteY3"/>
              </a:cxn>
            </a:cxnLst>
            <a:rect l="l" t="t" r="r" b="b"/>
            <a:pathLst>
              <a:path w="445770" h="605790">
                <a:moveTo>
                  <a:pt x="0" y="605790"/>
                </a:moveTo>
                <a:lnTo>
                  <a:pt x="228600" y="278130"/>
                </a:lnTo>
                <a:lnTo>
                  <a:pt x="350520" y="15240"/>
                </a:lnTo>
                <a:lnTo>
                  <a:pt x="445770" y="0"/>
                </a:lnTo>
              </a:path>
            </a:pathLst>
          </a:custGeom>
          <a:noFill/>
          <a:ln>
            <a:solidFill>
              <a:srgbClr val="D2E2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2400">
              <a:solidFill>
                <a:prstClr val="white"/>
              </a:solidFill>
            </a:endParaRPr>
          </a:p>
        </p:txBody>
      </p:sp>
      <p:sp>
        <p:nvSpPr>
          <p:cNvPr id="12" name="Freihandform: Form 11">
            <a:extLst>
              <a:ext uri="{FF2B5EF4-FFF2-40B4-BE49-F238E27FC236}">
                <a16:creationId xmlns:a16="http://schemas.microsoft.com/office/drawing/2014/main" id="{E1DCC426-EF95-4FB8-9E00-669BDD3E5B2E}"/>
              </a:ext>
            </a:extLst>
          </p:cNvPr>
          <p:cNvSpPr/>
          <p:nvPr/>
        </p:nvSpPr>
        <p:spPr>
          <a:xfrm>
            <a:off x="2611120" y="4084320"/>
            <a:ext cx="1127760" cy="563880"/>
          </a:xfrm>
          <a:custGeom>
            <a:avLst/>
            <a:gdLst>
              <a:gd name="connsiteX0" fmla="*/ 76200 w 845820"/>
              <a:gd name="connsiteY0" fmla="*/ 422910 h 422910"/>
              <a:gd name="connsiteX1" fmla="*/ 0 w 845820"/>
              <a:gd name="connsiteY1" fmla="*/ 80010 h 422910"/>
              <a:gd name="connsiteX2" fmla="*/ 845820 w 845820"/>
              <a:gd name="connsiteY2" fmla="*/ 0 h 422910"/>
            </a:gdLst>
            <a:ahLst/>
            <a:cxnLst>
              <a:cxn ang="0">
                <a:pos x="connsiteX0" y="connsiteY0"/>
              </a:cxn>
              <a:cxn ang="0">
                <a:pos x="connsiteX1" y="connsiteY1"/>
              </a:cxn>
              <a:cxn ang="0">
                <a:pos x="connsiteX2" y="connsiteY2"/>
              </a:cxn>
            </a:cxnLst>
            <a:rect l="l" t="t" r="r" b="b"/>
            <a:pathLst>
              <a:path w="845820" h="422910">
                <a:moveTo>
                  <a:pt x="76200" y="422910"/>
                </a:moveTo>
                <a:lnTo>
                  <a:pt x="0" y="80010"/>
                </a:lnTo>
                <a:lnTo>
                  <a:pt x="845820" y="0"/>
                </a:lnTo>
              </a:path>
            </a:pathLst>
          </a:custGeom>
          <a:noFill/>
          <a:ln>
            <a:solidFill>
              <a:srgbClr val="D2E2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2400">
              <a:solidFill>
                <a:prstClr val="white"/>
              </a:solidFill>
            </a:endParaRPr>
          </a:p>
        </p:txBody>
      </p:sp>
      <p:sp>
        <p:nvSpPr>
          <p:cNvPr id="14" name="Freihandform: Form 13">
            <a:extLst>
              <a:ext uri="{FF2B5EF4-FFF2-40B4-BE49-F238E27FC236}">
                <a16:creationId xmlns:a16="http://schemas.microsoft.com/office/drawing/2014/main" id="{FB946A11-DDAF-41EB-B746-CA944679BAA3}"/>
              </a:ext>
            </a:extLst>
          </p:cNvPr>
          <p:cNvSpPr/>
          <p:nvPr/>
        </p:nvSpPr>
        <p:spPr>
          <a:xfrm>
            <a:off x="2357120" y="3114040"/>
            <a:ext cx="1219200" cy="294640"/>
          </a:xfrm>
          <a:custGeom>
            <a:avLst/>
            <a:gdLst>
              <a:gd name="connsiteX0" fmla="*/ 0 w 914400"/>
              <a:gd name="connsiteY0" fmla="*/ 45720 h 220980"/>
              <a:gd name="connsiteX1" fmla="*/ 419100 w 914400"/>
              <a:gd name="connsiteY1" fmla="*/ 0 h 220980"/>
              <a:gd name="connsiteX2" fmla="*/ 502920 w 914400"/>
              <a:gd name="connsiteY2" fmla="*/ 133350 h 220980"/>
              <a:gd name="connsiteX3" fmla="*/ 499110 w 914400"/>
              <a:gd name="connsiteY3" fmla="*/ 201930 h 220980"/>
              <a:gd name="connsiteX4" fmla="*/ 609600 w 914400"/>
              <a:gd name="connsiteY4" fmla="*/ 220980 h 220980"/>
              <a:gd name="connsiteX5" fmla="*/ 914400 w 914400"/>
              <a:gd name="connsiteY5" fmla="*/ 68580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 h="220980">
                <a:moveTo>
                  <a:pt x="0" y="45720"/>
                </a:moveTo>
                <a:lnTo>
                  <a:pt x="419100" y="0"/>
                </a:lnTo>
                <a:lnTo>
                  <a:pt x="502920" y="133350"/>
                </a:lnTo>
                <a:lnTo>
                  <a:pt x="499110" y="201930"/>
                </a:lnTo>
                <a:lnTo>
                  <a:pt x="609600" y="220980"/>
                </a:lnTo>
                <a:lnTo>
                  <a:pt x="914400" y="68580"/>
                </a:lnTo>
              </a:path>
            </a:pathLst>
          </a:custGeom>
          <a:noFill/>
          <a:ln>
            <a:solidFill>
              <a:srgbClr val="F9F1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2400">
              <a:solidFill>
                <a:prstClr val="white"/>
              </a:solidFill>
            </a:endParaRPr>
          </a:p>
        </p:txBody>
      </p:sp>
      <p:sp>
        <p:nvSpPr>
          <p:cNvPr id="15" name="Freihandform: Form 14">
            <a:extLst>
              <a:ext uri="{FF2B5EF4-FFF2-40B4-BE49-F238E27FC236}">
                <a16:creationId xmlns:a16="http://schemas.microsoft.com/office/drawing/2014/main" id="{724051D4-E4B3-4175-BA4D-7E110BE1C0C5}"/>
              </a:ext>
            </a:extLst>
          </p:cNvPr>
          <p:cNvSpPr/>
          <p:nvPr/>
        </p:nvSpPr>
        <p:spPr>
          <a:xfrm>
            <a:off x="3322320" y="1920240"/>
            <a:ext cx="1153160" cy="782320"/>
          </a:xfrm>
          <a:custGeom>
            <a:avLst/>
            <a:gdLst>
              <a:gd name="connsiteX0" fmla="*/ 0 w 864870"/>
              <a:gd name="connsiteY0" fmla="*/ 297180 h 586740"/>
              <a:gd name="connsiteX1" fmla="*/ 354330 w 864870"/>
              <a:gd name="connsiteY1" fmla="*/ 0 h 586740"/>
              <a:gd name="connsiteX2" fmla="*/ 864870 w 864870"/>
              <a:gd name="connsiteY2" fmla="*/ 586740 h 586740"/>
            </a:gdLst>
            <a:ahLst/>
            <a:cxnLst>
              <a:cxn ang="0">
                <a:pos x="connsiteX0" y="connsiteY0"/>
              </a:cxn>
              <a:cxn ang="0">
                <a:pos x="connsiteX1" y="connsiteY1"/>
              </a:cxn>
              <a:cxn ang="0">
                <a:pos x="connsiteX2" y="connsiteY2"/>
              </a:cxn>
            </a:cxnLst>
            <a:rect l="l" t="t" r="r" b="b"/>
            <a:pathLst>
              <a:path w="864870" h="586740">
                <a:moveTo>
                  <a:pt x="0" y="297180"/>
                </a:moveTo>
                <a:lnTo>
                  <a:pt x="354330" y="0"/>
                </a:lnTo>
                <a:lnTo>
                  <a:pt x="864870" y="586740"/>
                </a:lnTo>
              </a:path>
            </a:pathLst>
          </a:custGeom>
          <a:noFill/>
          <a:ln>
            <a:solidFill>
              <a:srgbClr val="D2E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2400">
              <a:solidFill>
                <a:prstClr val="white"/>
              </a:solidFill>
            </a:endParaRPr>
          </a:p>
        </p:txBody>
      </p:sp>
      <p:grpSp>
        <p:nvGrpSpPr>
          <p:cNvPr id="16" name="Gruppieren 15">
            <a:extLst>
              <a:ext uri="{FF2B5EF4-FFF2-40B4-BE49-F238E27FC236}">
                <a16:creationId xmlns:a16="http://schemas.microsoft.com/office/drawing/2014/main" id="{3F6FA420-1C61-4428-812A-678F19089539}"/>
              </a:ext>
            </a:extLst>
          </p:cNvPr>
          <p:cNvGrpSpPr/>
          <p:nvPr/>
        </p:nvGrpSpPr>
        <p:grpSpPr>
          <a:xfrm>
            <a:off x="3483833" y="1644590"/>
            <a:ext cx="5335927" cy="4113652"/>
            <a:chOff x="2612874" y="1233442"/>
            <a:chExt cx="4001945" cy="3085239"/>
          </a:xfrm>
        </p:grpSpPr>
        <p:sp>
          <p:nvSpPr>
            <p:cNvPr id="10" name="Flussdiagramm: Grenzstelle 9">
              <a:extLst>
                <a:ext uri="{FF2B5EF4-FFF2-40B4-BE49-F238E27FC236}">
                  <a16:creationId xmlns:a16="http://schemas.microsoft.com/office/drawing/2014/main" id="{58A7F29C-A087-4A74-A833-3ED01864236B}"/>
                </a:ext>
              </a:extLst>
            </p:cNvPr>
            <p:cNvSpPr/>
            <p:nvPr/>
          </p:nvSpPr>
          <p:spPr>
            <a:xfrm rot="21219361">
              <a:off x="2612874" y="2339861"/>
              <a:ext cx="249825" cy="118116"/>
            </a:xfrm>
            <a:prstGeom prst="flowChartTermina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2400" dirty="0" err="1">
                <a:solidFill>
                  <a:prstClr val="white"/>
                </a:solidFill>
              </a:endParaRPr>
            </a:p>
          </p:txBody>
        </p:sp>
        <p:sp>
          <p:nvSpPr>
            <p:cNvPr id="44" name="Flussdiagramm: Grenzstelle 43">
              <a:extLst>
                <a:ext uri="{FF2B5EF4-FFF2-40B4-BE49-F238E27FC236}">
                  <a16:creationId xmlns:a16="http://schemas.microsoft.com/office/drawing/2014/main" id="{B9A9C2A5-5D08-443E-85CE-71CE9DB7113A}"/>
                </a:ext>
              </a:extLst>
            </p:cNvPr>
            <p:cNvSpPr/>
            <p:nvPr/>
          </p:nvSpPr>
          <p:spPr>
            <a:xfrm rot="3279986">
              <a:off x="3251802" y="1958356"/>
              <a:ext cx="249825" cy="118116"/>
            </a:xfrm>
            <a:prstGeom prst="flowChartTermina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2400" dirty="0" err="1">
                <a:solidFill>
                  <a:prstClr val="white"/>
                </a:solidFill>
              </a:endParaRPr>
            </a:p>
          </p:txBody>
        </p:sp>
        <p:sp>
          <p:nvSpPr>
            <p:cNvPr id="51" name="Flussdiagramm: Grenzstelle 50">
              <a:extLst>
                <a:ext uri="{FF2B5EF4-FFF2-40B4-BE49-F238E27FC236}">
                  <a16:creationId xmlns:a16="http://schemas.microsoft.com/office/drawing/2014/main" id="{41FFD240-666E-4B50-B965-B73605BA6D69}"/>
                </a:ext>
              </a:extLst>
            </p:cNvPr>
            <p:cNvSpPr/>
            <p:nvPr/>
          </p:nvSpPr>
          <p:spPr>
            <a:xfrm rot="5673709">
              <a:off x="4518527" y="1299297"/>
              <a:ext cx="249825" cy="118116"/>
            </a:xfrm>
            <a:prstGeom prst="flowChartTermina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2400" dirty="0" err="1">
                <a:solidFill>
                  <a:prstClr val="white"/>
                </a:solidFill>
              </a:endParaRPr>
            </a:p>
          </p:txBody>
        </p:sp>
        <p:sp>
          <p:nvSpPr>
            <p:cNvPr id="67" name="Flussdiagramm: Grenzstelle 66">
              <a:extLst>
                <a:ext uri="{FF2B5EF4-FFF2-40B4-BE49-F238E27FC236}">
                  <a16:creationId xmlns:a16="http://schemas.microsoft.com/office/drawing/2014/main" id="{2D67B0F5-AD56-433F-8D14-1698730BF592}"/>
                </a:ext>
              </a:extLst>
            </p:cNvPr>
            <p:cNvSpPr/>
            <p:nvPr/>
          </p:nvSpPr>
          <p:spPr>
            <a:xfrm rot="7779231">
              <a:off x="5451390" y="1621586"/>
              <a:ext cx="249825" cy="118116"/>
            </a:xfrm>
            <a:prstGeom prst="flowChartTermina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2400" dirty="0" err="1">
                <a:solidFill>
                  <a:prstClr val="white"/>
                </a:solidFill>
              </a:endParaRPr>
            </a:p>
          </p:txBody>
        </p:sp>
        <p:sp>
          <p:nvSpPr>
            <p:cNvPr id="68" name="Flussdiagramm: Grenzstelle 67">
              <a:extLst>
                <a:ext uri="{FF2B5EF4-FFF2-40B4-BE49-F238E27FC236}">
                  <a16:creationId xmlns:a16="http://schemas.microsoft.com/office/drawing/2014/main" id="{6755F784-4620-4575-830A-D6C92818AE8B}"/>
                </a:ext>
              </a:extLst>
            </p:cNvPr>
            <p:cNvSpPr/>
            <p:nvPr/>
          </p:nvSpPr>
          <p:spPr>
            <a:xfrm rot="9634318">
              <a:off x="6119899" y="2278501"/>
              <a:ext cx="249825" cy="118116"/>
            </a:xfrm>
            <a:prstGeom prst="flowChartTermina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2400" dirty="0" err="1">
                <a:solidFill>
                  <a:prstClr val="white"/>
                </a:solidFill>
              </a:endParaRPr>
            </a:p>
          </p:txBody>
        </p:sp>
        <p:sp>
          <p:nvSpPr>
            <p:cNvPr id="69" name="Flussdiagramm: Grenzstelle 68">
              <a:extLst>
                <a:ext uri="{FF2B5EF4-FFF2-40B4-BE49-F238E27FC236}">
                  <a16:creationId xmlns:a16="http://schemas.microsoft.com/office/drawing/2014/main" id="{89E78101-F828-406D-999E-4464CEFC1598}"/>
                </a:ext>
              </a:extLst>
            </p:cNvPr>
            <p:cNvSpPr/>
            <p:nvPr/>
          </p:nvSpPr>
          <p:spPr>
            <a:xfrm rot="11523278">
              <a:off x="6364994" y="3011901"/>
              <a:ext cx="249825" cy="118116"/>
            </a:xfrm>
            <a:prstGeom prst="flowChartTermina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2400" dirty="0" err="1">
                <a:solidFill>
                  <a:prstClr val="white"/>
                </a:solidFill>
              </a:endParaRPr>
            </a:p>
          </p:txBody>
        </p:sp>
        <p:sp>
          <p:nvSpPr>
            <p:cNvPr id="70" name="Flussdiagramm: Grenzstelle 69">
              <a:extLst>
                <a:ext uri="{FF2B5EF4-FFF2-40B4-BE49-F238E27FC236}">
                  <a16:creationId xmlns:a16="http://schemas.microsoft.com/office/drawing/2014/main" id="{8EDBAE49-F598-4839-9F89-40841949FC42}"/>
                </a:ext>
              </a:extLst>
            </p:cNvPr>
            <p:cNvSpPr/>
            <p:nvPr/>
          </p:nvSpPr>
          <p:spPr>
            <a:xfrm rot="12456211">
              <a:off x="6046744" y="3890377"/>
              <a:ext cx="249825" cy="118116"/>
            </a:xfrm>
            <a:prstGeom prst="flowChartTermina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2400" dirty="0" err="1">
                <a:solidFill>
                  <a:prstClr val="white"/>
                </a:solidFill>
              </a:endParaRPr>
            </a:p>
          </p:txBody>
        </p:sp>
        <p:sp>
          <p:nvSpPr>
            <p:cNvPr id="71" name="Flussdiagramm: Grenzstelle 70">
              <a:extLst>
                <a:ext uri="{FF2B5EF4-FFF2-40B4-BE49-F238E27FC236}">
                  <a16:creationId xmlns:a16="http://schemas.microsoft.com/office/drawing/2014/main" id="{45D69AE9-D9DF-42F4-B190-07CBD3E9564B}"/>
                </a:ext>
              </a:extLst>
            </p:cNvPr>
            <p:cNvSpPr/>
            <p:nvPr/>
          </p:nvSpPr>
          <p:spPr>
            <a:xfrm rot="16883910">
              <a:off x="3831822" y="4134711"/>
              <a:ext cx="249825" cy="118116"/>
            </a:xfrm>
            <a:prstGeom prst="flowChartTermina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2400" dirty="0" err="1">
                <a:solidFill>
                  <a:prstClr val="white"/>
                </a:solidFill>
              </a:endParaRPr>
            </a:p>
          </p:txBody>
        </p:sp>
        <p:sp>
          <p:nvSpPr>
            <p:cNvPr id="72" name="Flussdiagramm: Grenzstelle 71">
              <a:extLst>
                <a:ext uri="{FF2B5EF4-FFF2-40B4-BE49-F238E27FC236}">
                  <a16:creationId xmlns:a16="http://schemas.microsoft.com/office/drawing/2014/main" id="{B66E3472-C0EB-40F2-9976-618201A2DA1A}"/>
                </a:ext>
              </a:extLst>
            </p:cNvPr>
            <p:cNvSpPr/>
            <p:nvPr/>
          </p:nvSpPr>
          <p:spPr>
            <a:xfrm rot="21080455">
              <a:off x="2788027" y="3450542"/>
              <a:ext cx="249825" cy="118116"/>
            </a:xfrm>
            <a:prstGeom prst="flowChartTermina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2400" dirty="0" err="1">
                <a:solidFill>
                  <a:prstClr val="white"/>
                </a:solidFill>
              </a:endParaRPr>
            </a:p>
          </p:txBody>
        </p:sp>
        <p:sp>
          <p:nvSpPr>
            <p:cNvPr id="73" name="Flussdiagramm: Grenzstelle 72">
              <a:extLst>
                <a:ext uri="{FF2B5EF4-FFF2-40B4-BE49-F238E27FC236}">
                  <a16:creationId xmlns:a16="http://schemas.microsoft.com/office/drawing/2014/main" id="{05D99E05-A211-479D-89A9-5D30B7A4A24D}"/>
                </a:ext>
              </a:extLst>
            </p:cNvPr>
            <p:cNvSpPr/>
            <p:nvPr/>
          </p:nvSpPr>
          <p:spPr>
            <a:xfrm rot="21080455">
              <a:off x="2691549" y="3005249"/>
              <a:ext cx="249825" cy="118116"/>
            </a:xfrm>
            <a:prstGeom prst="flowChartTermina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2400" dirty="0" err="1">
                <a:solidFill>
                  <a:prstClr val="white"/>
                </a:solidFill>
              </a:endParaRPr>
            </a:p>
          </p:txBody>
        </p:sp>
      </p:grpSp>
      <p:cxnSp>
        <p:nvCxnSpPr>
          <p:cNvPr id="33" name="Gerader Verbinder 32">
            <a:extLst>
              <a:ext uri="{FF2B5EF4-FFF2-40B4-BE49-F238E27FC236}">
                <a16:creationId xmlns:a16="http://schemas.microsoft.com/office/drawing/2014/main" id="{7F2245E4-4E79-4B04-9570-20B7223EEC5E}"/>
              </a:ext>
            </a:extLst>
          </p:cNvPr>
          <p:cNvCxnSpPr>
            <a:cxnSpLocks/>
          </p:cNvCxnSpPr>
          <p:nvPr/>
        </p:nvCxnSpPr>
        <p:spPr>
          <a:xfrm>
            <a:off x="8654561" y="4096171"/>
            <a:ext cx="1007128" cy="343328"/>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A50E1F83-3077-49D2-97C8-586D11A2E3D5}"/>
              </a:ext>
            </a:extLst>
          </p:cNvPr>
          <p:cNvCxnSpPr>
            <a:cxnSpLocks/>
          </p:cNvCxnSpPr>
          <p:nvPr/>
        </p:nvCxnSpPr>
        <p:spPr>
          <a:xfrm>
            <a:off x="6191252" y="1812700"/>
            <a:ext cx="3496969" cy="2582057"/>
          </a:xfrm>
          <a:prstGeom prst="line">
            <a:avLst/>
          </a:prstGeom>
          <a:ln w="12700">
            <a:solidFill>
              <a:srgbClr val="D27782"/>
            </a:solidFill>
            <a:prstDash val="sysDot"/>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6C136F0F-3CCB-4883-9E0F-F315712CAD58}"/>
              </a:ext>
            </a:extLst>
          </p:cNvPr>
          <p:cNvCxnSpPr>
            <a:cxnSpLocks/>
          </p:cNvCxnSpPr>
          <p:nvPr/>
        </p:nvCxnSpPr>
        <p:spPr>
          <a:xfrm flipV="1">
            <a:off x="8229247" y="4425853"/>
            <a:ext cx="1458973" cy="824855"/>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8" name="Textfeld 47">
            <a:extLst>
              <a:ext uri="{FF2B5EF4-FFF2-40B4-BE49-F238E27FC236}">
                <a16:creationId xmlns:a16="http://schemas.microsoft.com/office/drawing/2014/main" id="{7F1DE6F0-0901-4930-84B6-7F47013366B0}"/>
              </a:ext>
            </a:extLst>
          </p:cNvPr>
          <p:cNvSpPr txBox="1"/>
          <p:nvPr/>
        </p:nvSpPr>
        <p:spPr>
          <a:xfrm>
            <a:off x="10050971" y="4721873"/>
            <a:ext cx="1477328" cy="535531"/>
          </a:xfrm>
          <a:prstGeom prst="rect">
            <a:avLst/>
          </a:prstGeom>
          <a:noFill/>
        </p:spPr>
        <p:txBody>
          <a:bodyPr wrap="none" rtlCol="0">
            <a:spAutoFit/>
          </a:bodyPr>
          <a:lstStyle/>
          <a:p>
            <a:pPr>
              <a:lnSpc>
                <a:spcPct val="80000"/>
              </a:lnSpc>
              <a:defRPr/>
            </a:pPr>
            <a:r>
              <a:rPr lang="ru-RU" dirty="0" smtClean="0">
                <a:solidFill>
                  <a:prstClr val="white"/>
                </a:solidFill>
                <a:latin typeface="CorpoS" pitchFamily="2" charset="0"/>
              </a:rPr>
              <a:t>ПАРКОВКА</a:t>
            </a:r>
            <a:r>
              <a:rPr lang="en-US" dirty="0" smtClean="0">
                <a:solidFill>
                  <a:prstClr val="white"/>
                </a:solidFill>
                <a:latin typeface="CorpoS" pitchFamily="2" charset="0"/>
              </a:rPr>
              <a:t>/</a:t>
            </a:r>
            <a:endParaRPr lang="ru-RU" dirty="0" smtClean="0">
              <a:solidFill>
                <a:prstClr val="white"/>
              </a:solidFill>
              <a:latin typeface="CorpoS" pitchFamily="2" charset="0"/>
            </a:endParaRPr>
          </a:p>
          <a:p>
            <a:pPr>
              <a:lnSpc>
                <a:spcPct val="80000"/>
              </a:lnSpc>
              <a:defRPr/>
            </a:pPr>
            <a:r>
              <a:rPr lang="ru-RU" dirty="0" smtClean="0">
                <a:solidFill>
                  <a:prstClr val="white"/>
                </a:solidFill>
                <a:latin typeface="CorpoS" pitchFamily="2" charset="0"/>
              </a:rPr>
              <a:t>ЗАРЯДКА</a:t>
            </a:r>
            <a:endParaRPr lang="de-DE" dirty="0">
              <a:solidFill>
                <a:prstClr val="white"/>
              </a:solidFill>
              <a:latin typeface="CorpoS" pitchFamily="2" charset="0"/>
            </a:endParaRPr>
          </a:p>
        </p:txBody>
      </p:sp>
      <p:sp>
        <p:nvSpPr>
          <p:cNvPr id="37" name="Textfeld 36">
            <a:extLst>
              <a:ext uri="{FF2B5EF4-FFF2-40B4-BE49-F238E27FC236}">
                <a16:creationId xmlns:a16="http://schemas.microsoft.com/office/drawing/2014/main" id="{DF9D01E8-B5A3-4177-85FA-1D5D6D71D3C9}"/>
              </a:ext>
            </a:extLst>
          </p:cNvPr>
          <p:cNvSpPr txBox="1"/>
          <p:nvPr/>
        </p:nvSpPr>
        <p:spPr>
          <a:xfrm>
            <a:off x="10050971" y="4049285"/>
            <a:ext cx="1824859" cy="535531"/>
          </a:xfrm>
          <a:prstGeom prst="rect">
            <a:avLst/>
          </a:prstGeom>
          <a:noFill/>
        </p:spPr>
        <p:txBody>
          <a:bodyPr wrap="none" rtlCol="0">
            <a:spAutoFit/>
          </a:bodyPr>
          <a:lstStyle/>
          <a:p>
            <a:pPr>
              <a:lnSpc>
                <a:spcPct val="80000"/>
              </a:lnSpc>
              <a:defRPr/>
            </a:pPr>
            <a:r>
              <a:rPr lang="ru-RU" dirty="0" smtClean="0">
                <a:solidFill>
                  <a:prstClr val="white"/>
                </a:solidFill>
                <a:latin typeface="CorpoS" pitchFamily="2" charset="0"/>
              </a:rPr>
              <a:t>СЕРВИСНЫЕ </a:t>
            </a:r>
          </a:p>
          <a:p>
            <a:pPr>
              <a:lnSpc>
                <a:spcPct val="80000"/>
              </a:lnSpc>
              <a:defRPr/>
            </a:pPr>
            <a:r>
              <a:rPr lang="ru-RU" dirty="0" smtClean="0">
                <a:solidFill>
                  <a:prstClr val="white"/>
                </a:solidFill>
                <a:latin typeface="CorpoS" pitchFamily="2" charset="0"/>
              </a:rPr>
              <a:t>РАСШИРЕНИЯ</a:t>
            </a:r>
            <a:endParaRPr lang="de-DE" dirty="0">
              <a:solidFill>
                <a:prstClr val="white"/>
              </a:solidFill>
              <a:latin typeface="CorpoS" pitchFamily="2" charset="0"/>
            </a:endParaRPr>
          </a:p>
        </p:txBody>
      </p:sp>
      <p:sp>
        <p:nvSpPr>
          <p:cNvPr id="47" name="Textfeld 46">
            <a:extLst>
              <a:ext uri="{FF2B5EF4-FFF2-40B4-BE49-F238E27FC236}">
                <a16:creationId xmlns:a16="http://schemas.microsoft.com/office/drawing/2014/main" id="{65BAAB9E-F6C7-4A81-A853-36023912380D}"/>
              </a:ext>
            </a:extLst>
          </p:cNvPr>
          <p:cNvSpPr txBox="1"/>
          <p:nvPr/>
        </p:nvSpPr>
        <p:spPr>
          <a:xfrm>
            <a:off x="9126781" y="1487359"/>
            <a:ext cx="2262479" cy="535531"/>
          </a:xfrm>
          <a:prstGeom prst="rect">
            <a:avLst/>
          </a:prstGeom>
          <a:noFill/>
        </p:spPr>
        <p:txBody>
          <a:bodyPr wrap="none" rtlCol="0">
            <a:spAutoFit/>
          </a:bodyPr>
          <a:lstStyle/>
          <a:p>
            <a:pPr>
              <a:lnSpc>
                <a:spcPct val="80000"/>
              </a:lnSpc>
              <a:defRPr/>
            </a:pPr>
            <a:r>
              <a:rPr lang="ru-RU" dirty="0" smtClean="0">
                <a:solidFill>
                  <a:prstClr val="white"/>
                </a:solidFill>
                <a:latin typeface="CorpoS" pitchFamily="2" charset="0"/>
              </a:rPr>
              <a:t>ОБЩЕСТВЕННЫЙ </a:t>
            </a:r>
          </a:p>
          <a:p>
            <a:pPr>
              <a:lnSpc>
                <a:spcPct val="80000"/>
              </a:lnSpc>
              <a:defRPr/>
            </a:pPr>
            <a:r>
              <a:rPr lang="ru-RU" dirty="0" smtClean="0">
                <a:solidFill>
                  <a:prstClr val="white"/>
                </a:solidFill>
                <a:latin typeface="CorpoS" pitchFamily="2" charset="0"/>
              </a:rPr>
              <a:t>ТРАНСПОРТ</a:t>
            </a:r>
            <a:endParaRPr lang="de-DE" dirty="0">
              <a:solidFill>
                <a:prstClr val="white"/>
              </a:solidFill>
              <a:latin typeface="CorpoS" pitchFamily="2" charset="0"/>
            </a:endParaRPr>
          </a:p>
        </p:txBody>
      </p:sp>
      <p:sp>
        <p:nvSpPr>
          <p:cNvPr id="49" name="Textfeld 48">
            <a:extLst>
              <a:ext uri="{FF2B5EF4-FFF2-40B4-BE49-F238E27FC236}">
                <a16:creationId xmlns:a16="http://schemas.microsoft.com/office/drawing/2014/main" id="{B0FA043A-BFE3-4D40-A966-53361E998C9E}"/>
              </a:ext>
            </a:extLst>
          </p:cNvPr>
          <p:cNvSpPr txBox="1"/>
          <p:nvPr/>
        </p:nvSpPr>
        <p:spPr>
          <a:xfrm>
            <a:off x="712789" y="4318769"/>
            <a:ext cx="1604928" cy="313932"/>
          </a:xfrm>
          <a:prstGeom prst="rect">
            <a:avLst/>
          </a:prstGeom>
          <a:noFill/>
        </p:spPr>
        <p:txBody>
          <a:bodyPr wrap="none" rtlCol="0">
            <a:spAutoFit/>
          </a:bodyPr>
          <a:lstStyle/>
          <a:p>
            <a:pPr algn="r">
              <a:lnSpc>
                <a:spcPct val="80000"/>
              </a:lnSpc>
              <a:defRPr/>
            </a:pPr>
            <a:r>
              <a:rPr lang="ru-RU" dirty="0" smtClean="0">
                <a:solidFill>
                  <a:prstClr val="white"/>
                </a:solidFill>
                <a:latin typeface="CorpoS" pitchFamily="2" charset="0"/>
              </a:rPr>
              <a:t>КАРШЕРИНГ</a:t>
            </a:r>
            <a:endParaRPr lang="de-DE" dirty="0">
              <a:solidFill>
                <a:prstClr val="white"/>
              </a:solidFill>
              <a:latin typeface="CorpoS" pitchFamily="2" charset="0"/>
            </a:endParaRPr>
          </a:p>
        </p:txBody>
      </p:sp>
      <p:sp>
        <p:nvSpPr>
          <p:cNvPr id="50" name="Textfeld 49">
            <a:extLst>
              <a:ext uri="{FF2B5EF4-FFF2-40B4-BE49-F238E27FC236}">
                <a16:creationId xmlns:a16="http://schemas.microsoft.com/office/drawing/2014/main" id="{4AD5D929-4864-4844-8C75-5F5686AF7E96}"/>
              </a:ext>
            </a:extLst>
          </p:cNvPr>
          <p:cNvSpPr txBox="1"/>
          <p:nvPr/>
        </p:nvSpPr>
        <p:spPr>
          <a:xfrm>
            <a:off x="3404289" y="6128412"/>
            <a:ext cx="937436" cy="313932"/>
          </a:xfrm>
          <a:prstGeom prst="rect">
            <a:avLst/>
          </a:prstGeom>
          <a:noFill/>
        </p:spPr>
        <p:txBody>
          <a:bodyPr wrap="none" rtlCol="0">
            <a:spAutoFit/>
          </a:bodyPr>
          <a:lstStyle/>
          <a:p>
            <a:pPr algn="r">
              <a:lnSpc>
                <a:spcPct val="80000"/>
              </a:lnSpc>
              <a:defRPr/>
            </a:pPr>
            <a:r>
              <a:rPr lang="ru-RU" dirty="0" smtClean="0">
                <a:solidFill>
                  <a:prstClr val="white"/>
                </a:solidFill>
                <a:latin typeface="CorpoS" pitchFamily="2" charset="0"/>
              </a:rPr>
              <a:t>ТАКСИ</a:t>
            </a:r>
            <a:endParaRPr lang="de-DE" dirty="0">
              <a:solidFill>
                <a:prstClr val="white"/>
              </a:solidFill>
              <a:latin typeface="CorpoS" pitchFamily="2" charset="0"/>
            </a:endParaRPr>
          </a:p>
        </p:txBody>
      </p:sp>
      <p:sp>
        <p:nvSpPr>
          <p:cNvPr id="52" name="Textfeld 51">
            <a:extLst>
              <a:ext uri="{FF2B5EF4-FFF2-40B4-BE49-F238E27FC236}">
                <a16:creationId xmlns:a16="http://schemas.microsoft.com/office/drawing/2014/main" id="{8E8D7EBE-1199-4EB3-A87E-4B429AAD5492}"/>
              </a:ext>
            </a:extLst>
          </p:cNvPr>
          <p:cNvSpPr txBox="1"/>
          <p:nvPr/>
        </p:nvSpPr>
        <p:spPr>
          <a:xfrm>
            <a:off x="178364" y="2855112"/>
            <a:ext cx="1802096" cy="313932"/>
          </a:xfrm>
          <a:prstGeom prst="rect">
            <a:avLst/>
          </a:prstGeom>
          <a:noFill/>
        </p:spPr>
        <p:txBody>
          <a:bodyPr wrap="none" rtlCol="0">
            <a:spAutoFit/>
          </a:bodyPr>
          <a:lstStyle/>
          <a:p>
            <a:pPr algn="r">
              <a:lnSpc>
                <a:spcPct val="80000"/>
              </a:lnSpc>
              <a:defRPr/>
            </a:pPr>
            <a:r>
              <a:rPr lang="ru-RU" dirty="0" smtClean="0">
                <a:solidFill>
                  <a:prstClr val="white"/>
                </a:solidFill>
                <a:latin typeface="CorpoS" pitchFamily="2" charset="0"/>
              </a:rPr>
              <a:t>ВЕЛОШЕРИНГ</a:t>
            </a:r>
            <a:endParaRPr lang="de-DE" dirty="0">
              <a:solidFill>
                <a:prstClr val="white"/>
              </a:solidFill>
              <a:latin typeface="CorpoS" pitchFamily="2" charset="0"/>
            </a:endParaRPr>
          </a:p>
        </p:txBody>
      </p:sp>
      <p:sp>
        <p:nvSpPr>
          <p:cNvPr id="29" name="Textfeld 28">
            <a:extLst>
              <a:ext uri="{FF2B5EF4-FFF2-40B4-BE49-F238E27FC236}">
                <a16:creationId xmlns:a16="http://schemas.microsoft.com/office/drawing/2014/main" id="{EE625894-38D6-41D1-AE4F-877F757ADE67}"/>
              </a:ext>
            </a:extLst>
          </p:cNvPr>
          <p:cNvSpPr txBox="1"/>
          <p:nvPr/>
        </p:nvSpPr>
        <p:spPr>
          <a:xfrm>
            <a:off x="9894023" y="2305233"/>
            <a:ext cx="2495555" cy="757130"/>
          </a:xfrm>
          <a:prstGeom prst="rect">
            <a:avLst/>
          </a:prstGeom>
          <a:noFill/>
        </p:spPr>
        <p:txBody>
          <a:bodyPr wrap="none" rtlCol="0">
            <a:spAutoFit/>
          </a:bodyPr>
          <a:lstStyle/>
          <a:p>
            <a:pPr>
              <a:lnSpc>
                <a:spcPct val="80000"/>
              </a:lnSpc>
              <a:defRPr/>
            </a:pPr>
            <a:r>
              <a:rPr lang="ru-RU" dirty="0" smtClean="0">
                <a:solidFill>
                  <a:prstClr val="white"/>
                </a:solidFill>
                <a:latin typeface="CorpoS" pitchFamily="2" charset="0"/>
              </a:rPr>
              <a:t>СОВМЕСТНЫЕ </a:t>
            </a:r>
          </a:p>
          <a:p>
            <a:pPr>
              <a:lnSpc>
                <a:spcPct val="80000"/>
              </a:lnSpc>
              <a:defRPr/>
            </a:pPr>
            <a:r>
              <a:rPr lang="ru-RU" dirty="0" smtClean="0">
                <a:solidFill>
                  <a:prstClr val="white"/>
                </a:solidFill>
                <a:latin typeface="CorpoS" pitchFamily="2" charset="0"/>
              </a:rPr>
              <a:t>ПОЕЗДКИ </a:t>
            </a:r>
          </a:p>
          <a:p>
            <a:pPr>
              <a:lnSpc>
                <a:spcPct val="80000"/>
              </a:lnSpc>
              <a:defRPr/>
            </a:pPr>
            <a:r>
              <a:rPr lang="ru-RU" dirty="0" smtClean="0">
                <a:solidFill>
                  <a:prstClr val="white"/>
                </a:solidFill>
                <a:latin typeface="CorpoS" pitchFamily="2" charset="0"/>
              </a:rPr>
              <a:t>«ПО ТРЕБОВАНИЮ»</a:t>
            </a:r>
            <a:endParaRPr lang="de-DE" dirty="0">
              <a:solidFill>
                <a:prstClr val="white"/>
              </a:solidFill>
              <a:latin typeface="CorpoS" pitchFamily="2" charset="0"/>
            </a:endParaRPr>
          </a:p>
        </p:txBody>
      </p:sp>
      <p:sp>
        <p:nvSpPr>
          <p:cNvPr id="43" name="Textfeld 42">
            <a:extLst>
              <a:ext uri="{FF2B5EF4-FFF2-40B4-BE49-F238E27FC236}">
                <a16:creationId xmlns:a16="http://schemas.microsoft.com/office/drawing/2014/main" id="{1190E702-E44D-4570-A277-B96593CDBBD6}"/>
              </a:ext>
            </a:extLst>
          </p:cNvPr>
          <p:cNvSpPr txBox="1"/>
          <p:nvPr/>
        </p:nvSpPr>
        <p:spPr>
          <a:xfrm>
            <a:off x="1821687" y="5402427"/>
            <a:ext cx="1091324" cy="313932"/>
          </a:xfrm>
          <a:prstGeom prst="rect">
            <a:avLst/>
          </a:prstGeom>
          <a:noFill/>
        </p:spPr>
        <p:txBody>
          <a:bodyPr wrap="none" rtlCol="0">
            <a:spAutoFit/>
          </a:bodyPr>
          <a:lstStyle/>
          <a:p>
            <a:pPr>
              <a:lnSpc>
                <a:spcPct val="80000"/>
              </a:lnSpc>
              <a:defRPr/>
            </a:pPr>
            <a:r>
              <a:rPr lang="ru-RU" dirty="0" smtClean="0">
                <a:solidFill>
                  <a:prstClr val="white"/>
                </a:solidFill>
                <a:latin typeface="CorpoS" pitchFamily="2" charset="0"/>
              </a:rPr>
              <a:t>ПРОКАТ</a:t>
            </a:r>
            <a:endParaRPr lang="de-DE" dirty="0">
              <a:solidFill>
                <a:prstClr val="white"/>
              </a:solidFill>
              <a:latin typeface="CorpoS" pitchFamily="2" charset="0"/>
            </a:endParaRPr>
          </a:p>
        </p:txBody>
      </p:sp>
      <p:sp>
        <p:nvSpPr>
          <p:cNvPr id="53" name="Textfeld 52">
            <a:extLst>
              <a:ext uri="{FF2B5EF4-FFF2-40B4-BE49-F238E27FC236}">
                <a16:creationId xmlns:a16="http://schemas.microsoft.com/office/drawing/2014/main" id="{D1FBA038-D749-486B-856F-0A5E3ADADD9D}"/>
              </a:ext>
            </a:extLst>
          </p:cNvPr>
          <p:cNvSpPr txBox="1"/>
          <p:nvPr/>
        </p:nvSpPr>
        <p:spPr>
          <a:xfrm>
            <a:off x="718080" y="1796819"/>
            <a:ext cx="1606722" cy="978729"/>
          </a:xfrm>
          <a:prstGeom prst="rect">
            <a:avLst/>
          </a:prstGeom>
          <a:noFill/>
        </p:spPr>
        <p:txBody>
          <a:bodyPr wrap="none" rtlCol="0">
            <a:spAutoFit/>
          </a:bodyPr>
          <a:lstStyle/>
          <a:p>
            <a:pPr algn="r">
              <a:lnSpc>
                <a:spcPct val="80000"/>
              </a:lnSpc>
              <a:defRPr/>
            </a:pPr>
            <a:r>
              <a:rPr lang="ru-RU" dirty="0" smtClean="0">
                <a:solidFill>
                  <a:prstClr val="white"/>
                </a:solidFill>
                <a:latin typeface="CorpoS" pitchFamily="2" charset="0"/>
              </a:rPr>
              <a:t>ШЕРИНГ </a:t>
            </a:r>
          </a:p>
          <a:p>
            <a:pPr algn="r">
              <a:lnSpc>
                <a:spcPct val="80000"/>
              </a:lnSpc>
              <a:defRPr/>
            </a:pPr>
            <a:r>
              <a:rPr lang="ru-RU" dirty="0" smtClean="0">
                <a:solidFill>
                  <a:prstClr val="white"/>
                </a:solidFill>
                <a:latin typeface="CorpoS" pitchFamily="2" charset="0"/>
              </a:rPr>
              <a:t>СКУТЕРОВ </a:t>
            </a:r>
          </a:p>
          <a:p>
            <a:pPr algn="r">
              <a:lnSpc>
                <a:spcPct val="80000"/>
              </a:lnSpc>
              <a:defRPr/>
            </a:pPr>
            <a:r>
              <a:rPr lang="ru-RU" dirty="0" smtClean="0">
                <a:solidFill>
                  <a:prstClr val="white"/>
                </a:solidFill>
                <a:latin typeface="CorpoS" pitchFamily="2" charset="0"/>
              </a:rPr>
              <a:t>И ЭЛЕКТРО-</a:t>
            </a:r>
          </a:p>
          <a:p>
            <a:pPr algn="r">
              <a:lnSpc>
                <a:spcPct val="80000"/>
              </a:lnSpc>
              <a:defRPr/>
            </a:pPr>
            <a:r>
              <a:rPr lang="ru-RU" dirty="0" smtClean="0">
                <a:solidFill>
                  <a:prstClr val="white"/>
                </a:solidFill>
                <a:latin typeface="CorpoS" pitchFamily="2" charset="0"/>
              </a:rPr>
              <a:t>САМОКАТОВ</a:t>
            </a:r>
            <a:endParaRPr lang="de-DE" dirty="0">
              <a:solidFill>
                <a:prstClr val="white"/>
              </a:solidFill>
              <a:latin typeface="CorpoS" pitchFamily="2" charset="0"/>
            </a:endParaRPr>
          </a:p>
        </p:txBody>
      </p:sp>
      <p:grpSp>
        <p:nvGrpSpPr>
          <p:cNvPr id="21" name="Gruppieren 20">
            <a:extLst>
              <a:ext uri="{FF2B5EF4-FFF2-40B4-BE49-F238E27FC236}">
                <a16:creationId xmlns:a16="http://schemas.microsoft.com/office/drawing/2014/main" id="{CF40518A-3B15-4094-A2D6-72A623A6DEF3}"/>
              </a:ext>
            </a:extLst>
          </p:cNvPr>
          <p:cNvGrpSpPr/>
          <p:nvPr/>
        </p:nvGrpSpPr>
        <p:grpSpPr>
          <a:xfrm>
            <a:off x="2308155" y="1937970"/>
            <a:ext cx="734557" cy="734557"/>
            <a:chOff x="1731116" y="1453477"/>
            <a:chExt cx="550918" cy="550918"/>
          </a:xfrm>
        </p:grpSpPr>
        <p:sp>
          <p:nvSpPr>
            <p:cNvPr id="46" name="Ellipse 45">
              <a:extLst>
                <a:ext uri="{FF2B5EF4-FFF2-40B4-BE49-F238E27FC236}">
                  <a16:creationId xmlns:a16="http://schemas.microsoft.com/office/drawing/2014/main" id="{E83DEA5C-D967-405E-94DD-7AFF93150BBD}"/>
                </a:ext>
              </a:extLst>
            </p:cNvPr>
            <p:cNvSpPr/>
            <p:nvPr/>
          </p:nvSpPr>
          <p:spPr>
            <a:xfrm>
              <a:off x="1731116" y="1453477"/>
              <a:ext cx="550918" cy="55091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800" dirty="0">
                <a:solidFill>
                  <a:srgbClr val="005478"/>
                </a:solidFill>
              </a:endParaRPr>
            </a:p>
          </p:txBody>
        </p:sp>
        <p:pic>
          <p:nvPicPr>
            <p:cNvPr id="18" name="Grafik 17">
              <a:extLst>
                <a:ext uri="{FF2B5EF4-FFF2-40B4-BE49-F238E27FC236}">
                  <a16:creationId xmlns:a16="http://schemas.microsoft.com/office/drawing/2014/main" id="{3F817AD5-59BC-4968-9CD3-866D25D3273C}"/>
                </a:ext>
              </a:extLst>
            </p:cNvPr>
            <p:cNvPicPr>
              <a:picLocks noChangeAspect="1"/>
            </p:cNvPicPr>
            <p:nvPr/>
          </p:nvPicPr>
          <p:blipFill>
            <a:blip r:embed="rId5">
              <a:extLst>
                <a:ext uri="{96DAC541-7B7A-43D3-8B79-37D633B846F1}">
                  <asvg:svgBlip xmlns="" xmlns:asvg="http://schemas.microsoft.com/office/drawing/2016/SVG/main" r:embed="rId8"/>
                </a:ext>
              </a:extLst>
            </a:blip>
            <a:stretch>
              <a:fillRect/>
            </a:stretch>
          </p:blipFill>
          <p:spPr>
            <a:xfrm>
              <a:off x="1813283" y="1524984"/>
              <a:ext cx="371475" cy="371475"/>
            </a:xfrm>
            <a:prstGeom prst="rect">
              <a:avLst/>
            </a:prstGeom>
          </p:spPr>
        </p:pic>
      </p:grpSp>
      <p:grpSp>
        <p:nvGrpSpPr>
          <p:cNvPr id="74" name="Gruppieren 73">
            <a:extLst>
              <a:ext uri="{FF2B5EF4-FFF2-40B4-BE49-F238E27FC236}">
                <a16:creationId xmlns:a16="http://schemas.microsoft.com/office/drawing/2014/main" id="{2022D23E-27A1-4F74-B2A8-C17830A344F7}"/>
              </a:ext>
            </a:extLst>
          </p:cNvPr>
          <p:cNvGrpSpPr/>
          <p:nvPr/>
        </p:nvGrpSpPr>
        <p:grpSpPr>
          <a:xfrm>
            <a:off x="2958066" y="1937970"/>
            <a:ext cx="734557" cy="734557"/>
            <a:chOff x="1731116" y="1453477"/>
            <a:chExt cx="550918" cy="550918"/>
          </a:xfrm>
        </p:grpSpPr>
        <p:sp>
          <p:nvSpPr>
            <p:cNvPr id="75" name="Ellipse 74">
              <a:extLst>
                <a:ext uri="{FF2B5EF4-FFF2-40B4-BE49-F238E27FC236}">
                  <a16:creationId xmlns:a16="http://schemas.microsoft.com/office/drawing/2014/main" id="{C596A807-C5A8-485C-A195-B298ED41A48F}"/>
                </a:ext>
              </a:extLst>
            </p:cNvPr>
            <p:cNvSpPr/>
            <p:nvPr/>
          </p:nvSpPr>
          <p:spPr>
            <a:xfrm>
              <a:off x="1731116" y="1453477"/>
              <a:ext cx="550918" cy="55091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800" dirty="0">
                <a:solidFill>
                  <a:srgbClr val="005478"/>
                </a:solidFill>
              </a:endParaRPr>
            </a:p>
          </p:txBody>
        </p:sp>
        <p:pic>
          <p:nvPicPr>
            <p:cNvPr id="76" name="Grafik 75">
              <a:extLst>
                <a:ext uri="{FF2B5EF4-FFF2-40B4-BE49-F238E27FC236}">
                  <a16:creationId xmlns:a16="http://schemas.microsoft.com/office/drawing/2014/main" id="{C9C34A03-771A-4CFB-9107-619CE1951482}"/>
                </a:ext>
              </a:extLst>
            </p:cNvPr>
            <p:cNvPicPr>
              <a:picLocks noChangeAspect="1"/>
            </p:cNvPicPr>
            <p:nvPr/>
          </p:nvPicPr>
          <p:blipFill>
            <a:blip r:embed="rId9">
              <a:extLst>
                <a:ext uri="{96DAC541-7B7A-43D3-8B79-37D633B846F1}">
                  <asvg:svgBlip xmlns="" xmlns:asvg="http://schemas.microsoft.com/office/drawing/2016/SVG/main" r:embed="rId10"/>
                </a:ext>
              </a:extLst>
            </a:blip>
            <a:stretch>
              <a:fillRect/>
            </a:stretch>
          </p:blipFill>
          <p:spPr>
            <a:xfrm>
              <a:off x="1813283" y="1572205"/>
              <a:ext cx="371475" cy="277032"/>
            </a:xfrm>
            <a:prstGeom prst="rect">
              <a:avLst/>
            </a:prstGeom>
          </p:spPr>
        </p:pic>
      </p:grpSp>
      <p:grpSp>
        <p:nvGrpSpPr>
          <p:cNvPr id="77" name="Gruppieren 76">
            <a:extLst>
              <a:ext uri="{FF2B5EF4-FFF2-40B4-BE49-F238E27FC236}">
                <a16:creationId xmlns:a16="http://schemas.microsoft.com/office/drawing/2014/main" id="{B41CC533-D86F-4D68-932F-0BB505589786}"/>
              </a:ext>
            </a:extLst>
          </p:cNvPr>
          <p:cNvGrpSpPr/>
          <p:nvPr/>
        </p:nvGrpSpPr>
        <p:grpSpPr>
          <a:xfrm>
            <a:off x="1959856" y="2850904"/>
            <a:ext cx="734557" cy="734557"/>
            <a:chOff x="1731116" y="1453477"/>
            <a:chExt cx="550918" cy="550918"/>
          </a:xfrm>
        </p:grpSpPr>
        <p:sp>
          <p:nvSpPr>
            <p:cNvPr id="78" name="Ellipse 77">
              <a:extLst>
                <a:ext uri="{FF2B5EF4-FFF2-40B4-BE49-F238E27FC236}">
                  <a16:creationId xmlns:a16="http://schemas.microsoft.com/office/drawing/2014/main" id="{99B84F1E-3C9A-4B18-B9D1-E553F6628531}"/>
                </a:ext>
              </a:extLst>
            </p:cNvPr>
            <p:cNvSpPr/>
            <p:nvPr/>
          </p:nvSpPr>
          <p:spPr>
            <a:xfrm>
              <a:off x="1731116" y="1453477"/>
              <a:ext cx="550918" cy="55091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800" dirty="0">
                <a:solidFill>
                  <a:srgbClr val="005478"/>
                </a:solidFill>
              </a:endParaRPr>
            </a:p>
          </p:txBody>
        </p:sp>
        <p:pic>
          <p:nvPicPr>
            <p:cNvPr id="79" name="Grafik 78">
              <a:extLst>
                <a:ext uri="{FF2B5EF4-FFF2-40B4-BE49-F238E27FC236}">
                  <a16:creationId xmlns:a16="http://schemas.microsoft.com/office/drawing/2014/main" id="{B3EAB9CC-89D2-461F-BFC8-8528CCBBE273}"/>
                </a:ext>
              </a:extLst>
            </p:cNvPr>
            <p:cNvPicPr>
              <a:picLocks noChangeAspect="1"/>
            </p:cNvPicPr>
            <p:nvPr/>
          </p:nvPicPr>
          <p:blipFill>
            <a:blip r:embed="rId11">
              <a:extLst>
                <a:ext uri="{96DAC541-7B7A-43D3-8B79-37D633B846F1}">
                  <asvg:svgBlip xmlns="" xmlns:asvg="http://schemas.microsoft.com/office/drawing/2016/SVG/main" r:embed="rId12"/>
                </a:ext>
              </a:extLst>
            </a:blip>
            <a:stretch>
              <a:fillRect/>
            </a:stretch>
          </p:blipFill>
          <p:spPr>
            <a:xfrm>
              <a:off x="1813283" y="1588064"/>
              <a:ext cx="371475" cy="245313"/>
            </a:xfrm>
            <a:prstGeom prst="rect">
              <a:avLst/>
            </a:prstGeom>
          </p:spPr>
        </p:pic>
      </p:grpSp>
      <p:grpSp>
        <p:nvGrpSpPr>
          <p:cNvPr id="80" name="Gruppieren 79">
            <a:extLst>
              <a:ext uri="{FF2B5EF4-FFF2-40B4-BE49-F238E27FC236}">
                <a16:creationId xmlns:a16="http://schemas.microsoft.com/office/drawing/2014/main" id="{940AFF7C-D995-4292-B935-E91421284A23}"/>
              </a:ext>
            </a:extLst>
          </p:cNvPr>
          <p:cNvGrpSpPr/>
          <p:nvPr/>
        </p:nvGrpSpPr>
        <p:grpSpPr>
          <a:xfrm>
            <a:off x="2332274" y="4325731"/>
            <a:ext cx="734557" cy="734557"/>
            <a:chOff x="1731116" y="1453477"/>
            <a:chExt cx="550918" cy="550918"/>
          </a:xfrm>
        </p:grpSpPr>
        <p:sp>
          <p:nvSpPr>
            <p:cNvPr id="81" name="Ellipse 80">
              <a:extLst>
                <a:ext uri="{FF2B5EF4-FFF2-40B4-BE49-F238E27FC236}">
                  <a16:creationId xmlns:a16="http://schemas.microsoft.com/office/drawing/2014/main" id="{BAFA8D14-778A-4FCB-8F69-989295662BC5}"/>
                </a:ext>
              </a:extLst>
            </p:cNvPr>
            <p:cNvSpPr/>
            <p:nvPr/>
          </p:nvSpPr>
          <p:spPr>
            <a:xfrm>
              <a:off x="1731116" y="1453477"/>
              <a:ext cx="550918" cy="55091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800" dirty="0">
                <a:solidFill>
                  <a:srgbClr val="005478"/>
                </a:solidFill>
              </a:endParaRPr>
            </a:p>
          </p:txBody>
        </p:sp>
        <p:pic>
          <p:nvPicPr>
            <p:cNvPr id="82" name="Grafik 81">
              <a:extLst>
                <a:ext uri="{FF2B5EF4-FFF2-40B4-BE49-F238E27FC236}">
                  <a16:creationId xmlns:a16="http://schemas.microsoft.com/office/drawing/2014/main" id="{B4DD2955-8F30-40A7-A1BA-06A04CAB1BAC}"/>
                </a:ext>
              </a:extLst>
            </p:cNvPr>
            <p:cNvPicPr>
              <a:picLocks noChangeAspect="1"/>
            </p:cNvPicPr>
            <p:nvPr/>
          </p:nvPicPr>
          <p:blipFill>
            <a:blip r:embed="rId13">
              <a:extLst>
                <a:ext uri="{96DAC541-7B7A-43D3-8B79-37D633B846F1}">
                  <asvg:svgBlip xmlns="" xmlns:asvg="http://schemas.microsoft.com/office/drawing/2016/SVG/main" r:embed="rId14"/>
                </a:ext>
              </a:extLst>
            </a:blip>
            <a:stretch>
              <a:fillRect/>
            </a:stretch>
          </p:blipFill>
          <p:spPr>
            <a:xfrm>
              <a:off x="1840755" y="1567571"/>
              <a:ext cx="329391" cy="316475"/>
            </a:xfrm>
            <a:prstGeom prst="rect">
              <a:avLst/>
            </a:prstGeom>
          </p:spPr>
        </p:pic>
      </p:grpSp>
      <p:grpSp>
        <p:nvGrpSpPr>
          <p:cNvPr id="83" name="Gruppieren 82">
            <a:extLst>
              <a:ext uri="{FF2B5EF4-FFF2-40B4-BE49-F238E27FC236}">
                <a16:creationId xmlns:a16="http://schemas.microsoft.com/office/drawing/2014/main" id="{83789A20-36BB-4523-8CE9-BE0A564F7E43}"/>
              </a:ext>
            </a:extLst>
          </p:cNvPr>
          <p:cNvGrpSpPr/>
          <p:nvPr/>
        </p:nvGrpSpPr>
        <p:grpSpPr>
          <a:xfrm>
            <a:off x="2871600" y="5119243"/>
            <a:ext cx="734557" cy="734557"/>
            <a:chOff x="1731116" y="1453477"/>
            <a:chExt cx="550918" cy="550918"/>
          </a:xfrm>
        </p:grpSpPr>
        <p:sp>
          <p:nvSpPr>
            <p:cNvPr id="84" name="Ellipse 83">
              <a:extLst>
                <a:ext uri="{FF2B5EF4-FFF2-40B4-BE49-F238E27FC236}">
                  <a16:creationId xmlns:a16="http://schemas.microsoft.com/office/drawing/2014/main" id="{F8D49779-4E4F-4304-B48D-BAE908FDB4B5}"/>
                </a:ext>
              </a:extLst>
            </p:cNvPr>
            <p:cNvSpPr/>
            <p:nvPr/>
          </p:nvSpPr>
          <p:spPr>
            <a:xfrm>
              <a:off x="1731116" y="1453477"/>
              <a:ext cx="550918" cy="55091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800" dirty="0">
                <a:solidFill>
                  <a:srgbClr val="005478"/>
                </a:solidFill>
              </a:endParaRPr>
            </a:p>
          </p:txBody>
        </p:sp>
        <p:pic>
          <p:nvPicPr>
            <p:cNvPr id="85" name="Grafik 84">
              <a:extLst>
                <a:ext uri="{FF2B5EF4-FFF2-40B4-BE49-F238E27FC236}">
                  <a16:creationId xmlns:a16="http://schemas.microsoft.com/office/drawing/2014/main" id="{331671A1-1F0A-46DE-94A3-2825A1D28501}"/>
                </a:ext>
              </a:extLst>
            </p:cNvPr>
            <p:cNvPicPr>
              <a:picLocks noChangeAspect="1"/>
            </p:cNvPicPr>
            <p:nvPr/>
          </p:nvPicPr>
          <p:blipFill>
            <a:blip r:embed="rId15">
              <a:extLst>
                <a:ext uri="{96DAC541-7B7A-43D3-8B79-37D633B846F1}">
                  <asvg:svgBlip xmlns="" xmlns:asvg="http://schemas.microsoft.com/office/drawing/2016/SVG/main" r:embed="rId16"/>
                </a:ext>
              </a:extLst>
            </a:blip>
            <a:stretch>
              <a:fillRect/>
            </a:stretch>
          </p:blipFill>
          <p:spPr>
            <a:xfrm>
              <a:off x="1847213" y="1567571"/>
              <a:ext cx="316475" cy="316475"/>
            </a:xfrm>
            <a:prstGeom prst="rect">
              <a:avLst/>
            </a:prstGeom>
          </p:spPr>
        </p:pic>
      </p:grpSp>
      <p:grpSp>
        <p:nvGrpSpPr>
          <p:cNvPr id="86" name="Gruppieren 85">
            <a:extLst>
              <a:ext uri="{FF2B5EF4-FFF2-40B4-BE49-F238E27FC236}">
                <a16:creationId xmlns:a16="http://schemas.microsoft.com/office/drawing/2014/main" id="{F4702B20-0587-4828-A59F-62132B08C362}"/>
              </a:ext>
            </a:extLst>
          </p:cNvPr>
          <p:cNvGrpSpPr/>
          <p:nvPr/>
        </p:nvGrpSpPr>
        <p:grpSpPr>
          <a:xfrm>
            <a:off x="4299558" y="5982316"/>
            <a:ext cx="734557" cy="734557"/>
            <a:chOff x="1731116" y="1453477"/>
            <a:chExt cx="550918" cy="550918"/>
          </a:xfrm>
        </p:grpSpPr>
        <p:sp>
          <p:nvSpPr>
            <p:cNvPr id="87" name="Ellipse 86">
              <a:extLst>
                <a:ext uri="{FF2B5EF4-FFF2-40B4-BE49-F238E27FC236}">
                  <a16:creationId xmlns:a16="http://schemas.microsoft.com/office/drawing/2014/main" id="{83A5A376-736F-496C-949A-9CBDE37A35FD}"/>
                </a:ext>
              </a:extLst>
            </p:cNvPr>
            <p:cNvSpPr/>
            <p:nvPr/>
          </p:nvSpPr>
          <p:spPr>
            <a:xfrm>
              <a:off x="1731116" y="1453477"/>
              <a:ext cx="550918" cy="55091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800" dirty="0">
                <a:solidFill>
                  <a:srgbClr val="005478"/>
                </a:solidFill>
              </a:endParaRPr>
            </a:p>
          </p:txBody>
        </p:sp>
        <p:pic>
          <p:nvPicPr>
            <p:cNvPr id="88" name="Grafik 87">
              <a:extLst>
                <a:ext uri="{FF2B5EF4-FFF2-40B4-BE49-F238E27FC236}">
                  <a16:creationId xmlns:a16="http://schemas.microsoft.com/office/drawing/2014/main" id="{F033EE53-CD01-4F15-8C26-9BD0DBFD0E64}"/>
                </a:ext>
              </a:extLst>
            </p:cNvPr>
            <p:cNvPicPr>
              <a:picLocks noChangeAspect="1"/>
            </p:cNvPicPr>
            <p:nvPr/>
          </p:nvPicPr>
          <p:blipFill>
            <a:blip r:embed="rId17">
              <a:extLst>
                <a:ext uri="{96DAC541-7B7A-43D3-8B79-37D633B846F1}">
                  <asvg:svgBlip xmlns="" xmlns:asvg="http://schemas.microsoft.com/office/drawing/2016/SVG/main" r:embed="rId18"/>
                </a:ext>
              </a:extLst>
            </a:blip>
            <a:stretch>
              <a:fillRect/>
            </a:stretch>
          </p:blipFill>
          <p:spPr>
            <a:xfrm>
              <a:off x="1850729" y="1567571"/>
              <a:ext cx="309442" cy="316475"/>
            </a:xfrm>
            <a:prstGeom prst="rect">
              <a:avLst/>
            </a:prstGeom>
          </p:spPr>
        </p:pic>
      </p:grpSp>
      <p:grpSp>
        <p:nvGrpSpPr>
          <p:cNvPr id="89" name="Gruppieren 88">
            <a:extLst>
              <a:ext uri="{FF2B5EF4-FFF2-40B4-BE49-F238E27FC236}">
                <a16:creationId xmlns:a16="http://schemas.microsoft.com/office/drawing/2014/main" id="{91B1DB93-D96E-45B1-AB2B-928271428A8B}"/>
              </a:ext>
            </a:extLst>
          </p:cNvPr>
          <p:cNvGrpSpPr/>
          <p:nvPr/>
        </p:nvGrpSpPr>
        <p:grpSpPr>
          <a:xfrm>
            <a:off x="9342944" y="4702082"/>
            <a:ext cx="734557" cy="734557"/>
            <a:chOff x="1731116" y="1453477"/>
            <a:chExt cx="550918" cy="550918"/>
          </a:xfrm>
        </p:grpSpPr>
        <p:sp>
          <p:nvSpPr>
            <p:cNvPr id="90" name="Ellipse 89">
              <a:extLst>
                <a:ext uri="{FF2B5EF4-FFF2-40B4-BE49-F238E27FC236}">
                  <a16:creationId xmlns:a16="http://schemas.microsoft.com/office/drawing/2014/main" id="{CC5CE99D-DF43-41CB-B954-FDC060B0739D}"/>
                </a:ext>
              </a:extLst>
            </p:cNvPr>
            <p:cNvSpPr/>
            <p:nvPr/>
          </p:nvSpPr>
          <p:spPr>
            <a:xfrm>
              <a:off x="1731116" y="1453477"/>
              <a:ext cx="550918" cy="55091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800" dirty="0">
                <a:solidFill>
                  <a:srgbClr val="005478"/>
                </a:solidFill>
              </a:endParaRPr>
            </a:p>
          </p:txBody>
        </p:sp>
        <p:pic>
          <p:nvPicPr>
            <p:cNvPr id="91" name="Grafik 90">
              <a:extLst>
                <a:ext uri="{FF2B5EF4-FFF2-40B4-BE49-F238E27FC236}">
                  <a16:creationId xmlns:a16="http://schemas.microsoft.com/office/drawing/2014/main" id="{8D299B90-9ED4-4132-A2BD-3A91148036A3}"/>
                </a:ext>
              </a:extLst>
            </p:cNvPr>
            <p:cNvPicPr>
              <a:picLocks noChangeAspect="1"/>
            </p:cNvPicPr>
            <p:nvPr/>
          </p:nvPicPr>
          <p:blipFill>
            <a:blip r:embed="rId19">
              <a:extLst>
                <a:ext uri="{96DAC541-7B7A-43D3-8B79-37D633B846F1}">
                  <asvg:svgBlip xmlns="" xmlns:asvg="http://schemas.microsoft.com/office/drawing/2016/SVG/main" r:embed="rId20"/>
                </a:ext>
              </a:extLst>
            </a:blip>
            <a:stretch>
              <a:fillRect/>
            </a:stretch>
          </p:blipFill>
          <p:spPr>
            <a:xfrm>
              <a:off x="1850729" y="1571087"/>
              <a:ext cx="309442" cy="309442"/>
            </a:xfrm>
            <a:prstGeom prst="rect">
              <a:avLst/>
            </a:prstGeom>
          </p:spPr>
        </p:pic>
      </p:grpSp>
      <p:grpSp>
        <p:nvGrpSpPr>
          <p:cNvPr id="92" name="Gruppieren 91">
            <a:extLst>
              <a:ext uri="{FF2B5EF4-FFF2-40B4-BE49-F238E27FC236}">
                <a16:creationId xmlns:a16="http://schemas.microsoft.com/office/drawing/2014/main" id="{11F5705C-8E6E-42CC-8C38-96DD6A0AEF9C}"/>
              </a:ext>
            </a:extLst>
          </p:cNvPr>
          <p:cNvGrpSpPr/>
          <p:nvPr/>
        </p:nvGrpSpPr>
        <p:grpSpPr>
          <a:xfrm>
            <a:off x="9342944" y="4037796"/>
            <a:ext cx="734557" cy="734557"/>
            <a:chOff x="1731116" y="1453477"/>
            <a:chExt cx="550918" cy="550918"/>
          </a:xfrm>
        </p:grpSpPr>
        <p:sp>
          <p:nvSpPr>
            <p:cNvPr id="93" name="Ellipse 92">
              <a:extLst>
                <a:ext uri="{FF2B5EF4-FFF2-40B4-BE49-F238E27FC236}">
                  <a16:creationId xmlns:a16="http://schemas.microsoft.com/office/drawing/2014/main" id="{0A4C9740-C531-4B9C-8313-5AA529D19E0B}"/>
                </a:ext>
              </a:extLst>
            </p:cNvPr>
            <p:cNvSpPr/>
            <p:nvPr/>
          </p:nvSpPr>
          <p:spPr>
            <a:xfrm>
              <a:off x="1731116" y="1453477"/>
              <a:ext cx="550918" cy="55091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800" dirty="0">
                <a:solidFill>
                  <a:srgbClr val="005478"/>
                </a:solidFill>
              </a:endParaRPr>
            </a:p>
          </p:txBody>
        </p:sp>
        <p:pic>
          <p:nvPicPr>
            <p:cNvPr id="94" name="Grafik 93">
              <a:extLst>
                <a:ext uri="{FF2B5EF4-FFF2-40B4-BE49-F238E27FC236}">
                  <a16:creationId xmlns:a16="http://schemas.microsoft.com/office/drawing/2014/main" id="{3FEB8631-02C6-4F9A-94BA-663B40023904}"/>
                </a:ext>
              </a:extLst>
            </p:cNvPr>
            <p:cNvPicPr>
              <a:picLocks noChangeAspect="1"/>
            </p:cNvPicPr>
            <p:nvPr/>
          </p:nvPicPr>
          <p:blipFill>
            <a:blip r:embed="rId21">
              <a:extLst>
                <a:ext uri="{96DAC541-7B7A-43D3-8B79-37D633B846F1}">
                  <asvg:svgBlip xmlns="" xmlns:asvg="http://schemas.microsoft.com/office/drawing/2016/SVG/main" r:embed="rId22"/>
                </a:ext>
              </a:extLst>
            </a:blip>
            <a:stretch>
              <a:fillRect/>
            </a:stretch>
          </p:blipFill>
          <p:spPr>
            <a:xfrm>
              <a:off x="1885320" y="1605678"/>
              <a:ext cx="240260" cy="240260"/>
            </a:xfrm>
            <a:prstGeom prst="rect">
              <a:avLst/>
            </a:prstGeom>
          </p:spPr>
        </p:pic>
      </p:grpSp>
      <p:grpSp>
        <p:nvGrpSpPr>
          <p:cNvPr id="95" name="Gruppieren 94">
            <a:extLst>
              <a:ext uri="{FF2B5EF4-FFF2-40B4-BE49-F238E27FC236}">
                <a16:creationId xmlns:a16="http://schemas.microsoft.com/office/drawing/2014/main" id="{06D2FB28-9778-425B-9D2B-580E29014F15}"/>
              </a:ext>
            </a:extLst>
          </p:cNvPr>
          <p:cNvGrpSpPr/>
          <p:nvPr/>
        </p:nvGrpSpPr>
        <p:grpSpPr>
          <a:xfrm>
            <a:off x="9207676" y="2293890"/>
            <a:ext cx="734557" cy="734557"/>
            <a:chOff x="1731116" y="1453477"/>
            <a:chExt cx="550918" cy="550918"/>
          </a:xfrm>
        </p:grpSpPr>
        <p:sp>
          <p:nvSpPr>
            <p:cNvPr id="96" name="Ellipse 95">
              <a:extLst>
                <a:ext uri="{FF2B5EF4-FFF2-40B4-BE49-F238E27FC236}">
                  <a16:creationId xmlns:a16="http://schemas.microsoft.com/office/drawing/2014/main" id="{36A9AC18-5675-4648-BEFE-8B3BA346E81C}"/>
                </a:ext>
              </a:extLst>
            </p:cNvPr>
            <p:cNvSpPr/>
            <p:nvPr/>
          </p:nvSpPr>
          <p:spPr>
            <a:xfrm>
              <a:off x="1731116" y="1453477"/>
              <a:ext cx="550918" cy="55091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800" dirty="0">
                <a:solidFill>
                  <a:srgbClr val="005478"/>
                </a:solidFill>
              </a:endParaRPr>
            </a:p>
          </p:txBody>
        </p:sp>
        <p:pic>
          <p:nvPicPr>
            <p:cNvPr id="97" name="Grafik 96">
              <a:extLst>
                <a:ext uri="{FF2B5EF4-FFF2-40B4-BE49-F238E27FC236}">
                  <a16:creationId xmlns:a16="http://schemas.microsoft.com/office/drawing/2014/main" id="{6DCF63B4-8503-44B0-9F18-288C9A0AC1E9}"/>
                </a:ext>
              </a:extLst>
            </p:cNvPr>
            <p:cNvPicPr>
              <a:picLocks noChangeAspect="1"/>
            </p:cNvPicPr>
            <p:nvPr/>
          </p:nvPicPr>
          <p:blipFill>
            <a:blip r:embed="rId13">
              <a:extLst>
                <a:ext uri="{96DAC541-7B7A-43D3-8B79-37D633B846F1}">
                  <asvg:svgBlip xmlns="" xmlns:asvg="http://schemas.microsoft.com/office/drawing/2016/SVG/main" r:embed="rId14"/>
                </a:ext>
              </a:extLst>
            </a:blip>
            <a:stretch>
              <a:fillRect/>
            </a:stretch>
          </p:blipFill>
          <p:spPr>
            <a:xfrm>
              <a:off x="1850729" y="1577154"/>
              <a:ext cx="309442" cy="297307"/>
            </a:xfrm>
            <a:prstGeom prst="rect">
              <a:avLst/>
            </a:prstGeom>
          </p:spPr>
        </p:pic>
      </p:grpSp>
      <p:grpSp>
        <p:nvGrpSpPr>
          <p:cNvPr id="98" name="Gruppieren 97">
            <a:extLst>
              <a:ext uri="{FF2B5EF4-FFF2-40B4-BE49-F238E27FC236}">
                <a16:creationId xmlns:a16="http://schemas.microsoft.com/office/drawing/2014/main" id="{A8A9EC0C-822F-46B5-A3E7-ACE38ED6EB2A}"/>
              </a:ext>
            </a:extLst>
          </p:cNvPr>
          <p:cNvGrpSpPr/>
          <p:nvPr/>
        </p:nvGrpSpPr>
        <p:grpSpPr>
          <a:xfrm>
            <a:off x="8423568" y="1454035"/>
            <a:ext cx="734557" cy="734557"/>
            <a:chOff x="1731116" y="1453477"/>
            <a:chExt cx="550918" cy="550918"/>
          </a:xfrm>
        </p:grpSpPr>
        <p:sp>
          <p:nvSpPr>
            <p:cNvPr id="99" name="Ellipse 98">
              <a:extLst>
                <a:ext uri="{FF2B5EF4-FFF2-40B4-BE49-F238E27FC236}">
                  <a16:creationId xmlns:a16="http://schemas.microsoft.com/office/drawing/2014/main" id="{3FB35C1D-D7E6-4FB4-9DCC-AEF906DD03D3}"/>
                </a:ext>
              </a:extLst>
            </p:cNvPr>
            <p:cNvSpPr/>
            <p:nvPr/>
          </p:nvSpPr>
          <p:spPr>
            <a:xfrm>
              <a:off x="1731116" y="1453477"/>
              <a:ext cx="550918" cy="550918"/>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sz="800" dirty="0">
                <a:solidFill>
                  <a:srgbClr val="005478"/>
                </a:solidFill>
              </a:endParaRPr>
            </a:p>
          </p:txBody>
        </p:sp>
        <p:pic>
          <p:nvPicPr>
            <p:cNvPr id="100" name="Grafik 99">
              <a:extLst>
                <a:ext uri="{FF2B5EF4-FFF2-40B4-BE49-F238E27FC236}">
                  <a16:creationId xmlns:a16="http://schemas.microsoft.com/office/drawing/2014/main" id="{6B7E629C-FC43-42A9-B9FD-C5F5EA33CD4A}"/>
                </a:ext>
              </a:extLst>
            </p:cNvPr>
            <p:cNvPicPr>
              <a:picLocks noChangeAspect="1"/>
            </p:cNvPicPr>
            <p:nvPr/>
          </p:nvPicPr>
          <p:blipFill>
            <a:blip r:embed="rId23">
              <a:extLst>
                <a:ext uri="{96DAC541-7B7A-43D3-8B79-37D633B846F1}">
                  <asvg:svgBlip xmlns="" xmlns:asvg="http://schemas.microsoft.com/office/drawing/2016/SVG/main" r:embed="rId24"/>
                </a:ext>
              </a:extLst>
            </a:blip>
            <a:stretch>
              <a:fillRect/>
            </a:stretch>
          </p:blipFill>
          <p:spPr>
            <a:xfrm>
              <a:off x="1862864" y="1577154"/>
              <a:ext cx="285172" cy="297307"/>
            </a:xfrm>
            <a:prstGeom prst="rect">
              <a:avLst/>
            </a:prstGeom>
          </p:spPr>
        </p:pic>
      </p:grpSp>
      <p:sp>
        <p:nvSpPr>
          <p:cNvPr id="104" name="Rechteck 103"/>
          <p:cNvSpPr/>
          <p:nvPr/>
        </p:nvSpPr>
        <p:spPr bwMode="gray">
          <a:xfrm>
            <a:off x="2304000" y="432000"/>
            <a:ext cx="9559994" cy="828000"/>
          </a:xfrm>
          <a:prstGeom prst="rect">
            <a:avLst/>
          </a:prstGeom>
          <a:solidFill>
            <a:srgbClr val="005478">
              <a:alpha val="90000"/>
            </a:srgbClr>
          </a:solidFill>
          <a:ln w="12700" cap="flat" cmpd="sng" algn="ctr">
            <a:noFill/>
            <a:prstDash val="solid"/>
            <a:miter lim="800000"/>
          </a:ln>
          <a:effectLst/>
          <a:extLst/>
        </p:spPr>
        <p:txBody>
          <a:bodyPr rtlCol="0" anchor="ctr"/>
          <a:lstStyle/>
          <a:p>
            <a:r>
              <a:rPr lang="ru-RU" sz="2800" b="1" cap="all" dirty="0" smtClean="0">
                <a:solidFill>
                  <a:srgbClr val="FFFF00"/>
                </a:solidFill>
                <a:latin typeface="CorpoS" pitchFamily="2" charset="0"/>
                <a:ea typeface="MS Mincho" panose="02020609040205080304" pitchFamily="49" charset="-128"/>
                <a:cs typeface="Helvetica" panose="020B0604020202020204" pitchFamily="34" charset="0"/>
              </a:rPr>
              <a:t>Соединяет все виды транспорта и делает города умнее</a:t>
            </a:r>
            <a:endParaRPr lang="de-DE" sz="2800" b="1" cap="all" dirty="0">
              <a:solidFill>
                <a:srgbClr val="FFFF00"/>
              </a:solidFill>
              <a:latin typeface="CorpoS" pitchFamily="2" charset="0"/>
              <a:ea typeface="MS Mincho" panose="02020609040205080304" pitchFamily="49" charset="-128"/>
              <a:cs typeface="Helvetica" panose="020B0604020202020204" pitchFamily="34" charset="0"/>
            </a:endParaRPr>
          </a:p>
        </p:txBody>
      </p:sp>
      <p:pic>
        <p:nvPicPr>
          <p:cNvPr id="107" name="Grafik 106"/>
          <p:cNvPicPr>
            <a:picLocks noChangeAspect="1"/>
          </p:cNvPicPr>
          <p:nvPr/>
        </p:nvPicPr>
        <p:blipFill>
          <a:blip r:embed="rId25"/>
          <a:stretch>
            <a:fillRect/>
          </a:stretch>
        </p:blipFill>
        <p:spPr>
          <a:xfrm>
            <a:off x="180000" y="252000"/>
            <a:ext cx="2153787" cy="1206000"/>
          </a:xfrm>
          <a:prstGeom prst="rect">
            <a:avLst/>
          </a:prstGeom>
        </p:spPr>
      </p:pic>
    </p:spTree>
    <p:extLst>
      <p:ext uri="{BB962C8B-B14F-4D97-AF65-F5344CB8AC3E}">
        <p14:creationId xmlns:p14="http://schemas.microsoft.com/office/powerpoint/2010/main" val="145108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86"/>
                                        </p:tgtEl>
                                        <p:attrNameLst>
                                          <p:attrName>style.visibility</p:attrName>
                                        </p:attrNameLst>
                                      </p:cBhvr>
                                      <p:to>
                                        <p:strVal val="visible"/>
                                      </p:to>
                                    </p:set>
                                    <p:anim calcmode="lin" valueType="num">
                                      <p:cBhvr>
                                        <p:cTn id="11" dur="500" fill="hold"/>
                                        <p:tgtEl>
                                          <p:spTgt spid="86"/>
                                        </p:tgtEl>
                                        <p:attrNameLst>
                                          <p:attrName>ppt_w</p:attrName>
                                        </p:attrNameLst>
                                      </p:cBhvr>
                                      <p:tavLst>
                                        <p:tav tm="0">
                                          <p:val>
                                            <p:fltVal val="0"/>
                                          </p:val>
                                        </p:tav>
                                        <p:tav tm="100000">
                                          <p:val>
                                            <p:strVal val="#ppt_w"/>
                                          </p:val>
                                        </p:tav>
                                      </p:tavLst>
                                    </p:anim>
                                    <p:anim calcmode="lin" valueType="num">
                                      <p:cBhvr>
                                        <p:cTn id="12" dur="500" fill="hold"/>
                                        <p:tgtEl>
                                          <p:spTgt spid="86"/>
                                        </p:tgtEl>
                                        <p:attrNameLst>
                                          <p:attrName>ppt_h</p:attrName>
                                        </p:attrNameLst>
                                      </p:cBhvr>
                                      <p:tavLst>
                                        <p:tav tm="0">
                                          <p:val>
                                            <p:fltVal val="0"/>
                                          </p:val>
                                        </p:tav>
                                        <p:tav tm="100000">
                                          <p:val>
                                            <p:strVal val="#ppt_h"/>
                                          </p:val>
                                        </p:tav>
                                      </p:tavLst>
                                    </p:anim>
                                    <p:animEffect transition="in" filter="fade">
                                      <p:cBhvr>
                                        <p:cTn id="13" dur="500"/>
                                        <p:tgtEl>
                                          <p:spTgt spid="86"/>
                                        </p:tgtEl>
                                      </p:cBhvr>
                                    </p:animEffect>
                                  </p:childTnLst>
                                </p:cTn>
                              </p:par>
                              <p:par>
                                <p:cTn id="14" presetID="22" presetClass="entr" presetSubtype="2" fill="hold" grpId="0" nodeType="withEffect">
                                  <p:stCondLst>
                                    <p:cond delay="250"/>
                                  </p:stCondLst>
                                  <p:childTnLst>
                                    <p:set>
                                      <p:cBhvr>
                                        <p:cTn id="15" dur="1" fill="hold">
                                          <p:stCondLst>
                                            <p:cond delay="0"/>
                                          </p:stCondLst>
                                        </p:cTn>
                                        <p:tgtEl>
                                          <p:spTgt spid="50"/>
                                        </p:tgtEl>
                                        <p:attrNameLst>
                                          <p:attrName>style.visibility</p:attrName>
                                        </p:attrNameLst>
                                      </p:cBhvr>
                                      <p:to>
                                        <p:strVal val="visible"/>
                                      </p:to>
                                    </p:set>
                                    <p:animEffect transition="in" filter="wipe(right)">
                                      <p:cBhvr>
                                        <p:cTn id="16" dur="500"/>
                                        <p:tgtEl>
                                          <p:spTgt spid="50"/>
                                        </p:tgtEl>
                                      </p:cBhvr>
                                    </p:animEffect>
                                  </p:childTnLst>
                                </p:cTn>
                              </p:par>
                            </p:childTnLst>
                          </p:cTn>
                        </p:par>
                        <p:par>
                          <p:cTn id="17" fill="hold">
                            <p:stCondLst>
                              <p:cond delay="1250"/>
                            </p:stCondLst>
                            <p:childTnLst>
                              <p:par>
                                <p:cTn id="18" presetID="22" presetClass="entr" presetSubtype="2" fill="hold" grpId="0" nodeType="after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wipe(right)">
                                      <p:cBhvr>
                                        <p:cTn id="20" dur="500"/>
                                        <p:tgtEl>
                                          <p:spTgt spid="9"/>
                                        </p:tgtEl>
                                      </p:cBhvr>
                                    </p:animEffect>
                                  </p:childTnLst>
                                </p:cTn>
                              </p:par>
                            </p:childTnLst>
                          </p:cTn>
                        </p:par>
                        <p:par>
                          <p:cTn id="21" fill="hold">
                            <p:stCondLst>
                              <p:cond delay="1750"/>
                            </p:stCondLst>
                            <p:childTnLst>
                              <p:par>
                                <p:cTn id="22" presetID="53" presetClass="entr" presetSubtype="16" fill="hold" nodeType="afterEffect">
                                  <p:stCondLst>
                                    <p:cond delay="0"/>
                                  </p:stCondLst>
                                  <p:childTnLst>
                                    <p:set>
                                      <p:cBhvr>
                                        <p:cTn id="23" dur="1" fill="hold">
                                          <p:stCondLst>
                                            <p:cond delay="0"/>
                                          </p:stCondLst>
                                        </p:cTn>
                                        <p:tgtEl>
                                          <p:spTgt spid="83"/>
                                        </p:tgtEl>
                                        <p:attrNameLst>
                                          <p:attrName>style.visibility</p:attrName>
                                        </p:attrNameLst>
                                      </p:cBhvr>
                                      <p:to>
                                        <p:strVal val="visible"/>
                                      </p:to>
                                    </p:set>
                                    <p:anim calcmode="lin" valueType="num">
                                      <p:cBhvr>
                                        <p:cTn id="24" dur="500" fill="hold"/>
                                        <p:tgtEl>
                                          <p:spTgt spid="83"/>
                                        </p:tgtEl>
                                        <p:attrNameLst>
                                          <p:attrName>ppt_w</p:attrName>
                                        </p:attrNameLst>
                                      </p:cBhvr>
                                      <p:tavLst>
                                        <p:tav tm="0">
                                          <p:val>
                                            <p:fltVal val="0"/>
                                          </p:val>
                                        </p:tav>
                                        <p:tav tm="100000">
                                          <p:val>
                                            <p:strVal val="#ppt_w"/>
                                          </p:val>
                                        </p:tav>
                                      </p:tavLst>
                                    </p:anim>
                                    <p:anim calcmode="lin" valueType="num">
                                      <p:cBhvr>
                                        <p:cTn id="25" dur="500" fill="hold"/>
                                        <p:tgtEl>
                                          <p:spTgt spid="83"/>
                                        </p:tgtEl>
                                        <p:attrNameLst>
                                          <p:attrName>ppt_h</p:attrName>
                                        </p:attrNameLst>
                                      </p:cBhvr>
                                      <p:tavLst>
                                        <p:tav tm="0">
                                          <p:val>
                                            <p:fltVal val="0"/>
                                          </p:val>
                                        </p:tav>
                                        <p:tav tm="100000">
                                          <p:val>
                                            <p:strVal val="#ppt_h"/>
                                          </p:val>
                                        </p:tav>
                                      </p:tavLst>
                                    </p:anim>
                                    <p:animEffect transition="in" filter="fade">
                                      <p:cBhvr>
                                        <p:cTn id="26" dur="500"/>
                                        <p:tgtEl>
                                          <p:spTgt spid="83"/>
                                        </p:tgtEl>
                                      </p:cBhvr>
                                    </p:animEffect>
                                  </p:childTnLst>
                                </p:cTn>
                              </p:par>
                              <p:par>
                                <p:cTn id="27" presetID="22" presetClass="entr" presetSubtype="2" fill="hold" grpId="0" nodeType="withEffect">
                                  <p:stCondLst>
                                    <p:cond delay="250"/>
                                  </p:stCondLst>
                                  <p:childTnLst>
                                    <p:set>
                                      <p:cBhvr>
                                        <p:cTn id="28" dur="1" fill="hold">
                                          <p:stCondLst>
                                            <p:cond delay="0"/>
                                          </p:stCondLst>
                                        </p:cTn>
                                        <p:tgtEl>
                                          <p:spTgt spid="43"/>
                                        </p:tgtEl>
                                        <p:attrNameLst>
                                          <p:attrName>style.visibility</p:attrName>
                                        </p:attrNameLst>
                                      </p:cBhvr>
                                      <p:to>
                                        <p:strVal val="visible"/>
                                      </p:to>
                                    </p:set>
                                    <p:animEffect transition="in" filter="wipe(right)">
                                      <p:cBhvr>
                                        <p:cTn id="29" dur="500"/>
                                        <p:tgtEl>
                                          <p:spTgt spid="43"/>
                                        </p:tgtEl>
                                      </p:cBhvr>
                                    </p:animEffect>
                                  </p:childTnLst>
                                </p:cTn>
                              </p:par>
                            </p:childTnLst>
                          </p:cTn>
                        </p:par>
                        <p:par>
                          <p:cTn id="30" fill="hold">
                            <p:stCondLst>
                              <p:cond delay="2500"/>
                            </p:stCondLst>
                            <p:childTnLst>
                              <p:par>
                                <p:cTn id="31" presetID="22" presetClass="entr" presetSubtype="2" fill="hold" grpId="0" nodeType="after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wipe(right)">
                                      <p:cBhvr>
                                        <p:cTn id="33" dur="500"/>
                                        <p:tgtEl>
                                          <p:spTgt spid="12"/>
                                        </p:tgtEl>
                                      </p:cBhvr>
                                    </p:animEffect>
                                  </p:childTnLst>
                                </p:cTn>
                              </p:par>
                            </p:childTnLst>
                          </p:cTn>
                        </p:par>
                        <p:par>
                          <p:cTn id="34" fill="hold">
                            <p:stCondLst>
                              <p:cond delay="3000"/>
                            </p:stCondLst>
                            <p:childTnLst>
                              <p:par>
                                <p:cTn id="35" presetID="53" presetClass="entr" presetSubtype="16" fill="hold" nodeType="afterEffect">
                                  <p:stCondLst>
                                    <p:cond delay="0"/>
                                  </p:stCondLst>
                                  <p:childTnLst>
                                    <p:set>
                                      <p:cBhvr>
                                        <p:cTn id="36" dur="1" fill="hold">
                                          <p:stCondLst>
                                            <p:cond delay="0"/>
                                          </p:stCondLst>
                                        </p:cTn>
                                        <p:tgtEl>
                                          <p:spTgt spid="80"/>
                                        </p:tgtEl>
                                        <p:attrNameLst>
                                          <p:attrName>style.visibility</p:attrName>
                                        </p:attrNameLst>
                                      </p:cBhvr>
                                      <p:to>
                                        <p:strVal val="visible"/>
                                      </p:to>
                                    </p:set>
                                    <p:anim calcmode="lin" valueType="num">
                                      <p:cBhvr>
                                        <p:cTn id="37" dur="500" fill="hold"/>
                                        <p:tgtEl>
                                          <p:spTgt spid="80"/>
                                        </p:tgtEl>
                                        <p:attrNameLst>
                                          <p:attrName>ppt_w</p:attrName>
                                        </p:attrNameLst>
                                      </p:cBhvr>
                                      <p:tavLst>
                                        <p:tav tm="0">
                                          <p:val>
                                            <p:fltVal val="0"/>
                                          </p:val>
                                        </p:tav>
                                        <p:tav tm="100000">
                                          <p:val>
                                            <p:strVal val="#ppt_w"/>
                                          </p:val>
                                        </p:tav>
                                      </p:tavLst>
                                    </p:anim>
                                    <p:anim calcmode="lin" valueType="num">
                                      <p:cBhvr>
                                        <p:cTn id="38" dur="500" fill="hold"/>
                                        <p:tgtEl>
                                          <p:spTgt spid="80"/>
                                        </p:tgtEl>
                                        <p:attrNameLst>
                                          <p:attrName>ppt_h</p:attrName>
                                        </p:attrNameLst>
                                      </p:cBhvr>
                                      <p:tavLst>
                                        <p:tav tm="0">
                                          <p:val>
                                            <p:fltVal val="0"/>
                                          </p:val>
                                        </p:tav>
                                        <p:tav tm="100000">
                                          <p:val>
                                            <p:strVal val="#ppt_h"/>
                                          </p:val>
                                        </p:tav>
                                      </p:tavLst>
                                    </p:anim>
                                    <p:animEffect transition="in" filter="fade">
                                      <p:cBhvr>
                                        <p:cTn id="39" dur="500"/>
                                        <p:tgtEl>
                                          <p:spTgt spid="80"/>
                                        </p:tgtEl>
                                      </p:cBhvr>
                                    </p:animEffect>
                                  </p:childTnLst>
                                </p:cTn>
                              </p:par>
                              <p:par>
                                <p:cTn id="40" presetID="22" presetClass="entr" presetSubtype="2" fill="hold" grpId="0" nodeType="withEffect">
                                  <p:stCondLst>
                                    <p:cond delay="250"/>
                                  </p:stCondLst>
                                  <p:childTnLst>
                                    <p:set>
                                      <p:cBhvr>
                                        <p:cTn id="41" dur="1" fill="hold">
                                          <p:stCondLst>
                                            <p:cond delay="0"/>
                                          </p:stCondLst>
                                        </p:cTn>
                                        <p:tgtEl>
                                          <p:spTgt spid="49"/>
                                        </p:tgtEl>
                                        <p:attrNameLst>
                                          <p:attrName>style.visibility</p:attrName>
                                        </p:attrNameLst>
                                      </p:cBhvr>
                                      <p:to>
                                        <p:strVal val="visible"/>
                                      </p:to>
                                    </p:set>
                                    <p:animEffect transition="in" filter="wipe(right)">
                                      <p:cBhvr>
                                        <p:cTn id="42" dur="500"/>
                                        <p:tgtEl>
                                          <p:spTgt spid="49"/>
                                        </p:tgtEl>
                                      </p:cBhvr>
                                    </p:animEffect>
                                  </p:childTnLst>
                                </p:cTn>
                              </p:par>
                            </p:childTnLst>
                          </p:cTn>
                        </p:par>
                        <p:par>
                          <p:cTn id="43" fill="hold">
                            <p:stCondLst>
                              <p:cond delay="3750"/>
                            </p:stCondLst>
                            <p:childTnLst>
                              <p:par>
                                <p:cTn id="44" presetID="22" presetClass="entr" presetSubtype="2" fill="hold" grpId="0" nodeType="afterEffect">
                                  <p:stCondLst>
                                    <p:cond delay="0"/>
                                  </p:stCondLst>
                                  <p:childTnLst>
                                    <p:set>
                                      <p:cBhvr>
                                        <p:cTn id="45" dur="1" fill="hold">
                                          <p:stCondLst>
                                            <p:cond delay="0"/>
                                          </p:stCondLst>
                                        </p:cTn>
                                        <p:tgtEl>
                                          <p:spTgt spid="14"/>
                                        </p:tgtEl>
                                        <p:attrNameLst>
                                          <p:attrName>style.visibility</p:attrName>
                                        </p:attrNameLst>
                                      </p:cBhvr>
                                      <p:to>
                                        <p:strVal val="visible"/>
                                      </p:to>
                                    </p:set>
                                    <p:animEffect transition="in" filter="wipe(right)">
                                      <p:cBhvr>
                                        <p:cTn id="46" dur="500"/>
                                        <p:tgtEl>
                                          <p:spTgt spid="14"/>
                                        </p:tgtEl>
                                      </p:cBhvr>
                                    </p:animEffect>
                                  </p:childTnLst>
                                </p:cTn>
                              </p:par>
                            </p:childTnLst>
                          </p:cTn>
                        </p:par>
                        <p:par>
                          <p:cTn id="47" fill="hold">
                            <p:stCondLst>
                              <p:cond delay="4250"/>
                            </p:stCondLst>
                            <p:childTnLst>
                              <p:par>
                                <p:cTn id="48" presetID="53" presetClass="entr" presetSubtype="16" fill="hold" nodeType="afterEffect">
                                  <p:stCondLst>
                                    <p:cond delay="0"/>
                                  </p:stCondLst>
                                  <p:childTnLst>
                                    <p:set>
                                      <p:cBhvr>
                                        <p:cTn id="49" dur="1" fill="hold">
                                          <p:stCondLst>
                                            <p:cond delay="0"/>
                                          </p:stCondLst>
                                        </p:cTn>
                                        <p:tgtEl>
                                          <p:spTgt spid="77"/>
                                        </p:tgtEl>
                                        <p:attrNameLst>
                                          <p:attrName>style.visibility</p:attrName>
                                        </p:attrNameLst>
                                      </p:cBhvr>
                                      <p:to>
                                        <p:strVal val="visible"/>
                                      </p:to>
                                    </p:set>
                                    <p:anim calcmode="lin" valueType="num">
                                      <p:cBhvr>
                                        <p:cTn id="50" dur="500" fill="hold"/>
                                        <p:tgtEl>
                                          <p:spTgt spid="77"/>
                                        </p:tgtEl>
                                        <p:attrNameLst>
                                          <p:attrName>ppt_w</p:attrName>
                                        </p:attrNameLst>
                                      </p:cBhvr>
                                      <p:tavLst>
                                        <p:tav tm="0">
                                          <p:val>
                                            <p:fltVal val="0"/>
                                          </p:val>
                                        </p:tav>
                                        <p:tav tm="100000">
                                          <p:val>
                                            <p:strVal val="#ppt_w"/>
                                          </p:val>
                                        </p:tav>
                                      </p:tavLst>
                                    </p:anim>
                                    <p:anim calcmode="lin" valueType="num">
                                      <p:cBhvr>
                                        <p:cTn id="51" dur="500" fill="hold"/>
                                        <p:tgtEl>
                                          <p:spTgt spid="77"/>
                                        </p:tgtEl>
                                        <p:attrNameLst>
                                          <p:attrName>ppt_h</p:attrName>
                                        </p:attrNameLst>
                                      </p:cBhvr>
                                      <p:tavLst>
                                        <p:tav tm="0">
                                          <p:val>
                                            <p:fltVal val="0"/>
                                          </p:val>
                                        </p:tav>
                                        <p:tav tm="100000">
                                          <p:val>
                                            <p:strVal val="#ppt_h"/>
                                          </p:val>
                                        </p:tav>
                                      </p:tavLst>
                                    </p:anim>
                                    <p:animEffect transition="in" filter="fade">
                                      <p:cBhvr>
                                        <p:cTn id="52" dur="500"/>
                                        <p:tgtEl>
                                          <p:spTgt spid="77"/>
                                        </p:tgtEl>
                                      </p:cBhvr>
                                    </p:animEffect>
                                  </p:childTnLst>
                                </p:cTn>
                              </p:par>
                              <p:par>
                                <p:cTn id="53" presetID="22" presetClass="entr" presetSubtype="2" fill="hold" grpId="0" nodeType="withEffect">
                                  <p:stCondLst>
                                    <p:cond delay="250"/>
                                  </p:stCondLst>
                                  <p:childTnLst>
                                    <p:set>
                                      <p:cBhvr>
                                        <p:cTn id="54" dur="1" fill="hold">
                                          <p:stCondLst>
                                            <p:cond delay="0"/>
                                          </p:stCondLst>
                                        </p:cTn>
                                        <p:tgtEl>
                                          <p:spTgt spid="52"/>
                                        </p:tgtEl>
                                        <p:attrNameLst>
                                          <p:attrName>style.visibility</p:attrName>
                                        </p:attrNameLst>
                                      </p:cBhvr>
                                      <p:to>
                                        <p:strVal val="visible"/>
                                      </p:to>
                                    </p:set>
                                    <p:animEffect transition="in" filter="wipe(right)">
                                      <p:cBhvr>
                                        <p:cTn id="55" dur="500"/>
                                        <p:tgtEl>
                                          <p:spTgt spid="52"/>
                                        </p:tgtEl>
                                      </p:cBhvr>
                                    </p:animEffect>
                                  </p:childTnLst>
                                </p:cTn>
                              </p:par>
                            </p:childTnLst>
                          </p:cTn>
                        </p:par>
                        <p:par>
                          <p:cTn id="56" fill="hold">
                            <p:stCondLst>
                              <p:cond delay="5000"/>
                            </p:stCondLst>
                            <p:childTnLst>
                              <p:par>
                                <p:cTn id="57" presetID="22" presetClass="entr" presetSubtype="2" fill="hold" grpId="0" nodeType="afterEffect">
                                  <p:stCondLst>
                                    <p:cond delay="0"/>
                                  </p:stCondLst>
                                  <p:childTnLst>
                                    <p:set>
                                      <p:cBhvr>
                                        <p:cTn id="58" dur="1" fill="hold">
                                          <p:stCondLst>
                                            <p:cond delay="0"/>
                                          </p:stCondLst>
                                        </p:cTn>
                                        <p:tgtEl>
                                          <p:spTgt spid="15"/>
                                        </p:tgtEl>
                                        <p:attrNameLst>
                                          <p:attrName>style.visibility</p:attrName>
                                        </p:attrNameLst>
                                      </p:cBhvr>
                                      <p:to>
                                        <p:strVal val="visible"/>
                                      </p:to>
                                    </p:set>
                                    <p:animEffect transition="in" filter="wipe(right)">
                                      <p:cBhvr>
                                        <p:cTn id="59" dur="500"/>
                                        <p:tgtEl>
                                          <p:spTgt spid="15"/>
                                        </p:tgtEl>
                                      </p:cBhvr>
                                    </p:animEffect>
                                  </p:childTnLst>
                                </p:cTn>
                              </p:par>
                            </p:childTnLst>
                          </p:cTn>
                        </p:par>
                        <p:par>
                          <p:cTn id="60" fill="hold">
                            <p:stCondLst>
                              <p:cond delay="5500"/>
                            </p:stCondLst>
                            <p:childTnLst>
                              <p:par>
                                <p:cTn id="61" presetID="53" presetClass="entr" presetSubtype="16" fill="hold" nodeType="afterEffect">
                                  <p:stCondLst>
                                    <p:cond delay="0"/>
                                  </p:stCondLst>
                                  <p:childTnLst>
                                    <p:set>
                                      <p:cBhvr>
                                        <p:cTn id="62" dur="1" fill="hold">
                                          <p:stCondLst>
                                            <p:cond delay="0"/>
                                          </p:stCondLst>
                                        </p:cTn>
                                        <p:tgtEl>
                                          <p:spTgt spid="74"/>
                                        </p:tgtEl>
                                        <p:attrNameLst>
                                          <p:attrName>style.visibility</p:attrName>
                                        </p:attrNameLst>
                                      </p:cBhvr>
                                      <p:to>
                                        <p:strVal val="visible"/>
                                      </p:to>
                                    </p:set>
                                    <p:anim calcmode="lin" valueType="num">
                                      <p:cBhvr>
                                        <p:cTn id="63" dur="500" fill="hold"/>
                                        <p:tgtEl>
                                          <p:spTgt spid="74"/>
                                        </p:tgtEl>
                                        <p:attrNameLst>
                                          <p:attrName>ppt_w</p:attrName>
                                        </p:attrNameLst>
                                      </p:cBhvr>
                                      <p:tavLst>
                                        <p:tav tm="0">
                                          <p:val>
                                            <p:fltVal val="0"/>
                                          </p:val>
                                        </p:tav>
                                        <p:tav tm="100000">
                                          <p:val>
                                            <p:strVal val="#ppt_w"/>
                                          </p:val>
                                        </p:tav>
                                      </p:tavLst>
                                    </p:anim>
                                    <p:anim calcmode="lin" valueType="num">
                                      <p:cBhvr>
                                        <p:cTn id="64" dur="500" fill="hold"/>
                                        <p:tgtEl>
                                          <p:spTgt spid="74"/>
                                        </p:tgtEl>
                                        <p:attrNameLst>
                                          <p:attrName>ppt_h</p:attrName>
                                        </p:attrNameLst>
                                      </p:cBhvr>
                                      <p:tavLst>
                                        <p:tav tm="0">
                                          <p:val>
                                            <p:fltVal val="0"/>
                                          </p:val>
                                        </p:tav>
                                        <p:tav tm="100000">
                                          <p:val>
                                            <p:strVal val="#ppt_h"/>
                                          </p:val>
                                        </p:tav>
                                      </p:tavLst>
                                    </p:anim>
                                    <p:animEffect transition="in" filter="fade">
                                      <p:cBhvr>
                                        <p:cTn id="65" dur="500"/>
                                        <p:tgtEl>
                                          <p:spTgt spid="74"/>
                                        </p:tgtEl>
                                      </p:cBhvr>
                                    </p:animEffect>
                                  </p:childTnLst>
                                </p:cTn>
                              </p:par>
                              <p:par>
                                <p:cTn id="66" presetID="53" presetClass="entr" presetSubtype="16" fill="hold" nodeType="withEffect">
                                  <p:stCondLst>
                                    <p:cond delay="250"/>
                                  </p:stCondLst>
                                  <p:childTnLst>
                                    <p:set>
                                      <p:cBhvr>
                                        <p:cTn id="67" dur="1" fill="hold">
                                          <p:stCondLst>
                                            <p:cond delay="0"/>
                                          </p:stCondLst>
                                        </p:cTn>
                                        <p:tgtEl>
                                          <p:spTgt spid="21"/>
                                        </p:tgtEl>
                                        <p:attrNameLst>
                                          <p:attrName>style.visibility</p:attrName>
                                        </p:attrNameLst>
                                      </p:cBhvr>
                                      <p:to>
                                        <p:strVal val="visible"/>
                                      </p:to>
                                    </p:set>
                                    <p:anim calcmode="lin" valueType="num">
                                      <p:cBhvr>
                                        <p:cTn id="68" dur="500" fill="hold"/>
                                        <p:tgtEl>
                                          <p:spTgt spid="21"/>
                                        </p:tgtEl>
                                        <p:attrNameLst>
                                          <p:attrName>ppt_w</p:attrName>
                                        </p:attrNameLst>
                                      </p:cBhvr>
                                      <p:tavLst>
                                        <p:tav tm="0">
                                          <p:val>
                                            <p:fltVal val="0"/>
                                          </p:val>
                                        </p:tav>
                                        <p:tav tm="100000">
                                          <p:val>
                                            <p:strVal val="#ppt_w"/>
                                          </p:val>
                                        </p:tav>
                                      </p:tavLst>
                                    </p:anim>
                                    <p:anim calcmode="lin" valueType="num">
                                      <p:cBhvr>
                                        <p:cTn id="69" dur="500" fill="hold"/>
                                        <p:tgtEl>
                                          <p:spTgt spid="21"/>
                                        </p:tgtEl>
                                        <p:attrNameLst>
                                          <p:attrName>ppt_h</p:attrName>
                                        </p:attrNameLst>
                                      </p:cBhvr>
                                      <p:tavLst>
                                        <p:tav tm="0">
                                          <p:val>
                                            <p:fltVal val="0"/>
                                          </p:val>
                                        </p:tav>
                                        <p:tav tm="100000">
                                          <p:val>
                                            <p:strVal val="#ppt_h"/>
                                          </p:val>
                                        </p:tav>
                                      </p:tavLst>
                                    </p:anim>
                                    <p:animEffect transition="in" filter="fade">
                                      <p:cBhvr>
                                        <p:cTn id="70" dur="500"/>
                                        <p:tgtEl>
                                          <p:spTgt spid="21"/>
                                        </p:tgtEl>
                                      </p:cBhvr>
                                    </p:animEffect>
                                  </p:childTnLst>
                                </p:cTn>
                              </p:par>
                              <p:par>
                                <p:cTn id="71" presetID="22" presetClass="entr" presetSubtype="2" fill="hold" grpId="0" nodeType="withEffect">
                                  <p:stCondLst>
                                    <p:cond delay="250"/>
                                  </p:stCondLst>
                                  <p:childTnLst>
                                    <p:set>
                                      <p:cBhvr>
                                        <p:cTn id="72" dur="1" fill="hold">
                                          <p:stCondLst>
                                            <p:cond delay="0"/>
                                          </p:stCondLst>
                                        </p:cTn>
                                        <p:tgtEl>
                                          <p:spTgt spid="53"/>
                                        </p:tgtEl>
                                        <p:attrNameLst>
                                          <p:attrName>style.visibility</p:attrName>
                                        </p:attrNameLst>
                                      </p:cBhvr>
                                      <p:to>
                                        <p:strVal val="visible"/>
                                      </p:to>
                                    </p:set>
                                    <p:animEffect transition="in" filter="wipe(right)">
                                      <p:cBhvr>
                                        <p:cTn id="73" dur="500"/>
                                        <p:tgtEl>
                                          <p:spTgt spid="53"/>
                                        </p:tgtEl>
                                      </p:cBhvr>
                                    </p:animEffect>
                                  </p:childTnLst>
                                </p:cTn>
                              </p:par>
                            </p:childTnLst>
                          </p:cTn>
                        </p:par>
                        <p:par>
                          <p:cTn id="74" fill="hold">
                            <p:stCondLst>
                              <p:cond delay="6250"/>
                            </p:stCondLst>
                            <p:childTnLst>
                              <p:par>
                                <p:cTn id="75" presetID="22" presetClass="entr" presetSubtype="8" fill="hold" grpId="0" nodeType="afterEffect">
                                  <p:stCondLst>
                                    <p:cond delay="0"/>
                                  </p:stCondLst>
                                  <p:childTnLst>
                                    <p:set>
                                      <p:cBhvr>
                                        <p:cTn id="76" dur="1" fill="hold">
                                          <p:stCondLst>
                                            <p:cond delay="0"/>
                                          </p:stCondLst>
                                        </p:cTn>
                                        <p:tgtEl>
                                          <p:spTgt spid="2"/>
                                        </p:tgtEl>
                                        <p:attrNameLst>
                                          <p:attrName>style.visibility</p:attrName>
                                        </p:attrNameLst>
                                      </p:cBhvr>
                                      <p:to>
                                        <p:strVal val="visible"/>
                                      </p:to>
                                    </p:set>
                                    <p:animEffect transition="in" filter="wipe(left)">
                                      <p:cBhvr>
                                        <p:cTn id="77" dur="500"/>
                                        <p:tgtEl>
                                          <p:spTgt spid="2"/>
                                        </p:tgtEl>
                                      </p:cBhvr>
                                    </p:animEffect>
                                  </p:childTnLst>
                                </p:cTn>
                              </p:par>
                            </p:childTnLst>
                          </p:cTn>
                        </p:par>
                        <p:par>
                          <p:cTn id="78" fill="hold">
                            <p:stCondLst>
                              <p:cond delay="6750"/>
                            </p:stCondLst>
                            <p:childTnLst>
                              <p:par>
                                <p:cTn id="79" presetID="53" presetClass="entr" presetSubtype="16" fill="hold" nodeType="afterEffect">
                                  <p:stCondLst>
                                    <p:cond delay="0"/>
                                  </p:stCondLst>
                                  <p:childTnLst>
                                    <p:set>
                                      <p:cBhvr>
                                        <p:cTn id="80" dur="1" fill="hold">
                                          <p:stCondLst>
                                            <p:cond delay="0"/>
                                          </p:stCondLst>
                                        </p:cTn>
                                        <p:tgtEl>
                                          <p:spTgt spid="98"/>
                                        </p:tgtEl>
                                        <p:attrNameLst>
                                          <p:attrName>style.visibility</p:attrName>
                                        </p:attrNameLst>
                                      </p:cBhvr>
                                      <p:to>
                                        <p:strVal val="visible"/>
                                      </p:to>
                                    </p:set>
                                    <p:anim calcmode="lin" valueType="num">
                                      <p:cBhvr>
                                        <p:cTn id="81" dur="500" fill="hold"/>
                                        <p:tgtEl>
                                          <p:spTgt spid="98"/>
                                        </p:tgtEl>
                                        <p:attrNameLst>
                                          <p:attrName>ppt_w</p:attrName>
                                        </p:attrNameLst>
                                      </p:cBhvr>
                                      <p:tavLst>
                                        <p:tav tm="0">
                                          <p:val>
                                            <p:fltVal val="0"/>
                                          </p:val>
                                        </p:tav>
                                        <p:tav tm="100000">
                                          <p:val>
                                            <p:strVal val="#ppt_w"/>
                                          </p:val>
                                        </p:tav>
                                      </p:tavLst>
                                    </p:anim>
                                    <p:anim calcmode="lin" valueType="num">
                                      <p:cBhvr>
                                        <p:cTn id="82" dur="500" fill="hold"/>
                                        <p:tgtEl>
                                          <p:spTgt spid="98"/>
                                        </p:tgtEl>
                                        <p:attrNameLst>
                                          <p:attrName>ppt_h</p:attrName>
                                        </p:attrNameLst>
                                      </p:cBhvr>
                                      <p:tavLst>
                                        <p:tav tm="0">
                                          <p:val>
                                            <p:fltVal val="0"/>
                                          </p:val>
                                        </p:tav>
                                        <p:tav tm="100000">
                                          <p:val>
                                            <p:strVal val="#ppt_h"/>
                                          </p:val>
                                        </p:tav>
                                      </p:tavLst>
                                    </p:anim>
                                    <p:animEffect transition="in" filter="fade">
                                      <p:cBhvr>
                                        <p:cTn id="83" dur="500"/>
                                        <p:tgtEl>
                                          <p:spTgt spid="98"/>
                                        </p:tgtEl>
                                      </p:cBhvr>
                                    </p:animEffect>
                                  </p:childTnLst>
                                </p:cTn>
                              </p:par>
                              <p:par>
                                <p:cTn id="84" presetID="22" presetClass="entr" presetSubtype="8" fill="hold" grpId="0" nodeType="withEffect">
                                  <p:stCondLst>
                                    <p:cond delay="250"/>
                                  </p:stCondLst>
                                  <p:childTnLst>
                                    <p:set>
                                      <p:cBhvr>
                                        <p:cTn id="85" dur="1" fill="hold">
                                          <p:stCondLst>
                                            <p:cond delay="0"/>
                                          </p:stCondLst>
                                        </p:cTn>
                                        <p:tgtEl>
                                          <p:spTgt spid="47"/>
                                        </p:tgtEl>
                                        <p:attrNameLst>
                                          <p:attrName>style.visibility</p:attrName>
                                        </p:attrNameLst>
                                      </p:cBhvr>
                                      <p:to>
                                        <p:strVal val="visible"/>
                                      </p:to>
                                    </p:set>
                                    <p:animEffect transition="in" filter="wipe(left)">
                                      <p:cBhvr>
                                        <p:cTn id="86" dur="500"/>
                                        <p:tgtEl>
                                          <p:spTgt spid="47"/>
                                        </p:tgtEl>
                                      </p:cBhvr>
                                    </p:animEffect>
                                  </p:childTnLst>
                                </p:cTn>
                              </p:par>
                            </p:childTnLst>
                          </p:cTn>
                        </p:par>
                        <p:par>
                          <p:cTn id="87" fill="hold">
                            <p:stCondLst>
                              <p:cond delay="7500"/>
                            </p:stCondLst>
                            <p:childTnLst>
                              <p:par>
                                <p:cTn id="88" presetID="22" presetClass="entr" presetSubtype="8" fill="hold" grpId="0" nodeType="afterEffect">
                                  <p:stCondLst>
                                    <p:cond delay="0"/>
                                  </p:stCondLst>
                                  <p:childTnLst>
                                    <p:set>
                                      <p:cBhvr>
                                        <p:cTn id="89" dur="1" fill="hold">
                                          <p:stCondLst>
                                            <p:cond delay="0"/>
                                          </p:stCondLst>
                                        </p:cTn>
                                        <p:tgtEl>
                                          <p:spTgt spid="3"/>
                                        </p:tgtEl>
                                        <p:attrNameLst>
                                          <p:attrName>style.visibility</p:attrName>
                                        </p:attrNameLst>
                                      </p:cBhvr>
                                      <p:to>
                                        <p:strVal val="visible"/>
                                      </p:to>
                                    </p:set>
                                    <p:animEffect transition="in" filter="wipe(left)">
                                      <p:cBhvr>
                                        <p:cTn id="90" dur="500"/>
                                        <p:tgtEl>
                                          <p:spTgt spid="3"/>
                                        </p:tgtEl>
                                      </p:cBhvr>
                                    </p:animEffect>
                                  </p:childTnLst>
                                </p:cTn>
                              </p:par>
                            </p:childTnLst>
                          </p:cTn>
                        </p:par>
                        <p:par>
                          <p:cTn id="91" fill="hold">
                            <p:stCondLst>
                              <p:cond delay="8000"/>
                            </p:stCondLst>
                            <p:childTnLst>
                              <p:par>
                                <p:cTn id="92" presetID="53" presetClass="entr" presetSubtype="16" fill="hold" nodeType="afterEffect">
                                  <p:stCondLst>
                                    <p:cond delay="0"/>
                                  </p:stCondLst>
                                  <p:childTnLst>
                                    <p:set>
                                      <p:cBhvr>
                                        <p:cTn id="93" dur="1" fill="hold">
                                          <p:stCondLst>
                                            <p:cond delay="0"/>
                                          </p:stCondLst>
                                        </p:cTn>
                                        <p:tgtEl>
                                          <p:spTgt spid="95"/>
                                        </p:tgtEl>
                                        <p:attrNameLst>
                                          <p:attrName>style.visibility</p:attrName>
                                        </p:attrNameLst>
                                      </p:cBhvr>
                                      <p:to>
                                        <p:strVal val="visible"/>
                                      </p:to>
                                    </p:set>
                                    <p:anim calcmode="lin" valueType="num">
                                      <p:cBhvr>
                                        <p:cTn id="94" dur="500" fill="hold"/>
                                        <p:tgtEl>
                                          <p:spTgt spid="95"/>
                                        </p:tgtEl>
                                        <p:attrNameLst>
                                          <p:attrName>ppt_w</p:attrName>
                                        </p:attrNameLst>
                                      </p:cBhvr>
                                      <p:tavLst>
                                        <p:tav tm="0">
                                          <p:val>
                                            <p:fltVal val="0"/>
                                          </p:val>
                                        </p:tav>
                                        <p:tav tm="100000">
                                          <p:val>
                                            <p:strVal val="#ppt_w"/>
                                          </p:val>
                                        </p:tav>
                                      </p:tavLst>
                                    </p:anim>
                                    <p:anim calcmode="lin" valueType="num">
                                      <p:cBhvr>
                                        <p:cTn id="95" dur="500" fill="hold"/>
                                        <p:tgtEl>
                                          <p:spTgt spid="95"/>
                                        </p:tgtEl>
                                        <p:attrNameLst>
                                          <p:attrName>ppt_h</p:attrName>
                                        </p:attrNameLst>
                                      </p:cBhvr>
                                      <p:tavLst>
                                        <p:tav tm="0">
                                          <p:val>
                                            <p:fltVal val="0"/>
                                          </p:val>
                                        </p:tav>
                                        <p:tav tm="100000">
                                          <p:val>
                                            <p:strVal val="#ppt_h"/>
                                          </p:val>
                                        </p:tav>
                                      </p:tavLst>
                                    </p:anim>
                                    <p:animEffect transition="in" filter="fade">
                                      <p:cBhvr>
                                        <p:cTn id="96" dur="500"/>
                                        <p:tgtEl>
                                          <p:spTgt spid="95"/>
                                        </p:tgtEl>
                                      </p:cBhvr>
                                    </p:animEffect>
                                  </p:childTnLst>
                                </p:cTn>
                              </p:par>
                              <p:par>
                                <p:cTn id="97" presetID="22" presetClass="entr" presetSubtype="8" fill="hold" grpId="0" nodeType="withEffect">
                                  <p:stCondLst>
                                    <p:cond delay="250"/>
                                  </p:stCondLst>
                                  <p:childTnLst>
                                    <p:set>
                                      <p:cBhvr>
                                        <p:cTn id="98" dur="1" fill="hold">
                                          <p:stCondLst>
                                            <p:cond delay="0"/>
                                          </p:stCondLst>
                                        </p:cTn>
                                        <p:tgtEl>
                                          <p:spTgt spid="29"/>
                                        </p:tgtEl>
                                        <p:attrNameLst>
                                          <p:attrName>style.visibility</p:attrName>
                                        </p:attrNameLst>
                                      </p:cBhvr>
                                      <p:to>
                                        <p:strVal val="visible"/>
                                      </p:to>
                                    </p:set>
                                    <p:animEffect transition="in" filter="wipe(left)">
                                      <p:cBhvr>
                                        <p:cTn id="99" dur="500"/>
                                        <p:tgtEl>
                                          <p:spTgt spid="29"/>
                                        </p:tgtEl>
                                      </p:cBhvr>
                                    </p:animEffect>
                                  </p:childTnLst>
                                </p:cTn>
                              </p:par>
                            </p:childTnLst>
                          </p:cTn>
                        </p:par>
                        <p:par>
                          <p:cTn id="100" fill="hold">
                            <p:stCondLst>
                              <p:cond delay="8750"/>
                            </p:stCondLst>
                            <p:childTnLst>
                              <p:par>
                                <p:cTn id="101" presetID="53" presetClass="entr" presetSubtype="16" fill="hold" nodeType="afterEffect">
                                  <p:stCondLst>
                                    <p:cond delay="0"/>
                                  </p:stCondLst>
                                  <p:childTnLst>
                                    <p:set>
                                      <p:cBhvr>
                                        <p:cTn id="102" dur="1" fill="hold">
                                          <p:stCondLst>
                                            <p:cond delay="0"/>
                                          </p:stCondLst>
                                        </p:cTn>
                                        <p:tgtEl>
                                          <p:spTgt spid="92"/>
                                        </p:tgtEl>
                                        <p:attrNameLst>
                                          <p:attrName>style.visibility</p:attrName>
                                        </p:attrNameLst>
                                      </p:cBhvr>
                                      <p:to>
                                        <p:strVal val="visible"/>
                                      </p:to>
                                    </p:set>
                                    <p:anim calcmode="lin" valueType="num">
                                      <p:cBhvr>
                                        <p:cTn id="103" dur="500" fill="hold"/>
                                        <p:tgtEl>
                                          <p:spTgt spid="92"/>
                                        </p:tgtEl>
                                        <p:attrNameLst>
                                          <p:attrName>ppt_w</p:attrName>
                                        </p:attrNameLst>
                                      </p:cBhvr>
                                      <p:tavLst>
                                        <p:tav tm="0">
                                          <p:val>
                                            <p:fltVal val="0"/>
                                          </p:val>
                                        </p:tav>
                                        <p:tav tm="100000">
                                          <p:val>
                                            <p:strVal val="#ppt_w"/>
                                          </p:val>
                                        </p:tav>
                                      </p:tavLst>
                                    </p:anim>
                                    <p:anim calcmode="lin" valueType="num">
                                      <p:cBhvr>
                                        <p:cTn id="104" dur="500" fill="hold"/>
                                        <p:tgtEl>
                                          <p:spTgt spid="92"/>
                                        </p:tgtEl>
                                        <p:attrNameLst>
                                          <p:attrName>ppt_h</p:attrName>
                                        </p:attrNameLst>
                                      </p:cBhvr>
                                      <p:tavLst>
                                        <p:tav tm="0">
                                          <p:val>
                                            <p:fltVal val="0"/>
                                          </p:val>
                                        </p:tav>
                                        <p:tav tm="100000">
                                          <p:val>
                                            <p:strVal val="#ppt_h"/>
                                          </p:val>
                                        </p:tav>
                                      </p:tavLst>
                                    </p:anim>
                                    <p:animEffect transition="in" filter="fade">
                                      <p:cBhvr>
                                        <p:cTn id="105" dur="500"/>
                                        <p:tgtEl>
                                          <p:spTgt spid="92"/>
                                        </p:tgtEl>
                                      </p:cBhvr>
                                    </p:animEffect>
                                  </p:childTnLst>
                                </p:cTn>
                              </p:par>
                              <p:par>
                                <p:cTn id="106" presetID="22" presetClass="entr" presetSubtype="2" fill="hold" nodeType="withEffect">
                                  <p:stCondLst>
                                    <p:cond delay="0"/>
                                  </p:stCondLst>
                                  <p:childTnLst>
                                    <p:set>
                                      <p:cBhvr>
                                        <p:cTn id="107" dur="1" fill="hold">
                                          <p:stCondLst>
                                            <p:cond delay="0"/>
                                          </p:stCondLst>
                                        </p:cTn>
                                        <p:tgtEl>
                                          <p:spTgt spid="45"/>
                                        </p:tgtEl>
                                        <p:attrNameLst>
                                          <p:attrName>style.visibility</p:attrName>
                                        </p:attrNameLst>
                                      </p:cBhvr>
                                      <p:to>
                                        <p:strVal val="visible"/>
                                      </p:to>
                                    </p:set>
                                    <p:animEffect transition="in" filter="wipe(right)">
                                      <p:cBhvr>
                                        <p:cTn id="108" dur="500"/>
                                        <p:tgtEl>
                                          <p:spTgt spid="45"/>
                                        </p:tgtEl>
                                      </p:cBhvr>
                                    </p:animEffect>
                                  </p:childTnLst>
                                </p:cTn>
                              </p:par>
                              <p:par>
                                <p:cTn id="109" presetID="22" presetClass="entr" presetSubtype="2" fill="hold" nodeType="withEffect">
                                  <p:stCondLst>
                                    <p:cond delay="0"/>
                                  </p:stCondLst>
                                  <p:childTnLst>
                                    <p:set>
                                      <p:cBhvr>
                                        <p:cTn id="110" dur="1" fill="hold">
                                          <p:stCondLst>
                                            <p:cond delay="0"/>
                                          </p:stCondLst>
                                        </p:cTn>
                                        <p:tgtEl>
                                          <p:spTgt spid="33"/>
                                        </p:tgtEl>
                                        <p:attrNameLst>
                                          <p:attrName>style.visibility</p:attrName>
                                        </p:attrNameLst>
                                      </p:cBhvr>
                                      <p:to>
                                        <p:strVal val="visible"/>
                                      </p:to>
                                    </p:set>
                                    <p:animEffect transition="in" filter="wipe(right)">
                                      <p:cBhvr>
                                        <p:cTn id="111" dur="500"/>
                                        <p:tgtEl>
                                          <p:spTgt spid="33"/>
                                        </p:tgtEl>
                                      </p:cBhvr>
                                    </p:animEffect>
                                  </p:childTnLst>
                                </p:cTn>
                              </p:par>
                              <p:par>
                                <p:cTn id="112" presetID="22" presetClass="entr" presetSubtype="2" fill="hold" nodeType="withEffect">
                                  <p:stCondLst>
                                    <p:cond delay="0"/>
                                  </p:stCondLst>
                                  <p:childTnLst>
                                    <p:set>
                                      <p:cBhvr>
                                        <p:cTn id="113" dur="1" fill="hold">
                                          <p:stCondLst>
                                            <p:cond delay="0"/>
                                          </p:stCondLst>
                                        </p:cTn>
                                        <p:tgtEl>
                                          <p:spTgt spid="54"/>
                                        </p:tgtEl>
                                        <p:attrNameLst>
                                          <p:attrName>style.visibility</p:attrName>
                                        </p:attrNameLst>
                                      </p:cBhvr>
                                      <p:to>
                                        <p:strVal val="visible"/>
                                      </p:to>
                                    </p:set>
                                    <p:animEffect transition="in" filter="wipe(right)">
                                      <p:cBhvr>
                                        <p:cTn id="114" dur="500"/>
                                        <p:tgtEl>
                                          <p:spTgt spid="54"/>
                                        </p:tgtEl>
                                      </p:cBhvr>
                                    </p:animEffect>
                                  </p:childTnLst>
                                </p:cTn>
                              </p:par>
                              <p:par>
                                <p:cTn id="115" presetID="53" presetClass="entr" presetSubtype="16" fill="hold" nodeType="withEffect">
                                  <p:stCondLst>
                                    <p:cond delay="0"/>
                                  </p:stCondLst>
                                  <p:childTnLst>
                                    <p:set>
                                      <p:cBhvr>
                                        <p:cTn id="116" dur="1" fill="hold">
                                          <p:stCondLst>
                                            <p:cond delay="0"/>
                                          </p:stCondLst>
                                        </p:cTn>
                                        <p:tgtEl>
                                          <p:spTgt spid="89"/>
                                        </p:tgtEl>
                                        <p:attrNameLst>
                                          <p:attrName>style.visibility</p:attrName>
                                        </p:attrNameLst>
                                      </p:cBhvr>
                                      <p:to>
                                        <p:strVal val="visible"/>
                                      </p:to>
                                    </p:set>
                                    <p:anim calcmode="lin" valueType="num">
                                      <p:cBhvr>
                                        <p:cTn id="117" dur="500" fill="hold"/>
                                        <p:tgtEl>
                                          <p:spTgt spid="89"/>
                                        </p:tgtEl>
                                        <p:attrNameLst>
                                          <p:attrName>ppt_w</p:attrName>
                                        </p:attrNameLst>
                                      </p:cBhvr>
                                      <p:tavLst>
                                        <p:tav tm="0">
                                          <p:val>
                                            <p:fltVal val="0"/>
                                          </p:val>
                                        </p:tav>
                                        <p:tav tm="100000">
                                          <p:val>
                                            <p:strVal val="#ppt_w"/>
                                          </p:val>
                                        </p:tav>
                                      </p:tavLst>
                                    </p:anim>
                                    <p:anim calcmode="lin" valueType="num">
                                      <p:cBhvr>
                                        <p:cTn id="118" dur="500" fill="hold"/>
                                        <p:tgtEl>
                                          <p:spTgt spid="89"/>
                                        </p:tgtEl>
                                        <p:attrNameLst>
                                          <p:attrName>ppt_h</p:attrName>
                                        </p:attrNameLst>
                                      </p:cBhvr>
                                      <p:tavLst>
                                        <p:tav tm="0">
                                          <p:val>
                                            <p:fltVal val="0"/>
                                          </p:val>
                                        </p:tav>
                                        <p:tav tm="100000">
                                          <p:val>
                                            <p:strVal val="#ppt_h"/>
                                          </p:val>
                                        </p:tav>
                                      </p:tavLst>
                                    </p:anim>
                                    <p:animEffect transition="in" filter="fade">
                                      <p:cBhvr>
                                        <p:cTn id="119" dur="500"/>
                                        <p:tgtEl>
                                          <p:spTgt spid="89"/>
                                        </p:tgtEl>
                                      </p:cBhvr>
                                    </p:animEffect>
                                  </p:childTnLst>
                                </p:cTn>
                              </p:par>
                              <p:par>
                                <p:cTn id="120" presetID="22" presetClass="entr" presetSubtype="8" fill="hold" grpId="0" nodeType="withEffect">
                                  <p:stCondLst>
                                    <p:cond delay="250"/>
                                  </p:stCondLst>
                                  <p:childTnLst>
                                    <p:set>
                                      <p:cBhvr>
                                        <p:cTn id="121" dur="1" fill="hold">
                                          <p:stCondLst>
                                            <p:cond delay="0"/>
                                          </p:stCondLst>
                                        </p:cTn>
                                        <p:tgtEl>
                                          <p:spTgt spid="37"/>
                                        </p:tgtEl>
                                        <p:attrNameLst>
                                          <p:attrName>style.visibility</p:attrName>
                                        </p:attrNameLst>
                                      </p:cBhvr>
                                      <p:to>
                                        <p:strVal val="visible"/>
                                      </p:to>
                                    </p:set>
                                    <p:animEffect transition="in" filter="wipe(left)">
                                      <p:cBhvr>
                                        <p:cTn id="122" dur="500"/>
                                        <p:tgtEl>
                                          <p:spTgt spid="37"/>
                                        </p:tgtEl>
                                      </p:cBhvr>
                                    </p:animEffect>
                                  </p:childTnLst>
                                </p:cTn>
                              </p:par>
                              <p:par>
                                <p:cTn id="123" presetID="22" presetClass="entr" presetSubtype="8" fill="hold" grpId="0" nodeType="withEffect">
                                  <p:stCondLst>
                                    <p:cond delay="250"/>
                                  </p:stCondLst>
                                  <p:childTnLst>
                                    <p:set>
                                      <p:cBhvr>
                                        <p:cTn id="124" dur="1" fill="hold">
                                          <p:stCondLst>
                                            <p:cond delay="0"/>
                                          </p:stCondLst>
                                        </p:cTn>
                                        <p:tgtEl>
                                          <p:spTgt spid="48"/>
                                        </p:tgtEl>
                                        <p:attrNameLst>
                                          <p:attrName>style.visibility</p:attrName>
                                        </p:attrNameLst>
                                      </p:cBhvr>
                                      <p:to>
                                        <p:strVal val="visible"/>
                                      </p:to>
                                    </p:set>
                                    <p:animEffect transition="in" filter="wipe(left)">
                                      <p:cBhvr>
                                        <p:cTn id="125"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9" grpId="0" animBg="1"/>
      <p:bldP spid="12" grpId="0" animBg="1"/>
      <p:bldP spid="14" grpId="0" animBg="1"/>
      <p:bldP spid="15" grpId="0" animBg="1"/>
      <p:bldP spid="48" grpId="0"/>
      <p:bldP spid="37" grpId="0"/>
      <p:bldP spid="47" grpId="0"/>
      <p:bldP spid="49" grpId="0"/>
      <p:bldP spid="50" grpId="0"/>
      <p:bldP spid="52" grpId="0"/>
      <p:bldP spid="29" grpId="0"/>
      <p:bldP spid="43" grpId="0"/>
      <p:bldP spid="53"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337693">
            <a:alpha val="80000"/>
          </a:srgbClr>
        </a:solidFill>
        <a:effectLst/>
      </p:bgPr>
    </p:bg>
    <p:spTree>
      <p:nvGrpSpPr>
        <p:cNvPr id="1" name=""/>
        <p:cNvGrpSpPr/>
        <p:nvPr/>
      </p:nvGrpSpPr>
      <p:grpSpPr>
        <a:xfrm>
          <a:off x="0" y="0"/>
          <a:ext cx="0" cy="0"/>
          <a:chOff x="0" y="0"/>
          <a:chExt cx="0" cy="0"/>
        </a:xfrm>
      </p:grpSpPr>
      <p:sp>
        <p:nvSpPr>
          <p:cNvPr id="804" name="Freihandform: Form 10">
            <a:extLst>
              <a:ext uri="{FF2B5EF4-FFF2-40B4-BE49-F238E27FC236}">
                <a16:creationId xmlns:a16="http://schemas.microsoft.com/office/drawing/2014/main" id="{C86F15C2-E9C3-4FA6-9FC3-633F97D07B92}"/>
              </a:ext>
            </a:extLst>
          </p:cNvPr>
          <p:cNvSpPr/>
          <p:nvPr/>
        </p:nvSpPr>
        <p:spPr>
          <a:xfrm>
            <a:off x="10150745" y="5306462"/>
            <a:ext cx="1969156" cy="1401022"/>
          </a:xfrm>
          <a:custGeom>
            <a:avLst/>
            <a:gdLst>
              <a:gd name="connsiteX0" fmla="*/ 3746500 w 3981450"/>
              <a:gd name="connsiteY0" fmla="*/ 2546350 h 2819400"/>
              <a:gd name="connsiteX1" fmla="*/ 3981450 w 3981450"/>
              <a:gd name="connsiteY1" fmla="*/ 781050 h 2819400"/>
              <a:gd name="connsiteX2" fmla="*/ 0 w 3981450"/>
              <a:gd name="connsiteY2" fmla="*/ 0 h 2819400"/>
              <a:gd name="connsiteX3" fmla="*/ 0 w 3981450"/>
              <a:gd name="connsiteY3" fmla="*/ 2819400 h 2819400"/>
              <a:gd name="connsiteX4" fmla="*/ 3746500 w 3981450"/>
              <a:gd name="connsiteY4" fmla="*/ 2546350 h 2819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2819400">
                <a:moveTo>
                  <a:pt x="3746500" y="2546350"/>
                </a:moveTo>
                <a:lnTo>
                  <a:pt x="3981450" y="781050"/>
                </a:lnTo>
                <a:lnTo>
                  <a:pt x="0" y="0"/>
                </a:lnTo>
                <a:lnTo>
                  <a:pt x="0" y="2819400"/>
                </a:lnTo>
                <a:lnTo>
                  <a:pt x="3746500" y="25463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590" tIns="27294" rIns="54590" bIns="27294" rtlCol="0" anchor="ctr"/>
          <a:lstStyle/>
          <a:p>
            <a:pPr algn="ctr" defTabSz="1088089"/>
            <a:endParaRPr lang="de-DE" sz="2800" dirty="0" err="1">
              <a:solidFill>
                <a:prstClr val="white"/>
              </a:solidFill>
            </a:endParaRPr>
          </a:p>
        </p:txBody>
      </p:sp>
      <p:sp>
        <p:nvSpPr>
          <p:cNvPr id="695" name="Rechteck 694"/>
          <p:cNvSpPr/>
          <p:nvPr/>
        </p:nvSpPr>
        <p:spPr bwMode="gray">
          <a:xfrm>
            <a:off x="2304000" y="431999"/>
            <a:ext cx="9516399" cy="828000"/>
          </a:xfrm>
          <a:prstGeom prst="rect">
            <a:avLst/>
          </a:prstGeom>
          <a:solidFill>
            <a:srgbClr val="005478">
              <a:alpha val="90000"/>
            </a:srgbClr>
          </a:solidFill>
          <a:ln w="12700" cap="flat" cmpd="sng" algn="ctr">
            <a:noFill/>
            <a:prstDash val="solid"/>
            <a:miter lim="800000"/>
          </a:ln>
          <a:effectLst/>
          <a:extLst/>
        </p:spPr>
        <p:txBody>
          <a:bodyPr rtlCol="0" anchor="ctr"/>
          <a:lstStyle/>
          <a:p>
            <a:r>
              <a:rPr lang="ru-RU" sz="2800" b="1" dirty="0" smtClean="0">
                <a:solidFill>
                  <a:schemeClr val="bg1"/>
                </a:solidFill>
                <a:latin typeface="CorpoS" pitchFamily="2" charset="0"/>
              </a:rPr>
              <a:t>ОДНО ИЗ ВЕДУЩИХ МУЛЬТИМОДАЛЬНЫХ ПРИЛОЖЕНИЙ С СИЛЬНЫМ ПРИСУТСТВИЕ В СЕВЕРНОЙ АМЕРИКЕ И ГЕРМАНИИ</a:t>
            </a:r>
            <a:endParaRPr lang="de-DE" sz="2800" b="1" dirty="0">
              <a:solidFill>
                <a:srgbClr val="FFFF00"/>
              </a:solidFill>
              <a:latin typeface="CorpoS" pitchFamily="2" charset="0"/>
              <a:ea typeface="MS Mincho" panose="02020609040205080304" pitchFamily="49" charset="-128"/>
              <a:cs typeface="Helvetica" panose="020B0604020202020204" pitchFamily="34" charset="0"/>
            </a:endParaRPr>
          </a:p>
        </p:txBody>
      </p:sp>
      <p:pic>
        <p:nvPicPr>
          <p:cNvPr id="697" name="Grafik 696"/>
          <p:cNvPicPr>
            <a:picLocks noChangeAspect="1"/>
          </p:cNvPicPr>
          <p:nvPr/>
        </p:nvPicPr>
        <p:blipFill>
          <a:blip r:embed="rId3"/>
          <a:stretch>
            <a:fillRect/>
          </a:stretch>
        </p:blipFill>
        <p:spPr>
          <a:xfrm>
            <a:off x="180000" y="252000"/>
            <a:ext cx="2153787" cy="1206000"/>
          </a:xfrm>
          <a:prstGeom prst="rect">
            <a:avLst/>
          </a:prstGeom>
        </p:spPr>
      </p:pic>
      <p:sp>
        <p:nvSpPr>
          <p:cNvPr id="692" name="Shape 1802"/>
          <p:cNvSpPr/>
          <p:nvPr/>
        </p:nvSpPr>
        <p:spPr>
          <a:xfrm>
            <a:off x="8458409" y="3811374"/>
            <a:ext cx="849426" cy="381263"/>
          </a:xfrm>
          <a:custGeom>
            <a:avLst/>
            <a:gdLst/>
            <a:ahLst/>
            <a:cxnLst/>
            <a:rect l="0" t="0" r="0" b="0"/>
            <a:pathLst>
              <a:path w="120000" h="120000" extrusionOk="0">
                <a:moveTo>
                  <a:pt x="107392" y="27096"/>
                </a:moveTo>
                <a:cubicBezTo>
                  <a:pt x="102256" y="48387"/>
                  <a:pt x="105058" y="43548"/>
                  <a:pt x="103657" y="46451"/>
                </a:cubicBezTo>
                <a:cubicBezTo>
                  <a:pt x="102256" y="48387"/>
                  <a:pt x="104124" y="53225"/>
                  <a:pt x="105058" y="51290"/>
                </a:cubicBezTo>
                <a:cubicBezTo>
                  <a:pt x="105992" y="50322"/>
                  <a:pt x="107859" y="50322"/>
                  <a:pt x="109260" y="51290"/>
                </a:cubicBezTo>
                <a:cubicBezTo>
                  <a:pt x="110661" y="54193"/>
                  <a:pt x="109260" y="48387"/>
                  <a:pt x="112062" y="48387"/>
                </a:cubicBezTo>
                <a:cubicBezTo>
                  <a:pt x="114863" y="48387"/>
                  <a:pt x="115797" y="51290"/>
                  <a:pt x="117198" y="54193"/>
                </a:cubicBezTo>
                <a:cubicBezTo>
                  <a:pt x="118599" y="57096"/>
                  <a:pt x="120000" y="61935"/>
                  <a:pt x="119066" y="62903"/>
                </a:cubicBezTo>
                <a:cubicBezTo>
                  <a:pt x="117665" y="64838"/>
                  <a:pt x="115797" y="61935"/>
                  <a:pt x="114863" y="62903"/>
                </a:cubicBezTo>
                <a:cubicBezTo>
                  <a:pt x="114396" y="64838"/>
                  <a:pt x="113463" y="61935"/>
                  <a:pt x="111595" y="62903"/>
                </a:cubicBezTo>
                <a:cubicBezTo>
                  <a:pt x="110194" y="66774"/>
                  <a:pt x="107859" y="64838"/>
                  <a:pt x="106459" y="67741"/>
                </a:cubicBezTo>
                <a:cubicBezTo>
                  <a:pt x="105058" y="72580"/>
                  <a:pt x="106459" y="72580"/>
                  <a:pt x="105058" y="73548"/>
                </a:cubicBezTo>
                <a:cubicBezTo>
                  <a:pt x="103657" y="77419"/>
                  <a:pt x="102256" y="78387"/>
                  <a:pt x="100856" y="77419"/>
                </a:cubicBezTo>
                <a:cubicBezTo>
                  <a:pt x="98521" y="77419"/>
                  <a:pt x="99455" y="81290"/>
                  <a:pt x="96653" y="84193"/>
                </a:cubicBezTo>
                <a:cubicBezTo>
                  <a:pt x="92918" y="87096"/>
                  <a:pt x="91517" y="80322"/>
                  <a:pt x="89649" y="81290"/>
                </a:cubicBezTo>
                <a:cubicBezTo>
                  <a:pt x="88249" y="81290"/>
                  <a:pt x="88249" y="84193"/>
                  <a:pt x="88249" y="89032"/>
                </a:cubicBezTo>
                <a:cubicBezTo>
                  <a:pt x="88249" y="91935"/>
                  <a:pt x="91050" y="94838"/>
                  <a:pt x="89649" y="96774"/>
                </a:cubicBezTo>
                <a:cubicBezTo>
                  <a:pt x="87315" y="99677"/>
                  <a:pt x="86381" y="99677"/>
                  <a:pt x="84513" y="103548"/>
                </a:cubicBezTo>
                <a:cubicBezTo>
                  <a:pt x="83112" y="108387"/>
                  <a:pt x="81712" y="107419"/>
                  <a:pt x="80778" y="110322"/>
                </a:cubicBezTo>
                <a:cubicBezTo>
                  <a:pt x="80311" y="111290"/>
                  <a:pt x="79377" y="108387"/>
                  <a:pt x="78910" y="110322"/>
                </a:cubicBezTo>
                <a:cubicBezTo>
                  <a:pt x="77509" y="111290"/>
                  <a:pt x="77509" y="110322"/>
                  <a:pt x="74708" y="110322"/>
                </a:cubicBezTo>
                <a:cubicBezTo>
                  <a:pt x="72373" y="110322"/>
                  <a:pt x="73774" y="108387"/>
                  <a:pt x="71906" y="111290"/>
                </a:cubicBezTo>
                <a:cubicBezTo>
                  <a:pt x="70505" y="114193"/>
                  <a:pt x="70505" y="111290"/>
                  <a:pt x="64435" y="119032"/>
                </a:cubicBezTo>
                <a:cubicBezTo>
                  <a:pt x="63968" y="120000"/>
                  <a:pt x="63968" y="117096"/>
                  <a:pt x="62568" y="119032"/>
                </a:cubicBezTo>
                <a:cubicBezTo>
                  <a:pt x="61634" y="119032"/>
                  <a:pt x="63035" y="114193"/>
                  <a:pt x="61167" y="116129"/>
                </a:cubicBezTo>
                <a:cubicBezTo>
                  <a:pt x="58832" y="119032"/>
                  <a:pt x="56031" y="113225"/>
                  <a:pt x="54630" y="113225"/>
                </a:cubicBezTo>
                <a:cubicBezTo>
                  <a:pt x="53229" y="113225"/>
                  <a:pt x="51828" y="107419"/>
                  <a:pt x="46692" y="107419"/>
                </a:cubicBezTo>
                <a:cubicBezTo>
                  <a:pt x="42023" y="108387"/>
                  <a:pt x="41089" y="108387"/>
                  <a:pt x="35019" y="107419"/>
                </a:cubicBezTo>
                <a:cubicBezTo>
                  <a:pt x="33618" y="105483"/>
                  <a:pt x="32217" y="108387"/>
                  <a:pt x="32217" y="105483"/>
                </a:cubicBezTo>
                <a:cubicBezTo>
                  <a:pt x="31284" y="100645"/>
                  <a:pt x="30350" y="103548"/>
                  <a:pt x="29883" y="96774"/>
                </a:cubicBezTo>
                <a:cubicBezTo>
                  <a:pt x="28949" y="90000"/>
                  <a:pt x="29883" y="96774"/>
                  <a:pt x="25680" y="89032"/>
                </a:cubicBezTo>
                <a:cubicBezTo>
                  <a:pt x="21945" y="81290"/>
                  <a:pt x="20077" y="81290"/>
                  <a:pt x="17743" y="81290"/>
                </a:cubicBezTo>
                <a:cubicBezTo>
                  <a:pt x="15875" y="81290"/>
                  <a:pt x="14474" y="80322"/>
                  <a:pt x="12607" y="80322"/>
                </a:cubicBezTo>
                <a:cubicBezTo>
                  <a:pt x="10739" y="80322"/>
                  <a:pt x="10739" y="75483"/>
                  <a:pt x="11206" y="73548"/>
                </a:cubicBezTo>
                <a:cubicBezTo>
                  <a:pt x="12607" y="69677"/>
                  <a:pt x="11206" y="70645"/>
                  <a:pt x="12140" y="64838"/>
                </a:cubicBezTo>
                <a:cubicBezTo>
                  <a:pt x="12607" y="59032"/>
                  <a:pt x="9338" y="53225"/>
                  <a:pt x="8404" y="50322"/>
                </a:cubicBezTo>
                <a:cubicBezTo>
                  <a:pt x="8404" y="48387"/>
                  <a:pt x="7937" y="51290"/>
                  <a:pt x="7003" y="48387"/>
                </a:cubicBezTo>
                <a:cubicBezTo>
                  <a:pt x="6536" y="45483"/>
                  <a:pt x="5603" y="50322"/>
                  <a:pt x="4202" y="46451"/>
                </a:cubicBezTo>
                <a:cubicBezTo>
                  <a:pt x="2334" y="45483"/>
                  <a:pt x="0" y="39677"/>
                  <a:pt x="933" y="34838"/>
                </a:cubicBezTo>
                <a:cubicBezTo>
                  <a:pt x="2801" y="29032"/>
                  <a:pt x="2334" y="33870"/>
                  <a:pt x="5603" y="30000"/>
                </a:cubicBezTo>
                <a:cubicBezTo>
                  <a:pt x="8404" y="29032"/>
                  <a:pt x="5603" y="27096"/>
                  <a:pt x="9805" y="23225"/>
                </a:cubicBezTo>
                <a:cubicBezTo>
                  <a:pt x="14474" y="18387"/>
                  <a:pt x="17276" y="15483"/>
                  <a:pt x="19143" y="18387"/>
                </a:cubicBezTo>
                <a:cubicBezTo>
                  <a:pt x="21478" y="21290"/>
                  <a:pt x="24280" y="15483"/>
                  <a:pt x="24747" y="21290"/>
                </a:cubicBezTo>
                <a:cubicBezTo>
                  <a:pt x="25680" y="26129"/>
                  <a:pt x="37821" y="30000"/>
                  <a:pt x="39221" y="23225"/>
                </a:cubicBezTo>
                <a:cubicBezTo>
                  <a:pt x="39688" y="16451"/>
                  <a:pt x="35486" y="16451"/>
                  <a:pt x="38287" y="9677"/>
                </a:cubicBezTo>
                <a:cubicBezTo>
                  <a:pt x="41089" y="0"/>
                  <a:pt x="39688" y="0"/>
                  <a:pt x="46225" y="4838"/>
                </a:cubicBezTo>
                <a:cubicBezTo>
                  <a:pt x="51828" y="10645"/>
                  <a:pt x="54163" y="4838"/>
                  <a:pt x="54163" y="12580"/>
                </a:cubicBezTo>
                <a:cubicBezTo>
                  <a:pt x="54163" y="20322"/>
                  <a:pt x="57431" y="26129"/>
                  <a:pt x="61167" y="23225"/>
                </a:cubicBezTo>
                <a:cubicBezTo>
                  <a:pt x="65369" y="20322"/>
                  <a:pt x="65836" y="20322"/>
                  <a:pt x="70972" y="24193"/>
                </a:cubicBezTo>
                <a:cubicBezTo>
                  <a:pt x="76108" y="27096"/>
                  <a:pt x="73307" y="30000"/>
                  <a:pt x="79377" y="33870"/>
                </a:cubicBezTo>
                <a:cubicBezTo>
                  <a:pt x="88715" y="37741"/>
                  <a:pt x="84980" y="30000"/>
                  <a:pt x="91050" y="31935"/>
                </a:cubicBezTo>
                <a:cubicBezTo>
                  <a:pt x="96653" y="31935"/>
                  <a:pt x="95252" y="16451"/>
                  <a:pt x="99922" y="23225"/>
                </a:cubicBezTo>
                <a:cubicBezTo>
                  <a:pt x="104124" y="29032"/>
                  <a:pt x="104124" y="23225"/>
                  <a:pt x="107392" y="27096"/>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701" name="Shape 1819"/>
          <p:cNvSpPr/>
          <p:nvPr/>
        </p:nvSpPr>
        <p:spPr>
          <a:xfrm>
            <a:off x="9420411" y="4143391"/>
            <a:ext cx="165450" cy="187454"/>
          </a:xfrm>
          <a:custGeom>
            <a:avLst/>
            <a:gdLst/>
            <a:ahLst/>
            <a:cxnLst/>
            <a:rect l="0" t="0" r="0" b="0"/>
            <a:pathLst>
              <a:path w="120000" h="120000" extrusionOk="0">
                <a:moveTo>
                  <a:pt x="0" y="66885"/>
                </a:moveTo>
                <a:cubicBezTo>
                  <a:pt x="0" y="70819"/>
                  <a:pt x="2400" y="76721"/>
                  <a:pt x="7200" y="72786"/>
                </a:cubicBezTo>
                <a:cubicBezTo>
                  <a:pt x="9600" y="70819"/>
                  <a:pt x="21600" y="76721"/>
                  <a:pt x="16800" y="82622"/>
                </a:cubicBezTo>
                <a:cubicBezTo>
                  <a:pt x="16800" y="88524"/>
                  <a:pt x="9600" y="92459"/>
                  <a:pt x="14400" y="94426"/>
                </a:cubicBezTo>
                <a:cubicBezTo>
                  <a:pt x="16800" y="98360"/>
                  <a:pt x="9600" y="94426"/>
                  <a:pt x="9600" y="100327"/>
                </a:cubicBezTo>
                <a:cubicBezTo>
                  <a:pt x="7200" y="106229"/>
                  <a:pt x="0" y="106229"/>
                  <a:pt x="9600" y="106229"/>
                </a:cubicBezTo>
                <a:cubicBezTo>
                  <a:pt x="16800" y="110163"/>
                  <a:pt x="2400" y="110163"/>
                  <a:pt x="14400" y="112131"/>
                </a:cubicBezTo>
                <a:cubicBezTo>
                  <a:pt x="21600" y="112131"/>
                  <a:pt x="14400" y="120000"/>
                  <a:pt x="21600" y="116065"/>
                </a:cubicBezTo>
                <a:cubicBezTo>
                  <a:pt x="26400" y="112131"/>
                  <a:pt x="21600" y="106229"/>
                  <a:pt x="28800" y="112131"/>
                </a:cubicBezTo>
                <a:cubicBezTo>
                  <a:pt x="33600" y="116065"/>
                  <a:pt x="33600" y="116065"/>
                  <a:pt x="33600" y="112131"/>
                </a:cubicBezTo>
                <a:cubicBezTo>
                  <a:pt x="36000" y="110163"/>
                  <a:pt x="40800" y="112131"/>
                  <a:pt x="43200" y="112131"/>
                </a:cubicBezTo>
                <a:cubicBezTo>
                  <a:pt x="43200" y="110163"/>
                  <a:pt x="43200" y="106229"/>
                  <a:pt x="50400" y="104262"/>
                </a:cubicBezTo>
                <a:cubicBezTo>
                  <a:pt x="62400" y="100327"/>
                  <a:pt x="64800" y="104262"/>
                  <a:pt x="72000" y="100327"/>
                </a:cubicBezTo>
                <a:cubicBezTo>
                  <a:pt x="76800" y="100327"/>
                  <a:pt x="69600" y="98360"/>
                  <a:pt x="76800" y="94426"/>
                </a:cubicBezTo>
                <a:cubicBezTo>
                  <a:pt x="72000" y="92459"/>
                  <a:pt x="72000" y="94426"/>
                  <a:pt x="64800" y="88524"/>
                </a:cubicBezTo>
                <a:cubicBezTo>
                  <a:pt x="62400" y="82622"/>
                  <a:pt x="57600" y="84590"/>
                  <a:pt x="57600" y="82622"/>
                </a:cubicBezTo>
                <a:cubicBezTo>
                  <a:pt x="55200" y="78688"/>
                  <a:pt x="62400" y="84590"/>
                  <a:pt x="57600" y="76721"/>
                </a:cubicBezTo>
                <a:cubicBezTo>
                  <a:pt x="57600" y="66885"/>
                  <a:pt x="62400" y="72786"/>
                  <a:pt x="64800" y="66885"/>
                </a:cubicBezTo>
                <a:cubicBezTo>
                  <a:pt x="69600" y="60983"/>
                  <a:pt x="69600" y="70819"/>
                  <a:pt x="79200" y="60983"/>
                </a:cubicBezTo>
                <a:cubicBezTo>
                  <a:pt x="91200" y="55081"/>
                  <a:pt x="96000" y="49180"/>
                  <a:pt x="98400" y="49180"/>
                </a:cubicBezTo>
                <a:cubicBezTo>
                  <a:pt x="103200" y="49180"/>
                  <a:pt x="103200" y="39344"/>
                  <a:pt x="103200" y="37377"/>
                </a:cubicBezTo>
                <a:cubicBezTo>
                  <a:pt x="103200" y="33442"/>
                  <a:pt x="98400" y="33442"/>
                  <a:pt x="103200" y="27540"/>
                </a:cubicBezTo>
                <a:cubicBezTo>
                  <a:pt x="110400" y="21639"/>
                  <a:pt x="110400" y="17704"/>
                  <a:pt x="112800" y="15737"/>
                </a:cubicBezTo>
                <a:cubicBezTo>
                  <a:pt x="117600" y="15737"/>
                  <a:pt x="117600" y="17704"/>
                  <a:pt x="120000" y="15737"/>
                </a:cubicBezTo>
                <a:cubicBezTo>
                  <a:pt x="117600" y="11803"/>
                  <a:pt x="117600" y="11803"/>
                  <a:pt x="117600" y="11803"/>
                </a:cubicBezTo>
                <a:cubicBezTo>
                  <a:pt x="117600" y="5901"/>
                  <a:pt x="117600" y="11803"/>
                  <a:pt x="112800" y="9836"/>
                </a:cubicBezTo>
                <a:cubicBezTo>
                  <a:pt x="110400" y="5901"/>
                  <a:pt x="112800" y="3934"/>
                  <a:pt x="105600" y="0"/>
                </a:cubicBezTo>
                <a:cubicBezTo>
                  <a:pt x="98400" y="0"/>
                  <a:pt x="105600" y="15737"/>
                  <a:pt x="98400" y="11803"/>
                </a:cubicBezTo>
                <a:cubicBezTo>
                  <a:pt x="91200" y="11803"/>
                  <a:pt x="96000" y="17704"/>
                  <a:pt x="86400" y="21639"/>
                </a:cubicBezTo>
                <a:cubicBezTo>
                  <a:pt x="84000" y="23606"/>
                  <a:pt x="86400" y="21639"/>
                  <a:pt x="79200" y="21639"/>
                </a:cubicBezTo>
                <a:cubicBezTo>
                  <a:pt x="76800" y="23606"/>
                  <a:pt x="69600" y="17704"/>
                  <a:pt x="69600" y="23606"/>
                </a:cubicBezTo>
                <a:cubicBezTo>
                  <a:pt x="69600" y="29508"/>
                  <a:pt x="76800" y="29508"/>
                  <a:pt x="72000" y="33442"/>
                </a:cubicBezTo>
                <a:cubicBezTo>
                  <a:pt x="69600" y="37377"/>
                  <a:pt x="69600" y="33442"/>
                  <a:pt x="64800" y="33442"/>
                </a:cubicBezTo>
                <a:cubicBezTo>
                  <a:pt x="62400" y="37377"/>
                  <a:pt x="57600" y="33442"/>
                  <a:pt x="55200" y="33442"/>
                </a:cubicBezTo>
                <a:cubicBezTo>
                  <a:pt x="50400" y="33442"/>
                  <a:pt x="50400" y="23606"/>
                  <a:pt x="48000" y="27540"/>
                </a:cubicBezTo>
                <a:cubicBezTo>
                  <a:pt x="43200" y="29508"/>
                  <a:pt x="48000" y="27540"/>
                  <a:pt x="43200" y="29508"/>
                </a:cubicBezTo>
                <a:cubicBezTo>
                  <a:pt x="40800" y="33442"/>
                  <a:pt x="43200" y="33442"/>
                  <a:pt x="40800" y="37377"/>
                </a:cubicBezTo>
                <a:cubicBezTo>
                  <a:pt x="36000" y="39344"/>
                  <a:pt x="33600" y="45245"/>
                  <a:pt x="28800" y="45245"/>
                </a:cubicBezTo>
                <a:cubicBezTo>
                  <a:pt x="21600" y="45245"/>
                  <a:pt x="26400" y="49180"/>
                  <a:pt x="21600" y="49180"/>
                </a:cubicBezTo>
                <a:cubicBezTo>
                  <a:pt x="16800" y="49180"/>
                  <a:pt x="21600" y="51147"/>
                  <a:pt x="16800" y="51147"/>
                </a:cubicBezTo>
                <a:cubicBezTo>
                  <a:pt x="9600" y="55081"/>
                  <a:pt x="14400" y="55081"/>
                  <a:pt x="9600" y="55081"/>
                </a:cubicBezTo>
                <a:cubicBezTo>
                  <a:pt x="7200" y="55081"/>
                  <a:pt x="2400" y="60983"/>
                  <a:pt x="0" y="64918"/>
                </a:cubicBezTo>
                <a:cubicBezTo>
                  <a:pt x="0" y="66885"/>
                  <a:pt x="0" y="66885"/>
                  <a:pt x="0" y="66885"/>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702" name="Shape 1820"/>
          <p:cNvSpPr/>
          <p:nvPr/>
        </p:nvSpPr>
        <p:spPr>
          <a:xfrm>
            <a:off x="9463051" y="4291130"/>
            <a:ext cx="93812" cy="147739"/>
          </a:xfrm>
          <a:custGeom>
            <a:avLst/>
            <a:gdLst/>
            <a:ahLst/>
            <a:cxnLst/>
            <a:rect l="0" t="0" r="0" b="0"/>
            <a:pathLst>
              <a:path w="120000" h="120000" extrusionOk="0">
                <a:moveTo>
                  <a:pt x="21428" y="22500"/>
                </a:moveTo>
                <a:cubicBezTo>
                  <a:pt x="21428" y="25000"/>
                  <a:pt x="21428" y="22500"/>
                  <a:pt x="12857" y="25000"/>
                </a:cubicBezTo>
                <a:cubicBezTo>
                  <a:pt x="12857" y="30000"/>
                  <a:pt x="25714" y="35000"/>
                  <a:pt x="21428" y="37500"/>
                </a:cubicBezTo>
                <a:cubicBezTo>
                  <a:pt x="12857" y="42500"/>
                  <a:pt x="34285" y="42500"/>
                  <a:pt x="25714" y="50000"/>
                </a:cubicBezTo>
                <a:cubicBezTo>
                  <a:pt x="25714" y="52500"/>
                  <a:pt x="25714" y="45000"/>
                  <a:pt x="21428" y="45000"/>
                </a:cubicBezTo>
                <a:cubicBezTo>
                  <a:pt x="8571" y="45000"/>
                  <a:pt x="8571" y="45000"/>
                  <a:pt x="8571" y="45000"/>
                </a:cubicBezTo>
                <a:cubicBezTo>
                  <a:pt x="12857" y="50000"/>
                  <a:pt x="8571" y="50000"/>
                  <a:pt x="8571" y="50000"/>
                </a:cubicBezTo>
                <a:cubicBezTo>
                  <a:pt x="0" y="45000"/>
                  <a:pt x="0" y="52500"/>
                  <a:pt x="0" y="52500"/>
                </a:cubicBezTo>
                <a:cubicBezTo>
                  <a:pt x="8571" y="57500"/>
                  <a:pt x="12857" y="50000"/>
                  <a:pt x="12857" y="57500"/>
                </a:cubicBezTo>
                <a:cubicBezTo>
                  <a:pt x="12857" y="62500"/>
                  <a:pt x="12857" y="70000"/>
                  <a:pt x="12857" y="70000"/>
                </a:cubicBezTo>
                <a:cubicBezTo>
                  <a:pt x="21428" y="72500"/>
                  <a:pt x="12857" y="72500"/>
                  <a:pt x="21428" y="77500"/>
                </a:cubicBezTo>
                <a:cubicBezTo>
                  <a:pt x="25714" y="80000"/>
                  <a:pt x="12857" y="77500"/>
                  <a:pt x="12857" y="85000"/>
                </a:cubicBezTo>
                <a:cubicBezTo>
                  <a:pt x="8571" y="92500"/>
                  <a:pt x="0" y="97500"/>
                  <a:pt x="8571" y="97500"/>
                </a:cubicBezTo>
                <a:cubicBezTo>
                  <a:pt x="8571" y="100000"/>
                  <a:pt x="8571" y="100000"/>
                  <a:pt x="8571" y="105000"/>
                </a:cubicBezTo>
                <a:cubicBezTo>
                  <a:pt x="12857" y="107500"/>
                  <a:pt x="8571" y="105000"/>
                  <a:pt x="8571" y="107500"/>
                </a:cubicBezTo>
                <a:cubicBezTo>
                  <a:pt x="8571" y="112500"/>
                  <a:pt x="12857" y="107500"/>
                  <a:pt x="12857" y="112500"/>
                </a:cubicBezTo>
                <a:cubicBezTo>
                  <a:pt x="12857" y="120000"/>
                  <a:pt x="12857" y="120000"/>
                  <a:pt x="21428" y="112500"/>
                </a:cubicBezTo>
                <a:cubicBezTo>
                  <a:pt x="25714" y="105000"/>
                  <a:pt x="21428" y="117500"/>
                  <a:pt x="25714" y="117500"/>
                </a:cubicBezTo>
                <a:cubicBezTo>
                  <a:pt x="25714" y="117500"/>
                  <a:pt x="25714" y="112500"/>
                  <a:pt x="34285" y="107500"/>
                </a:cubicBezTo>
                <a:cubicBezTo>
                  <a:pt x="38571" y="105000"/>
                  <a:pt x="47142" y="105000"/>
                  <a:pt x="38571" y="107500"/>
                </a:cubicBezTo>
                <a:cubicBezTo>
                  <a:pt x="34285" y="112500"/>
                  <a:pt x="38571" y="117500"/>
                  <a:pt x="47142" y="112500"/>
                </a:cubicBezTo>
                <a:cubicBezTo>
                  <a:pt x="47142" y="107500"/>
                  <a:pt x="47142" y="107500"/>
                  <a:pt x="47142" y="107500"/>
                </a:cubicBezTo>
                <a:cubicBezTo>
                  <a:pt x="47142" y="105000"/>
                  <a:pt x="47142" y="100000"/>
                  <a:pt x="47142" y="105000"/>
                </a:cubicBezTo>
                <a:cubicBezTo>
                  <a:pt x="55714" y="107500"/>
                  <a:pt x="55714" y="107500"/>
                  <a:pt x="55714" y="107500"/>
                </a:cubicBezTo>
                <a:cubicBezTo>
                  <a:pt x="59999" y="105000"/>
                  <a:pt x="47142" y="105000"/>
                  <a:pt x="55714" y="100000"/>
                </a:cubicBezTo>
                <a:cubicBezTo>
                  <a:pt x="68571" y="100000"/>
                  <a:pt x="72857" y="105000"/>
                  <a:pt x="81428" y="105000"/>
                </a:cubicBezTo>
                <a:cubicBezTo>
                  <a:pt x="85714" y="100000"/>
                  <a:pt x="81428" y="100000"/>
                  <a:pt x="85714" y="97500"/>
                </a:cubicBezTo>
                <a:cubicBezTo>
                  <a:pt x="94285" y="97500"/>
                  <a:pt x="98571" y="100000"/>
                  <a:pt x="107142" y="97500"/>
                </a:cubicBezTo>
                <a:cubicBezTo>
                  <a:pt x="107142" y="92500"/>
                  <a:pt x="119999" y="80000"/>
                  <a:pt x="119999" y="72500"/>
                </a:cubicBezTo>
                <a:cubicBezTo>
                  <a:pt x="119999" y="65000"/>
                  <a:pt x="111428" y="77500"/>
                  <a:pt x="111428" y="70000"/>
                </a:cubicBezTo>
                <a:cubicBezTo>
                  <a:pt x="111428" y="57500"/>
                  <a:pt x="119999" y="57500"/>
                  <a:pt x="111428" y="50000"/>
                </a:cubicBezTo>
                <a:cubicBezTo>
                  <a:pt x="111428" y="37500"/>
                  <a:pt x="98571" y="25000"/>
                  <a:pt x="94285" y="17500"/>
                </a:cubicBezTo>
                <a:cubicBezTo>
                  <a:pt x="85714" y="10000"/>
                  <a:pt x="81428" y="2500"/>
                  <a:pt x="81428" y="0"/>
                </a:cubicBezTo>
                <a:cubicBezTo>
                  <a:pt x="68571" y="2500"/>
                  <a:pt x="81428" y="7500"/>
                  <a:pt x="72857" y="7500"/>
                </a:cubicBezTo>
                <a:cubicBezTo>
                  <a:pt x="59999" y="10000"/>
                  <a:pt x="55714" y="7500"/>
                  <a:pt x="34285" y="10000"/>
                </a:cubicBezTo>
                <a:cubicBezTo>
                  <a:pt x="21428" y="15000"/>
                  <a:pt x="21428" y="17500"/>
                  <a:pt x="21428" y="225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703" name="Shape 1821"/>
          <p:cNvSpPr/>
          <p:nvPr/>
        </p:nvSpPr>
        <p:spPr>
          <a:xfrm>
            <a:off x="9459641" y="4461111"/>
            <a:ext cx="30700" cy="17474"/>
          </a:xfrm>
          <a:custGeom>
            <a:avLst/>
            <a:gdLst/>
            <a:ahLst/>
            <a:cxnLst/>
            <a:rect l="0" t="0" r="0" b="0"/>
            <a:pathLst>
              <a:path w="120000" h="120000" extrusionOk="0">
                <a:moveTo>
                  <a:pt x="13333" y="80000"/>
                </a:moveTo>
                <a:cubicBezTo>
                  <a:pt x="0" y="20000"/>
                  <a:pt x="106666" y="0"/>
                  <a:pt x="106666" y="20000"/>
                </a:cubicBezTo>
                <a:cubicBezTo>
                  <a:pt x="120000" y="60000"/>
                  <a:pt x="40000" y="120000"/>
                  <a:pt x="13333" y="8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704" name="Shape 1822"/>
          <p:cNvSpPr/>
          <p:nvPr/>
        </p:nvSpPr>
        <p:spPr>
          <a:xfrm>
            <a:off x="9546631" y="4422984"/>
            <a:ext cx="10232" cy="22237"/>
          </a:xfrm>
          <a:custGeom>
            <a:avLst/>
            <a:gdLst/>
            <a:ahLst/>
            <a:cxnLst/>
            <a:rect l="0" t="0" r="0" b="0"/>
            <a:pathLst>
              <a:path w="120000" h="120000" extrusionOk="0">
                <a:moveTo>
                  <a:pt x="0" y="119999"/>
                </a:moveTo>
                <a:cubicBezTo>
                  <a:pt x="0" y="119999"/>
                  <a:pt x="0" y="85714"/>
                  <a:pt x="0" y="51428"/>
                </a:cubicBezTo>
                <a:cubicBezTo>
                  <a:pt x="40000" y="34285"/>
                  <a:pt x="0" y="0"/>
                  <a:pt x="40000" y="0"/>
                </a:cubicBezTo>
                <a:cubicBezTo>
                  <a:pt x="120000" y="0"/>
                  <a:pt x="120000" y="34285"/>
                  <a:pt x="40000" y="51428"/>
                </a:cubicBezTo>
                <a:cubicBezTo>
                  <a:pt x="0" y="85714"/>
                  <a:pt x="40000" y="119999"/>
                  <a:pt x="0" y="119999"/>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705" name="Shape 1823"/>
          <p:cNvSpPr/>
          <p:nvPr/>
        </p:nvSpPr>
        <p:spPr>
          <a:xfrm>
            <a:off x="9459640" y="4429338"/>
            <a:ext cx="13646" cy="6353"/>
          </a:xfrm>
          <a:custGeom>
            <a:avLst/>
            <a:gdLst/>
            <a:ahLst/>
            <a:cxnLst/>
            <a:rect l="0" t="0" r="0" b="0"/>
            <a:pathLst>
              <a:path w="120000" h="120000" extrusionOk="0">
                <a:moveTo>
                  <a:pt x="30000" y="120000"/>
                </a:moveTo>
                <a:cubicBezTo>
                  <a:pt x="0" y="120000"/>
                  <a:pt x="90000" y="0"/>
                  <a:pt x="90000" y="0"/>
                </a:cubicBezTo>
                <a:cubicBezTo>
                  <a:pt x="120000" y="120000"/>
                  <a:pt x="30000" y="120000"/>
                  <a:pt x="3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706" name="Shape 1824"/>
          <p:cNvSpPr/>
          <p:nvPr/>
        </p:nvSpPr>
        <p:spPr>
          <a:xfrm>
            <a:off x="9459640" y="4415042"/>
            <a:ext cx="3410" cy="7943"/>
          </a:xfrm>
          <a:custGeom>
            <a:avLst/>
            <a:gdLst/>
            <a:ahLst/>
            <a:cxnLst/>
            <a:rect l="0" t="0" r="0" b="0"/>
            <a:pathLst>
              <a:path w="120000" h="120000" extrusionOk="0">
                <a:moveTo>
                  <a:pt x="120000" y="120000"/>
                </a:moveTo>
                <a:cubicBezTo>
                  <a:pt x="120000" y="80000"/>
                  <a:pt x="0" y="80000"/>
                  <a:pt x="120000" y="0"/>
                </a:cubicBezTo>
                <a:cubicBezTo>
                  <a:pt x="120000" y="80000"/>
                  <a:pt x="120000" y="80000"/>
                  <a:pt x="120000" y="80000"/>
                </a:cubicBezTo>
                <a:cubicBezTo>
                  <a:pt x="120000" y="120000"/>
                  <a:pt x="120000" y="120000"/>
                  <a:pt x="12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707" name="Shape 1825"/>
          <p:cNvSpPr/>
          <p:nvPr/>
        </p:nvSpPr>
        <p:spPr>
          <a:xfrm>
            <a:off x="9469877" y="4362618"/>
            <a:ext cx="3410" cy="6353"/>
          </a:xfrm>
          <a:custGeom>
            <a:avLst/>
            <a:gdLst/>
            <a:ahLst/>
            <a:cxnLst/>
            <a:rect l="0" t="0" r="0" b="0"/>
            <a:pathLst>
              <a:path w="120000" h="120000" extrusionOk="0">
                <a:moveTo>
                  <a:pt x="0" y="120000"/>
                </a:moveTo>
                <a:cubicBezTo>
                  <a:pt x="0" y="0"/>
                  <a:pt x="0" y="0"/>
                  <a:pt x="0" y="0"/>
                </a:cubicBezTo>
                <a:cubicBezTo>
                  <a:pt x="120000" y="0"/>
                  <a:pt x="120000" y="120000"/>
                  <a:pt x="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708" name="Shape 1826"/>
          <p:cNvSpPr/>
          <p:nvPr/>
        </p:nvSpPr>
        <p:spPr>
          <a:xfrm>
            <a:off x="9526164" y="4415042"/>
            <a:ext cx="10232" cy="7943"/>
          </a:xfrm>
          <a:custGeom>
            <a:avLst/>
            <a:gdLst/>
            <a:ahLst/>
            <a:cxnLst/>
            <a:rect l="0" t="0" r="0" b="0"/>
            <a:pathLst>
              <a:path w="120000" h="120000" extrusionOk="0">
                <a:moveTo>
                  <a:pt x="40000" y="120000"/>
                </a:moveTo>
                <a:cubicBezTo>
                  <a:pt x="0" y="120000"/>
                  <a:pt x="0" y="0"/>
                  <a:pt x="40000" y="0"/>
                </a:cubicBezTo>
                <a:cubicBezTo>
                  <a:pt x="120000" y="0"/>
                  <a:pt x="120000" y="80000"/>
                  <a:pt x="4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709" name="Shape 1827"/>
          <p:cNvSpPr/>
          <p:nvPr/>
        </p:nvSpPr>
        <p:spPr>
          <a:xfrm>
            <a:off x="9509109" y="4415042"/>
            <a:ext cx="6821" cy="7943"/>
          </a:xfrm>
          <a:custGeom>
            <a:avLst/>
            <a:gdLst/>
            <a:ahLst/>
            <a:cxnLst/>
            <a:rect l="0" t="0" r="0" b="0"/>
            <a:pathLst>
              <a:path w="120000" h="120000" extrusionOk="0">
                <a:moveTo>
                  <a:pt x="120000" y="120000"/>
                </a:moveTo>
                <a:cubicBezTo>
                  <a:pt x="0" y="80000"/>
                  <a:pt x="0" y="80000"/>
                  <a:pt x="0" y="0"/>
                </a:cubicBezTo>
                <a:cubicBezTo>
                  <a:pt x="0" y="0"/>
                  <a:pt x="120000" y="0"/>
                  <a:pt x="120000" y="80000"/>
                </a:cubicBezTo>
                <a:cubicBezTo>
                  <a:pt x="120000" y="120000"/>
                  <a:pt x="120000" y="120000"/>
                  <a:pt x="12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710" name="Shape 1828"/>
          <p:cNvSpPr/>
          <p:nvPr/>
        </p:nvSpPr>
        <p:spPr>
          <a:xfrm>
            <a:off x="9473288" y="4438870"/>
            <a:ext cx="6821" cy="6353"/>
          </a:xfrm>
          <a:custGeom>
            <a:avLst/>
            <a:gdLst/>
            <a:ahLst/>
            <a:cxnLst/>
            <a:rect l="0" t="0" r="0" b="0"/>
            <a:pathLst>
              <a:path w="120000" h="120000" extrusionOk="0">
                <a:moveTo>
                  <a:pt x="120000" y="120000"/>
                </a:moveTo>
                <a:cubicBezTo>
                  <a:pt x="0" y="120000"/>
                  <a:pt x="0" y="120000"/>
                  <a:pt x="0" y="0"/>
                </a:cubicBezTo>
                <a:cubicBezTo>
                  <a:pt x="120000" y="0"/>
                  <a:pt x="120000" y="120000"/>
                  <a:pt x="12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711" name="Shape 1829"/>
          <p:cNvSpPr/>
          <p:nvPr/>
        </p:nvSpPr>
        <p:spPr>
          <a:xfrm>
            <a:off x="9469877" y="4319725"/>
            <a:ext cx="3410" cy="11119"/>
          </a:xfrm>
          <a:custGeom>
            <a:avLst/>
            <a:gdLst/>
            <a:ahLst/>
            <a:cxnLst/>
            <a:rect l="0" t="0" r="0" b="0"/>
            <a:pathLst>
              <a:path w="120000" h="120000" extrusionOk="0">
                <a:moveTo>
                  <a:pt x="120000" y="120000"/>
                </a:moveTo>
                <a:cubicBezTo>
                  <a:pt x="0" y="120000"/>
                  <a:pt x="0" y="0"/>
                  <a:pt x="0" y="0"/>
                </a:cubicBezTo>
                <a:cubicBezTo>
                  <a:pt x="120000" y="0"/>
                  <a:pt x="120000" y="120000"/>
                  <a:pt x="12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713" name="Shape 1992"/>
          <p:cNvSpPr/>
          <p:nvPr/>
        </p:nvSpPr>
        <p:spPr>
          <a:xfrm>
            <a:off x="8783597" y="3736293"/>
            <a:ext cx="579929" cy="711693"/>
          </a:xfrm>
          <a:custGeom>
            <a:avLst/>
            <a:gdLst/>
            <a:ahLst/>
            <a:cxnLst/>
            <a:rect l="0" t="0" r="0" b="0"/>
            <a:pathLst>
              <a:path w="120000" h="120000" extrusionOk="0">
                <a:moveTo>
                  <a:pt x="36342" y="87272"/>
                </a:moveTo>
                <a:cubicBezTo>
                  <a:pt x="35657" y="87272"/>
                  <a:pt x="36342" y="85714"/>
                  <a:pt x="36342" y="86753"/>
                </a:cubicBezTo>
                <a:cubicBezTo>
                  <a:pt x="37714" y="86753"/>
                  <a:pt x="37714" y="87272"/>
                  <a:pt x="36342" y="87272"/>
                </a:cubicBezTo>
                <a:close/>
                <a:moveTo>
                  <a:pt x="26742" y="73766"/>
                </a:moveTo>
                <a:cubicBezTo>
                  <a:pt x="28114" y="73766"/>
                  <a:pt x="28114" y="74285"/>
                  <a:pt x="26742" y="74285"/>
                </a:cubicBezTo>
                <a:cubicBezTo>
                  <a:pt x="26057" y="74285"/>
                  <a:pt x="26742" y="73766"/>
                  <a:pt x="26742" y="73766"/>
                </a:cubicBezTo>
                <a:close/>
                <a:moveTo>
                  <a:pt x="33600" y="75844"/>
                </a:moveTo>
                <a:cubicBezTo>
                  <a:pt x="33600" y="75324"/>
                  <a:pt x="35657" y="74285"/>
                  <a:pt x="35657" y="75324"/>
                </a:cubicBezTo>
                <a:cubicBezTo>
                  <a:pt x="35657" y="75844"/>
                  <a:pt x="34285" y="76883"/>
                  <a:pt x="33600" y="75844"/>
                </a:cubicBezTo>
                <a:close/>
                <a:moveTo>
                  <a:pt x="63771" y="69610"/>
                </a:moveTo>
                <a:cubicBezTo>
                  <a:pt x="65828" y="71168"/>
                  <a:pt x="66514" y="68051"/>
                  <a:pt x="67885" y="66493"/>
                </a:cubicBezTo>
                <a:cubicBezTo>
                  <a:pt x="69942" y="64935"/>
                  <a:pt x="73371" y="65454"/>
                  <a:pt x="69942" y="63896"/>
                </a:cubicBezTo>
                <a:cubicBezTo>
                  <a:pt x="67885" y="63376"/>
                  <a:pt x="70628" y="59740"/>
                  <a:pt x="70628" y="61298"/>
                </a:cubicBezTo>
                <a:cubicBezTo>
                  <a:pt x="70628" y="63896"/>
                  <a:pt x="74057" y="61298"/>
                  <a:pt x="72000" y="63376"/>
                </a:cubicBezTo>
                <a:cubicBezTo>
                  <a:pt x="70628" y="64935"/>
                  <a:pt x="74057" y="63376"/>
                  <a:pt x="76114" y="63376"/>
                </a:cubicBezTo>
                <a:cubicBezTo>
                  <a:pt x="78171" y="63896"/>
                  <a:pt x="77485" y="63896"/>
                  <a:pt x="79542" y="62337"/>
                </a:cubicBezTo>
                <a:cubicBezTo>
                  <a:pt x="80228" y="60779"/>
                  <a:pt x="81600" y="59740"/>
                  <a:pt x="81600" y="62337"/>
                </a:cubicBezTo>
                <a:cubicBezTo>
                  <a:pt x="80228" y="64935"/>
                  <a:pt x="82285" y="63896"/>
                  <a:pt x="83657" y="61298"/>
                </a:cubicBezTo>
                <a:cubicBezTo>
                  <a:pt x="83657" y="59740"/>
                  <a:pt x="83657" y="59220"/>
                  <a:pt x="85714" y="59740"/>
                </a:cubicBezTo>
                <a:cubicBezTo>
                  <a:pt x="86400" y="61298"/>
                  <a:pt x="85714" y="59740"/>
                  <a:pt x="86400" y="58181"/>
                </a:cubicBezTo>
                <a:cubicBezTo>
                  <a:pt x="87771" y="57662"/>
                  <a:pt x="88457" y="57662"/>
                  <a:pt x="87771" y="58181"/>
                </a:cubicBezTo>
                <a:cubicBezTo>
                  <a:pt x="87771" y="59740"/>
                  <a:pt x="86400" y="63376"/>
                  <a:pt x="87771" y="61298"/>
                </a:cubicBezTo>
                <a:cubicBezTo>
                  <a:pt x="88457" y="59740"/>
                  <a:pt x="89828" y="61298"/>
                  <a:pt x="90514" y="59220"/>
                </a:cubicBezTo>
                <a:cubicBezTo>
                  <a:pt x="90514" y="55584"/>
                  <a:pt x="95314" y="59740"/>
                  <a:pt x="91885" y="55584"/>
                </a:cubicBezTo>
                <a:cubicBezTo>
                  <a:pt x="88457" y="52467"/>
                  <a:pt x="95314" y="50389"/>
                  <a:pt x="92571" y="46233"/>
                </a:cubicBezTo>
                <a:cubicBezTo>
                  <a:pt x="92571" y="43636"/>
                  <a:pt x="93942" y="41038"/>
                  <a:pt x="96000" y="43116"/>
                </a:cubicBezTo>
                <a:cubicBezTo>
                  <a:pt x="98057" y="43636"/>
                  <a:pt x="95314" y="41038"/>
                  <a:pt x="97371" y="38961"/>
                </a:cubicBezTo>
                <a:cubicBezTo>
                  <a:pt x="99428" y="36363"/>
                  <a:pt x="100114" y="33246"/>
                  <a:pt x="97371" y="31688"/>
                </a:cubicBezTo>
                <a:cubicBezTo>
                  <a:pt x="95314" y="29090"/>
                  <a:pt x="95314" y="26493"/>
                  <a:pt x="96000" y="25974"/>
                </a:cubicBezTo>
                <a:cubicBezTo>
                  <a:pt x="96000" y="24415"/>
                  <a:pt x="95314" y="24935"/>
                  <a:pt x="93942" y="24415"/>
                </a:cubicBezTo>
                <a:cubicBezTo>
                  <a:pt x="92571" y="23376"/>
                  <a:pt x="91885" y="26493"/>
                  <a:pt x="93942" y="25974"/>
                </a:cubicBezTo>
                <a:cubicBezTo>
                  <a:pt x="96000" y="24935"/>
                  <a:pt x="95314" y="28051"/>
                  <a:pt x="93942" y="27532"/>
                </a:cubicBezTo>
                <a:cubicBezTo>
                  <a:pt x="92571" y="26493"/>
                  <a:pt x="91885" y="29090"/>
                  <a:pt x="91885" y="27532"/>
                </a:cubicBezTo>
                <a:cubicBezTo>
                  <a:pt x="91885" y="24935"/>
                  <a:pt x="89828" y="24935"/>
                  <a:pt x="89828" y="27532"/>
                </a:cubicBezTo>
                <a:cubicBezTo>
                  <a:pt x="89828" y="30129"/>
                  <a:pt x="86400" y="27532"/>
                  <a:pt x="87771" y="30129"/>
                </a:cubicBezTo>
                <a:cubicBezTo>
                  <a:pt x="88457" y="33246"/>
                  <a:pt x="86400" y="32207"/>
                  <a:pt x="86400" y="33246"/>
                </a:cubicBezTo>
                <a:cubicBezTo>
                  <a:pt x="86400" y="33766"/>
                  <a:pt x="89828" y="32207"/>
                  <a:pt x="86400" y="38961"/>
                </a:cubicBezTo>
                <a:cubicBezTo>
                  <a:pt x="85714" y="43636"/>
                  <a:pt x="83657" y="43636"/>
                  <a:pt x="81600" y="46753"/>
                </a:cubicBezTo>
                <a:cubicBezTo>
                  <a:pt x="78171" y="50389"/>
                  <a:pt x="76114" y="49350"/>
                  <a:pt x="73371" y="50909"/>
                </a:cubicBezTo>
                <a:cubicBezTo>
                  <a:pt x="70628" y="52467"/>
                  <a:pt x="73371" y="50389"/>
                  <a:pt x="72000" y="49350"/>
                </a:cubicBezTo>
                <a:cubicBezTo>
                  <a:pt x="70628" y="49350"/>
                  <a:pt x="75428" y="48831"/>
                  <a:pt x="74057" y="46753"/>
                </a:cubicBezTo>
                <a:cubicBezTo>
                  <a:pt x="73371" y="46233"/>
                  <a:pt x="69942" y="47792"/>
                  <a:pt x="69942" y="49350"/>
                </a:cubicBezTo>
                <a:cubicBezTo>
                  <a:pt x="70628" y="51948"/>
                  <a:pt x="65828" y="55064"/>
                  <a:pt x="65828" y="55584"/>
                </a:cubicBezTo>
                <a:cubicBezTo>
                  <a:pt x="66514" y="56623"/>
                  <a:pt x="66514" y="58181"/>
                  <a:pt x="63771" y="58181"/>
                </a:cubicBezTo>
                <a:cubicBezTo>
                  <a:pt x="60342" y="59220"/>
                  <a:pt x="63771" y="57662"/>
                  <a:pt x="61714" y="56623"/>
                </a:cubicBezTo>
                <a:cubicBezTo>
                  <a:pt x="60342" y="56623"/>
                  <a:pt x="52114" y="59740"/>
                  <a:pt x="51428" y="58181"/>
                </a:cubicBezTo>
                <a:cubicBezTo>
                  <a:pt x="50057" y="56623"/>
                  <a:pt x="48685" y="58181"/>
                  <a:pt x="45942" y="60779"/>
                </a:cubicBezTo>
                <a:cubicBezTo>
                  <a:pt x="42514" y="63896"/>
                  <a:pt x="42514" y="61298"/>
                  <a:pt x="41828" y="63896"/>
                </a:cubicBezTo>
                <a:cubicBezTo>
                  <a:pt x="40457" y="65454"/>
                  <a:pt x="38400" y="63896"/>
                  <a:pt x="38400" y="65454"/>
                </a:cubicBezTo>
                <a:cubicBezTo>
                  <a:pt x="38400" y="68051"/>
                  <a:pt x="41828" y="66493"/>
                  <a:pt x="43885" y="67012"/>
                </a:cubicBezTo>
                <a:cubicBezTo>
                  <a:pt x="46628" y="68051"/>
                  <a:pt x="44571" y="65454"/>
                  <a:pt x="45942" y="64935"/>
                </a:cubicBezTo>
                <a:cubicBezTo>
                  <a:pt x="48000" y="64935"/>
                  <a:pt x="46628" y="65454"/>
                  <a:pt x="48685" y="65454"/>
                </a:cubicBezTo>
                <a:cubicBezTo>
                  <a:pt x="51428" y="64935"/>
                  <a:pt x="53485" y="64935"/>
                  <a:pt x="55542" y="63896"/>
                </a:cubicBezTo>
                <a:cubicBezTo>
                  <a:pt x="58285" y="63376"/>
                  <a:pt x="55542" y="62337"/>
                  <a:pt x="59657" y="63376"/>
                </a:cubicBezTo>
                <a:cubicBezTo>
                  <a:pt x="62399" y="63896"/>
                  <a:pt x="62399" y="62337"/>
                  <a:pt x="63771" y="63376"/>
                </a:cubicBezTo>
                <a:cubicBezTo>
                  <a:pt x="63771" y="64935"/>
                  <a:pt x="61714" y="64935"/>
                  <a:pt x="61714" y="65454"/>
                </a:cubicBezTo>
                <a:cubicBezTo>
                  <a:pt x="61714" y="66493"/>
                  <a:pt x="60342" y="67012"/>
                  <a:pt x="61714" y="68051"/>
                </a:cubicBezTo>
                <a:cubicBezTo>
                  <a:pt x="63771" y="68571"/>
                  <a:pt x="61714" y="68571"/>
                  <a:pt x="64457" y="69610"/>
                </a:cubicBezTo>
                <a:cubicBezTo>
                  <a:pt x="63771" y="69610"/>
                  <a:pt x="63771" y="69610"/>
                  <a:pt x="63771" y="69610"/>
                </a:cubicBezTo>
                <a:close/>
                <a:moveTo>
                  <a:pt x="35657" y="72727"/>
                </a:moveTo>
                <a:cubicBezTo>
                  <a:pt x="34285" y="72727"/>
                  <a:pt x="34285" y="70649"/>
                  <a:pt x="35657" y="72207"/>
                </a:cubicBezTo>
                <a:cubicBezTo>
                  <a:pt x="36342" y="73766"/>
                  <a:pt x="37714" y="75324"/>
                  <a:pt x="35657" y="76883"/>
                </a:cubicBezTo>
                <a:cubicBezTo>
                  <a:pt x="34285" y="78441"/>
                  <a:pt x="34285" y="77922"/>
                  <a:pt x="35657" y="80000"/>
                </a:cubicBezTo>
                <a:cubicBezTo>
                  <a:pt x="35657" y="81558"/>
                  <a:pt x="33600" y="81038"/>
                  <a:pt x="36342" y="81558"/>
                </a:cubicBezTo>
                <a:cubicBezTo>
                  <a:pt x="38400" y="82597"/>
                  <a:pt x="36342" y="84155"/>
                  <a:pt x="38400" y="82597"/>
                </a:cubicBezTo>
                <a:cubicBezTo>
                  <a:pt x="40457" y="81558"/>
                  <a:pt x="38400" y="81558"/>
                  <a:pt x="39771" y="81038"/>
                </a:cubicBezTo>
                <a:cubicBezTo>
                  <a:pt x="40457" y="80000"/>
                  <a:pt x="39771" y="81558"/>
                  <a:pt x="40457" y="81038"/>
                </a:cubicBezTo>
                <a:cubicBezTo>
                  <a:pt x="41828" y="81038"/>
                  <a:pt x="41828" y="73766"/>
                  <a:pt x="43885" y="73766"/>
                </a:cubicBezTo>
                <a:cubicBezTo>
                  <a:pt x="45942" y="72727"/>
                  <a:pt x="44571" y="71168"/>
                  <a:pt x="42514" y="71168"/>
                </a:cubicBezTo>
                <a:cubicBezTo>
                  <a:pt x="40457" y="71168"/>
                  <a:pt x="43885" y="69610"/>
                  <a:pt x="42514" y="68571"/>
                </a:cubicBezTo>
                <a:cubicBezTo>
                  <a:pt x="41828" y="68051"/>
                  <a:pt x="39771" y="70649"/>
                  <a:pt x="39771" y="68051"/>
                </a:cubicBezTo>
                <a:cubicBezTo>
                  <a:pt x="38400" y="67012"/>
                  <a:pt x="36342" y="66493"/>
                  <a:pt x="36342" y="68051"/>
                </a:cubicBezTo>
                <a:cubicBezTo>
                  <a:pt x="35657" y="69610"/>
                  <a:pt x="35657" y="68051"/>
                  <a:pt x="34285" y="69610"/>
                </a:cubicBezTo>
                <a:cubicBezTo>
                  <a:pt x="33600" y="71168"/>
                  <a:pt x="33600" y="68051"/>
                  <a:pt x="32228" y="69610"/>
                </a:cubicBezTo>
                <a:cubicBezTo>
                  <a:pt x="32228" y="71168"/>
                  <a:pt x="30171" y="69610"/>
                  <a:pt x="31542" y="71168"/>
                </a:cubicBezTo>
                <a:cubicBezTo>
                  <a:pt x="32228" y="72727"/>
                  <a:pt x="31542" y="72207"/>
                  <a:pt x="32228" y="72727"/>
                </a:cubicBezTo>
                <a:cubicBezTo>
                  <a:pt x="33600" y="74285"/>
                  <a:pt x="31542" y="75324"/>
                  <a:pt x="33600" y="74285"/>
                </a:cubicBezTo>
                <a:cubicBezTo>
                  <a:pt x="35657" y="72727"/>
                  <a:pt x="33600" y="75324"/>
                  <a:pt x="35657" y="74285"/>
                </a:cubicBezTo>
                <a:cubicBezTo>
                  <a:pt x="36342" y="73766"/>
                  <a:pt x="36342" y="73766"/>
                  <a:pt x="35657" y="72727"/>
                </a:cubicBezTo>
                <a:close/>
                <a:moveTo>
                  <a:pt x="53485" y="69610"/>
                </a:moveTo>
                <a:cubicBezTo>
                  <a:pt x="55542" y="68571"/>
                  <a:pt x="56228" y="72207"/>
                  <a:pt x="56228" y="70649"/>
                </a:cubicBezTo>
                <a:cubicBezTo>
                  <a:pt x="57599" y="68051"/>
                  <a:pt x="59657" y="68571"/>
                  <a:pt x="59657" y="67012"/>
                </a:cubicBezTo>
                <a:cubicBezTo>
                  <a:pt x="58285" y="66493"/>
                  <a:pt x="59657" y="66493"/>
                  <a:pt x="58285" y="65454"/>
                </a:cubicBezTo>
                <a:cubicBezTo>
                  <a:pt x="57599" y="64935"/>
                  <a:pt x="56228" y="64935"/>
                  <a:pt x="54171" y="65454"/>
                </a:cubicBezTo>
                <a:cubicBezTo>
                  <a:pt x="52114" y="66493"/>
                  <a:pt x="53485" y="67012"/>
                  <a:pt x="52114" y="67012"/>
                </a:cubicBezTo>
                <a:cubicBezTo>
                  <a:pt x="51428" y="66493"/>
                  <a:pt x="50057" y="68051"/>
                  <a:pt x="50057" y="67012"/>
                </a:cubicBezTo>
                <a:cubicBezTo>
                  <a:pt x="50057" y="65454"/>
                  <a:pt x="50057" y="65454"/>
                  <a:pt x="48000" y="68051"/>
                </a:cubicBezTo>
                <a:cubicBezTo>
                  <a:pt x="46628" y="69610"/>
                  <a:pt x="43885" y="70649"/>
                  <a:pt x="45942" y="70649"/>
                </a:cubicBezTo>
                <a:cubicBezTo>
                  <a:pt x="48000" y="70649"/>
                  <a:pt x="45942" y="71168"/>
                  <a:pt x="48000" y="72727"/>
                </a:cubicBezTo>
                <a:cubicBezTo>
                  <a:pt x="48685" y="73766"/>
                  <a:pt x="45942" y="73766"/>
                  <a:pt x="48685" y="73766"/>
                </a:cubicBezTo>
                <a:cubicBezTo>
                  <a:pt x="51428" y="74285"/>
                  <a:pt x="50057" y="70649"/>
                  <a:pt x="53485" y="69610"/>
                </a:cubicBezTo>
                <a:close/>
                <a:moveTo>
                  <a:pt x="79542" y="43636"/>
                </a:moveTo>
                <a:cubicBezTo>
                  <a:pt x="80228" y="42077"/>
                  <a:pt x="80228" y="43636"/>
                  <a:pt x="80228" y="44675"/>
                </a:cubicBezTo>
                <a:cubicBezTo>
                  <a:pt x="79542" y="45194"/>
                  <a:pt x="78171" y="44675"/>
                  <a:pt x="79542" y="43636"/>
                </a:cubicBezTo>
                <a:close/>
                <a:moveTo>
                  <a:pt x="90514" y="23376"/>
                </a:moveTo>
                <a:cubicBezTo>
                  <a:pt x="91885" y="20779"/>
                  <a:pt x="91885" y="23376"/>
                  <a:pt x="93942" y="22857"/>
                </a:cubicBezTo>
                <a:cubicBezTo>
                  <a:pt x="97371" y="21818"/>
                  <a:pt x="88457" y="20779"/>
                  <a:pt x="89828" y="18701"/>
                </a:cubicBezTo>
                <a:cubicBezTo>
                  <a:pt x="91885" y="16103"/>
                  <a:pt x="91885" y="20259"/>
                  <a:pt x="95314" y="18701"/>
                </a:cubicBezTo>
                <a:cubicBezTo>
                  <a:pt x="97371" y="17142"/>
                  <a:pt x="98057" y="17662"/>
                  <a:pt x="104228" y="20779"/>
                </a:cubicBezTo>
                <a:cubicBezTo>
                  <a:pt x="107657" y="22857"/>
                  <a:pt x="106285" y="17142"/>
                  <a:pt x="109714" y="16103"/>
                </a:cubicBezTo>
                <a:cubicBezTo>
                  <a:pt x="111771" y="15584"/>
                  <a:pt x="113828" y="16103"/>
                  <a:pt x="115885" y="15584"/>
                </a:cubicBezTo>
                <a:cubicBezTo>
                  <a:pt x="119314" y="13506"/>
                  <a:pt x="119999" y="13506"/>
                  <a:pt x="119999" y="12987"/>
                </a:cubicBezTo>
                <a:cubicBezTo>
                  <a:pt x="119314" y="11948"/>
                  <a:pt x="117942" y="14545"/>
                  <a:pt x="115885" y="11948"/>
                </a:cubicBezTo>
                <a:cubicBezTo>
                  <a:pt x="115199" y="9870"/>
                  <a:pt x="117942" y="7272"/>
                  <a:pt x="117257" y="7272"/>
                </a:cubicBezTo>
                <a:cubicBezTo>
                  <a:pt x="115885" y="8311"/>
                  <a:pt x="115199" y="10389"/>
                  <a:pt x="112457" y="9870"/>
                </a:cubicBezTo>
                <a:cubicBezTo>
                  <a:pt x="110399" y="9870"/>
                  <a:pt x="112457" y="8831"/>
                  <a:pt x="109714" y="8831"/>
                </a:cubicBezTo>
                <a:cubicBezTo>
                  <a:pt x="106285" y="8311"/>
                  <a:pt x="102171" y="4155"/>
                  <a:pt x="100114" y="2597"/>
                </a:cubicBezTo>
                <a:cubicBezTo>
                  <a:pt x="98057" y="0"/>
                  <a:pt x="95314" y="1038"/>
                  <a:pt x="97371" y="3116"/>
                </a:cubicBezTo>
                <a:cubicBezTo>
                  <a:pt x="99428" y="6233"/>
                  <a:pt x="96000" y="6233"/>
                  <a:pt x="97371" y="8311"/>
                </a:cubicBezTo>
                <a:cubicBezTo>
                  <a:pt x="98057" y="9870"/>
                  <a:pt x="95314" y="10389"/>
                  <a:pt x="95314" y="11948"/>
                </a:cubicBezTo>
                <a:cubicBezTo>
                  <a:pt x="96000" y="12987"/>
                  <a:pt x="96000" y="15584"/>
                  <a:pt x="92571" y="14545"/>
                </a:cubicBezTo>
                <a:cubicBezTo>
                  <a:pt x="90514" y="12987"/>
                  <a:pt x="88457" y="12987"/>
                  <a:pt x="90514" y="14545"/>
                </a:cubicBezTo>
                <a:cubicBezTo>
                  <a:pt x="91885" y="16103"/>
                  <a:pt x="84342" y="18701"/>
                  <a:pt x="87771" y="20259"/>
                </a:cubicBezTo>
                <a:cubicBezTo>
                  <a:pt x="90514" y="21818"/>
                  <a:pt x="86400" y="23376"/>
                  <a:pt x="88457" y="24935"/>
                </a:cubicBezTo>
                <a:cubicBezTo>
                  <a:pt x="88457" y="24935"/>
                  <a:pt x="88457" y="25974"/>
                  <a:pt x="90514" y="23376"/>
                </a:cubicBezTo>
                <a:close/>
                <a:moveTo>
                  <a:pt x="59657" y="65454"/>
                </a:moveTo>
                <a:cubicBezTo>
                  <a:pt x="59657" y="64935"/>
                  <a:pt x="61714" y="63376"/>
                  <a:pt x="61714" y="63896"/>
                </a:cubicBezTo>
                <a:cubicBezTo>
                  <a:pt x="61714" y="64935"/>
                  <a:pt x="60342" y="66493"/>
                  <a:pt x="59657" y="65454"/>
                </a:cubicBezTo>
                <a:close/>
                <a:moveTo>
                  <a:pt x="52114" y="55064"/>
                </a:moveTo>
                <a:cubicBezTo>
                  <a:pt x="52114" y="53506"/>
                  <a:pt x="52114" y="53506"/>
                  <a:pt x="52114" y="53506"/>
                </a:cubicBezTo>
                <a:cubicBezTo>
                  <a:pt x="51428" y="54025"/>
                  <a:pt x="51428" y="55064"/>
                  <a:pt x="52114" y="55064"/>
                </a:cubicBezTo>
                <a:close/>
                <a:moveTo>
                  <a:pt x="21942" y="109090"/>
                </a:moveTo>
                <a:cubicBezTo>
                  <a:pt x="21942" y="108571"/>
                  <a:pt x="21942" y="108571"/>
                  <a:pt x="24000" y="107012"/>
                </a:cubicBezTo>
                <a:cubicBezTo>
                  <a:pt x="26057" y="105974"/>
                  <a:pt x="24685" y="105454"/>
                  <a:pt x="24000" y="105974"/>
                </a:cubicBezTo>
                <a:cubicBezTo>
                  <a:pt x="22628" y="107532"/>
                  <a:pt x="21942" y="107532"/>
                  <a:pt x="20571" y="109090"/>
                </a:cubicBezTo>
                <a:cubicBezTo>
                  <a:pt x="20571" y="110129"/>
                  <a:pt x="21942" y="110129"/>
                  <a:pt x="21942" y="109090"/>
                </a:cubicBezTo>
                <a:close/>
                <a:moveTo>
                  <a:pt x="28114" y="101298"/>
                </a:moveTo>
                <a:cubicBezTo>
                  <a:pt x="26742" y="100259"/>
                  <a:pt x="28114" y="99740"/>
                  <a:pt x="28114" y="100259"/>
                </a:cubicBezTo>
                <a:cubicBezTo>
                  <a:pt x="29485" y="101298"/>
                  <a:pt x="28114" y="101818"/>
                  <a:pt x="28114" y="101298"/>
                </a:cubicBezTo>
                <a:close/>
                <a:moveTo>
                  <a:pt x="30171" y="98701"/>
                </a:moveTo>
                <a:cubicBezTo>
                  <a:pt x="30171" y="97142"/>
                  <a:pt x="32228" y="96103"/>
                  <a:pt x="32228" y="97142"/>
                </a:cubicBezTo>
                <a:cubicBezTo>
                  <a:pt x="32228" y="97142"/>
                  <a:pt x="30171" y="99740"/>
                  <a:pt x="30171" y="98701"/>
                </a:cubicBezTo>
                <a:close/>
                <a:moveTo>
                  <a:pt x="0" y="118961"/>
                </a:moveTo>
                <a:cubicBezTo>
                  <a:pt x="0" y="118441"/>
                  <a:pt x="685" y="118961"/>
                  <a:pt x="685" y="119999"/>
                </a:cubicBezTo>
                <a:cubicBezTo>
                  <a:pt x="685" y="119999"/>
                  <a:pt x="0" y="119999"/>
                  <a:pt x="0" y="118961"/>
                </a:cubicBezTo>
                <a:close/>
                <a:moveTo>
                  <a:pt x="2057" y="118961"/>
                </a:moveTo>
                <a:cubicBezTo>
                  <a:pt x="685" y="118961"/>
                  <a:pt x="2742" y="117402"/>
                  <a:pt x="2742" y="118441"/>
                </a:cubicBezTo>
                <a:cubicBezTo>
                  <a:pt x="2742" y="118961"/>
                  <a:pt x="2742" y="119999"/>
                  <a:pt x="2057" y="118961"/>
                </a:cubicBezTo>
                <a:close/>
                <a:moveTo>
                  <a:pt x="8228" y="117402"/>
                </a:moveTo>
                <a:cubicBezTo>
                  <a:pt x="7542" y="116363"/>
                  <a:pt x="8228" y="116363"/>
                  <a:pt x="9600" y="116363"/>
                </a:cubicBezTo>
                <a:cubicBezTo>
                  <a:pt x="9600" y="117402"/>
                  <a:pt x="8228" y="117402"/>
                  <a:pt x="8228" y="117402"/>
                </a:cubicBezTo>
                <a:close/>
              </a:path>
            </a:pathLst>
          </a:custGeom>
          <a:solidFill>
            <a:srgbClr val="FFFFFF"/>
          </a:solidFill>
          <a:ln w="3175" cap="flat" cmpd="sng" algn="ctr">
            <a:solidFill>
              <a:srgbClr val="004355"/>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B5BF"/>
              </a:solidFill>
              <a:latin typeface="Arial" panose="020B0604020202020204" pitchFamily="34" charset="0"/>
              <a:ea typeface="Arial"/>
              <a:cs typeface="Arial" panose="020B0604020202020204" pitchFamily="34" charset="0"/>
              <a:sym typeface="Arial"/>
            </a:endParaRPr>
          </a:p>
        </p:txBody>
      </p:sp>
      <p:sp>
        <p:nvSpPr>
          <p:cNvPr id="714" name="Rounded Rectangle 608"/>
          <p:cNvSpPr/>
          <p:nvPr/>
        </p:nvSpPr>
        <p:spPr>
          <a:xfrm>
            <a:off x="8352189" y="2259655"/>
            <a:ext cx="1898700" cy="2311066"/>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089"/>
            <a:endParaRPr lang="en-US" sz="2098" dirty="0">
              <a:solidFill>
                <a:prstClr val="white"/>
              </a:solidFill>
            </a:endParaRPr>
          </a:p>
        </p:txBody>
      </p:sp>
      <p:sp>
        <p:nvSpPr>
          <p:cNvPr id="715" name="Shape 2069"/>
          <p:cNvSpPr/>
          <p:nvPr/>
        </p:nvSpPr>
        <p:spPr>
          <a:xfrm>
            <a:off x="8490864" y="2419325"/>
            <a:ext cx="1669951" cy="2078638"/>
          </a:xfrm>
          <a:custGeom>
            <a:avLst/>
            <a:gdLst/>
            <a:ahLst/>
            <a:cxnLst/>
            <a:rect l="0" t="0" r="0" b="0"/>
            <a:pathLst>
              <a:path w="120000" h="120000" extrusionOk="0">
                <a:moveTo>
                  <a:pt x="98918" y="104347"/>
                </a:moveTo>
                <a:cubicBezTo>
                  <a:pt x="98918" y="105652"/>
                  <a:pt x="95675" y="104347"/>
                  <a:pt x="90810" y="105652"/>
                </a:cubicBezTo>
                <a:cubicBezTo>
                  <a:pt x="87567" y="109565"/>
                  <a:pt x="95675" y="112173"/>
                  <a:pt x="92432" y="112173"/>
                </a:cubicBezTo>
                <a:cubicBezTo>
                  <a:pt x="87567" y="113478"/>
                  <a:pt x="95675" y="116086"/>
                  <a:pt x="92432" y="117391"/>
                </a:cubicBezTo>
                <a:cubicBezTo>
                  <a:pt x="90810" y="120000"/>
                  <a:pt x="90810" y="113478"/>
                  <a:pt x="87567" y="116086"/>
                </a:cubicBezTo>
                <a:cubicBezTo>
                  <a:pt x="85945" y="116086"/>
                  <a:pt x="82702" y="112173"/>
                  <a:pt x="82702" y="113478"/>
                </a:cubicBezTo>
                <a:cubicBezTo>
                  <a:pt x="81081" y="117391"/>
                  <a:pt x="77837" y="113478"/>
                  <a:pt x="76216" y="116086"/>
                </a:cubicBezTo>
                <a:cubicBezTo>
                  <a:pt x="71351" y="117391"/>
                  <a:pt x="68108" y="120000"/>
                  <a:pt x="66486" y="117391"/>
                </a:cubicBezTo>
                <a:cubicBezTo>
                  <a:pt x="66486" y="116086"/>
                  <a:pt x="63243" y="117391"/>
                  <a:pt x="61621" y="116086"/>
                </a:cubicBezTo>
                <a:cubicBezTo>
                  <a:pt x="58378" y="116086"/>
                  <a:pt x="61621" y="120000"/>
                  <a:pt x="58378" y="120000"/>
                </a:cubicBezTo>
                <a:cubicBezTo>
                  <a:pt x="56756" y="120000"/>
                  <a:pt x="53513" y="113478"/>
                  <a:pt x="48648" y="117391"/>
                </a:cubicBezTo>
                <a:cubicBezTo>
                  <a:pt x="47027" y="116086"/>
                  <a:pt x="43783" y="113478"/>
                  <a:pt x="42162" y="116086"/>
                </a:cubicBezTo>
                <a:cubicBezTo>
                  <a:pt x="38918" y="116086"/>
                  <a:pt x="38918" y="112173"/>
                  <a:pt x="37297" y="113478"/>
                </a:cubicBezTo>
                <a:cubicBezTo>
                  <a:pt x="32432" y="113478"/>
                  <a:pt x="37297" y="116086"/>
                  <a:pt x="32432" y="116086"/>
                </a:cubicBezTo>
                <a:cubicBezTo>
                  <a:pt x="25945" y="116086"/>
                  <a:pt x="25945" y="117391"/>
                  <a:pt x="21081" y="116086"/>
                </a:cubicBezTo>
                <a:cubicBezTo>
                  <a:pt x="21081" y="99130"/>
                  <a:pt x="34054" y="95217"/>
                  <a:pt x="29189" y="95217"/>
                </a:cubicBezTo>
                <a:cubicBezTo>
                  <a:pt x="25945" y="93913"/>
                  <a:pt x="24324" y="91304"/>
                  <a:pt x="19459" y="93913"/>
                </a:cubicBezTo>
                <a:cubicBezTo>
                  <a:pt x="14594" y="93913"/>
                  <a:pt x="16216" y="91304"/>
                  <a:pt x="14594" y="91304"/>
                </a:cubicBezTo>
                <a:cubicBezTo>
                  <a:pt x="9729" y="91304"/>
                  <a:pt x="11351" y="87391"/>
                  <a:pt x="6486" y="87391"/>
                </a:cubicBezTo>
                <a:cubicBezTo>
                  <a:pt x="6486" y="83478"/>
                  <a:pt x="11351" y="83478"/>
                  <a:pt x="9729" y="80869"/>
                </a:cubicBezTo>
                <a:cubicBezTo>
                  <a:pt x="9729" y="80869"/>
                  <a:pt x="4864" y="80869"/>
                  <a:pt x="4864" y="75652"/>
                </a:cubicBezTo>
                <a:cubicBezTo>
                  <a:pt x="11351" y="71739"/>
                  <a:pt x="4864" y="73043"/>
                  <a:pt x="6486" y="71739"/>
                </a:cubicBezTo>
                <a:cubicBezTo>
                  <a:pt x="6486" y="69130"/>
                  <a:pt x="4864" y="69130"/>
                  <a:pt x="1621" y="67826"/>
                </a:cubicBezTo>
                <a:cubicBezTo>
                  <a:pt x="1621" y="67826"/>
                  <a:pt x="6486" y="65217"/>
                  <a:pt x="1621" y="62608"/>
                </a:cubicBezTo>
                <a:cubicBezTo>
                  <a:pt x="0" y="62608"/>
                  <a:pt x="4864" y="62608"/>
                  <a:pt x="4864" y="61304"/>
                </a:cubicBezTo>
                <a:cubicBezTo>
                  <a:pt x="4864" y="58695"/>
                  <a:pt x="6486" y="58695"/>
                  <a:pt x="4864" y="54782"/>
                </a:cubicBezTo>
                <a:cubicBezTo>
                  <a:pt x="1621" y="50869"/>
                  <a:pt x="1621" y="49565"/>
                  <a:pt x="6486" y="50869"/>
                </a:cubicBezTo>
                <a:cubicBezTo>
                  <a:pt x="9729" y="50869"/>
                  <a:pt x="14594" y="49565"/>
                  <a:pt x="11351" y="46956"/>
                </a:cubicBezTo>
                <a:cubicBezTo>
                  <a:pt x="9729" y="46956"/>
                  <a:pt x="16216" y="44347"/>
                  <a:pt x="16216" y="43043"/>
                </a:cubicBezTo>
                <a:cubicBezTo>
                  <a:pt x="16216" y="39130"/>
                  <a:pt x="11351" y="43043"/>
                  <a:pt x="11351" y="39130"/>
                </a:cubicBezTo>
                <a:cubicBezTo>
                  <a:pt x="11351" y="36521"/>
                  <a:pt x="11351" y="36521"/>
                  <a:pt x="14594" y="36521"/>
                </a:cubicBezTo>
                <a:cubicBezTo>
                  <a:pt x="16216" y="39130"/>
                  <a:pt x="16216" y="36521"/>
                  <a:pt x="19459" y="28695"/>
                </a:cubicBezTo>
                <a:cubicBezTo>
                  <a:pt x="19459" y="27391"/>
                  <a:pt x="14594" y="28695"/>
                  <a:pt x="16216" y="24782"/>
                </a:cubicBezTo>
                <a:cubicBezTo>
                  <a:pt x="16216" y="20869"/>
                  <a:pt x="19459" y="20869"/>
                  <a:pt x="24324" y="20869"/>
                </a:cubicBezTo>
                <a:cubicBezTo>
                  <a:pt x="34054" y="20869"/>
                  <a:pt x="25945" y="22173"/>
                  <a:pt x="32432" y="24782"/>
                </a:cubicBezTo>
                <a:cubicBezTo>
                  <a:pt x="34054" y="27391"/>
                  <a:pt x="29189" y="22173"/>
                  <a:pt x="34054" y="22173"/>
                </a:cubicBezTo>
                <a:cubicBezTo>
                  <a:pt x="37297" y="22173"/>
                  <a:pt x="34054" y="27391"/>
                  <a:pt x="37297" y="27391"/>
                </a:cubicBezTo>
                <a:cubicBezTo>
                  <a:pt x="38918" y="24782"/>
                  <a:pt x="34054" y="16956"/>
                  <a:pt x="37297" y="18260"/>
                </a:cubicBezTo>
                <a:cubicBezTo>
                  <a:pt x="42162" y="18260"/>
                  <a:pt x="43783" y="18260"/>
                  <a:pt x="47027" y="20869"/>
                </a:cubicBezTo>
                <a:cubicBezTo>
                  <a:pt x="48648" y="22173"/>
                  <a:pt x="47027" y="18260"/>
                  <a:pt x="42162" y="16956"/>
                </a:cubicBezTo>
                <a:cubicBezTo>
                  <a:pt x="38918" y="16956"/>
                  <a:pt x="38918" y="16956"/>
                  <a:pt x="42162" y="14347"/>
                </a:cubicBezTo>
                <a:cubicBezTo>
                  <a:pt x="43783" y="14347"/>
                  <a:pt x="37297" y="14347"/>
                  <a:pt x="38918" y="13043"/>
                </a:cubicBezTo>
                <a:cubicBezTo>
                  <a:pt x="42162" y="10434"/>
                  <a:pt x="37297" y="13043"/>
                  <a:pt x="37297" y="10434"/>
                </a:cubicBezTo>
                <a:cubicBezTo>
                  <a:pt x="37297" y="9130"/>
                  <a:pt x="43783" y="10434"/>
                  <a:pt x="42162" y="6521"/>
                </a:cubicBezTo>
                <a:cubicBezTo>
                  <a:pt x="38918" y="3913"/>
                  <a:pt x="37297" y="3913"/>
                  <a:pt x="37297" y="2608"/>
                </a:cubicBezTo>
                <a:cubicBezTo>
                  <a:pt x="38918" y="2608"/>
                  <a:pt x="38918" y="0"/>
                  <a:pt x="42162" y="2608"/>
                </a:cubicBezTo>
                <a:cubicBezTo>
                  <a:pt x="43783" y="2608"/>
                  <a:pt x="47027" y="2608"/>
                  <a:pt x="47027" y="2608"/>
                </a:cubicBezTo>
                <a:cubicBezTo>
                  <a:pt x="48648" y="3913"/>
                  <a:pt x="48648" y="2608"/>
                  <a:pt x="51891" y="2608"/>
                </a:cubicBezTo>
                <a:cubicBezTo>
                  <a:pt x="53513" y="3913"/>
                  <a:pt x="53513" y="2608"/>
                  <a:pt x="53513" y="3913"/>
                </a:cubicBezTo>
                <a:cubicBezTo>
                  <a:pt x="56756" y="9130"/>
                  <a:pt x="51891" y="9130"/>
                  <a:pt x="53513" y="9130"/>
                </a:cubicBezTo>
                <a:cubicBezTo>
                  <a:pt x="56756" y="9130"/>
                  <a:pt x="56756" y="10434"/>
                  <a:pt x="58378" y="9130"/>
                </a:cubicBezTo>
                <a:cubicBezTo>
                  <a:pt x="61621" y="9130"/>
                  <a:pt x="58378" y="13043"/>
                  <a:pt x="66486" y="10434"/>
                </a:cubicBezTo>
                <a:cubicBezTo>
                  <a:pt x="71351" y="9130"/>
                  <a:pt x="68108" y="10434"/>
                  <a:pt x="68108" y="13043"/>
                </a:cubicBezTo>
                <a:cubicBezTo>
                  <a:pt x="71351" y="14347"/>
                  <a:pt x="63243" y="14347"/>
                  <a:pt x="63243" y="16956"/>
                </a:cubicBezTo>
                <a:cubicBezTo>
                  <a:pt x="66486" y="18260"/>
                  <a:pt x="68108" y="14347"/>
                  <a:pt x="71351" y="16956"/>
                </a:cubicBezTo>
                <a:cubicBezTo>
                  <a:pt x="76216" y="18260"/>
                  <a:pt x="71351" y="13043"/>
                  <a:pt x="77837" y="13043"/>
                </a:cubicBezTo>
                <a:cubicBezTo>
                  <a:pt x="82702" y="13043"/>
                  <a:pt x="85945" y="9130"/>
                  <a:pt x="85945" y="9130"/>
                </a:cubicBezTo>
                <a:cubicBezTo>
                  <a:pt x="87567" y="6521"/>
                  <a:pt x="87567" y="10434"/>
                  <a:pt x="90810" y="9130"/>
                </a:cubicBezTo>
                <a:cubicBezTo>
                  <a:pt x="92432" y="9130"/>
                  <a:pt x="90810" y="10434"/>
                  <a:pt x="95675" y="13043"/>
                </a:cubicBezTo>
                <a:cubicBezTo>
                  <a:pt x="98918" y="16956"/>
                  <a:pt x="103783" y="13043"/>
                  <a:pt x="103783" y="14347"/>
                </a:cubicBezTo>
                <a:cubicBezTo>
                  <a:pt x="103783" y="16956"/>
                  <a:pt x="103783" y="16956"/>
                  <a:pt x="103783" y="16956"/>
                </a:cubicBezTo>
                <a:cubicBezTo>
                  <a:pt x="103783" y="18260"/>
                  <a:pt x="103783" y="20869"/>
                  <a:pt x="108648" y="20869"/>
                </a:cubicBezTo>
                <a:cubicBezTo>
                  <a:pt x="108648" y="20869"/>
                  <a:pt x="108648" y="20869"/>
                  <a:pt x="108648" y="20869"/>
                </a:cubicBezTo>
                <a:cubicBezTo>
                  <a:pt x="113513" y="31304"/>
                  <a:pt x="103783" y="32608"/>
                  <a:pt x="110270" y="36521"/>
                </a:cubicBezTo>
                <a:cubicBezTo>
                  <a:pt x="118378" y="40434"/>
                  <a:pt x="110270" y="40434"/>
                  <a:pt x="113513" y="43043"/>
                </a:cubicBezTo>
                <a:cubicBezTo>
                  <a:pt x="118378" y="49565"/>
                  <a:pt x="113513" y="49565"/>
                  <a:pt x="113513" y="53478"/>
                </a:cubicBezTo>
                <a:cubicBezTo>
                  <a:pt x="115135" y="58695"/>
                  <a:pt x="120000" y="53478"/>
                  <a:pt x="118378" y="65217"/>
                </a:cubicBezTo>
                <a:cubicBezTo>
                  <a:pt x="113513" y="67826"/>
                  <a:pt x="110270" y="62608"/>
                  <a:pt x="110270" y="62608"/>
                </a:cubicBezTo>
                <a:cubicBezTo>
                  <a:pt x="108648" y="62608"/>
                  <a:pt x="113513" y="65217"/>
                  <a:pt x="105405" y="67826"/>
                </a:cubicBezTo>
                <a:cubicBezTo>
                  <a:pt x="98918" y="67826"/>
                  <a:pt x="95675" y="71739"/>
                  <a:pt x="87567" y="73043"/>
                </a:cubicBezTo>
                <a:cubicBezTo>
                  <a:pt x="82702" y="75652"/>
                  <a:pt x="81081" y="75652"/>
                  <a:pt x="82702" y="79565"/>
                </a:cubicBezTo>
                <a:cubicBezTo>
                  <a:pt x="87567" y="83478"/>
                  <a:pt x="81081" y="86086"/>
                  <a:pt x="90810" y="87391"/>
                </a:cubicBezTo>
                <a:cubicBezTo>
                  <a:pt x="95675" y="90000"/>
                  <a:pt x="95675" y="93913"/>
                  <a:pt x="103783" y="97826"/>
                </a:cubicBezTo>
                <a:cubicBezTo>
                  <a:pt x="103783" y="104347"/>
                  <a:pt x="98918" y="99130"/>
                  <a:pt x="98918" y="104347"/>
                </a:cubicBezTo>
                <a:close/>
                <a:moveTo>
                  <a:pt x="108648" y="16956"/>
                </a:moveTo>
                <a:cubicBezTo>
                  <a:pt x="105405" y="16956"/>
                  <a:pt x="105405" y="14347"/>
                  <a:pt x="103783" y="14347"/>
                </a:cubicBezTo>
                <a:cubicBezTo>
                  <a:pt x="103783" y="13043"/>
                  <a:pt x="103783" y="16956"/>
                  <a:pt x="105405" y="16956"/>
                </a:cubicBezTo>
                <a:cubicBezTo>
                  <a:pt x="105405" y="18260"/>
                  <a:pt x="103783" y="18260"/>
                  <a:pt x="103783" y="18260"/>
                </a:cubicBezTo>
                <a:cubicBezTo>
                  <a:pt x="105405" y="18260"/>
                  <a:pt x="108648" y="18260"/>
                  <a:pt x="108648" y="18260"/>
                </a:cubicBezTo>
                <a:cubicBezTo>
                  <a:pt x="108648" y="16956"/>
                  <a:pt x="108648" y="16956"/>
                  <a:pt x="108648" y="16956"/>
                </a:cubicBezTo>
                <a:close/>
                <a:moveTo>
                  <a:pt x="68108" y="9130"/>
                </a:moveTo>
                <a:cubicBezTo>
                  <a:pt x="68108" y="6521"/>
                  <a:pt x="71351" y="9130"/>
                  <a:pt x="71351" y="9130"/>
                </a:cubicBezTo>
                <a:cubicBezTo>
                  <a:pt x="71351" y="10434"/>
                  <a:pt x="66486" y="9130"/>
                  <a:pt x="68108" y="9130"/>
                </a:cubicBezTo>
                <a:close/>
                <a:moveTo>
                  <a:pt x="98918" y="13043"/>
                </a:moveTo>
                <a:cubicBezTo>
                  <a:pt x="98918" y="10434"/>
                  <a:pt x="98918" y="9130"/>
                  <a:pt x="100540" y="10434"/>
                </a:cubicBezTo>
                <a:cubicBezTo>
                  <a:pt x="103783" y="13043"/>
                  <a:pt x="103783" y="10434"/>
                  <a:pt x="100540" y="10434"/>
                </a:cubicBezTo>
                <a:cubicBezTo>
                  <a:pt x="98918" y="9130"/>
                  <a:pt x="103783" y="6521"/>
                  <a:pt x="100540" y="6521"/>
                </a:cubicBezTo>
                <a:cubicBezTo>
                  <a:pt x="98918" y="6521"/>
                  <a:pt x="98918" y="3913"/>
                  <a:pt x="95675" y="3913"/>
                </a:cubicBezTo>
                <a:cubicBezTo>
                  <a:pt x="92432" y="6521"/>
                  <a:pt x="98918" y="6521"/>
                  <a:pt x="98918" y="9130"/>
                </a:cubicBezTo>
                <a:cubicBezTo>
                  <a:pt x="95675" y="6521"/>
                  <a:pt x="95675" y="6521"/>
                  <a:pt x="95675" y="6521"/>
                </a:cubicBezTo>
                <a:cubicBezTo>
                  <a:pt x="92432" y="6521"/>
                  <a:pt x="95675" y="9130"/>
                  <a:pt x="95675" y="10434"/>
                </a:cubicBezTo>
                <a:cubicBezTo>
                  <a:pt x="92432" y="10434"/>
                  <a:pt x="95675" y="10434"/>
                  <a:pt x="95675" y="13043"/>
                </a:cubicBezTo>
                <a:cubicBezTo>
                  <a:pt x="98918" y="13043"/>
                  <a:pt x="98918" y="13043"/>
                  <a:pt x="98918" y="13043"/>
                </a:cubicBezTo>
                <a:close/>
              </a:path>
            </a:pathLst>
          </a:custGeom>
          <a:solidFill>
            <a:srgbClr val="8EDFE3"/>
          </a:solidFill>
          <a:ln w="9525" cap="flat" cmpd="sng">
            <a:noFill/>
            <a:prstDash val="solid"/>
            <a:round/>
            <a:headEnd type="none" w="med" len="med"/>
            <a:tailEnd type="none" w="med" len="med"/>
          </a:ln>
        </p:spPr>
        <p:txBody>
          <a:bodyPr lIns="91344" tIns="45661" rIns="91344" bIns="45661" anchor="t" anchorCtr="0">
            <a:noAutofit/>
          </a:bodyPr>
          <a:lstStyle/>
          <a:p>
            <a:pPr defTabSz="1088089"/>
            <a:endParaRPr lang="en-US" sz="2398" kern="0" dirty="0">
              <a:solidFill>
                <a:srgbClr val="000000"/>
              </a:solidFill>
              <a:ea typeface="Arial"/>
              <a:cs typeface="Arial" panose="020B0604020202020204" pitchFamily="34" charset="0"/>
              <a:sym typeface="Arial"/>
            </a:endParaRPr>
          </a:p>
        </p:txBody>
      </p:sp>
      <p:pic>
        <p:nvPicPr>
          <p:cNvPr id="716" name="Shape 2070"/>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9501102" y="4164626"/>
            <a:ext cx="165021" cy="103607"/>
          </a:xfrm>
          <a:prstGeom prst="rect">
            <a:avLst/>
          </a:prstGeom>
          <a:noFill/>
          <a:ln>
            <a:noFill/>
          </a:ln>
        </p:spPr>
      </p:pic>
      <p:sp>
        <p:nvSpPr>
          <p:cNvPr id="717" name="Shape 2071"/>
          <p:cNvSpPr/>
          <p:nvPr/>
        </p:nvSpPr>
        <p:spPr>
          <a:xfrm>
            <a:off x="8899158" y="3829477"/>
            <a:ext cx="212837" cy="214884"/>
          </a:xfrm>
          <a:prstGeom prst="ellipse">
            <a:avLst/>
          </a:prstGeom>
          <a:solidFill>
            <a:srgbClr val="00B7BF">
              <a:alpha val="58823"/>
            </a:srgbClr>
          </a:solidFill>
          <a:ln>
            <a:noFill/>
          </a:ln>
        </p:spPr>
        <p:txBody>
          <a:bodyPr lIns="121794" tIns="121794" rIns="121794" bIns="121794" anchor="ctr" anchorCtr="0">
            <a:noAutofit/>
          </a:bodyPr>
          <a:lstStyle/>
          <a:p>
            <a:pPr algn="ctr" defTabSz="1088089"/>
            <a:endParaRPr lang="en-US" sz="900" b="1" kern="0" dirty="0">
              <a:solidFill>
                <a:srgbClr val="FFFFFF"/>
              </a:solidFill>
              <a:ea typeface="Arial"/>
              <a:cs typeface="Arial" panose="020B0604020202020204" pitchFamily="34" charset="0"/>
              <a:sym typeface="Arial"/>
            </a:endParaRPr>
          </a:p>
        </p:txBody>
      </p:sp>
      <p:sp>
        <p:nvSpPr>
          <p:cNvPr id="718" name="Shape 2072"/>
          <p:cNvSpPr/>
          <p:nvPr/>
        </p:nvSpPr>
        <p:spPr>
          <a:xfrm>
            <a:off x="9258122" y="2816351"/>
            <a:ext cx="957557" cy="186350"/>
          </a:xfrm>
          <a:prstGeom prst="rect">
            <a:avLst/>
          </a:prstGeom>
          <a:noFill/>
          <a:ln>
            <a:noFill/>
          </a:ln>
        </p:spPr>
        <p:txBody>
          <a:bodyPr lIns="95916" tIns="47959" rIns="95916" bIns="47959" anchor="ctr" anchorCtr="0">
            <a:noAutofit/>
          </a:bodyPr>
          <a:lstStyle/>
          <a:p>
            <a:pPr algn="ctr" defTabSz="1088089">
              <a:buSzPct val="25000"/>
            </a:pPr>
            <a:r>
              <a:rPr lang="en-US" sz="600" b="1" kern="0" dirty="0">
                <a:solidFill>
                  <a:srgbClr val="000000"/>
                </a:solidFill>
                <a:ea typeface="Moovel Akkurat" charset="0"/>
                <a:cs typeface="Arial" panose="020B0604020202020204" pitchFamily="34" charset="0"/>
                <a:sym typeface="Arial"/>
              </a:rPr>
              <a:t>Hamburg</a:t>
            </a:r>
          </a:p>
          <a:p>
            <a:pPr algn="ctr" defTabSz="1088089">
              <a:buSzPct val="25000"/>
            </a:pPr>
            <a:r>
              <a:rPr lang="en-US" sz="600" b="1" kern="0" dirty="0">
                <a:solidFill>
                  <a:srgbClr val="000000"/>
                </a:solidFill>
                <a:ea typeface="Moovel Akkurat" charset="0"/>
                <a:cs typeface="Arial" panose="020B0604020202020204" pitchFamily="34" charset="0"/>
                <a:sym typeface="Arial"/>
              </a:rPr>
              <a:t>(</a:t>
            </a:r>
            <a:r>
              <a:rPr lang="en-US" sz="600" b="1" kern="0" dirty="0" err="1">
                <a:solidFill>
                  <a:srgbClr val="000000"/>
                </a:solidFill>
                <a:ea typeface="Moovel Akkurat" charset="0"/>
                <a:cs typeface="Arial" panose="020B0604020202020204" pitchFamily="34" charset="0"/>
                <a:sym typeface="Arial"/>
              </a:rPr>
              <a:t>HVV</a:t>
            </a:r>
            <a:r>
              <a:rPr lang="en-US" sz="600" b="1" kern="0" dirty="0">
                <a:solidFill>
                  <a:srgbClr val="000000"/>
                </a:solidFill>
                <a:ea typeface="Moovel Akkurat" charset="0"/>
                <a:cs typeface="Arial" panose="020B0604020202020204" pitchFamily="34" charset="0"/>
                <a:sym typeface="Arial"/>
              </a:rPr>
              <a:t>)</a:t>
            </a:r>
          </a:p>
        </p:txBody>
      </p:sp>
      <p:sp>
        <p:nvSpPr>
          <p:cNvPr id="719" name="Shape 2074"/>
          <p:cNvSpPr/>
          <p:nvPr/>
        </p:nvSpPr>
        <p:spPr>
          <a:xfrm>
            <a:off x="8503795" y="3609811"/>
            <a:ext cx="957557" cy="186350"/>
          </a:xfrm>
          <a:prstGeom prst="rect">
            <a:avLst/>
          </a:prstGeom>
          <a:noFill/>
          <a:ln>
            <a:noFill/>
          </a:ln>
        </p:spPr>
        <p:txBody>
          <a:bodyPr lIns="95916" tIns="47959" rIns="95916" bIns="47959" anchor="ctr" anchorCtr="0">
            <a:noAutofit/>
          </a:bodyPr>
          <a:lstStyle/>
          <a:p>
            <a:pPr algn="ctr" defTabSz="1088089">
              <a:buSzPct val="25000"/>
            </a:pPr>
            <a:r>
              <a:rPr lang="en-US" sz="600" b="1" kern="0" dirty="0">
                <a:solidFill>
                  <a:srgbClr val="000000"/>
                </a:solidFill>
                <a:ea typeface="Moovel Akkurat" charset="0"/>
                <a:cs typeface="Arial" panose="020B0604020202020204" pitchFamily="34" charset="0"/>
                <a:sym typeface="Arial"/>
              </a:rPr>
              <a:t>Karlsruhe</a:t>
            </a:r>
          </a:p>
          <a:p>
            <a:pPr algn="ctr" defTabSz="1088089">
              <a:buSzPct val="25000"/>
            </a:pPr>
            <a:r>
              <a:rPr lang="en-US" sz="600" b="1" kern="0" dirty="0">
                <a:solidFill>
                  <a:srgbClr val="000000"/>
                </a:solidFill>
                <a:ea typeface="Moovel Akkurat" charset="0"/>
                <a:cs typeface="Arial" panose="020B0604020202020204" pitchFamily="34" charset="0"/>
                <a:sym typeface="Arial"/>
              </a:rPr>
              <a:t>(</a:t>
            </a:r>
            <a:r>
              <a:rPr lang="en-US" sz="600" b="1" kern="0" dirty="0" err="1">
                <a:solidFill>
                  <a:srgbClr val="000000"/>
                </a:solidFill>
                <a:ea typeface="Moovel Akkurat" charset="0"/>
                <a:cs typeface="Arial" panose="020B0604020202020204" pitchFamily="34" charset="0"/>
                <a:sym typeface="Arial"/>
              </a:rPr>
              <a:t>KVV</a:t>
            </a:r>
            <a:r>
              <a:rPr lang="en-US" sz="600" b="1" kern="0" dirty="0">
                <a:solidFill>
                  <a:srgbClr val="000000"/>
                </a:solidFill>
                <a:ea typeface="Moovel Akkurat" charset="0"/>
                <a:cs typeface="Arial" panose="020B0604020202020204" pitchFamily="34" charset="0"/>
                <a:sym typeface="Arial"/>
              </a:rPr>
              <a:t>)</a:t>
            </a:r>
          </a:p>
        </p:txBody>
      </p:sp>
      <p:sp>
        <p:nvSpPr>
          <p:cNvPr id="720" name="Shape 2075"/>
          <p:cNvSpPr/>
          <p:nvPr/>
        </p:nvSpPr>
        <p:spPr>
          <a:xfrm>
            <a:off x="9106476" y="3922776"/>
            <a:ext cx="957557" cy="186350"/>
          </a:xfrm>
          <a:prstGeom prst="rect">
            <a:avLst/>
          </a:prstGeom>
          <a:noFill/>
          <a:ln>
            <a:noFill/>
          </a:ln>
        </p:spPr>
        <p:txBody>
          <a:bodyPr lIns="95916" tIns="47959" rIns="95916" bIns="47959" anchor="ctr" anchorCtr="0">
            <a:noAutofit/>
          </a:bodyPr>
          <a:lstStyle/>
          <a:p>
            <a:pPr algn="ctr" defTabSz="1088089">
              <a:buSzPct val="25000"/>
            </a:pPr>
            <a:r>
              <a:rPr lang="en-US" sz="600" b="1" kern="0" dirty="0">
                <a:solidFill>
                  <a:srgbClr val="000000"/>
                </a:solidFill>
                <a:ea typeface="Moovel Akkurat" charset="0"/>
                <a:cs typeface="Arial" panose="020B0604020202020204" pitchFamily="34" charset="0"/>
                <a:sym typeface="Arial"/>
              </a:rPr>
              <a:t>Stuttgart</a:t>
            </a:r>
          </a:p>
          <a:p>
            <a:pPr algn="ctr" defTabSz="1088089">
              <a:buSzPct val="25000"/>
            </a:pPr>
            <a:r>
              <a:rPr lang="en-US" sz="600" b="1" kern="0" dirty="0">
                <a:solidFill>
                  <a:srgbClr val="000000"/>
                </a:solidFill>
                <a:ea typeface="Moovel Akkurat" charset="0"/>
                <a:cs typeface="Arial" panose="020B0604020202020204" pitchFamily="34" charset="0"/>
                <a:sym typeface="Arial"/>
              </a:rPr>
              <a:t>(</a:t>
            </a:r>
            <a:r>
              <a:rPr lang="en-US" sz="600" b="1" kern="0" dirty="0" err="1">
                <a:solidFill>
                  <a:srgbClr val="000000"/>
                </a:solidFill>
                <a:ea typeface="Moovel Akkurat" charset="0"/>
                <a:cs typeface="Arial" panose="020B0604020202020204" pitchFamily="34" charset="0"/>
                <a:sym typeface="Arial"/>
              </a:rPr>
              <a:t>VVS</a:t>
            </a:r>
            <a:r>
              <a:rPr lang="en-US" sz="600" b="1" kern="0" dirty="0">
                <a:solidFill>
                  <a:srgbClr val="000000"/>
                </a:solidFill>
                <a:ea typeface="Moovel Akkurat" charset="0"/>
                <a:cs typeface="Arial" panose="020B0604020202020204" pitchFamily="34" charset="0"/>
                <a:sym typeface="Arial"/>
              </a:rPr>
              <a:t>)</a:t>
            </a:r>
          </a:p>
        </p:txBody>
      </p:sp>
      <p:sp>
        <p:nvSpPr>
          <p:cNvPr id="721" name="Shape 2076"/>
          <p:cNvSpPr/>
          <p:nvPr/>
        </p:nvSpPr>
        <p:spPr>
          <a:xfrm>
            <a:off x="9051313" y="3910713"/>
            <a:ext cx="339848" cy="323947"/>
          </a:xfrm>
          <a:prstGeom prst="ellipse">
            <a:avLst/>
          </a:prstGeom>
          <a:solidFill>
            <a:srgbClr val="00B7BF">
              <a:alpha val="58823"/>
            </a:srgbClr>
          </a:solidFill>
          <a:ln>
            <a:noFill/>
          </a:ln>
        </p:spPr>
        <p:txBody>
          <a:bodyPr lIns="121794" tIns="121794" rIns="121794" bIns="121794" anchor="ctr" anchorCtr="0">
            <a:noAutofit/>
          </a:bodyPr>
          <a:lstStyle/>
          <a:p>
            <a:pPr algn="ctr" defTabSz="1088089"/>
            <a:endParaRPr lang="en-US" sz="900" b="1" kern="0" dirty="0">
              <a:solidFill>
                <a:srgbClr val="FFFFFF"/>
              </a:solidFill>
              <a:ea typeface="Arial"/>
              <a:cs typeface="Arial" panose="020B0604020202020204" pitchFamily="34" charset="0"/>
              <a:sym typeface="Arial"/>
            </a:endParaRPr>
          </a:p>
        </p:txBody>
      </p:sp>
      <p:pic>
        <p:nvPicPr>
          <p:cNvPr id="722" name="Shape 2077"/>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9187829" y="3702547"/>
            <a:ext cx="165021" cy="103607"/>
          </a:xfrm>
          <a:prstGeom prst="rect">
            <a:avLst/>
          </a:prstGeom>
          <a:noFill/>
          <a:ln>
            <a:noFill/>
          </a:ln>
        </p:spPr>
      </p:pic>
      <p:sp>
        <p:nvSpPr>
          <p:cNvPr id="723" name="Shape 2078"/>
          <p:cNvSpPr/>
          <p:nvPr/>
        </p:nvSpPr>
        <p:spPr>
          <a:xfrm>
            <a:off x="9248515" y="2800367"/>
            <a:ext cx="212837" cy="214884"/>
          </a:xfrm>
          <a:prstGeom prst="ellipse">
            <a:avLst/>
          </a:prstGeom>
          <a:solidFill>
            <a:srgbClr val="00B7BF">
              <a:alpha val="58823"/>
            </a:srgbClr>
          </a:solidFill>
          <a:ln>
            <a:noFill/>
          </a:ln>
        </p:spPr>
        <p:txBody>
          <a:bodyPr lIns="121794" tIns="121794" rIns="121794" bIns="121794" anchor="ctr" anchorCtr="0">
            <a:noAutofit/>
          </a:bodyPr>
          <a:lstStyle/>
          <a:p>
            <a:pPr algn="ctr" defTabSz="1088089"/>
            <a:endParaRPr lang="en-US" sz="900" b="1" kern="0" dirty="0">
              <a:solidFill>
                <a:srgbClr val="FFFFFF"/>
              </a:solidFill>
              <a:ea typeface="Arial"/>
              <a:cs typeface="Arial" panose="020B0604020202020204" pitchFamily="34" charset="0"/>
              <a:sym typeface="Arial"/>
            </a:endParaRPr>
          </a:p>
        </p:txBody>
      </p:sp>
      <p:pic>
        <p:nvPicPr>
          <p:cNvPr id="724" name="Shape 2079"/>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9666122" y="3091374"/>
            <a:ext cx="165021" cy="103607"/>
          </a:xfrm>
          <a:prstGeom prst="rect">
            <a:avLst/>
          </a:prstGeom>
          <a:noFill/>
          <a:ln>
            <a:noFill/>
          </a:ln>
        </p:spPr>
      </p:pic>
      <p:sp>
        <p:nvSpPr>
          <p:cNvPr id="725" name="Shape 2080"/>
          <p:cNvSpPr/>
          <p:nvPr/>
        </p:nvSpPr>
        <p:spPr>
          <a:xfrm>
            <a:off x="8893788" y="2332411"/>
            <a:ext cx="1518329" cy="132071"/>
          </a:xfrm>
          <a:prstGeom prst="rect">
            <a:avLst/>
          </a:prstGeom>
          <a:noFill/>
          <a:ln>
            <a:noFill/>
          </a:ln>
        </p:spPr>
        <p:txBody>
          <a:bodyPr lIns="95916" tIns="47959" rIns="95916" bIns="47959" anchor="ctr" anchorCtr="0">
            <a:noAutofit/>
          </a:bodyPr>
          <a:lstStyle/>
          <a:p>
            <a:pPr algn="ctr" defTabSz="1088089">
              <a:buSzPct val="25000"/>
            </a:pPr>
            <a:r>
              <a:rPr lang="en-US" sz="600" b="1" kern="0" dirty="0">
                <a:solidFill>
                  <a:srgbClr val="A5A5A5"/>
                </a:solidFill>
                <a:ea typeface="Moovel Akkurat" charset="0"/>
                <a:cs typeface="Arial" panose="020B0604020202020204" pitchFamily="34" charset="0"/>
                <a:sym typeface="Arial"/>
              </a:rPr>
              <a:t>Cities w/ booking capability</a:t>
            </a:r>
          </a:p>
        </p:txBody>
      </p:sp>
      <p:grpSp>
        <p:nvGrpSpPr>
          <p:cNvPr id="726" name="Group 621"/>
          <p:cNvGrpSpPr/>
          <p:nvPr/>
        </p:nvGrpSpPr>
        <p:grpSpPr>
          <a:xfrm>
            <a:off x="2368490" y="2160581"/>
            <a:ext cx="4841958" cy="2521124"/>
            <a:chOff x="571073" y="4200482"/>
            <a:chExt cx="4845882" cy="2523166"/>
          </a:xfrm>
        </p:grpSpPr>
        <p:grpSp>
          <p:nvGrpSpPr>
            <p:cNvPr id="727" name="Group 622"/>
            <p:cNvGrpSpPr/>
            <p:nvPr/>
          </p:nvGrpSpPr>
          <p:grpSpPr>
            <a:xfrm>
              <a:off x="571073" y="4200482"/>
              <a:ext cx="4845882" cy="2523166"/>
              <a:chOff x="9137847" y="4913770"/>
              <a:chExt cx="4343931" cy="2261809"/>
            </a:xfrm>
          </p:grpSpPr>
          <p:sp>
            <p:nvSpPr>
              <p:cNvPr id="732" name="Rounded Rectangle 627"/>
              <p:cNvSpPr/>
              <p:nvPr/>
            </p:nvSpPr>
            <p:spPr>
              <a:xfrm>
                <a:off x="9137847" y="4913770"/>
                <a:ext cx="4343931" cy="2261809"/>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089"/>
                <a:endParaRPr lang="en-US" sz="800" dirty="0">
                  <a:solidFill>
                    <a:prstClr val="white"/>
                  </a:solidFill>
                </a:endParaRPr>
              </a:p>
            </p:txBody>
          </p:sp>
          <p:grpSp>
            <p:nvGrpSpPr>
              <p:cNvPr id="733" name="Group 628"/>
              <p:cNvGrpSpPr/>
              <p:nvPr/>
            </p:nvGrpSpPr>
            <p:grpSpPr>
              <a:xfrm>
                <a:off x="9168902" y="4947641"/>
                <a:ext cx="4166107" cy="2194066"/>
                <a:chOff x="334497" y="3980603"/>
                <a:chExt cx="4165143" cy="2193559"/>
              </a:xfrm>
            </p:grpSpPr>
            <p:pic>
              <p:nvPicPr>
                <p:cNvPr id="734" name="Shape 2017"/>
                <p:cNvPicPr preferRelativeResize="0"/>
                <p:nvPr/>
              </p:nvPicPr>
              <p:blipFill rotWithShape="1">
                <a:blip r:embed="rId5" cstate="screen">
                  <a:alphaModFix amt="46000"/>
                  <a:duotone>
                    <a:prstClr val="black"/>
                    <a:schemeClr val="bg1">
                      <a:lumMod val="50000"/>
                      <a:tint val="45000"/>
                      <a:satMod val="400000"/>
                    </a:schemeClr>
                  </a:duotone>
                  <a:extLst>
                    <a:ext uri="{28A0092B-C50C-407E-A947-70E740481C1C}">
                      <a14:useLocalDpi xmlns:a14="http://schemas.microsoft.com/office/drawing/2010/main"/>
                    </a:ext>
                  </a:extLst>
                </a:blip>
                <a:srcRect/>
                <a:stretch/>
              </p:blipFill>
              <p:spPr>
                <a:xfrm>
                  <a:off x="334497" y="4083715"/>
                  <a:ext cx="4165143" cy="2090447"/>
                </a:xfrm>
                <a:prstGeom prst="rect">
                  <a:avLst/>
                </a:prstGeom>
                <a:noFill/>
                <a:ln>
                  <a:noFill/>
                </a:ln>
              </p:spPr>
            </p:pic>
            <p:sp>
              <p:nvSpPr>
                <p:cNvPr id="735" name="Shape 2018"/>
                <p:cNvSpPr/>
                <p:nvPr/>
              </p:nvSpPr>
              <p:spPr>
                <a:xfrm>
                  <a:off x="444173" y="4383013"/>
                  <a:ext cx="124937" cy="124937"/>
                </a:xfrm>
                <a:prstGeom prst="ellipse">
                  <a:avLst/>
                </a:prstGeom>
                <a:solidFill>
                  <a:srgbClr val="00B7BF">
                    <a:alpha val="71764"/>
                  </a:srgbClr>
                </a:solidFill>
                <a:ln>
                  <a:noFill/>
                </a:ln>
              </p:spPr>
              <p:txBody>
                <a:bodyPr lIns="0" tIns="121794" rIns="0" bIns="121794" anchor="ctr" anchorCtr="0">
                  <a:noAutofit/>
                </a:bodyPr>
                <a:lstStyle/>
                <a:p>
                  <a:pPr algn="ctr" defTabSz="1088089"/>
                  <a:endParaRPr lang="en-US" sz="800" b="1" kern="0" dirty="0">
                    <a:solidFill>
                      <a:srgbClr val="FFFFFF"/>
                    </a:solidFill>
                    <a:ea typeface="Moovel Akkurat" charset="0"/>
                    <a:cs typeface="Arial" panose="020B0604020202020204" pitchFamily="34" charset="0"/>
                    <a:sym typeface="Arial"/>
                  </a:endParaRPr>
                </a:p>
              </p:txBody>
            </p:sp>
            <p:sp>
              <p:nvSpPr>
                <p:cNvPr id="736" name="Shape 2019"/>
                <p:cNvSpPr/>
                <p:nvPr/>
              </p:nvSpPr>
              <p:spPr>
                <a:xfrm>
                  <a:off x="507255" y="4998281"/>
                  <a:ext cx="124937" cy="124937"/>
                </a:xfrm>
                <a:prstGeom prst="ellipse">
                  <a:avLst/>
                </a:prstGeom>
                <a:solidFill>
                  <a:srgbClr val="00B7BF">
                    <a:alpha val="71764"/>
                  </a:srgbClr>
                </a:solidFill>
                <a:ln>
                  <a:noFill/>
                </a:ln>
              </p:spPr>
              <p:txBody>
                <a:bodyPr lIns="0" tIns="121794" rIns="0" bIns="121794" anchor="ctr" anchorCtr="0">
                  <a:noAutofit/>
                </a:bodyPr>
                <a:lstStyle/>
                <a:p>
                  <a:pPr algn="ctr" defTabSz="1088089"/>
                  <a:endParaRPr lang="en-US" sz="800" b="1" kern="0" dirty="0">
                    <a:solidFill>
                      <a:srgbClr val="FFFFFF"/>
                    </a:solidFill>
                    <a:ea typeface="Moovel Akkurat" charset="0"/>
                    <a:cs typeface="Arial" panose="020B0604020202020204" pitchFamily="34" charset="0"/>
                    <a:sym typeface="Arial"/>
                  </a:endParaRPr>
                </a:p>
              </p:txBody>
            </p:sp>
            <p:sp>
              <p:nvSpPr>
                <p:cNvPr id="737" name="Shape 2020"/>
                <p:cNvSpPr/>
                <p:nvPr/>
              </p:nvSpPr>
              <p:spPr>
                <a:xfrm>
                  <a:off x="3688248" y="5092051"/>
                  <a:ext cx="124937" cy="124937"/>
                </a:xfrm>
                <a:prstGeom prst="ellipse">
                  <a:avLst/>
                </a:prstGeom>
                <a:solidFill>
                  <a:srgbClr val="00B7BF">
                    <a:alpha val="75686"/>
                  </a:srgbClr>
                </a:solidFill>
                <a:ln>
                  <a:noFill/>
                </a:ln>
              </p:spPr>
              <p:txBody>
                <a:bodyPr lIns="0" tIns="121794" rIns="0" bIns="121794" anchor="ctr" anchorCtr="0">
                  <a:noAutofit/>
                </a:bodyPr>
                <a:lstStyle/>
                <a:p>
                  <a:pPr algn="ctr" defTabSz="1088089"/>
                  <a:endParaRPr lang="en-US" sz="800" b="1" kern="0" dirty="0">
                    <a:solidFill>
                      <a:srgbClr val="FFFFFF"/>
                    </a:solidFill>
                    <a:ea typeface="Moovel Akkurat" charset="0"/>
                    <a:cs typeface="Arial" panose="020B0604020202020204" pitchFamily="34" charset="0"/>
                    <a:sym typeface="Arial"/>
                  </a:endParaRPr>
                </a:p>
              </p:txBody>
            </p:sp>
            <p:sp>
              <p:nvSpPr>
                <p:cNvPr id="738" name="Shape 2021"/>
                <p:cNvSpPr/>
                <p:nvPr/>
              </p:nvSpPr>
              <p:spPr>
                <a:xfrm>
                  <a:off x="813251" y="5327988"/>
                  <a:ext cx="124937" cy="124937"/>
                </a:xfrm>
                <a:prstGeom prst="ellipse">
                  <a:avLst/>
                </a:prstGeom>
                <a:solidFill>
                  <a:srgbClr val="00B7BF">
                    <a:alpha val="71764"/>
                  </a:srgbClr>
                </a:solidFill>
                <a:ln>
                  <a:noFill/>
                </a:ln>
              </p:spPr>
              <p:txBody>
                <a:bodyPr lIns="0" tIns="121794" rIns="0" bIns="121794" anchor="ctr" anchorCtr="0">
                  <a:noAutofit/>
                </a:bodyPr>
                <a:lstStyle/>
                <a:p>
                  <a:pPr algn="ctr" defTabSz="1088089"/>
                  <a:endParaRPr lang="en-US" sz="800" b="1" kern="0" dirty="0">
                    <a:solidFill>
                      <a:srgbClr val="FFFFFF"/>
                    </a:solidFill>
                    <a:ea typeface="Moovel Akkurat" charset="0"/>
                    <a:cs typeface="Arial" panose="020B0604020202020204" pitchFamily="34" charset="0"/>
                    <a:sym typeface="Arial"/>
                  </a:endParaRPr>
                </a:p>
              </p:txBody>
            </p:sp>
            <p:sp>
              <p:nvSpPr>
                <p:cNvPr id="739" name="Shape 2022"/>
                <p:cNvSpPr/>
                <p:nvPr/>
              </p:nvSpPr>
              <p:spPr>
                <a:xfrm>
                  <a:off x="1978321" y="4619684"/>
                  <a:ext cx="796253" cy="185238"/>
                </a:xfrm>
                <a:prstGeom prst="rect">
                  <a:avLst/>
                </a:prstGeom>
                <a:noFill/>
                <a:ln>
                  <a:noFill/>
                </a:ln>
              </p:spPr>
              <p:txBody>
                <a:bodyPr lIns="0" tIns="47959" rIns="0" bIns="47959" anchor="ctr" anchorCtr="0">
                  <a:noAutofit/>
                </a:bodyPr>
                <a:lstStyle/>
                <a:p>
                  <a:pPr algn="ctr" defTabSz="1088089">
                    <a:buSzPct val="25000"/>
                  </a:pPr>
                  <a:r>
                    <a:rPr lang="en-US" sz="800" b="1" kern="0" dirty="0">
                      <a:solidFill>
                        <a:srgbClr val="000000"/>
                      </a:solidFill>
                      <a:ea typeface="Moovel Akkurat" charset="0"/>
                      <a:cs typeface="Arial" panose="020B0604020202020204" pitchFamily="34" charset="0"/>
                      <a:sym typeface="Arial"/>
                    </a:rPr>
                    <a:t>CTA, Pace, Metra</a:t>
                  </a:r>
                </a:p>
                <a:p>
                  <a:pPr algn="ctr" defTabSz="1088089">
                    <a:buSzPct val="25000"/>
                  </a:pPr>
                  <a:r>
                    <a:rPr lang="en-US" sz="800" b="1" kern="0" dirty="0">
                      <a:solidFill>
                        <a:srgbClr val="000000"/>
                      </a:solidFill>
                      <a:ea typeface="Moovel Akkurat" charset="0"/>
                      <a:cs typeface="Arial" panose="020B0604020202020204" pitchFamily="34" charset="0"/>
                      <a:sym typeface="Arial"/>
                    </a:rPr>
                    <a:t>(Ventra App)</a:t>
                  </a:r>
                </a:p>
              </p:txBody>
            </p:sp>
            <p:pic>
              <p:nvPicPr>
                <p:cNvPr id="740" name="Shape 2023"/>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2733981" y="4670148"/>
                  <a:ext cx="132663" cy="83291"/>
                </a:xfrm>
                <a:prstGeom prst="rect">
                  <a:avLst/>
                </a:prstGeom>
                <a:noFill/>
                <a:ln>
                  <a:noFill/>
                </a:ln>
              </p:spPr>
            </p:pic>
            <p:sp>
              <p:nvSpPr>
                <p:cNvPr id="741" name="Shape 2024"/>
                <p:cNvSpPr/>
                <p:nvPr/>
              </p:nvSpPr>
              <p:spPr>
                <a:xfrm>
                  <a:off x="3174144" y="5117290"/>
                  <a:ext cx="391426" cy="66895"/>
                </a:xfrm>
                <a:prstGeom prst="rect">
                  <a:avLst/>
                </a:prstGeom>
                <a:noFill/>
                <a:ln>
                  <a:noFill/>
                </a:ln>
              </p:spPr>
              <p:txBody>
                <a:bodyPr lIns="0" tIns="47959" rIns="0" bIns="47959" anchor="ctr" anchorCtr="0">
                  <a:noAutofit/>
                </a:bodyPr>
                <a:lstStyle/>
                <a:p>
                  <a:pPr algn="ctr" defTabSz="1088089">
                    <a:buSzPct val="25000"/>
                  </a:pPr>
                  <a:r>
                    <a:rPr lang="en-US" sz="800" b="1" kern="0" dirty="0" err="1">
                      <a:solidFill>
                        <a:srgbClr val="000000"/>
                      </a:solidFill>
                      <a:ea typeface="Moovel Akkurat" charset="0"/>
                      <a:cs typeface="Arial" panose="020B0604020202020204" pitchFamily="34" charset="0"/>
                      <a:sym typeface="Arial"/>
                    </a:rPr>
                    <a:t>VRE</a:t>
                  </a:r>
                  <a:endParaRPr lang="en-US" sz="800" b="1" kern="0" dirty="0">
                    <a:solidFill>
                      <a:srgbClr val="000000"/>
                    </a:solidFill>
                    <a:ea typeface="Moovel Akkurat" charset="0"/>
                    <a:cs typeface="Arial" panose="020B0604020202020204" pitchFamily="34" charset="0"/>
                    <a:sym typeface="Arial"/>
                  </a:endParaRPr>
                </a:p>
              </p:txBody>
            </p:sp>
            <p:pic>
              <p:nvPicPr>
                <p:cNvPr id="742" name="Shape 2025"/>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3550944" y="5115512"/>
                  <a:ext cx="132663" cy="83291"/>
                </a:xfrm>
                <a:prstGeom prst="rect">
                  <a:avLst/>
                </a:prstGeom>
                <a:noFill/>
                <a:ln>
                  <a:noFill/>
                </a:ln>
              </p:spPr>
            </p:pic>
            <p:sp>
              <p:nvSpPr>
                <p:cNvPr id="743" name="Shape 2026"/>
                <p:cNvSpPr/>
                <p:nvPr/>
              </p:nvSpPr>
              <p:spPr>
                <a:xfrm>
                  <a:off x="1383752" y="5309736"/>
                  <a:ext cx="71419" cy="71419"/>
                </a:xfrm>
                <a:prstGeom prst="ellipse">
                  <a:avLst/>
                </a:prstGeom>
                <a:solidFill>
                  <a:srgbClr val="00B7BF">
                    <a:alpha val="71764"/>
                  </a:srgbClr>
                </a:solidFill>
                <a:ln>
                  <a:noFill/>
                </a:ln>
              </p:spPr>
              <p:txBody>
                <a:bodyPr lIns="0" tIns="121794" rIns="0" bIns="121794" anchor="ctr" anchorCtr="0">
                  <a:noAutofit/>
                </a:bodyPr>
                <a:lstStyle/>
                <a:p>
                  <a:pPr algn="ctr" defTabSz="1088089"/>
                  <a:endParaRPr lang="en-US" sz="800" b="1" kern="0" dirty="0">
                    <a:solidFill>
                      <a:srgbClr val="FFFFFF"/>
                    </a:solidFill>
                    <a:ea typeface="Moovel Akkurat" charset="0"/>
                    <a:cs typeface="Arial" panose="020B0604020202020204" pitchFamily="34" charset="0"/>
                    <a:sym typeface="Arial"/>
                  </a:endParaRPr>
                </a:p>
              </p:txBody>
            </p:sp>
            <p:sp>
              <p:nvSpPr>
                <p:cNvPr id="744" name="Shape 2027"/>
                <p:cNvSpPr/>
                <p:nvPr/>
              </p:nvSpPr>
              <p:spPr>
                <a:xfrm>
                  <a:off x="579109" y="4350039"/>
                  <a:ext cx="578142" cy="52184"/>
                </a:xfrm>
                <a:prstGeom prst="rect">
                  <a:avLst/>
                </a:prstGeom>
                <a:noFill/>
                <a:ln>
                  <a:noFill/>
                </a:ln>
              </p:spPr>
              <p:txBody>
                <a:bodyPr lIns="0" tIns="47959" rIns="0" bIns="47959" anchor="ctr" anchorCtr="0">
                  <a:noAutofit/>
                </a:bodyPr>
                <a:lstStyle/>
                <a:p>
                  <a:pPr algn="ctr" defTabSz="1088089">
                    <a:buSzPct val="25000"/>
                  </a:pPr>
                  <a:r>
                    <a:rPr lang="en-US" sz="800" b="1" kern="0" dirty="0" err="1">
                      <a:solidFill>
                        <a:srgbClr val="000000"/>
                      </a:solidFill>
                      <a:ea typeface="Moovel Akkurat" charset="0"/>
                      <a:cs typeface="Arial" panose="020B0604020202020204" pitchFamily="34" charset="0"/>
                      <a:sym typeface="Arial"/>
                    </a:rPr>
                    <a:t>TriMet</a:t>
                  </a:r>
                  <a:endParaRPr lang="en-US" sz="800" b="1" kern="0" dirty="0">
                    <a:solidFill>
                      <a:srgbClr val="000000"/>
                    </a:solidFill>
                    <a:ea typeface="Moovel Akkurat" charset="0"/>
                    <a:cs typeface="Arial" panose="020B0604020202020204" pitchFamily="34" charset="0"/>
                    <a:sym typeface="Arial"/>
                  </a:endParaRPr>
                </a:p>
              </p:txBody>
            </p:sp>
            <p:sp>
              <p:nvSpPr>
                <p:cNvPr id="745" name="Shape 2028"/>
                <p:cNvSpPr/>
                <p:nvPr/>
              </p:nvSpPr>
              <p:spPr>
                <a:xfrm>
                  <a:off x="649502" y="5011456"/>
                  <a:ext cx="539638" cy="75875"/>
                </a:xfrm>
                <a:prstGeom prst="rect">
                  <a:avLst/>
                </a:prstGeom>
                <a:noFill/>
                <a:ln>
                  <a:noFill/>
                </a:ln>
              </p:spPr>
              <p:txBody>
                <a:bodyPr lIns="0" tIns="47959" rIns="0" bIns="47959" anchor="ctr" anchorCtr="0">
                  <a:noAutofit/>
                </a:bodyPr>
                <a:lstStyle/>
                <a:p>
                  <a:pPr algn="ctr" defTabSz="1088089">
                    <a:buSzPct val="25000"/>
                  </a:pPr>
                  <a:r>
                    <a:rPr lang="en-US" sz="800" b="1" kern="0" dirty="0">
                      <a:solidFill>
                        <a:srgbClr val="000000"/>
                      </a:solidFill>
                      <a:ea typeface="Moovel Akkurat" charset="0"/>
                      <a:cs typeface="Arial" panose="020B0604020202020204" pitchFamily="34" charset="0"/>
                      <a:sym typeface="Arial"/>
                    </a:rPr>
                    <a:t>SF Muni</a:t>
                  </a:r>
                </a:p>
              </p:txBody>
            </p:sp>
            <p:pic>
              <p:nvPicPr>
                <p:cNvPr id="746" name="Shape 2029"/>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544475" y="4351892"/>
                  <a:ext cx="132663" cy="83291"/>
                </a:xfrm>
                <a:prstGeom prst="rect">
                  <a:avLst/>
                </a:prstGeom>
                <a:noFill/>
                <a:ln>
                  <a:noFill/>
                </a:ln>
              </p:spPr>
            </p:pic>
            <p:pic>
              <p:nvPicPr>
                <p:cNvPr id="747" name="Shape 2030"/>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626217" y="5019138"/>
                  <a:ext cx="132663" cy="83291"/>
                </a:xfrm>
                <a:prstGeom prst="rect">
                  <a:avLst/>
                </a:prstGeom>
                <a:noFill/>
                <a:ln>
                  <a:noFill/>
                </a:ln>
              </p:spPr>
            </p:pic>
            <p:sp>
              <p:nvSpPr>
                <p:cNvPr id="748" name="Shape 2031"/>
                <p:cNvSpPr/>
                <p:nvPr/>
              </p:nvSpPr>
              <p:spPr>
                <a:xfrm>
                  <a:off x="881091" y="5389129"/>
                  <a:ext cx="124937" cy="124936"/>
                </a:xfrm>
                <a:prstGeom prst="ellipse">
                  <a:avLst/>
                </a:prstGeom>
                <a:solidFill>
                  <a:srgbClr val="00B7BF">
                    <a:alpha val="71764"/>
                  </a:srgbClr>
                </a:solidFill>
                <a:ln>
                  <a:noFill/>
                </a:ln>
              </p:spPr>
              <p:txBody>
                <a:bodyPr lIns="0" tIns="121794" rIns="0" bIns="121794" anchor="ctr" anchorCtr="0">
                  <a:noAutofit/>
                </a:bodyPr>
                <a:lstStyle/>
                <a:p>
                  <a:pPr algn="ctr" defTabSz="1088089"/>
                  <a:endParaRPr lang="en-US" sz="800" b="1" kern="0" dirty="0">
                    <a:solidFill>
                      <a:srgbClr val="FFFFFF"/>
                    </a:solidFill>
                    <a:ea typeface="Moovel Akkurat" charset="0"/>
                    <a:cs typeface="Arial" panose="020B0604020202020204" pitchFamily="34" charset="0"/>
                    <a:sym typeface="Arial"/>
                  </a:endParaRPr>
                </a:p>
              </p:txBody>
            </p:sp>
            <p:pic>
              <p:nvPicPr>
                <p:cNvPr id="749" name="Shape 2032"/>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743753" y="5450626"/>
                  <a:ext cx="132663" cy="83291"/>
                </a:xfrm>
                <a:prstGeom prst="rect">
                  <a:avLst/>
                </a:prstGeom>
                <a:noFill/>
                <a:ln>
                  <a:noFill/>
                </a:ln>
              </p:spPr>
            </p:pic>
            <p:sp>
              <p:nvSpPr>
                <p:cNvPr id="750" name="Shape 2033"/>
                <p:cNvSpPr/>
                <p:nvPr/>
              </p:nvSpPr>
              <p:spPr>
                <a:xfrm>
                  <a:off x="1503643" y="5287723"/>
                  <a:ext cx="492777" cy="76696"/>
                </a:xfrm>
                <a:prstGeom prst="rect">
                  <a:avLst/>
                </a:prstGeom>
                <a:noFill/>
                <a:ln>
                  <a:noFill/>
                </a:ln>
              </p:spPr>
              <p:txBody>
                <a:bodyPr lIns="0" tIns="47959" rIns="0" bIns="47959" anchor="ctr" anchorCtr="0">
                  <a:noAutofit/>
                </a:bodyPr>
                <a:lstStyle/>
                <a:p>
                  <a:pPr algn="ctr" defTabSz="1088089">
                    <a:buSzPct val="25000"/>
                  </a:pPr>
                  <a:r>
                    <a:rPr lang="en-US" sz="800" b="1" kern="0" dirty="0">
                      <a:solidFill>
                        <a:srgbClr val="000000"/>
                      </a:solidFill>
                      <a:ea typeface="Moovel Akkurat" charset="0"/>
                      <a:cs typeface="Arial" panose="020B0604020202020204" pitchFamily="34" charset="0"/>
                      <a:sym typeface="Arial"/>
                    </a:rPr>
                    <a:t>Valley Metro</a:t>
                  </a:r>
                </a:p>
              </p:txBody>
            </p:sp>
            <p:pic>
              <p:nvPicPr>
                <p:cNvPr id="751" name="Shape 2034"/>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452366" y="5306498"/>
                  <a:ext cx="132663" cy="83291"/>
                </a:xfrm>
                <a:prstGeom prst="rect">
                  <a:avLst/>
                </a:prstGeom>
                <a:noFill/>
                <a:ln>
                  <a:noFill/>
                </a:ln>
              </p:spPr>
            </p:pic>
            <p:sp>
              <p:nvSpPr>
                <p:cNvPr id="752" name="Shape 2035"/>
                <p:cNvSpPr/>
                <p:nvPr/>
              </p:nvSpPr>
              <p:spPr>
                <a:xfrm>
                  <a:off x="2591286" y="4285621"/>
                  <a:ext cx="171106" cy="172750"/>
                </a:xfrm>
                <a:prstGeom prst="ellipse">
                  <a:avLst/>
                </a:prstGeom>
                <a:solidFill>
                  <a:srgbClr val="00B7BF">
                    <a:alpha val="58823"/>
                  </a:srgbClr>
                </a:solidFill>
                <a:ln>
                  <a:noFill/>
                </a:ln>
              </p:spPr>
              <p:txBody>
                <a:bodyPr lIns="0" tIns="121794" rIns="0" bIns="121794" anchor="ctr" anchorCtr="0">
                  <a:noAutofit/>
                </a:bodyPr>
                <a:lstStyle/>
                <a:p>
                  <a:pPr algn="ctr" defTabSz="1088089"/>
                  <a:endParaRPr lang="en-US" sz="800" b="1" kern="0" dirty="0">
                    <a:solidFill>
                      <a:srgbClr val="FFFFFF"/>
                    </a:solidFill>
                    <a:ea typeface="Moovel Akkurat" charset="0"/>
                    <a:cs typeface="Arial" panose="020B0604020202020204" pitchFamily="34" charset="0"/>
                    <a:sym typeface="Arial"/>
                  </a:endParaRPr>
                </a:p>
              </p:txBody>
            </p:sp>
            <p:sp>
              <p:nvSpPr>
                <p:cNvPr id="753" name="Shape 2036"/>
                <p:cNvSpPr/>
                <p:nvPr/>
              </p:nvSpPr>
              <p:spPr>
                <a:xfrm>
                  <a:off x="1730158" y="4295218"/>
                  <a:ext cx="769801" cy="149811"/>
                </a:xfrm>
                <a:prstGeom prst="rect">
                  <a:avLst/>
                </a:prstGeom>
                <a:noFill/>
                <a:ln>
                  <a:noFill/>
                </a:ln>
              </p:spPr>
              <p:txBody>
                <a:bodyPr lIns="0" tIns="47959" rIns="0" bIns="47959" anchor="ctr" anchorCtr="0">
                  <a:noAutofit/>
                </a:bodyPr>
                <a:lstStyle/>
                <a:p>
                  <a:pPr algn="ctr" defTabSz="1088089">
                    <a:buSzPct val="25000"/>
                  </a:pPr>
                  <a:r>
                    <a:rPr lang="en-US" sz="800" b="1" kern="0" dirty="0">
                      <a:solidFill>
                        <a:srgbClr val="000000"/>
                      </a:solidFill>
                      <a:ea typeface="Moovel Akkurat" charset="0"/>
                      <a:cs typeface="Arial" panose="020B0604020202020204" pitchFamily="34" charset="0"/>
                      <a:sym typeface="Arial"/>
                    </a:rPr>
                    <a:t>Metro Transit </a:t>
                  </a:r>
                </a:p>
                <a:p>
                  <a:pPr algn="ctr" defTabSz="1088089">
                    <a:buSzPct val="25000"/>
                  </a:pPr>
                  <a:r>
                    <a:rPr lang="en-US" sz="800" b="1" kern="0" dirty="0">
                      <a:solidFill>
                        <a:srgbClr val="000000"/>
                      </a:solidFill>
                      <a:ea typeface="Moovel Akkurat" charset="0"/>
                      <a:cs typeface="Arial" panose="020B0604020202020204" pitchFamily="34" charset="0"/>
                      <a:sym typeface="Arial"/>
                    </a:rPr>
                    <a:t>(Minneapolis)</a:t>
                  </a:r>
                </a:p>
              </p:txBody>
            </p:sp>
            <p:pic>
              <p:nvPicPr>
                <p:cNvPr id="754" name="Shape 2037"/>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2456442" y="4318911"/>
                  <a:ext cx="132663" cy="83291"/>
                </a:xfrm>
                <a:prstGeom prst="rect">
                  <a:avLst/>
                </a:prstGeom>
                <a:noFill/>
                <a:ln>
                  <a:noFill/>
                </a:ln>
              </p:spPr>
            </p:pic>
            <p:sp>
              <p:nvSpPr>
                <p:cNvPr id="755" name="Shape 2038"/>
                <p:cNvSpPr/>
                <p:nvPr/>
              </p:nvSpPr>
              <p:spPr>
                <a:xfrm>
                  <a:off x="3337374" y="5409549"/>
                  <a:ext cx="702549" cy="70365"/>
                </a:xfrm>
                <a:prstGeom prst="rect">
                  <a:avLst/>
                </a:prstGeom>
                <a:noFill/>
                <a:ln>
                  <a:noFill/>
                </a:ln>
              </p:spPr>
              <p:txBody>
                <a:bodyPr lIns="0" tIns="47959" rIns="0" bIns="47959" anchor="ctr" anchorCtr="0">
                  <a:noAutofit/>
                </a:bodyPr>
                <a:lstStyle/>
                <a:p>
                  <a:pPr algn="ctr" defTabSz="1088089">
                    <a:buSzPct val="25000"/>
                  </a:pPr>
                  <a:r>
                    <a:rPr lang="en-US" sz="800" b="1" kern="0" dirty="0" err="1">
                      <a:solidFill>
                        <a:srgbClr val="000000"/>
                      </a:solidFill>
                      <a:ea typeface="Moovel Akkurat" charset="0"/>
                      <a:cs typeface="Arial" panose="020B0604020202020204" pitchFamily="34" charset="0"/>
                      <a:sym typeface="Arial"/>
                    </a:rPr>
                    <a:t>ATL</a:t>
                  </a:r>
                  <a:r>
                    <a:rPr lang="en-US" sz="800" b="1" kern="0" dirty="0">
                      <a:solidFill>
                        <a:srgbClr val="000000"/>
                      </a:solidFill>
                      <a:ea typeface="Moovel Akkurat" charset="0"/>
                      <a:cs typeface="Arial" panose="020B0604020202020204" pitchFamily="34" charset="0"/>
                      <a:sym typeface="Arial"/>
                    </a:rPr>
                    <a:t> Streetcar</a:t>
                  </a:r>
                </a:p>
              </p:txBody>
            </p:sp>
            <p:pic>
              <p:nvPicPr>
                <p:cNvPr id="756" name="Shape 2039"/>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3268546" y="5411142"/>
                  <a:ext cx="132663" cy="83291"/>
                </a:xfrm>
                <a:prstGeom prst="rect">
                  <a:avLst/>
                </a:prstGeom>
                <a:noFill/>
                <a:ln>
                  <a:noFill/>
                </a:ln>
              </p:spPr>
            </p:pic>
            <p:sp>
              <p:nvSpPr>
                <p:cNvPr id="757" name="Shape 2040"/>
                <p:cNvSpPr/>
                <p:nvPr/>
              </p:nvSpPr>
              <p:spPr>
                <a:xfrm>
                  <a:off x="2361589" y="5762399"/>
                  <a:ext cx="124937" cy="124937"/>
                </a:xfrm>
                <a:prstGeom prst="ellipse">
                  <a:avLst/>
                </a:prstGeom>
                <a:solidFill>
                  <a:srgbClr val="00B7BF">
                    <a:alpha val="71764"/>
                  </a:srgbClr>
                </a:solidFill>
                <a:ln>
                  <a:noFill/>
                </a:ln>
              </p:spPr>
              <p:txBody>
                <a:bodyPr lIns="0" tIns="121794" rIns="0" bIns="121794" anchor="ctr" anchorCtr="0">
                  <a:noAutofit/>
                </a:bodyPr>
                <a:lstStyle/>
                <a:p>
                  <a:pPr algn="ctr" defTabSz="1088089"/>
                  <a:endParaRPr lang="en-US" sz="800" b="1" kern="0" dirty="0">
                    <a:solidFill>
                      <a:srgbClr val="FFFFFF"/>
                    </a:solidFill>
                    <a:ea typeface="Moovel Akkurat" charset="0"/>
                    <a:cs typeface="Arial" panose="020B0604020202020204" pitchFamily="34" charset="0"/>
                    <a:sym typeface="Arial"/>
                  </a:endParaRPr>
                </a:p>
              </p:txBody>
            </p:sp>
            <p:sp>
              <p:nvSpPr>
                <p:cNvPr id="758" name="Shape 2041"/>
                <p:cNvSpPr/>
                <p:nvPr/>
              </p:nvSpPr>
              <p:spPr>
                <a:xfrm>
                  <a:off x="2468465" y="5862569"/>
                  <a:ext cx="508787" cy="72607"/>
                </a:xfrm>
                <a:prstGeom prst="rect">
                  <a:avLst/>
                </a:prstGeom>
                <a:noFill/>
                <a:ln>
                  <a:noFill/>
                </a:ln>
              </p:spPr>
              <p:txBody>
                <a:bodyPr lIns="0" tIns="47959" rIns="0" bIns="47959" anchor="ctr" anchorCtr="0">
                  <a:noAutofit/>
                </a:bodyPr>
                <a:lstStyle/>
                <a:p>
                  <a:pPr algn="ctr" defTabSz="1088089">
                    <a:buSzPct val="25000"/>
                  </a:pPr>
                  <a:r>
                    <a:rPr lang="en-US" sz="800" b="1" kern="0" dirty="0">
                      <a:solidFill>
                        <a:srgbClr val="FFFFFF"/>
                      </a:solidFill>
                      <a:ea typeface="Moovel Akkurat" charset="0"/>
                      <a:cs typeface="Arial" panose="020B0604020202020204" pitchFamily="34" charset="0"/>
                      <a:sym typeface="Arial"/>
                    </a:rPr>
                    <a:t>Houston</a:t>
                  </a:r>
                </a:p>
              </p:txBody>
            </p:sp>
            <p:pic>
              <p:nvPicPr>
                <p:cNvPr id="759" name="Shape 2042"/>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2488509" y="5780463"/>
                  <a:ext cx="132663" cy="83291"/>
                </a:xfrm>
                <a:prstGeom prst="rect">
                  <a:avLst/>
                </a:prstGeom>
                <a:noFill/>
                <a:ln>
                  <a:noFill/>
                </a:ln>
              </p:spPr>
            </p:pic>
            <p:sp>
              <p:nvSpPr>
                <p:cNvPr id="760" name="Shape 2043"/>
                <p:cNvSpPr/>
                <p:nvPr/>
              </p:nvSpPr>
              <p:spPr>
                <a:xfrm>
                  <a:off x="907850" y="5391675"/>
                  <a:ext cx="71419" cy="71419"/>
                </a:xfrm>
                <a:prstGeom prst="ellipse">
                  <a:avLst/>
                </a:prstGeom>
                <a:solidFill>
                  <a:srgbClr val="00B7BF"/>
                </a:solidFill>
                <a:ln>
                  <a:noFill/>
                </a:ln>
              </p:spPr>
              <p:txBody>
                <a:bodyPr lIns="0" tIns="121794" rIns="0" bIns="121794" anchor="ctr" anchorCtr="0">
                  <a:noAutofit/>
                </a:bodyPr>
                <a:lstStyle/>
                <a:p>
                  <a:pPr algn="ctr" defTabSz="1088089"/>
                  <a:endParaRPr lang="en-US" sz="800" b="1" kern="0" dirty="0">
                    <a:solidFill>
                      <a:srgbClr val="FFFFFF"/>
                    </a:solidFill>
                    <a:ea typeface="Moovel Akkurat" charset="0"/>
                    <a:cs typeface="Arial" panose="020B0604020202020204" pitchFamily="34" charset="0"/>
                    <a:sym typeface="Arial"/>
                  </a:endParaRPr>
                </a:p>
              </p:txBody>
            </p:sp>
            <p:sp>
              <p:nvSpPr>
                <p:cNvPr id="761" name="Shape 2044"/>
                <p:cNvSpPr/>
                <p:nvPr/>
              </p:nvSpPr>
              <p:spPr>
                <a:xfrm>
                  <a:off x="1009546" y="5336680"/>
                  <a:ext cx="393030" cy="45706"/>
                </a:xfrm>
                <a:prstGeom prst="rect">
                  <a:avLst/>
                </a:prstGeom>
                <a:noFill/>
                <a:ln>
                  <a:noFill/>
                </a:ln>
              </p:spPr>
              <p:txBody>
                <a:bodyPr lIns="0" tIns="47959" rIns="0" bIns="47959" anchor="ctr" anchorCtr="0">
                  <a:noAutofit/>
                </a:bodyPr>
                <a:lstStyle/>
                <a:p>
                  <a:pPr algn="ctr" defTabSz="1088089">
                    <a:buSzPct val="25000"/>
                  </a:pPr>
                  <a:r>
                    <a:rPr lang="en-US" sz="800" b="1" kern="0" dirty="0" err="1">
                      <a:solidFill>
                        <a:srgbClr val="000000"/>
                      </a:solidFill>
                      <a:ea typeface="Moovel Akkurat" charset="0"/>
                      <a:cs typeface="Arial" panose="020B0604020202020204" pitchFamily="34" charset="0"/>
                      <a:sym typeface="Arial"/>
                    </a:rPr>
                    <a:t>OCTA</a:t>
                  </a:r>
                  <a:endParaRPr lang="en-US" sz="800" b="1" kern="0" dirty="0">
                    <a:solidFill>
                      <a:srgbClr val="000000"/>
                    </a:solidFill>
                    <a:ea typeface="Moovel Akkurat" charset="0"/>
                    <a:cs typeface="Arial" panose="020B0604020202020204" pitchFamily="34" charset="0"/>
                    <a:sym typeface="Arial"/>
                  </a:endParaRPr>
                </a:p>
              </p:txBody>
            </p:sp>
            <p:pic>
              <p:nvPicPr>
                <p:cNvPr id="762" name="Shape 2045"/>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941988" y="5336872"/>
                  <a:ext cx="132663" cy="83291"/>
                </a:xfrm>
                <a:prstGeom prst="rect">
                  <a:avLst/>
                </a:prstGeom>
                <a:noFill/>
                <a:ln>
                  <a:noFill/>
                </a:ln>
              </p:spPr>
            </p:pic>
            <p:sp>
              <p:nvSpPr>
                <p:cNvPr id="763" name="Shape 2046"/>
                <p:cNvSpPr/>
                <p:nvPr/>
              </p:nvSpPr>
              <p:spPr>
                <a:xfrm>
                  <a:off x="522764" y="4436655"/>
                  <a:ext cx="71419" cy="71419"/>
                </a:xfrm>
                <a:prstGeom prst="ellipse">
                  <a:avLst/>
                </a:prstGeom>
                <a:solidFill>
                  <a:srgbClr val="00B7BF">
                    <a:alpha val="74901"/>
                  </a:srgbClr>
                </a:solidFill>
                <a:ln>
                  <a:noFill/>
                </a:ln>
              </p:spPr>
              <p:txBody>
                <a:bodyPr lIns="0" tIns="121794" rIns="0" bIns="121794" anchor="ctr" anchorCtr="0">
                  <a:noAutofit/>
                </a:bodyPr>
                <a:lstStyle/>
                <a:p>
                  <a:pPr algn="ctr" defTabSz="1088089"/>
                  <a:endParaRPr lang="en-US" sz="800" b="1" kern="0" dirty="0">
                    <a:solidFill>
                      <a:srgbClr val="FFFFFF"/>
                    </a:solidFill>
                    <a:ea typeface="Moovel Akkurat" charset="0"/>
                    <a:cs typeface="Arial" panose="020B0604020202020204" pitchFamily="34" charset="0"/>
                    <a:sym typeface="Arial"/>
                  </a:endParaRPr>
                </a:p>
              </p:txBody>
            </p:sp>
            <p:sp>
              <p:nvSpPr>
                <p:cNvPr id="764" name="Shape 2047"/>
                <p:cNvSpPr/>
                <p:nvPr/>
              </p:nvSpPr>
              <p:spPr>
                <a:xfrm>
                  <a:off x="634128" y="4440956"/>
                  <a:ext cx="799363" cy="108705"/>
                </a:xfrm>
                <a:prstGeom prst="rect">
                  <a:avLst/>
                </a:prstGeom>
                <a:noFill/>
                <a:ln>
                  <a:noFill/>
                </a:ln>
              </p:spPr>
              <p:txBody>
                <a:bodyPr lIns="0" tIns="47959" rIns="0" bIns="47959" anchor="ctr" anchorCtr="0">
                  <a:noAutofit/>
                </a:bodyPr>
                <a:lstStyle/>
                <a:p>
                  <a:pPr algn="ctr" defTabSz="1088089">
                    <a:buSzPct val="25000"/>
                  </a:pPr>
                  <a:r>
                    <a:rPr lang="en-US" sz="800" b="1" kern="0" dirty="0" err="1">
                      <a:solidFill>
                        <a:srgbClr val="000000"/>
                      </a:solidFill>
                      <a:ea typeface="Moovel Akkurat" charset="0"/>
                      <a:cs typeface="Arial" panose="020B0604020202020204" pitchFamily="34" charset="0"/>
                      <a:sym typeface="Arial"/>
                    </a:rPr>
                    <a:t>PDX</a:t>
                  </a:r>
                  <a:r>
                    <a:rPr lang="en-US" sz="800" b="1" kern="0" dirty="0">
                      <a:solidFill>
                        <a:srgbClr val="000000"/>
                      </a:solidFill>
                      <a:ea typeface="Moovel Akkurat" charset="0"/>
                      <a:cs typeface="Arial" panose="020B0604020202020204" pitchFamily="34" charset="0"/>
                      <a:sym typeface="Arial"/>
                    </a:rPr>
                    <a:t> Streetcar</a:t>
                  </a:r>
                </a:p>
              </p:txBody>
            </p:sp>
            <p:pic>
              <p:nvPicPr>
                <p:cNvPr id="765" name="Shape 2048"/>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599495" y="4442811"/>
                  <a:ext cx="132663" cy="83291"/>
                </a:xfrm>
                <a:prstGeom prst="rect">
                  <a:avLst/>
                </a:prstGeom>
                <a:noFill/>
                <a:ln>
                  <a:noFill/>
                </a:ln>
              </p:spPr>
            </p:pic>
            <p:sp>
              <p:nvSpPr>
                <p:cNvPr id="766" name="Shape 2049"/>
                <p:cNvSpPr/>
                <p:nvPr/>
              </p:nvSpPr>
              <p:spPr>
                <a:xfrm>
                  <a:off x="3196374" y="5418906"/>
                  <a:ext cx="71419" cy="71419"/>
                </a:xfrm>
                <a:prstGeom prst="ellipse">
                  <a:avLst/>
                </a:prstGeom>
                <a:solidFill>
                  <a:srgbClr val="00B7BF"/>
                </a:solidFill>
                <a:ln>
                  <a:noFill/>
                </a:ln>
              </p:spPr>
              <p:txBody>
                <a:bodyPr lIns="0" tIns="121794" rIns="0" bIns="121794" anchor="ctr" anchorCtr="0">
                  <a:noAutofit/>
                </a:bodyPr>
                <a:lstStyle/>
                <a:p>
                  <a:pPr algn="ctr" defTabSz="1088089"/>
                  <a:endParaRPr lang="en-US" sz="800" b="1" kern="0" dirty="0">
                    <a:solidFill>
                      <a:srgbClr val="FFFFFF"/>
                    </a:solidFill>
                    <a:ea typeface="Moovel Akkurat" charset="0"/>
                    <a:cs typeface="Arial" panose="020B0604020202020204" pitchFamily="34" charset="0"/>
                    <a:sym typeface="Arial"/>
                  </a:endParaRPr>
                </a:p>
              </p:txBody>
            </p:sp>
            <p:sp>
              <p:nvSpPr>
                <p:cNvPr id="767" name="Shape 2050"/>
                <p:cNvSpPr/>
                <p:nvPr/>
              </p:nvSpPr>
              <p:spPr>
                <a:xfrm>
                  <a:off x="2870159" y="4570943"/>
                  <a:ext cx="281721" cy="281721"/>
                </a:xfrm>
                <a:prstGeom prst="ellipse">
                  <a:avLst/>
                </a:prstGeom>
                <a:solidFill>
                  <a:srgbClr val="00B7BF">
                    <a:alpha val="75686"/>
                  </a:srgbClr>
                </a:solidFill>
                <a:ln>
                  <a:noFill/>
                </a:ln>
              </p:spPr>
              <p:txBody>
                <a:bodyPr lIns="0" tIns="121794" rIns="0" bIns="121794" anchor="ctr" anchorCtr="0">
                  <a:noAutofit/>
                </a:bodyPr>
                <a:lstStyle/>
                <a:p>
                  <a:pPr algn="ctr" defTabSz="1088089"/>
                  <a:endParaRPr lang="en-US" sz="800" b="1" kern="0" dirty="0">
                    <a:solidFill>
                      <a:srgbClr val="FFFFFF"/>
                    </a:solidFill>
                    <a:ea typeface="Moovel Akkurat" charset="0"/>
                    <a:cs typeface="Arial" panose="020B0604020202020204" pitchFamily="34" charset="0"/>
                    <a:sym typeface="Arial"/>
                  </a:endParaRPr>
                </a:p>
              </p:txBody>
            </p:sp>
            <p:sp>
              <p:nvSpPr>
                <p:cNvPr id="768" name="Shape 2051"/>
                <p:cNvSpPr/>
                <p:nvPr/>
              </p:nvSpPr>
              <p:spPr>
                <a:xfrm>
                  <a:off x="1155733" y="5514246"/>
                  <a:ext cx="131533" cy="131533"/>
                </a:xfrm>
                <a:prstGeom prst="ellipse">
                  <a:avLst/>
                </a:prstGeom>
                <a:solidFill>
                  <a:srgbClr val="00B7BF">
                    <a:alpha val="71764"/>
                  </a:srgbClr>
                </a:solidFill>
                <a:ln>
                  <a:noFill/>
                </a:ln>
              </p:spPr>
              <p:txBody>
                <a:bodyPr lIns="0" tIns="121794" rIns="0" bIns="121794" anchor="ctr" anchorCtr="0">
                  <a:noAutofit/>
                </a:bodyPr>
                <a:lstStyle/>
                <a:p>
                  <a:pPr algn="ctr" defTabSz="1088089"/>
                  <a:endParaRPr lang="en-US" sz="800" b="1" kern="0" dirty="0">
                    <a:solidFill>
                      <a:srgbClr val="FFFFFF"/>
                    </a:solidFill>
                    <a:ea typeface="Moovel Akkurat" charset="0"/>
                    <a:cs typeface="Arial" panose="020B0604020202020204" pitchFamily="34" charset="0"/>
                    <a:sym typeface="Arial"/>
                  </a:endParaRPr>
                </a:p>
              </p:txBody>
            </p:sp>
            <p:sp>
              <p:nvSpPr>
                <p:cNvPr id="769" name="Shape 2052"/>
                <p:cNvSpPr/>
                <p:nvPr/>
              </p:nvSpPr>
              <p:spPr>
                <a:xfrm>
                  <a:off x="1394641" y="5507133"/>
                  <a:ext cx="787689" cy="131533"/>
                </a:xfrm>
                <a:prstGeom prst="rect">
                  <a:avLst/>
                </a:prstGeom>
                <a:noFill/>
                <a:ln>
                  <a:noFill/>
                </a:ln>
              </p:spPr>
              <p:txBody>
                <a:bodyPr lIns="0" tIns="47959" rIns="0" bIns="47959" anchor="ctr" anchorCtr="0">
                  <a:noAutofit/>
                </a:bodyPr>
                <a:lstStyle/>
                <a:p>
                  <a:pPr algn="ctr" defTabSz="1088089">
                    <a:buSzPct val="25000"/>
                  </a:pPr>
                  <a:r>
                    <a:rPr lang="en-US" sz="800" b="1" kern="0" dirty="0">
                      <a:solidFill>
                        <a:srgbClr val="000000"/>
                      </a:solidFill>
                      <a:ea typeface="Moovel Akkurat" charset="0"/>
                      <a:cs typeface="Arial" panose="020B0604020202020204" pitchFamily="34" charset="0"/>
                      <a:sym typeface="Arial"/>
                    </a:rPr>
                    <a:t>San Diego MTS / </a:t>
                  </a:r>
                  <a:r>
                    <a:rPr lang="en-US" sz="800" b="1" kern="0" dirty="0" err="1">
                      <a:solidFill>
                        <a:srgbClr val="000000"/>
                      </a:solidFill>
                      <a:ea typeface="Moovel Akkurat" charset="0"/>
                      <a:cs typeface="Arial" panose="020B0604020202020204" pitchFamily="34" charset="0"/>
                      <a:sym typeface="Arial"/>
                    </a:rPr>
                    <a:t>NCTD</a:t>
                  </a:r>
                  <a:endParaRPr lang="en-US" sz="800" b="1" kern="0" dirty="0">
                    <a:solidFill>
                      <a:srgbClr val="000000"/>
                    </a:solidFill>
                    <a:ea typeface="Moovel Akkurat" charset="0"/>
                    <a:cs typeface="Arial" panose="020B0604020202020204" pitchFamily="34" charset="0"/>
                    <a:sym typeface="Arial"/>
                  </a:endParaRPr>
                </a:p>
              </p:txBody>
            </p:sp>
            <p:pic>
              <p:nvPicPr>
                <p:cNvPr id="770" name="Shape 2053"/>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290823" y="5535385"/>
                  <a:ext cx="132663" cy="83291"/>
                </a:xfrm>
                <a:prstGeom prst="rect">
                  <a:avLst/>
                </a:prstGeom>
                <a:noFill/>
                <a:ln>
                  <a:noFill/>
                </a:ln>
              </p:spPr>
            </p:pic>
            <p:sp>
              <p:nvSpPr>
                <p:cNvPr id="771" name="Shape 2054"/>
                <p:cNvSpPr/>
                <p:nvPr/>
              </p:nvSpPr>
              <p:spPr>
                <a:xfrm>
                  <a:off x="1107868" y="5490606"/>
                  <a:ext cx="131533" cy="131533"/>
                </a:xfrm>
                <a:prstGeom prst="ellipse">
                  <a:avLst/>
                </a:prstGeom>
                <a:solidFill>
                  <a:srgbClr val="00B7BF">
                    <a:alpha val="74901"/>
                  </a:srgbClr>
                </a:solidFill>
                <a:ln>
                  <a:noFill/>
                </a:ln>
              </p:spPr>
              <p:txBody>
                <a:bodyPr lIns="0" tIns="121794" rIns="0" bIns="121794" anchor="ctr" anchorCtr="0">
                  <a:noAutofit/>
                </a:bodyPr>
                <a:lstStyle/>
                <a:p>
                  <a:pPr algn="ctr" defTabSz="1088089"/>
                  <a:endParaRPr lang="en-US" sz="800" b="1" kern="0" dirty="0">
                    <a:solidFill>
                      <a:srgbClr val="FFFFFF"/>
                    </a:solidFill>
                    <a:ea typeface="Moovel Akkurat" charset="0"/>
                    <a:cs typeface="Arial" panose="020B0604020202020204" pitchFamily="34" charset="0"/>
                    <a:sym typeface="Arial"/>
                  </a:endParaRPr>
                </a:p>
              </p:txBody>
            </p:sp>
            <p:sp>
              <p:nvSpPr>
                <p:cNvPr id="772" name="Shape 2055"/>
                <p:cNvSpPr/>
                <p:nvPr/>
              </p:nvSpPr>
              <p:spPr>
                <a:xfrm>
                  <a:off x="2090528" y="5653943"/>
                  <a:ext cx="124937" cy="124937"/>
                </a:xfrm>
                <a:prstGeom prst="ellipse">
                  <a:avLst/>
                </a:prstGeom>
                <a:solidFill>
                  <a:srgbClr val="00B7BF">
                    <a:alpha val="71764"/>
                  </a:srgbClr>
                </a:solidFill>
                <a:ln>
                  <a:noFill/>
                </a:ln>
              </p:spPr>
              <p:txBody>
                <a:bodyPr lIns="0" tIns="121794" rIns="0" bIns="121794" anchor="ctr" anchorCtr="0">
                  <a:noAutofit/>
                </a:bodyPr>
                <a:lstStyle/>
                <a:p>
                  <a:pPr algn="ctr" defTabSz="1088089"/>
                  <a:endParaRPr lang="en-US" sz="800" b="1" kern="0" dirty="0">
                    <a:solidFill>
                      <a:srgbClr val="FFFFFF"/>
                    </a:solidFill>
                    <a:ea typeface="Moovel Akkurat" charset="0"/>
                    <a:cs typeface="Arial" panose="020B0604020202020204" pitchFamily="34" charset="0"/>
                    <a:sym typeface="Arial"/>
                  </a:endParaRPr>
                </a:p>
              </p:txBody>
            </p:sp>
            <p:sp>
              <p:nvSpPr>
                <p:cNvPr id="773" name="Shape 2056"/>
                <p:cNvSpPr/>
                <p:nvPr/>
              </p:nvSpPr>
              <p:spPr>
                <a:xfrm>
                  <a:off x="2286713" y="5672123"/>
                  <a:ext cx="737122" cy="47215"/>
                </a:xfrm>
                <a:prstGeom prst="rect">
                  <a:avLst/>
                </a:prstGeom>
                <a:noFill/>
                <a:ln>
                  <a:noFill/>
                </a:ln>
              </p:spPr>
              <p:txBody>
                <a:bodyPr lIns="0" tIns="47959" rIns="0" bIns="47959" anchor="ctr" anchorCtr="0">
                  <a:noAutofit/>
                </a:bodyPr>
                <a:lstStyle/>
                <a:p>
                  <a:pPr algn="ctr" defTabSz="1088089">
                    <a:buSzPct val="25000"/>
                  </a:pPr>
                  <a:r>
                    <a:rPr lang="en-US" sz="800" b="1" kern="0" dirty="0">
                      <a:solidFill>
                        <a:srgbClr val="000000"/>
                      </a:solidFill>
                      <a:ea typeface="Moovel Akkurat" charset="0"/>
                      <a:cs typeface="Arial" panose="020B0604020202020204" pitchFamily="34" charset="0"/>
                      <a:sym typeface="Arial"/>
                    </a:rPr>
                    <a:t>San Antonio</a:t>
                  </a:r>
                </a:p>
              </p:txBody>
            </p:sp>
            <p:pic>
              <p:nvPicPr>
                <p:cNvPr id="774" name="Shape 2057"/>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2207309" y="5671598"/>
                  <a:ext cx="132663" cy="83291"/>
                </a:xfrm>
                <a:prstGeom prst="rect">
                  <a:avLst/>
                </a:prstGeom>
                <a:noFill/>
                <a:ln>
                  <a:noFill/>
                </a:ln>
              </p:spPr>
            </p:pic>
            <p:sp>
              <p:nvSpPr>
                <p:cNvPr id="775" name="Shape 2058"/>
                <p:cNvSpPr/>
                <p:nvPr/>
              </p:nvSpPr>
              <p:spPr>
                <a:xfrm>
                  <a:off x="690287" y="5096069"/>
                  <a:ext cx="490112" cy="104855"/>
                </a:xfrm>
                <a:prstGeom prst="rect">
                  <a:avLst/>
                </a:prstGeom>
                <a:noFill/>
                <a:ln>
                  <a:noFill/>
                </a:ln>
              </p:spPr>
              <p:txBody>
                <a:bodyPr lIns="0" tIns="47959" rIns="0" bIns="47959" anchor="ctr" anchorCtr="0">
                  <a:noAutofit/>
                </a:bodyPr>
                <a:lstStyle/>
                <a:p>
                  <a:pPr algn="ctr" defTabSz="1088089">
                    <a:buSzPct val="25000"/>
                  </a:pPr>
                  <a:r>
                    <a:rPr lang="en-US" sz="800" b="1" kern="0" dirty="0" err="1">
                      <a:solidFill>
                        <a:srgbClr val="000000"/>
                      </a:solidFill>
                      <a:ea typeface="Moovel Akkurat" charset="0"/>
                      <a:cs typeface="Arial" panose="020B0604020202020204" pitchFamily="34" charset="0"/>
                      <a:sym typeface="Arial"/>
                    </a:rPr>
                    <a:t>Caltrain</a:t>
                  </a:r>
                  <a:endParaRPr lang="en-US" sz="800" b="1" kern="0" dirty="0">
                    <a:solidFill>
                      <a:srgbClr val="000000"/>
                    </a:solidFill>
                    <a:ea typeface="Moovel Akkurat" charset="0"/>
                    <a:cs typeface="Arial" panose="020B0604020202020204" pitchFamily="34" charset="0"/>
                    <a:sym typeface="Arial"/>
                  </a:endParaRPr>
                </a:p>
              </p:txBody>
            </p:sp>
            <p:pic>
              <p:nvPicPr>
                <p:cNvPr id="776" name="Shape 2059"/>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626217" y="5114867"/>
                  <a:ext cx="132663" cy="83291"/>
                </a:xfrm>
                <a:prstGeom prst="rect">
                  <a:avLst/>
                </a:prstGeom>
                <a:noFill/>
                <a:ln>
                  <a:noFill/>
                </a:ln>
              </p:spPr>
            </p:pic>
            <p:sp>
              <p:nvSpPr>
                <p:cNvPr id="777" name="Shape 2060"/>
                <p:cNvSpPr/>
                <p:nvPr/>
              </p:nvSpPr>
              <p:spPr>
                <a:xfrm>
                  <a:off x="507255" y="5094010"/>
                  <a:ext cx="124937" cy="124937"/>
                </a:xfrm>
                <a:prstGeom prst="ellipse">
                  <a:avLst/>
                </a:prstGeom>
                <a:solidFill>
                  <a:srgbClr val="00B7BF">
                    <a:alpha val="65882"/>
                  </a:srgbClr>
                </a:solidFill>
                <a:ln>
                  <a:noFill/>
                </a:ln>
              </p:spPr>
              <p:txBody>
                <a:bodyPr lIns="0" tIns="121794" rIns="0" bIns="121794" anchor="ctr" anchorCtr="0">
                  <a:noAutofit/>
                </a:bodyPr>
                <a:lstStyle/>
                <a:p>
                  <a:pPr algn="ctr" defTabSz="1088089"/>
                  <a:endParaRPr lang="en-US" sz="800" b="1" kern="0" dirty="0">
                    <a:solidFill>
                      <a:srgbClr val="FFFFFF"/>
                    </a:solidFill>
                    <a:ea typeface="Moovel Akkurat" charset="0"/>
                    <a:cs typeface="Arial" panose="020B0604020202020204" pitchFamily="34" charset="0"/>
                    <a:sym typeface="Arial"/>
                  </a:endParaRPr>
                </a:p>
              </p:txBody>
            </p:sp>
            <p:pic>
              <p:nvPicPr>
                <p:cNvPr id="778" name="Shape 2061"/>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672597" y="5210596"/>
                  <a:ext cx="132663" cy="83291"/>
                </a:xfrm>
                <a:prstGeom prst="rect">
                  <a:avLst/>
                </a:prstGeom>
                <a:noFill/>
                <a:ln>
                  <a:noFill/>
                </a:ln>
              </p:spPr>
            </p:pic>
            <p:sp>
              <p:nvSpPr>
                <p:cNvPr id="779" name="Shape 2062"/>
                <p:cNvSpPr/>
                <p:nvPr/>
              </p:nvSpPr>
              <p:spPr>
                <a:xfrm>
                  <a:off x="562088" y="5188891"/>
                  <a:ext cx="97424" cy="101570"/>
                </a:xfrm>
                <a:prstGeom prst="ellipse">
                  <a:avLst/>
                </a:prstGeom>
                <a:solidFill>
                  <a:srgbClr val="00B7BF">
                    <a:alpha val="71764"/>
                  </a:srgbClr>
                </a:solidFill>
                <a:ln>
                  <a:noFill/>
                </a:ln>
              </p:spPr>
              <p:txBody>
                <a:bodyPr lIns="0" tIns="121794" rIns="0" bIns="121794" anchor="ctr" anchorCtr="0">
                  <a:noAutofit/>
                </a:bodyPr>
                <a:lstStyle/>
                <a:p>
                  <a:pPr algn="ctr" defTabSz="1088089"/>
                  <a:endParaRPr lang="en-US" sz="800" b="1" kern="0" dirty="0">
                    <a:solidFill>
                      <a:srgbClr val="FFFFFF"/>
                    </a:solidFill>
                    <a:ea typeface="Moovel Akkurat" charset="0"/>
                    <a:cs typeface="Arial" panose="020B0604020202020204" pitchFamily="34" charset="0"/>
                    <a:sym typeface="Arial"/>
                  </a:endParaRPr>
                </a:p>
              </p:txBody>
            </p:sp>
            <p:sp>
              <p:nvSpPr>
                <p:cNvPr id="780" name="Shape 2063"/>
                <p:cNvSpPr/>
                <p:nvPr/>
              </p:nvSpPr>
              <p:spPr>
                <a:xfrm>
                  <a:off x="773812" y="5224987"/>
                  <a:ext cx="343719" cy="65258"/>
                </a:xfrm>
                <a:prstGeom prst="rect">
                  <a:avLst/>
                </a:prstGeom>
                <a:noFill/>
                <a:ln>
                  <a:noFill/>
                </a:ln>
              </p:spPr>
              <p:txBody>
                <a:bodyPr lIns="0" tIns="47959" rIns="0" bIns="47959" anchor="ctr" anchorCtr="0">
                  <a:noAutofit/>
                </a:bodyPr>
                <a:lstStyle/>
                <a:p>
                  <a:pPr defTabSz="1088089">
                    <a:buSzPct val="25000"/>
                  </a:pPr>
                  <a:r>
                    <a:rPr lang="en-US" sz="800" b="1" kern="0" dirty="0" err="1">
                      <a:solidFill>
                        <a:srgbClr val="000000"/>
                      </a:solidFill>
                      <a:ea typeface="Moovel Akkurat" charset="0"/>
                      <a:cs typeface="Arial" panose="020B0604020202020204" pitchFamily="34" charset="0"/>
                      <a:sym typeface="Arial"/>
                    </a:rPr>
                    <a:t>VTA</a:t>
                  </a:r>
                  <a:endParaRPr lang="en-US" sz="800" b="1" kern="0" dirty="0">
                    <a:solidFill>
                      <a:srgbClr val="000000"/>
                    </a:solidFill>
                    <a:ea typeface="Moovel Akkurat" charset="0"/>
                    <a:cs typeface="Arial" panose="020B0604020202020204" pitchFamily="34" charset="0"/>
                    <a:sym typeface="Arial"/>
                  </a:endParaRPr>
                </a:p>
              </p:txBody>
            </p:sp>
            <p:sp>
              <p:nvSpPr>
                <p:cNvPr id="781" name="Shape 2064"/>
                <p:cNvSpPr/>
                <p:nvPr/>
              </p:nvSpPr>
              <p:spPr>
                <a:xfrm>
                  <a:off x="2934524" y="4868841"/>
                  <a:ext cx="691774" cy="185238"/>
                </a:xfrm>
                <a:prstGeom prst="rect">
                  <a:avLst/>
                </a:prstGeom>
                <a:noFill/>
                <a:ln>
                  <a:noFill/>
                </a:ln>
              </p:spPr>
              <p:txBody>
                <a:bodyPr lIns="0" tIns="47959" rIns="0" bIns="47959" anchor="ctr" anchorCtr="0">
                  <a:noAutofit/>
                </a:bodyPr>
                <a:lstStyle/>
                <a:p>
                  <a:pPr defTabSz="1088089">
                    <a:buSzPct val="25000"/>
                  </a:pPr>
                  <a:r>
                    <a:rPr lang="en-US" sz="800" b="1" kern="0" dirty="0">
                      <a:solidFill>
                        <a:srgbClr val="000000"/>
                      </a:solidFill>
                      <a:ea typeface="Moovel Akkurat" charset="0"/>
                      <a:cs typeface="Arial" panose="020B0604020202020204" pitchFamily="34" charset="0"/>
                      <a:sym typeface="Arial"/>
                    </a:rPr>
                    <a:t>Baltimore MTA</a:t>
                  </a:r>
                </a:p>
              </p:txBody>
            </p:sp>
            <p:sp>
              <p:nvSpPr>
                <p:cNvPr id="782" name="Shape 2065"/>
                <p:cNvSpPr/>
                <p:nvPr/>
              </p:nvSpPr>
              <p:spPr>
                <a:xfrm>
                  <a:off x="3683856" y="4858881"/>
                  <a:ext cx="199183" cy="201542"/>
                </a:xfrm>
                <a:prstGeom prst="ellipse">
                  <a:avLst/>
                </a:prstGeom>
                <a:solidFill>
                  <a:srgbClr val="00B7BF">
                    <a:alpha val="75686"/>
                  </a:srgbClr>
                </a:solidFill>
                <a:ln>
                  <a:noFill/>
                </a:ln>
              </p:spPr>
              <p:txBody>
                <a:bodyPr lIns="0" tIns="121794" rIns="0" bIns="121794" anchor="ctr" anchorCtr="0">
                  <a:noAutofit/>
                </a:bodyPr>
                <a:lstStyle/>
                <a:p>
                  <a:pPr algn="ctr" defTabSz="1088089"/>
                  <a:endParaRPr lang="en-US" sz="800" b="1" kern="0" dirty="0">
                    <a:solidFill>
                      <a:srgbClr val="FFFFFF"/>
                    </a:solidFill>
                    <a:ea typeface="Moovel Akkurat" charset="0"/>
                    <a:cs typeface="Arial" panose="020B0604020202020204" pitchFamily="34" charset="0"/>
                    <a:sym typeface="Arial"/>
                  </a:endParaRPr>
                </a:p>
              </p:txBody>
            </p:sp>
            <p:pic>
              <p:nvPicPr>
                <p:cNvPr id="783" name="Shape 2066"/>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3550944" y="4924054"/>
                  <a:ext cx="132663" cy="83291"/>
                </a:xfrm>
                <a:prstGeom prst="rect">
                  <a:avLst/>
                </a:prstGeom>
                <a:noFill/>
                <a:ln>
                  <a:noFill/>
                </a:ln>
              </p:spPr>
            </p:pic>
            <p:sp>
              <p:nvSpPr>
                <p:cNvPr id="784" name="Shape 2081"/>
                <p:cNvSpPr/>
                <p:nvPr/>
              </p:nvSpPr>
              <p:spPr>
                <a:xfrm>
                  <a:off x="3196109" y="3980603"/>
                  <a:ext cx="1220619" cy="106175"/>
                </a:xfrm>
                <a:prstGeom prst="rect">
                  <a:avLst/>
                </a:prstGeom>
                <a:noFill/>
                <a:ln>
                  <a:noFill/>
                </a:ln>
              </p:spPr>
              <p:txBody>
                <a:bodyPr lIns="0" tIns="47959" rIns="0" bIns="47959" anchor="ctr" anchorCtr="0">
                  <a:noAutofit/>
                </a:bodyPr>
                <a:lstStyle/>
                <a:p>
                  <a:pPr algn="ctr" defTabSz="1088089">
                    <a:buSzPct val="25000"/>
                  </a:pPr>
                  <a:r>
                    <a:rPr lang="en-US" sz="800" b="1" kern="0" dirty="0">
                      <a:solidFill>
                        <a:srgbClr val="A5A5A5"/>
                      </a:solidFill>
                      <a:ea typeface="Moovel Akkurat" charset="0"/>
                      <a:cs typeface="Arial" panose="020B0604020202020204" pitchFamily="34" charset="0"/>
                      <a:sym typeface="Arial"/>
                    </a:rPr>
                    <a:t>Cities w/ booking capability</a:t>
                  </a:r>
                </a:p>
              </p:txBody>
            </p:sp>
            <p:grpSp>
              <p:nvGrpSpPr>
                <p:cNvPr id="785" name="Group 680"/>
                <p:cNvGrpSpPr/>
                <p:nvPr/>
              </p:nvGrpSpPr>
              <p:grpSpPr>
                <a:xfrm>
                  <a:off x="458314" y="4175552"/>
                  <a:ext cx="698936" cy="124937"/>
                  <a:chOff x="458314" y="4175552"/>
                  <a:chExt cx="698936" cy="124937"/>
                </a:xfrm>
              </p:grpSpPr>
              <p:sp>
                <p:nvSpPr>
                  <p:cNvPr id="790" name="Shape 2018"/>
                  <p:cNvSpPr/>
                  <p:nvPr/>
                </p:nvSpPr>
                <p:spPr>
                  <a:xfrm>
                    <a:off x="458314" y="4175552"/>
                    <a:ext cx="124937" cy="124937"/>
                  </a:xfrm>
                  <a:prstGeom prst="ellipse">
                    <a:avLst/>
                  </a:prstGeom>
                  <a:solidFill>
                    <a:srgbClr val="AF0837">
                      <a:alpha val="70000"/>
                    </a:srgbClr>
                  </a:solidFill>
                  <a:ln>
                    <a:noFill/>
                  </a:ln>
                </p:spPr>
                <p:txBody>
                  <a:bodyPr lIns="0" tIns="121794" rIns="0" bIns="121794" anchor="ctr" anchorCtr="0">
                    <a:noAutofit/>
                  </a:bodyPr>
                  <a:lstStyle/>
                  <a:p>
                    <a:pPr algn="ctr" defTabSz="1088089"/>
                    <a:endParaRPr lang="en-US" sz="800" b="1" kern="0" dirty="0">
                      <a:solidFill>
                        <a:srgbClr val="FFFFFF"/>
                      </a:solidFill>
                      <a:ea typeface="Moovel Akkurat" charset="0"/>
                      <a:cs typeface="Arial" panose="020B0604020202020204" pitchFamily="34" charset="0"/>
                      <a:sym typeface="Arial"/>
                    </a:endParaRPr>
                  </a:p>
                </p:txBody>
              </p:sp>
              <p:sp>
                <p:nvSpPr>
                  <p:cNvPr id="791" name="Shape 2027"/>
                  <p:cNvSpPr/>
                  <p:nvPr/>
                </p:nvSpPr>
                <p:spPr>
                  <a:xfrm>
                    <a:off x="941987" y="4211147"/>
                    <a:ext cx="215263" cy="52659"/>
                  </a:xfrm>
                  <a:prstGeom prst="rect">
                    <a:avLst/>
                  </a:prstGeom>
                  <a:noFill/>
                  <a:ln>
                    <a:noFill/>
                  </a:ln>
                </p:spPr>
                <p:txBody>
                  <a:bodyPr wrap="none" lIns="0" tIns="47959" rIns="0" bIns="47959" anchor="ctr" anchorCtr="0">
                    <a:noAutofit/>
                  </a:bodyPr>
                  <a:lstStyle/>
                  <a:p>
                    <a:pPr defTabSz="1088089">
                      <a:buSzPct val="25000"/>
                    </a:pPr>
                    <a:r>
                      <a:rPr lang="en-US" sz="800" b="1" kern="0" dirty="0">
                        <a:solidFill>
                          <a:srgbClr val="000000"/>
                        </a:solidFill>
                        <a:ea typeface="Moovel Akkurat" charset="0"/>
                        <a:cs typeface="Arial" panose="020B0604020202020204" pitchFamily="34" charset="0"/>
                        <a:sym typeface="Arial"/>
                      </a:rPr>
                      <a:t>Seattle </a:t>
                    </a:r>
                  </a:p>
                </p:txBody>
              </p:sp>
              <p:pic>
                <p:nvPicPr>
                  <p:cNvPr id="792"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1292" y="4214718"/>
                    <a:ext cx="319258" cy="457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86" name="Group 681"/>
                <p:cNvGrpSpPr/>
                <p:nvPr/>
              </p:nvGrpSpPr>
              <p:grpSpPr>
                <a:xfrm>
                  <a:off x="481946" y="4531449"/>
                  <a:ext cx="698936" cy="124937"/>
                  <a:chOff x="458314" y="4175552"/>
                  <a:chExt cx="698936" cy="124937"/>
                </a:xfrm>
              </p:grpSpPr>
              <p:sp>
                <p:nvSpPr>
                  <p:cNvPr id="787" name="Shape 2018"/>
                  <p:cNvSpPr/>
                  <p:nvPr/>
                </p:nvSpPr>
                <p:spPr>
                  <a:xfrm>
                    <a:off x="458314" y="4175552"/>
                    <a:ext cx="124937" cy="124937"/>
                  </a:xfrm>
                  <a:prstGeom prst="ellipse">
                    <a:avLst/>
                  </a:prstGeom>
                  <a:solidFill>
                    <a:srgbClr val="AF0837">
                      <a:alpha val="70000"/>
                    </a:srgbClr>
                  </a:solidFill>
                  <a:ln>
                    <a:noFill/>
                  </a:ln>
                </p:spPr>
                <p:txBody>
                  <a:bodyPr lIns="0" tIns="121794" rIns="0" bIns="121794" anchor="ctr" anchorCtr="0">
                    <a:noAutofit/>
                  </a:bodyPr>
                  <a:lstStyle/>
                  <a:p>
                    <a:pPr algn="ctr" defTabSz="1088089"/>
                    <a:endParaRPr lang="en-US" sz="800" b="1" kern="0" dirty="0">
                      <a:solidFill>
                        <a:srgbClr val="FFFFFF"/>
                      </a:solidFill>
                      <a:ea typeface="Moovel Akkurat" charset="0"/>
                      <a:cs typeface="Arial" panose="020B0604020202020204" pitchFamily="34" charset="0"/>
                      <a:sym typeface="Arial"/>
                    </a:endParaRPr>
                  </a:p>
                </p:txBody>
              </p:sp>
              <p:sp>
                <p:nvSpPr>
                  <p:cNvPr id="788" name="Shape 2027"/>
                  <p:cNvSpPr/>
                  <p:nvPr/>
                </p:nvSpPr>
                <p:spPr>
                  <a:xfrm>
                    <a:off x="941987" y="4211147"/>
                    <a:ext cx="215263" cy="52659"/>
                  </a:xfrm>
                  <a:prstGeom prst="rect">
                    <a:avLst/>
                  </a:prstGeom>
                  <a:noFill/>
                  <a:ln>
                    <a:noFill/>
                  </a:ln>
                </p:spPr>
                <p:txBody>
                  <a:bodyPr wrap="none" lIns="0" tIns="47959" rIns="0" bIns="47959" anchor="ctr" anchorCtr="0">
                    <a:noAutofit/>
                  </a:bodyPr>
                  <a:lstStyle/>
                  <a:p>
                    <a:pPr defTabSz="1088089">
                      <a:buSzPct val="25000"/>
                    </a:pPr>
                    <a:r>
                      <a:rPr lang="en-US" sz="800" b="1" kern="0" dirty="0">
                        <a:solidFill>
                          <a:srgbClr val="000000"/>
                        </a:solidFill>
                        <a:ea typeface="Moovel Akkurat" charset="0"/>
                        <a:cs typeface="Arial" panose="020B0604020202020204" pitchFamily="34" charset="0"/>
                        <a:sym typeface="Arial"/>
                      </a:rPr>
                      <a:t>Oregon</a:t>
                    </a:r>
                  </a:p>
                </p:txBody>
              </p:sp>
              <p:pic>
                <p:nvPicPr>
                  <p:cNvPr id="789"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1292" y="4214718"/>
                    <a:ext cx="319258" cy="45719"/>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728" name="Shape 2040"/>
            <p:cNvSpPr/>
            <p:nvPr/>
          </p:nvSpPr>
          <p:spPr>
            <a:xfrm>
              <a:off x="3929734" y="6053612"/>
              <a:ext cx="139406" cy="139406"/>
            </a:xfrm>
            <a:prstGeom prst="ellipse">
              <a:avLst/>
            </a:prstGeom>
            <a:solidFill>
              <a:srgbClr val="00B7BF">
                <a:alpha val="71764"/>
              </a:srgbClr>
            </a:solidFill>
            <a:ln>
              <a:noFill/>
            </a:ln>
          </p:spPr>
          <p:txBody>
            <a:bodyPr lIns="0" tIns="121794" rIns="0" bIns="121794" anchor="ctr" anchorCtr="0">
              <a:noAutofit/>
            </a:bodyPr>
            <a:lstStyle/>
            <a:p>
              <a:pPr algn="ctr" defTabSz="1088089"/>
              <a:endParaRPr lang="en-US" sz="800" b="1" kern="0" dirty="0">
                <a:solidFill>
                  <a:srgbClr val="FFFFFF"/>
                </a:solidFill>
                <a:ea typeface="Moovel Akkurat" charset="0"/>
                <a:cs typeface="Arial" panose="020B0604020202020204" pitchFamily="34" charset="0"/>
                <a:sym typeface="Arial"/>
              </a:endParaRPr>
            </a:p>
          </p:txBody>
        </p:sp>
        <p:pic>
          <p:nvPicPr>
            <p:cNvPr id="729" name="Shape 2042"/>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4071353" y="6073768"/>
              <a:ext cx="148027" cy="92937"/>
            </a:xfrm>
            <a:prstGeom prst="rect">
              <a:avLst/>
            </a:prstGeom>
            <a:noFill/>
            <a:ln>
              <a:noFill/>
            </a:ln>
          </p:spPr>
        </p:pic>
        <p:sp>
          <p:nvSpPr>
            <p:cNvPr id="730" name="Shape 2038"/>
            <p:cNvSpPr/>
            <p:nvPr/>
          </p:nvSpPr>
          <p:spPr>
            <a:xfrm>
              <a:off x="4091127" y="6087584"/>
              <a:ext cx="783912" cy="78514"/>
            </a:xfrm>
            <a:prstGeom prst="rect">
              <a:avLst/>
            </a:prstGeom>
            <a:noFill/>
            <a:ln>
              <a:noFill/>
            </a:ln>
          </p:spPr>
          <p:txBody>
            <a:bodyPr lIns="0" tIns="47959" rIns="0" bIns="47959" anchor="ctr" anchorCtr="0">
              <a:noAutofit/>
            </a:bodyPr>
            <a:lstStyle/>
            <a:p>
              <a:pPr algn="ctr" defTabSz="1088089">
                <a:buSzPct val="25000"/>
              </a:pPr>
              <a:r>
                <a:rPr lang="en-US" sz="800" b="1" kern="0" dirty="0" err="1">
                  <a:solidFill>
                    <a:srgbClr val="000000"/>
                  </a:solidFill>
                  <a:ea typeface="Moovel Akkurat" charset="0"/>
                  <a:cs typeface="Arial" panose="020B0604020202020204" pitchFamily="34" charset="0"/>
                  <a:sym typeface="Arial"/>
                </a:rPr>
                <a:t>FareShare</a:t>
              </a:r>
              <a:endParaRPr lang="en-US" sz="800" b="1" kern="0" dirty="0">
                <a:solidFill>
                  <a:srgbClr val="000000"/>
                </a:solidFill>
                <a:ea typeface="Moovel Akkurat" charset="0"/>
                <a:cs typeface="Arial" panose="020B0604020202020204" pitchFamily="34" charset="0"/>
                <a:sym typeface="Arial"/>
              </a:endParaRPr>
            </a:p>
          </p:txBody>
        </p:sp>
        <p:sp>
          <p:nvSpPr>
            <p:cNvPr id="731" name="Shape 2063"/>
            <p:cNvSpPr/>
            <p:nvPr/>
          </p:nvSpPr>
          <p:spPr>
            <a:xfrm>
              <a:off x="747098" y="5950074"/>
              <a:ext cx="383525" cy="72816"/>
            </a:xfrm>
            <a:prstGeom prst="rect">
              <a:avLst/>
            </a:prstGeom>
            <a:noFill/>
            <a:ln>
              <a:noFill/>
            </a:ln>
          </p:spPr>
          <p:txBody>
            <a:bodyPr lIns="0" tIns="47959" rIns="0" bIns="47959" anchor="ctr" anchorCtr="0">
              <a:noAutofit/>
            </a:bodyPr>
            <a:lstStyle/>
            <a:p>
              <a:pPr defTabSz="1088089">
                <a:buSzPct val="25000"/>
              </a:pPr>
              <a:r>
                <a:rPr lang="en-US" sz="800" b="1" kern="0" dirty="0" err="1">
                  <a:solidFill>
                    <a:srgbClr val="000000"/>
                  </a:solidFill>
                  <a:ea typeface="Moovel Akkurat" charset="0"/>
                  <a:cs typeface="Arial" panose="020B0604020202020204" pitchFamily="34" charset="0"/>
                  <a:sym typeface="Arial"/>
                </a:rPr>
                <a:t>FlexLA</a:t>
              </a:r>
              <a:endParaRPr lang="en-US" sz="800" b="1" kern="0" dirty="0">
                <a:solidFill>
                  <a:srgbClr val="000000"/>
                </a:solidFill>
                <a:ea typeface="Moovel Akkurat" charset="0"/>
                <a:cs typeface="Arial" panose="020B0604020202020204" pitchFamily="34" charset="0"/>
                <a:sym typeface="Arial"/>
              </a:endParaRPr>
            </a:p>
          </p:txBody>
        </p:sp>
      </p:grpSp>
      <p:sp>
        <p:nvSpPr>
          <p:cNvPr id="797" name="Rechteck 796"/>
          <p:cNvSpPr/>
          <p:nvPr/>
        </p:nvSpPr>
        <p:spPr>
          <a:xfrm>
            <a:off x="2329493" y="5395662"/>
            <a:ext cx="2244614" cy="1080000"/>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en-US" sz="2400" b="1" dirty="0" smtClean="0">
                <a:solidFill>
                  <a:srgbClr val="FFFF00"/>
                </a:solidFill>
                <a:latin typeface="CorpoS" pitchFamily="2" charset="0"/>
              </a:rPr>
              <a:t>&gt;6.7 </a:t>
            </a:r>
            <a:r>
              <a:rPr lang="ru-RU" sz="2400" b="1" dirty="0" smtClean="0">
                <a:solidFill>
                  <a:srgbClr val="FFFF00"/>
                </a:solidFill>
                <a:latin typeface="CorpoS" pitchFamily="2" charset="0"/>
              </a:rPr>
              <a:t>МЛН</a:t>
            </a:r>
            <a:r>
              <a:rPr lang="en-US" sz="2400" b="1" dirty="0" smtClean="0">
                <a:solidFill>
                  <a:srgbClr val="FFFF00"/>
                </a:solidFill>
                <a:latin typeface="CorpoS" pitchFamily="2" charset="0"/>
              </a:rPr>
              <a:t> </a:t>
            </a:r>
            <a:r>
              <a:rPr lang="ru-RU" b="1" dirty="0" smtClean="0">
                <a:solidFill>
                  <a:prstClr val="white"/>
                </a:solidFill>
                <a:latin typeface="CorpoS" pitchFamily="2" charset="0"/>
              </a:rPr>
              <a:t>КЛИЕНТОВ</a:t>
            </a:r>
            <a:endParaRPr lang="en-US" sz="2400" b="1" dirty="0">
              <a:solidFill>
                <a:prstClr val="white"/>
              </a:solidFill>
              <a:latin typeface="CorpoS" pitchFamily="2" charset="0"/>
            </a:endParaRPr>
          </a:p>
        </p:txBody>
      </p:sp>
      <p:pic>
        <p:nvPicPr>
          <p:cNvPr id="799" name="Picture 23"/>
          <p:cNvPicPr>
            <a:picLocks noChangeAspect="1"/>
          </p:cNvPicPr>
          <p:nvPr/>
        </p:nvPicPr>
        <p:blipFill>
          <a:blip r:embed="rId7"/>
          <a:stretch>
            <a:fillRect/>
          </a:stretch>
        </p:blipFill>
        <p:spPr>
          <a:xfrm>
            <a:off x="10861355" y="5912166"/>
            <a:ext cx="876321" cy="165624"/>
          </a:xfrm>
          <a:prstGeom prst="rect">
            <a:avLst/>
          </a:prstGeom>
          <a:solidFill>
            <a:schemeClr val="bg1">
              <a:alpha val="55000"/>
            </a:schemeClr>
          </a:solidFill>
          <a:ln>
            <a:noFill/>
          </a:ln>
        </p:spPr>
      </p:pic>
      <p:pic>
        <p:nvPicPr>
          <p:cNvPr id="800" name="Picture 24"/>
          <p:cNvPicPr>
            <a:picLocks noChangeAspect="1"/>
          </p:cNvPicPr>
          <p:nvPr/>
        </p:nvPicPr>
        <p:blipFill>
          <a:blip r:embed="rId8"/>
          <a:stretch>
            <a:fillRect/>
          </a:stretch>
        </p:blipFill>
        <p:spPr>
          <a:xfrm>
            <a:off x="10324236" y="5781545"/>
            <a:ext cx="367876" cy="426868"/>
          </a:xfrm>
          <a:prstGeom prst="rect">
            <a:avLst/>
          </a:prstGeom>
          <a:solidFill>
            <a:schemeClr val="bg1">
              <a:alpha val="55000"/>
            </a:schemeClr>
          </a:solidFill>
          <a:ln>
            <a:noFill/>
          </a:ln>
        </p:spPr>
      </p:pic>
      <p:grpSp>
        <p:nvGrpSpPr>
          <p:cNvPr id="801" name="Gruppieren 800"/>
          <p:cNvGrpSpPr/>
          <p:nvPr/>
        </p:nvGrpSpPr>
        <p:grpSpPr>
          <a:xfrm>
            <a:off x="346266" y="2160581"/>
            <a:ext cx="1731278" cy="2749678"/>
            <a:chOff x="10143820" y="2659256"/>
            <a:chExt cx="1732180" cy="2751110"/>
          </a:xfrm>
        </p:grpSpPr>
        <p:pic>
          <p:nvPicPr>
            <p:cNvPr id="802" name="Bild 1">
              <a:extLst>
                <a:ext uri="{FF2B5EF4-FFF2-40B4-BE49-F238E27FC236}">
                  <a16:creationId xmlns:a16="http://schemas.microsoft.com/office/drawing/2014/main" id="{798C958E-7B53-8540-B1B0-3ACB54EB0BD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143820" y="2659256"/>
              <a:ext cx="1732180" cy="2751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3" name="Grafik 802">
              <a:extLst>
                <a:ext uri="{FF2B5EF4-FFF2-40B4-BE49-F238E27FC236}">
                  <a16:creationId xmlns:a16="http://schemas.microsoft.com/office/drawing/2014/main" id="{31C25CAB-BC8D-354E-A04A-B304D6E89D2D}"/>
                </a:ext>
              </a:extLst>
            </p:cNvPr>
            <p:cNvPicPr>
              <a:picLocks noChangeAspect="1"/>
            </p:cNvPicPr>
            <p:nvPr/>
          </p:nvPicPr>
          <p:blipFill>
            <a:blip r:embed="rId10"/>
            <a:stretch>
              <a:fillRect/>
            </a:stretch>
          </p:blipFill>
          <p:spPr>
            <a:xfrm>
              <a:off x="10540254" y="3096871"/>
              <a:ext cx="913503" cy="1623076"/>
            </a:xfrm>
            <a:prstGeom prst="rect">
              <a:avLst/>
            </a:prstGeom>
          </p:spPr>
        </p:pic>
      </p:grpSp>
      <p:sp>
        <p:nvSpPr>
          <p:cNvPr id="805" name="Rechteck 804"/>
          <p:cNvSpPr/>
          <p:nvPr/>
        </p:nvSpPr>
        <p:spPr>
          <a:xfrm>
            <a:off x="4850150" y="5395662"/>
            <a:ext cx="2244614" cy="1080000"/>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en-US" sz="2400" b="1" dirty="0" smtClean="0">
                <a:solidFill>
                  <a:srgbClr val="FFFF00"/>
                </a:solidFill>
                <a:latin typeface="CorpoS" pitchFamily="2" charset="0"/>
              </a:rPr>
              <a:t>&gt;25 </a:t>
            </a:r>
            <a:r>
              <a:rPr lang="ru-RU" sz="2400" b="1" dirty="0" smtClean="0">
                <a:solidFill>
                  <a:srgbClr val="FFFF00"/>
                </a:solidFill>
                <a:latin typeface="CorpoS" pitchFamily="2" charset="0"/>
              </a:rPr>
              <a:t>МЛН</a:t>
            </a:r>
            <a:r>
              <a:rPr lang="en-US" sz="2400" b="1" dirty="0" smtClean="0">
                <a:solidFill>
                  <a:srgbClr val="FFFF00"/>
                </a:solidFill>
                <a:latin typeface="CorpoS" pitchFamily="2" charset="0"/>
              </a:rPr>
              <a:t> </a:t>
            </a:r>
            <a:r>
              <a:rPr lang="ru-RU" b="1" dirty="0" smtClean="0">
                <a:solidFill>
                  <a:prstClr val="white"/>
                </a:solidFill>
                <a:latin typeface="CorpoS" pitchFamily="2" charset="0"/>
              </a:rPr>
              <a:t>ТРАНЗАКЦИЙ</a:t>
            </a:r>
            <a:endParaRPr lang="en-US" sz="2400" b="1" dirty="0">
              <a:solidFill>
                <a:prstClr val="white"/>
              </a:solidFill>
              <a:latin typeface="CorpoS" pitchFamily="2" charset="0"/>
            </a:endParaRPr>
          </a:p>
        </p:txBody>
      </p:sp>
      <p:sp>
        <p:nvSpPr>
          <p:cNvPr id="806" name="Rechteck 805"/>
          <p:cNvSpPr/>
          <p:nvPr/>
        </p:nvSpPr>
        <p:spPr>
          <a:xfrm>
            <a:off x="7368557" y="5396400"/>
            <a:ext cx="2462586" cy="1080000"/>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en-US" sz="2400" b="1" dirty="0" smtClean="0">
                <a:solidFill>
                  <a:srgbClr val="FFFF00"/>
                </a:solidFill>
                <a:latin typeface="CorpoS" pitchFamily="2" charset="0"/>
              </a:rPr>
              <a:t>28</a:t>
            </a:r>
          </a:p>
          <a:p>
            <a:pPr algn="ctr" defTabSz="1087306"/>
            <a:r>
              <a:rPr lang="ru-RU" b="1" dirty="0" smtClean="0">
                <a:solidFill>
                  <a:prstClr val="white"/>
                </a:solidFill>
                <a:latin typeface="CorpoS" pitchFamily="2" charset="0"/>
              </a:rPr>
              <a:t>АГРЕГИРОВАННЫХ УСЛУГ</a:t>
            </a:r>
            <a:endParaRPr lang="en-US" sz="2400" b="1" dirty="0">
              <a:solidFill>
                <a:prstClr val="white"/>
              </a:solidFill>
              <a:latin typeface="CorpoS" pitchFamily="2" charset="0"/>
            </a:endParaRPr>
          </a:p>
        </p:txBody>
      </p:sp>
    </p:spTree>
    <p:extLst>
      <p:ext uri="{BB962C8B-B14F-4D97-AF65-F5344CB8AC3E}">
        <p14:creationId xmlns:p14="http://schemas.microsoft.com/office/powerpoint/2010/main" val="1389090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2" name="Straight Connector 43"/>
          <p:cNvCxnSpPr/>
          <p:nvPr/>
        </p:nvCxnSpPr>
        <p:spPr>
          <a:xfrm>
            <a:off x="3229363" y="1620000"/>
            <a:ext cx="0" cy="4202552"/>
          </a:xfrm>
          <a:prstGeom prst="line">
            <a:avLst/>
          </a:prstGeom>
          <a:ln w="9525" cap="rnd">
            <a:solidFill>
              <a:srgbClr val="FFFF00"/>
            </a:solidFill>
            <a:prstDash val="solid"/>
          </a:ln>
        </p:spPr>
        <p:style>
          <a:lnRef idx="1">
            <a:schemeClr val="accent1"/>
          </a:lnRef>
          <a:fillRef idx="0">
            <a:schemeClr val="accent1"/>
          </a:fillRef>
          <a:effectRef idx="0">
            <a:schemeClr val="accent1"/>
          </a:effectRef>
          <a:fontRef idx="minor">
            <a:schemeClr val="tx1"/>
          </a:fontRef>
        </p:style>
      </p:cxnSp>
      <p:sp>
        <p:nvSpPr>
          <p:cNvPr id="4" name="Rechteck 3"/>
          <p:cNvSpPr/>
          <p:nvPr/>
        </p:nvSpPr>
        <p:spPr bwMode="gray">
          <a:xfrm>
            <a:off x="2304000" y="431999"/>
            <a:ext cx="9516399" cy="828000"/>
          </a:xfrm>
          <a:prstGeom prst="rect">
            <a:avLst/>
          </a:prstGeom>
          <a:solidFill>
            <a:srgbClr val="005478">
              <a:alpha val="90000"/>
            </a:srgbClr>
          </a:solidFill>
          <a:ln w="12700" cap="flat" cmpd="sng" algn="ctr">
            <a:noFill/>
            <a:prstDash val="solid"/>
            <a:miter lim="800000"/>
          </a:ln>
          <a:effectLst/>
          <a:extLst/>
        </p:spPr>
        <p:txBody>
          <a:bodyPr rtlCol="0" anchor="ctr"/>
          <a:lstStyle/>
          <a:p>
            <a:r>
              <a:rPr lang="ru-RU" sz="2800" b="1" dirty="0" smtClean="0">
                <a:solidFill>
                  <a:srgbClr val="FFFF00"/>
                </a:solidFill>
                <a:latin typeface="CorpoS" pitchFamily="2" charset="0"/>
              </a:rPr>
              <a:t>БЮДЖЕТ МОБИЛЬНОСТИ</a:t>
            </a:r>
            <a:r>
              <a:rPr lang="en-US" sz="2800" b="1" dirty="0" smtClean="0">
                <a:solidFill>
                  <a:srgbClr val="FFFF00"/>
                </a:solidFill>
                <a:latin typeface="CorpoS" pitchFamily="2" charset="0"/>
              </a:rPr>
              <a:t>: </a:t>
            </a:r>
            <a:endParaRPr lang="en-US" sz="2800" b="1" dirty="0" smtClean="0">
              <a:solidFill>
                <a:srgbClr val="FFFF00"/>
              </a:solidFill>
              <a:latin typeface="CorpoS" pitchFamily="2" charset="0"/>
            </a:endParaRPr>
          </a:p>
          <a:p>
            <a:r>
              <a:rPr lang="en-US" sz="2800" b="1" dirty="0" smtClean="0">
                <a:solidFill>
                  <a:schemeClr val="bg1"/>
                </a:solidFill>
                <a:latin typeface="CorpoS" pitchFamily="2" charset="0"/>
              </a:rPr>
              <a:t>ULTIMATE BENEFIT FOR EMPLOYEES &amp; COMPANIES</a:t>
            </a:r>
            <a:endParaRPr lang="de-DE" sz="2800" b="1" dirty="0">
              <a:solidFill>
                <a:srgbClr val="FFFF00"/>
              </a:solidFill>
              <a:latin typeface="CorpoS" pitchFamily="2" charset="0"/>
              <a:ea typeface="MS Mincho" panose="02020609040205080304" pitchFamily="49" charset="-128"/>
              <a:cs typeface="Helvetica" panose="020B0604020202020204" pitchFamily="34" charset="0"/>
            </a:endParaRPr>
          </a:p>
        </p:txBody>
      </p:sp>
      <p:pic>
        <p:nvPicPr>
          <p:cNvPr id="5" name="Grafik 4"/>
          <p:cNvPicPr>
            <a:picLocks noChangeAspect="1"/>
          </p:cNvPicPr>
          <p:nvPr/>
        </p:nvPicPr>
        <p:blipFill>
          <a:blip r:embed="rId2"/>
          <a:stretch>
            <a:fillRect/>
          </a:stretch>
        </p:blipFill>
        <p:spPr>
          <a:xfrm>
            <a:off x="180000" y="252000"/>
            <a:ext cx="2153787" cy="1206000"/>
          </a:xfrm>
          <a:prstGeom prst="rect">
            <a:avLst/>
          </a:prstGeom>
        </p:spPr>
      </p:pic>
      <p:pic>
        <p:nvPicPr>
          <p:cNvPr id="12" name="Bild 1">
            <a:extLst>
              <a:ext uri="{FF2B5EF4-FFF2-40B4-BE49-F238E27FC236}">
                <a16:creationId xmlns:a16="http://schemas.microsoft.com/office/drawing/2014/main" id="{C26DA6D4-BD77-AA4D-A043-13D0AFF68D2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006" t="4006" r="4006" b="5652"/>
          <a:stretch/>
        </p:blipFill>
        <p:spPr bwMode="auto">
          <a:xfrm>
            <a:off x="0" y="1926545"/>
            <a:ext cx="3076278" cy="4798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 name="Group 42"/>
          <p:cNvGrpSpPr/>
          <p:nvPr/>
        </p:nvGrpSpPr>
        <p:grpSpPr>
          <a:xfrm>
            <a:off x="584809" y="2525808"/>
            <a:ext cx="1877291" cy="3229979"/>
            <a:chOff x="9758860" y="2620785"/>
            <a:chExt cx="1818962" cy="3226442"/>
          </a:xfrm>
        </p:grpSpPr>
        <p:grpSp>
          <p:nvGrpSpPr>
            <p:cNvPr id="14" name="Group 47"/>
            <p:cNvGrpSpPr/>
            <p:nvPr/>
          </p:nvGrpSpPr>
          <p:grpSpPr>
            <a:xfrm>
              <a:off x="9758860" y="2620785"/>
              <a:ext cx="1818962" cy="3226442"/>
              <a:chOff x="653298" y="2320576"/>
              <a:chExt cx="1818962" cy="3226442"/>
            </a:xfrm>
          </p:grpSpPr>
          <p:pic>
            <p:nvPicPr>
              <p:cNvPr id="16" name="Google Shape;2863;p396"/>
              <p:cNvPicPr preferRelativeResize="0">
                <a:picLocks noChangeAspect="1"/>
              </p:cNvPicPr>
              <p:nvPr/>
            </p:nvPicPr>
            <p:blipFill rotWithShape="1">
              <a:blip r:embed="rId4">
                <a:alphaModFix/>
              </a:blip>
              <a:srcRect b="12463"/>
              <a:stretch/>
            </p:blipFill>
            <p:spPr>
              <a:xfrm>
                <a:off x="653298" y="2320576"/>
                <a:ext cx="1818962" cy="2957544"/>
              </a:xfrm>
              <a:prstGeom prst="rect">
                <a:avLst/>
              </a:prstGeom>
              <a:noFill/>
              <a:ln>
                <a:noFill/>
              </a:ln>
            </p:spPr>
          </p:pic>
          <p:pic>
            <p:nvPicPr>
              <p:cNvPr id="17" name="Google Shape;2863;p396"/>
              <p:cNvPicPr preferRelativeResize="0">
                <a:picLocks noChangeAspect="1"/>
              </p:cNvPicPr>
              <p:nvPr/>
            </p:nvPicPr>
            <p:blipFill rotWithShape="1">
              <a:blip r:embed="rId4">
                <a:alphaModFix/>
              </a:blip>
              <a:srcRect t="91699"/>
              <a:stretch/>
            </p:blipFill>
            <p:spPr>
              <a:xfrm>
                <a:off x="653298" y="5266545"/>
                <a:ext cx="1818962" cy="280473"/>
              </a:xfrm>
              <a:prstGeom prst="rect">
                <a:avLst/>
              </a:prstGeom>
              <a:noFill/>
              <a:ln>
                <a:noFill/>
              </a:ln>
            </p:spPr>
          </p:pic>
        </p:grpSp>
        <p:pic>
          <p:nvPicPr>
            <p:cNvPr id="15" name="Grafik 25">
              <a:extLst>
                <a:ext uri="{FF2B5EF4-FFF2-40B4-BE49-F238E27FC236}">
                  <a16:creationId xmlns:a16="http://schemas.microsoft.com/office/drawing/2014/main" id="{C7E5F27A-B8F0-0747-A492-C51CA9051E88}"/>
                </a:ext>
              </a:extLst>
            </p:cNvPr>
            <p:cNvPicPr>
              <a:picLocks noChangeAspect="1"/>
            </p:cNvPicPr>
            <p:nvPr/>
          </p:nvPicPr>
          <p:blipFill rotWithShape="1">
            <a:blip r:embed="rId5"/>
            <a:srcRect l="12022" t="50513" r="11054" b="7743"/>
            <a:stretch/>
          </p:blipFill>
          <p:spPr>
            <a:xfrm>
              <a:off x="9927002" y="4155680"/>
              <a:ext cx="1482678" cy="1431082"/>
            </a:xfrm>
            <a:prstGeom prst="rect">
              <a:avLst/>
            </a:prstGeom>
          </p:spPr>
        </p:pic>
      </p:grpSp>
      <p:sp>
        <p:nvSpPr>
          <p:cNvPr id="18" name="Rechteck 17"/>
          <p:cNvSpPr/>
          <p:nvPr/>
        </p:nvSpPr>
        <p:spPr>
          <a:xfrm>
            <a:off x="3229363" y="5756659"/>
            <a:ext cx="8587597" cy="620503"/>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ru-RU" sz="2400" b="1" dirty="0" smtClean="0">
                <a:solidFill>
                  <a:srgbClr val="FFFF00"/>
                </a:solidFill>
                <a:latin typeface="CorpoS" pitchFamily="2" charset="0"/>
              </a:rPr>
              <a:t>КОМБИНАЦИЯ ЗАКАЗ-НАРЯДА,</a:t>
            </a:r>
            <a:r>
              <a:rPr lang="ru-RU" sz="2400" b="1" dirty="0">
                <a:solidFill>
                  <a:srgbClr val="FFFF00"/>
                </a:solidFill>
                <a:latin typeface="CorpoS" pitchFamily="2" charset="0"/>
              </a:rPr>
              <a:t> </a:t>
            </a:r>
            <a:r>
              <a:rPr lang="ru-RU" sz="2400" b="1" dirty="0" smtClean="0">
                <a:solidFill>
                  <a:srgbClr val="FFFF00"/>
                </a:solidFill>
                <a:latin typeface="CorpoS" pitchFamily="2" charset="0"/>
              </a:rPr>
              <a:t>СЛУЖЕБНОЙ МАШИНЫ И МНОГОЕ ДРУГОЕ</a:t>
            </a:r>
            <a:r>
              <a:rPr lang="en-US" sz="2400" b="1" dirty="0" smtClean="0">
                <a:solidFill>
                  <a:srgbClr val="FFFF00"/>
                </a:solidFill>
                <a:latin typeface="CorpoS" pitchFamily="2" charset="0"/>
              </a:rPr>
              <a:t>!</a:t>
            </a:r>
            <a:endParaRPr lang="en-US" sz="2400" b="1" dirty="0">
              <a:solidFill>
                <a:prstClr val="white"/>
              </a:solidFill>
              <a:latin typeface="CorpoS" pitchFamily="2" charset="0"/>
            </a:endParaRPr>
          </a:p>
        </p:txBody>
      </p:sp>
      <p:sp>
        <p:nvSpPr>
          <p:cNvPr id="20" name="Freeform 94"/>
          <p:cNvSpPr>
            <a:spLocks/>
          </p:cNvSpPr>
          <p:nvPr/>
        </p:nvSpPr>
        <p:spPr bwMode="gray">
          <a:xfrm>
            <a:off x="3076278" y="3510000"/>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5478"/>
          </a:solidFill>
          <a:ln w="9525" cap="flat" cmpd="sng" algn="ctr">
            <a:solidFill>
              <a:srgbClr val="005478"/>
            </a:solidFill>
            <a:prstDash val="solid"/>
            <a:round/>
            <a:headEnd type="none" w="med" len="med"/>
            <a:tailEnd type="none" w="med" len="med"/>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21" name="Freeform 95"/>
          <p:cNvSpPr>
            <a:spLocks/>
          </p:cNvSpPr>
          <p:nvPr/>
        </p:nvSpPr>
        <p:spPr bwMode="gray">
          <a:xfrm>
            <a:off x="3192709" y="3539600"/>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00"/>
          </a:solidFill>
          <a:ln>
            <a:no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nvGrpSpPr>
          <p:cNvPr id="23" name="bcgIcons_GoToMarket">
            <a:extLst>
              <a:ext uri="{FF2B5EF4-FFF2-40B4-BE49-F238E27FC236}">
                <a16:creationId xmlns:a16="http://schemas.microsoft.com/office/drawing/2014/main" id="{80DCD6BF-47C8-41B6-935A-8B6D6CCE7BFE}"/>
              </a:ext>
            </a:extLst>
          </p:cNvPr>
          <p:cNvGrpSpPr>
            <a:grpSpLocks noChangeAspect="1"/>
          </p:cNvGrpSpPr>
          <p:nvPr/>
        </p:nvGrpSpPr>
        <p:grpSpPr bwMode="auto">
          <a:xfrm>
            <a:off x="3738904" y="1692000"/>
            <a:ext cx="1177798" cy="1178890"/>
            <a:chOff x="1682" y="0"/>
            <a:chExt cx="4316" cy="4320"/>
          </a:xfrm>
        </p:grpSpPr>
        <p:sp>
          <p:nvSpPr>
            <p:cNvPr id="24" name="AutoShape 14">
              <a:extLst>
                <a:ext uri="{FF2B5EF4-FFF2-40B4-BE49-F238E27FC236}">
                  <a16:creationId xmlns:a16="http://schemas.microsoft.com/office/drawing/2014/main" id="{6B6264DF-7B72-47C2-A253-60D979D85B1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6">
              <a:extLst>
                <a:ext uri="{FF2B5EF4-FFF2-40B4-BE49-F238E27FC236}">
                  <a16:creationId xmlns:a16="http://schemas.microsoft.com/office/drawing/2014/main" id="{FF46FB5E-9D6C-47F1-A06B-2A72B07FF12A}"/>
                </a:ext>
              </a:extLst>
            </p:cNvPr>
            <p:cNvSpPr>
              <a:spLocks noEditPoints="1"/>
            </p:cNvSpPr>
            <p:nvPr/>
          </p:nvSpPr>
          <p:spPr bwMode="auto">
            <a:xfrm>
              <a:off x="2574" y="296"/>
              <a:ext cx="2605" cy="2697"/>
            </a:xfrm>
            <a:custGeom>
              <a:avLst/>
              <a:gdLst>
                <a:gd name="T0" fmla="*/ 540 w 1391"/>
                <a:gd name="T1" fmla="*/ 461 h 1438"/>
                <a:gd name="T2" fmla="*/ 144 w 1391"/>
                <a:gd name="T3" fmla="*/ 866 h 1438"/>
                <a:gd name="T4" fmla="*/ 204 w 1391"/>
                <a:gd name="T5" fmla="*/ 1230 h 1438"/>
                <a:gd name="T6" fmla="*/ 235 w 1391"/>
                <a:gd name="T7" fmla="*/ 1261 h 1438"/>
                <a:gd name="T8" fmla="*/ 122 w 1391"/>
                <a:gd name="T9" fmla="*/ 1364 h 1438"/>
                <a:gd name="T10" fmla="*/ 121 w 1391"/>
                <a:gd name="T11" fmla="*/ 1364 h 1438"/>
                <a:gd name="T12" fmla="*/ 8 w 1391"/>
                <a:gd name="T13" fmla="*/ 1258 h 1438"/>
                <a:gd name="T14" fmla="*/ 40 w 1391"/>
                <a:gd name="T15" fmla="*/ 1228 h 1438"/>
                <a:gd name="T16" fmla="*/ 100 w 1391"/>
                <a:gd name="T17" fmla="*/ 857 h 1438"/>
                <a:gd name="T18" fmla="*/ 496 w 1391"/>
                <a:gd name="T19" fmla="*/ 452 h 1438"/>
                <a:gd name="T20" fmla="*/ 518 w 1391"/>
                <a:gd name="T21" fmla="*/ 0 h 1438"/>
                <a:gd name="T22" fmla="*/ 758 w 1391"/>
                <a:gd name="T23" fmla="*/ 746 h 1438"/>
                <a:gd name="T24" fmla="*/ 699 w 1391"/>
                <a:gd name="T25" fmla="*/ 22 h 1438"/>
                <a:gd name="T26" fmla="*/ 655 w 1391"/>
                <a:gd name="T27" fmla="*/ 22 h 1438"/>
                <a:gd name="T28" fmla="*/ 594 w 1391"/>
                <a:gd name="T29" fmla="*/ 744 h 1438"/>
                <a:gd name="T30" fmla="*/ 562 w 1391"/>
                <a:gd name="T31" fmla="*/ 775 h 1438"/>
                <a:gd name="T32" fmla="*/ 674 w 1391"/>
                <a:gd name="T33" fmla="*/ 880 h 1438"/>
                <a:gd name="T34" fmla="*/ 690 w 1391"/>
                <a:gd name="T35" fmla="*/ 874 h 1438"/>
                <a:gd name="T36" fmla="*/ 790 w 1391"/>
                <a:gd name="T37" fmla="*/ 747 h 1438"/>
                <a:gd name="T38" fmla="*/ 1111 w 1391"/>
                <a:gd name="T39" fmla="*/ 886 h 1438"/>
                <a:gd name="T40" fmla="*/ 1051 w 1391"/>
                <a:gd name="T41" fmla="*/ 726 h 1438"/>
                <a:gd name="T42" fmla="*/ 858 w 1391"/>
                <a:gd name="T43" fmla="*/ 524 h 1438"/>
                <a:gd name="T44" fmla="*/ 836 w 1391"/>
                <a:gd name="T45" fmla="*/ 0 h 1438"/>
                <a:gd name="T46" fmla="*/ 814 w 1391"/>
                <a:gd name="T47" fmla="*/ 533 h 1438"/>
                <a:gd name="T48" fmla="*/ 1007 w 1391"/>
                <a:gd name="T49" fmla="*/ 735 h 1438"/>
                <a:gd name="T50" fmla="*/ 947 w 1391"/>
                <a:gd name="T51" fmla="*/ 884 h 1438"/>
                <a:gd name="T52" fmla="*/ 915 w 1391"/>
                <a:gd name="T53" fmla="*/ 915 h 1438"/>
                <a:gd name="T54" fmla="*/ 1027 w 1391"/>
                <a:gd name="T55" fmla="*/ 1021 h 1438"/>
                <a:gd name="T56" fmla="*/ 1043 w 1391"/>
                <a:gd name="T57" fmla="*/ 1014 h 1438"/>
                <a:gd name="T58" fmla="*/ 1142 w 1391"/>
                <a:gd name="T59" fmla="*/ 887 h 1438"/>
                <a:gd name="T60" fmla="*/ 1383 w 1391"/>
                <a:gd name="T61" fmla="*/ 1304 h 1438"/>
                <a:gd name="T62" fmla="*/ 1291 w 1391"/>
                <a:gd name="T63" fmla="*/ 1362 h 1438"/>
                <a:gd name="T64" fmla="*/ 1285 w 1391"/>
                <a:gd name="T65" fmla="*/ 618 h 1438"/>
                <a:gd name="T66" fmla="*/ 1016 w 1391"/>
                <a:gd name="T67" fmla="*/ 22 h 1438"/>
                <a:gd name="T68" fmla="*/ 972 w 1391"/>
                <a:gd name="T69" fmla="*/ 22 h 1438"/>
                <a:gd name="T70" fmla="*/ 979 w 1391"/>
                <a:gd name="T71" fmla="*/ 373 h 1438"/>
                <a:gd name="T72" fmla="*/ 1247 w 1391"/>
                <a:gd name="T73" fmla="*/ 1363 h 1438"/>
                <a:gd name="T74" fmla="*/ 1156 w 1391"/>
                <a:gd name="T75" fmla="*/ 1301 h 1438"/>
                <a:gd name="T76" fmla="*/ 1252 w 1391"/>
                <a:gd name="T77" fmla="*/ 1431 h 1438"/>
                <a:gd name="T78" fmla="*/ 1268 w 1391"/>
                <a:gd name="T79" fmla="*/ 1438 h 1438"/>
                <a:gd name="T80" fmla="*/ 1288 w 1391"/>
                <a:gd name="T81" fmla="*/ 1427 h 1438"/>
                <a:gd name="T82" fmla="*/ 1383 w 1391"/>
                <a:gd name="T83" fmla="*/ 1304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91" h="1438">
                  <a:moveTo>
                    <a:pt x="540" y="22"/>
                  </a:moveTo>
                  <a:cubicBezTo>
                    <a:pt x="540" y="461"/>
                    <a:pt x="540" y="461"/>
                    <a:pt x="540" y="461"/>
                  </a:cubicBezTo>
                  <a:cubicBezTo>
                    <a:pt x="540" y="467"/>
                    <a:pt x="538" y="472"/>
                    <a:pt x="534" y="476"/>
                  </a:cubicBezTo>
                  <a:cubicBezTo>
                    <a:pt x="144" y="866"/>
                    <a:pt x="144" y="866"/>
                    <a:pt x="144" y="866"/>
                  </a:cubicBezTo>
                  <a:cubicBezTo>
                    <a:pt x="144" y="1289"/>
                    <a:pt x="144" y="1289"/>
                    <a:pt x="144" y="1289"/>
                  </a:cubicBezTo>
                  <a:cubicBezTo>
                    <a:pt x="204" y="1230"/>
                    <a:pt x="204" y="1230"/>
                    <a:pt x="204" y="1230"/>
                  </a:cubicBezTo>
                  <a:cubicBezTo>
                    <a:pt x="213" y="1221"/>
                    <a:pt x="227" y="1221"/>
                    <a:pt x="235" y="1230"/>
                  </a:cubicBezTo>
                  <a:cubicBezTo>
                    <a:pt x="244" y="1239"/>
                    <a:pt x="244" y="1253"/>
                    <a:pt x="235" y="1261"/>
                  </a:cubicBezTo>
                  <a:cubicBezTo>
                    <a:pt x="141" y="1353"/>
                    <a:pt x="141" y="1353"/>
                    <a:pt x="141" y="1353"/>
                  </a:cubicBezTo>
                  <a:cubicBezTo>
                    <a:pt x="137" y="1360"/>
                    <a:pt x="130" y="1364"/>
                    <a:pt x="122" y="1364"/>
                  </a:cubicBezTo>
                  <a:cubicBezTo>
                    <a:pt x="122" y="1364"/>
                    <a:pt x="121" y="1364"/>
                    <a:pt x="121" y="1364"/>
                  </a:cubicBezTo>
                  <a:cubicBezTo>
                    <a:pt x="121" y="1364"/>
                    <a:pt x="121" y="1364"/>
                    <a:pt x="121" y="1364"/>
                  </a:cubicBezTo>
                  <a:cubicBezTo>
                    <a:pt x="115" y="1364"/>
                    <a:pt x="109" y="1362"/>
                    <a:pt x="105" y="1357"/>
                  </a:cubicBezTo>
                  <a:cubicBezTo>
                    <a:pt x="8" y="1258"/>
                    <a:pt x="8" y="1258"/>
                    <a:pt x="8" y="1258"/>
                  </a:cubicBezTo>
                  <a:cubicBezTo>
                    <a:pt x="0" y="1250"/>
                    <a:pt x="0" y="1236"/>
                    <a:pt x="9" y="1227"/>
                  </a:cubicBezTo>
                  <a:cubicBezTo>
                    <a:pt x="18" y="1219"/>
                    <a:pt x="31" y="1219"/>
                    <a:pt x="40" y="1228"/>
                  </a:cubicBezTo>
                  <a:cubicBezTo>
                    <a:pt x="100" y="1289"/>
                    <a:pt x="100" y="1289"/>
                    <a:pt x="100" y="1289"/>
                  </a:cubicBezTo>
                  <a:cubicBezTo>
                    <a:pt x="100" y="857"/>
                    <a:pt x="100" y="857"/>
                    <a:pt x="100" y="857"/>
                  </a:cubicBezTo>
                  <a:cubicBezTo>
                    <a:pt x="100" y="851"/>
                    <a:pt x="102" y="846"/>
                    <a:pt x="106" y="842"/>
                  </a:cubicBezTo>
                  <a:cubicBezTo>
                    <a:pt x="496" y="452"/>
                    <a:pt x="496" y="452"/>
                    <a:pt x="496" y="452"/>
                  </a:cubicBezTo>
                  <a:cubicBezTo>
                    <a:pt x="496" y="22"/>
                    <a:pt x="496" y="22"/>
                    <a:pt x="496" y="22"/>
                  </a:cubicBezTo>
                  <a:cubicBezTo>
                    <a:pt x="496" y="10"/>
                    <a:pt x="506" y="0"/>
                    <a:pt x="518" y="0"/>
                  </a:cubicBezTo>
                  <a:cubicBezTo>
                    <a:pt x="531" y="0"/>
                    <a:pt x="540" y="10"/>
                    <a:pt x="540" y="22"/>
                  </a:cubicBezTo>
                  <a:close/>
                  <a:moveTo>
                    <a:pt x="758" y="746"/>
                  </a:moveTo>
                  <a:cubicBezTo>
                    <a:pt x="699" y="804"/>
                    <a:pt x="699" y="804"/>
                    <a:pt x="699" y="804"/>
                  </a:cubicBezTo>
                  <a:cubicBezTo>
                    <a:pt x="699" y="22"/>
                    <a:pt x="699" y="22"/>
                    <a:pt x="699" y="22"/>
                  </a:cubicBezTo>
                  <a:cubicBezTo>
                    <a:pt x="699" y="10"/>
                    <a:pt x="689" y="0"/>
                    <a:pt x="677" y="0"/>
                  </a:cubicBezTo>
                  <a:cubicBezTo>
                    <a:pt x="665" y="0"/>
                    <a:pt x="655" y="10"/>
                    <a:pt x="655" y="22"/>
                  </a:cubicBezTo>
                  <a:cubicBezTo>
                    <a:pt x="655" y="807"/>
                    <a:pt x="655" y="807"/>
                    <a:pt x="655" y="807"/>
                  </a:cubicBezTo>
                  <a:cubicBezTo>
                    <a:pt x="594" y="744"/>
                    <a:pt x="594" y="744"/>
                    <a:pt x="594" y="744"/>
                  </a:cubicBezTo>
                  <a:cubicBezTo>
                    <a:pt x="586" y="735"/>
                    <a:pt x="572" y="735"/>
                    <a:pt x="563" y="744"/>
                  </a:cubicBezTo>
                  <a:cubicBezTo>
                    <a:pt x="554" y="752"/>
                    <a:pt x="554" y="766"/>
                    <a:pt x="562" y="775"/>
                  </a:cubicBezTo>
                  <a:cubicBezTo>
                    <a:pt x="659" y="874"/>
                    <a:pt x="659" y="874"/>
                    <a:pt x="659" y="874"/>
                  </a:cubicBezTo>
                  <a:cubicBezTo>
                    <a:pt x="663" y="878"/>
                    <a:pt x="669" y="880"/>
                    <a:pt x="674" y="880"/>
                  </a:cubicBezTo>
                  <a:cubicBezTo>
                    <a:pt x="675" y="880"/>
                    <a:pt x="675" y="880"/>
                    <a:pt x="675" y="880"/>
                  </a:cubicBezTo>
                  <a:cubicBezTo>
                    <a:pt x="680" y="880"/>
                    <a:pt x="686" y="878"/>
                    <a:pt x="690" y="874"/>
                  </a:cubicBezTo>
                  <a:cubicBezTo>
                    <a:pt x="789" y="778"/>
                    <a:pt x="789" y="778"/>
                    <a:pt x="789" y="778"/>
                  </a:cubicBezTo>
                  <a:cubicBezTo>
                    <a:pt x="798" y="769"/>
                    <a:pt x="798" y="755"/>
                    <a:pt x="790" y="747"/>
                  </a:cubicBezTo>
                  <a:cubicBezTo>
                    <a:pt x="781" y="738"/>
                    <a:pt x="767" y="738"/>
                    <a:pt x="758" y="746"/>
                  </a:cubicBezTo>
                  <a:close/>
                  <a:moveTo>
                    <a:pt x="1111" y="886"/>
                  </a:moveTo>
                  <a:cubicBezTo>
                    <a:pt x="1051" y="945"/>
                    <a:pt x="1051" y="945"/>
                    <a:pt x="1051" y="945"/>
                  </a:cubicBezTo>
                  <a:cubicBezTo>
                    <a:pt x="1051" y="726"/>
                    <a:pt x="1051" y="726"/>
                    <a:pt x="1051" y="726"/>
                  </a:cubicBezTo>
                  <a:cubicBezTo>
                    <a:pt x="1051" y="720"/>
                    <a:pt x="1048" y="715"/>
                    <a:pt x="1044" y="710"/>
                  </a:cubicBezTo>
                  <a:cubicBezTo>
                    <a:pt x="858" y="524"/>
                    <a:pt x="858" y="524"/>
                    <a:pt x="858" y="524"/>
                  </a:cubicBezTo>
                  <a:cubicBezTo>
                    <a:pt x="858" y="22"/>
                    <a:pt x="858" y="22"/>
                    <a:pt x="858" y="22"/>
                  </a:cubicBezTo>
                  <a:cubicBezTo>
                    <a:pt x="858" y="10"/>
                    <a:pt x="848" y="0"/>
                    <a:pt x="836" y="0"/>
                  </a:cubicBezTo>
                  <a:cubicBezTo>
                    <a:pt x="823" y="0"/>
                    <a:pt x="814" y="10"/>
                    <a:pt x="814" y="22"/>
                  </a:cubicBezTo>
                  <a:cubicBezTo>
                    <a:pt x="814" y="533"/>
                    <a:pt x="814" y="533"/>
                    <a:pt x="814" y="533"/>
                  </a:cubicBezTo>
                  <a:cubicBezTo>
                    <a:pt x="814" y="539"/>
                    <a:pt x="816" y="545"/>
                    <a:pt x="820" y="549"/>
                  </a:cubicBezTo>
                  <a:cubicBezTo>
                    <a:pt x="1007" y="735"/>
                    <a:pt x="1007" y="735"/>
                    <a:pt x="1007" y="735"/>
                  </a:cubicBezTo>
                  <a:cubicBezTo>
                    <a:pt x="1007" y="946"/>
                    <a:pt x="1007" y="946"/>
                    <a:pt x="1007" y="946"/>
                  </a:cubicBezTo>
                  <a:cubicBezTo>
                    <a:pt x="947" y="884"/>
                    <a:pt x="947" y="884"/>
                    <a:pt x="947" y="884"/>
                  </a:cubicBezTo>
                  <a:cubicBezTo>
                    <a:pt x="938" y="875"/>
                    <a:pt x="924" y="875"/>
                    <a:pt x="916" y="884"/>
                  </a:cubicBezTo>
                  <a:cubicBezTo>
                    <a:pt x="907" y="892"/>
                    <a:pt x="907" y="906"/>
                    <a:pt x="915" y="915"/>
                  </a:cubicBezTo>
                  <a:cubicBezTo>
                    <a:pt x="1012" y="1014"/>
                    <a:pt x="1012" y="1014"/>
                    <a:pt x="1012" y="1014"/>
                  </a:cubicBezTo>
                  <a:cubicBezTo>
                    <a:pt x="1016" y="1018"/>
                    <a:pt x="1021" y="1020"/>
                    <a:pt x="1027" y="1021"/>
                  </a:cubicBezTo>
                  <a:cubicBezTo>
                    <a:pt x="1027" y="1021"/>
                    <a:pt x="1027" y="1021"/>
                    <a:pt x="1027" y="1021"/>
                  </a:cubicBezTo>
                  <a:cubicBezTo>
                    <a:pt x="1033" y="1021"/>
                    <a:pt x="1039" y="1018"/>
                    <a:pt x="1043" y="1014"/>
                  </a:cubicBezTo>
                  <a:cubicBezTo>
                    <a:pt x="1142" y="918"/>
                    <a:pt x="1142" y="918"/>
                    <a:pt x="1142" y="918"/>
                  </a:cubicBezTo>
                  <a:cubicBezTo>
                    <a:pt x="1151" y="909"/>
                    <a:pt x="1151" y="895"/>
                    <a:pt x="1142" y="887"/>
                  </a:cubicBezTo>
                  <a:cubicBezTo>
                    <a:pt x="1134" y="878"/>
                    <a:pt x="1120" y="878"/>
                    <a:pt x="1111" y="886"/>
                  </a:cubicBezTo>
                  <a:close/>
                  <a:moveTo>
                    <a:pt x="1383" y="1304"/>
                  </a:moveTo>
                  <a:cubicBezTo>
                    <a:pt x="1374" y="1295"/>
                    <a:pt x="1360" y="1295"/>
                    <a:pt x="1351" y="1304"/>
                  </a:cubicBezTo>
                  <a:cubicBezTo>
                    <a:pt x="1291" y="1362"/>
                    <a:pt x="1291" y="1362"/>
                    <a:pt x="1291" y="1362"/>
                  </a:cubicBezTo>
                  <a:cubicBezTo>
                    <a:pt x="1291" y="634"/>
                    <a:pt x="1291" y="634"/>
                    <a:pt x="1291" y="634"/>
                  </a:cubicBezTo>
                  <a:cubicBezTo>
                    <a:pt x="1291" y="628"/>
                    <a:pt x="1289" y="623"/>
                    <a:pt x="1285" y="618"/>
                  </a:cubicBezTo>
                  <a:cubicBezTo>
                    <a:pt x="1016" y="348"/>
                    <a:pt x="1016" y="348"/>
                    <a:pt x="1016" y="348"/>
                  </a:cubicBezTo>
                  <a:cubicBezTo>
                    <a:pt x="1016" y="22"/>
                    <a:pt x="1016" y="22"/>
                    <a:pt x="1016" y="22"/>
                  </a:cubicBezTo>
                  <a:cubicBezTo>
                    <a:pt x="1016" y="10"/>
                    <a:pt x="1006" y="0"/>
                    <a:pt x="994" y="0"/>
                  </a:cubicBezTo>
                  <a:cubicBezTo>
                    <a:pt x="982" y="0"/>
                    <a:pt x="972" y="10"/>
                    <a:pt x="972" y="22"/>
                  </a:cubicBezTo>
                  <a:cubicBezTo>
                    <a:pt x="972" y="357"/>
                    <a:pt x="972" y="357"/>
                    <a:pt x="972" y="357"/>
                  </a:cubicBezTo>
                  <a:cubicBezTo>
                    <a:pt x="972" y="363"/>
                    <a:pt x="975" y="368"/>
                    <a:pt x="979" y="373"/>
                  </a:cubicBezTo>
                  <a:cubicBezTo>
                    <a:pt x="1247" y="643"/>
                    <a:pt x="1247" y="643"/>
                    <a:pt x="1247" y="643"/>
                  </a:cubicBezTo>
                  <a:cubicBezTo>
                    <a:pt x="1247" y="1363"/>
                    <a:pt x="1247" y="1363"/>
                    <a:pt x="1247" y="1363"/>
                  </a:cubicBezTo>
                  <a:cubicBezTo>
                    <a:pt x="1187" y="1301"/>
                    <a:pt x="1187" y="1301"/>
                    <a:pt x="1187" y="1301"/>
                  </a:cubicBezTo>
                  <a:cubicBezTo>
                    <a:pt x="1179" y="1293"/>
                    <a:pt x="1165" y="1293"/>
                    <a:pt x="1156" y="1301"/>
                  </a:cubicBezTo>
                  <a:cubicBezTo>
                    <a:pt x="1147" y="1310"/>
                    <a:pt x="1147" y="1323"/>
                    <a:pt x="1155" y="1332"/>
                  </a:cubicBezTo>
                  <a:cubicBezTo>
                    <a:pt x="1252" y="1431"/>
                    <a:pt x="1252" y="1431"/>
                    <a:pt x="1252" y="1431"/>
                  </a:cubicBezTo>
                  <a:cubicBezTo>
                    <a:pt x="1256" y="1436"/>
                    <a:pt x="1262" y="1438"/>
                    <a:pt x="1268" y="1438"/>
                  </a:cubicBezTo>
                  <a:cubicBezTo>
                    <a:pt x="1268" y="1438"/>
                    <a:pt x="1268" y="1438"/>
                    <a:pt x="1268" y="1438"/>
                  </a:cubicBezTo>
                  <a:cubicBezTo>
                    <a:pt x="1268" y="1438"/>
                    <a:pt x="1269" y="1438"/>
                    <a:pt x="1269" y="1438"/>
                  </a:cubicBezTo>
                  <a:cubicBezTo>
                    <a:pt x="1277" y="1438"/>
                    <a:pt x="1284" y="1433"/>
                    <a:pt x="1288" y="1427"/>
                  </a:cubicBezTo>
                  <a:cubicBezTo>
                    <a:pt x="1382" y="1335"/>
                    <a:pt x="1382" y="1335"/>
                    <a:pt x="1382" y="1335"/>
                  </a:cubicBezTo>
                  <a:cubicBezTo>
                    <a:pt x="1391" y="1327"/>
                    <a:pt x="1391" y="1313"/>
                    <a:pt x="1383" y="130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7">
              <a:extLst>
                <a:ext uri="{FF2B5EF4-FFF2-40B4-BE49-F238E27FC236}">
                  <a16:creationId xmlns:a16="http://schemas.microsoft.com/office/drawing/2014/main" id="{6B8AE4E4-9646-49AB-AFD2-4CB528364E93}"/>
                </a:ext>
              </a:extLst>
            </p:cNvPr>
            <p:cNvSpPr>
              <a:spLocks noEditPoints="1"/>
            </p:cNvSpPr>
            <p:nvPr/>
          </p:nvSpPr>
          <p:spPr bwMode="auto">
            <a:xfrm>
              <a:off x="2317" y="2081"/>
              <a:ext cx="3125" cy="1986"/>
            </a:xfrm>
            <a:custGeom>
              <a:avLst/>
              <a:gdLst>
                <a:gd name="T0" fmla="*/ 554 w 1668"/>
                <a:gd name="T1" fmla="*/ 259 h 1059"/>
                <a:gd name="T2" fmla="*/ 1072 w 1668"/>
                <a:gd name="T3" fmla="*/ 259 h 1059"/>
                <a:gd name="T4" fmla="*/ 956 w 1668"/>
                <a:gd name="T5" fmla="*/ 273 h 1059"/>
                <a:gd name="T6" fmla="*/ 927 w 1668"/>
                <a:gd name="T7" fmla="*/ 331 h 1059"/>
                <a:gd name="T8" fmla="*/ 917 w 1668"/>
                <a:gd name="T9" fmla="*/ 367 h 1059"/>
                <a:gd name="T10" fmla="*/ 856 w 1668"/>
                <a:gd name="T11" fmla="*/ 423 h 1059"/>
                <a:gd name="T12" fmla="*/ 848 w 1668"/>
                <a:gd name="T13" fmla="*/ 431 h 1059"/>
                <a:gd name="T14" fmla="*/ 724 w 1668"/>
                <a:gd name="T15" fmla="*/ 403 h 1059"/>
                <a:gd name="T16" fmla="*/ 679 w 1668"/>
                <a:gd name="T17" fmla="*/ 168 h 1059"/>
                <a:gd name="T18" fmla="*/ 940 w 1668"/>
                <a:gd name="T19" fmla="*/ 107 h 1059"/>
                <a:gd name="T20" fmla="*/ 918 w 1668"/>
                <a:gd name="T21" fmla="*/ 152 h 1059"/>
                <a:gd name="T22" fmla="*/ 919 w 1668"/>
                <a:gd name="T23" fmla="*/ 186 h 1059"/>
                <a:gd name="T24" fmla="*/ 927 w 1668"/>
                <a:gd name="T25" fmla="*/ 218 h 1059"/>
                <a:gd name="T26" fmla="*/ 942 w 1668"/>
                <a:gd name="T27" fmla="*/ 246 h 1059"/>
                <a:gd name="T28" fmla="*/ 1409 w 1668"/>
                <a:gd name="T29" fmla="*/ 542 h 1059"/>
                <a:gd name="T30" fmla="*/ 1409 w 1668"/>
                <a:gd name="T31" fmla="*/ 1059 h 1059"/>
                <a:gd name="T32" fmla="*/ 1409 w 1668"/>
                <a:gd name="T33" fmla="*/ 542 h 1059"/>
                <a:gd name="T34" fmla="*/ 1498 w 1668"/>
                <a:gd name="T35" fmla="*/ 944 h 1059"/>
                <a:gd name="T36" fmla="*/ 1374 w 1668"/>
                <a:gd name="T37" fmla="*/ 972 h 1059"/>
                <a:gd name="T38" fmla="*/ 1366 w 1668"/>
                <a:gd name="T39" fmla="*/ 965 h 1059"/>
                <a:gd name="T40" fmla="*/ 1305 w 1668"/>
                <a:gd name="T41" fmla="*/ 909 h 1059"/>
                <a:gd name="T42" fmla="*/ 1295 w 1668"/>
                <a:gd name="T43" fmla="*/ 873 h 1059"/>
                <a:gd name="T44" fmla="*/ 1266 w 1668"/>
                <a:gd name="T45" fmla="*/ 815 h 1059"/>
                <a:gd name="T46" fmla="*/ 1282 w 1668"/>
                <a:gd name="T47" fmla="*/ 785 h 1059"/>
                <a:gd name="T48" fmla="*/ 1298 w 1668"/>
                <a:gd name="T49" fmla="*/ 747 h 1059"/>
                <a:gd name="T50" fmla="*/ 1307 w 1668"/>
                <a:gd name="T51" fmla="*/ 692 h 1059"/>
                <a:gd name="T52" fmla="*/ 1303 w 1668"/>
                <a:gd name="T53" fmla="*/ 692 h 1059"/>
                <a:gd name="T54" fmla="*/ 1417 w 1668"/>
                <a:gd name="T55" fmla="*/ 629 h 1059"/>
                <a:gd name="T56" fmla="*/ 1498 w 1668"/>
                <a:gd name="T57" fmla="*/ 868 h 1059"/>
                <a:gd name="T58" fmla="*/ 0 w 1668"/>
                <a:gd name="T59" fmla="*/ 721 h 1059"/>
                <a:gd name="T60" fmla="*/ 518 w 1668"/>
                <a:gd name="T61" fmla="*/ 721 h 1059"/>
                <a:gd name="T62" fmla="*/ 406 w 1668"/>
                <a:gd name="T63" fmla="*/ 737 h 1059"/>
                <a:gd name="T64" fmla="*/ 376 w 1668"/>
                <a:gd name="T65" fmla="*/ 775 h 1059"/>
                <a:gd name="T66" fmla="*/ 327 w 1668"/>
                <a:gd name="T67" fmla="*/ 826 h 1059"/>
                <a:gd name="T68" fmla="*/ 304 w 1668"/>
                <a:gd name="T69" fmla="*/ 882 h 1059"/>
                <a:gd name="T70" fmla="*/ 289 w 1668"/>
                <a:gd name="T71" fmla="*/ 890 h 1059"/>
                <a:gd name="T72" fmla="*/ 202 w 1668"/>
                <a:gd name="T73" fmla="*/ 863 h 1059"/>
                <a:gd name="T74" fmla="*/ 132 w 1668"/>
                <a:gd name="T75" fmla="*/ 627 h 1059"/>
                <a:gd name="T76" fmla="*/ 371 w 1668"/>
                <a:gd name="T77" fmla="*/ 606 h 1059"/>
                <a:gd name="T78" fmla="*/ 377 w 1668"/>
                <a:gd name="T79" fmla="*/ 654 h 1059"/>
                <a:gd name="T80" fmla="*/ 394 w 1668"/>
                <a:gd name="T81" fmla="*/ 70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68" h="1059">
                  <a:moveTo>
                    <a:pt x="813" y="0"/>
                  </a:moveTo>
                  <a:cubicBezTo>
                    <a:pt x="670" y="0"/>
                    <a:pt x="554" y="116"/>
                    <a:pt x="554" y="259"/>
                  </a:cubicBezTo>
                  <a:cubicBezTo>
                    <a:pt x="554" y="402"/>
                    <a:pt x="670" y="518"/>
                    <a:pt x="813" y="518"/>
                  </a:cubicBezTo>
                  <a:cubicBezTo>
                    <a:pt x="956" y="518"/>
                    <a:pt x="1072" y="402"/>
                    <a:pt x="1072" y="259"/>
                  </a:cubicBezTo>
                  <a:cubicBezTo>
                    <a:pt x="1072" y="116"/>
                    <a:pt x="956" y="0"/>
                    <a:pt x="813" y="0"/>
                  </a:cubicBezTo>
                  <a:close/>
                  <a:moveTo>
                    <a:pt x="956" y="273"/>
                  </a:moveTo>
                  <a:cubicBezTo>
                    <a:pt x="955" y="277"/>
                    <a:pt x="949" y="290"/>
                    <a:pt x="925" y="290"/>
                  </a:cubicBezTo>
                  <a:cubicBezTo>
                    <a:pt x="927" y="301"/>
                    <a:pt x="928" y="319"/>
                    <a:pt x="927" y="331"/>
                  </a:cubicBezTo>
                  <a:cubicBezTo>
                    <a:pt x="927" y="334"/>
                    <a:pt x="927" y="334"/>
                    <a:pt x="927" y="334"/>
                  </a:cubicBezTo>
                  <a:cubicBezTo>
                    <a:pt x="926" y="353"/>
                    <a:pt x="925" y="363"/>
                    <a:pt x="917" y="367"/>
                  </a:cubicBezTo>
                  <a:cubicBezTo>
                    <a:pt x="910" y="371"/>
                    <a:pt x="887" y="374"/>
                    <a:pt x="856" y="371"/>
                  </a:cubicBezTo>
                  <a:cubicBezTo>
                    <a:pt x="856" y="423"/>
                    <a:pt x="856" y="423"/>
                    <a:pt x="856" y="423"/>
                  </a:cubicBezTo>
                  <a:cubicBezTo>
                    <a:pt x="856" y="427"/>
                    <a:pt x="853" y="431"/>
                    <a:pt x="848" y="431"/>
                  </a:cubicBezTo>
                  <a:cubicBezTo>
                    <a:pt x="848" y="431"/>
                    <a:pt x="848" y="431"/>
                    <a:pt x="848" y="431"/>
                  </a:cubicBezTo>
                  <a:cubicBezTo>
                    <a:pt x="843" y="431"/>
                    <a:pt x="779" y="430"/>
                    <a:pt x="729" y="410"/>
                  </a:cubicBezTo>
                  <a:cubicBezTo>
                    <a:pt x="726" y="409"/>
                    <a:pt x="724" y="406"/>
                    <a:pt x="724" y="403"/>
                  </a:cubicBezTo>
                  <a:cubicBezTo>
                    <a:pt x="724" y="327"/>
                    <a:pt x="724" y="327"/>
                    <a:pt x="724" y="327"/>
                  </a:cubicBezTo>
                  <a:cubicBezTo>
                    <a:pt x="699" y="300"/>
                    <a:pt x="648" y="234"/>
                    <a:pt x="679" y="168"/>
                  </a:cubicBezTo>
                  <a:cubicBezTo>
                    <a:pt x="697" y="131"/>
                    <a:pt x="733" y="87"/>
                    <a:pt x="805" y="87"/>
                  </a:cubicBezTo>
                  <a:cubicBezTo>
                    <a:pt x="887" y="87"/>
                    <a:pt x="863" y="108"/>
                    <a:pt x="940" y="107"/>
                  </a:cubicBezTo>
                  <a:cubicBezTo>
                    <a:pt x="948" y="107"/>
                    <a:pt x="923" y="134"/>
                    <a:pt x="919" y="151"/>
                  </a:cubicBezTo>
                  <a:cubicBezTo>
                    <a:pt x="919" y="151"/>
                    <a:pt x="919" y="152"/>
                    <a:pt x="918" y="152"/>
                  </a:cubicBezTo>
                  <a:cubicBezTo>
                    <a:pt x="918" y="152"/>
                    <a:pt x="916" y="151"/>
                    <a:pt x="914" y="151"/>
                  </a:cubicBezTo>
                  <a:cubicBezTo>
                    <a:pt x="915" y="161"/>
                    <a:pt x="917" y="180"/>
                    <a:pt x="919" y="186"/>
                  </a:cubicBezTo>
                  <a:cubicBezTo>
                    <a:pt x="921" y="192"/>
                    <a:pt x="922" y="199"/>
                    <a:pt x="924" y="205"/>
                  </a:cubicBezTo>
                  <a:cubicBezTo>
                    <a:pt x="925" y="210"/>
                    <a:pt x="926" y="215"/>
                    <a:pt x="927" y="218"/>
                  </a:cubicBezTo>
                  <a:cubicBezTo>
                    <a:pt x="931" y="230"/>
                    <a:pt x="935" y="239"/>
                    <a:pt x="939" y="243"/>
                  </a:cubicBezTo>
                  <a:cubicBezTo>
                    <a:pt x="940" y="244"/>
                    <a:pt x="941" y="245"/>
                    <a:pt x="942" y="246"/>
                  </a:cubicBezTo>
                  <a:cubicBezTo>
                    <a:pt x="951" y="256"/>
                    <a:pt x="959" y="265"/>
                    <a:pt x="956" y="273"/>
                  </a:cubicBezTo>
                  <a:close/>
                  <a:moveTo>
                    <a:pt x="1409" y="542"/>
                  </a:moveTo>
                  <a:cubicBezTo>
                    <a:pt x="1266" y="542"/>
                    <a:pt x="1150" y="658"/>
                    <a:pt x="1150" y="800"/>
                  </a:cubicBezTo>
                  <a:cubicBezTo>
                    <a:pt x="1150" y="943"/>
                    <a:pt x="1266" y="1059"/>
                    <a:pt x="1409" y="1059"/>
                  </a:cubicBezTo>
                  <a:cubicBezTo>
                    <a:pt x="1552" y="1059"/>
                    <a:pt x="1668" y="943"/>
                    <a:pt x="1668" y="800"/>
                  </a:cubicBezTo>
                  <a:cubicBezTo>
                    <a:pt x="1668" y="658"/>
                    <a:pt x="1552" y="542"/>
                    <a:pt x="1409" y="542"/>
                  </a:cubicBezTo>
                  <a:close/>
                  <a:moveTo>
                    <a:pt x="1498" y="868"/>
                  </a:moveTo>
                  <a:cubicBezTo>
                    <a:pt x="1498" y="944"/>
                    <a:pt x="1498" y="944"/>
                    <a:pt x="1498" y="944"/>
                  </a:cubicBezTo>
                  <a:cubicBezTo>
                    <a:pt x="1498" y="947"/>
                    <a:pt x="1496" y="950"/>
                    <a:pt x="1493" y="951"/>
                  </a:cubicBezTo>
                  <a:cubicBezTo>
                    <a:pt x="1443" y="972"/>
                    <a:pt x="1379" y="972"/>
                    <a:pt x="1374" y="972"/>
                  </a:cubicBezTo>
                  <a:cubicBezTo>
                    <a:pt x="1373" y="972"/>
                    <a:pt x="1373" y="972"/>
                    <a:pt x="1373" y="972"/>
                  </a:cubicBezTo>
                  <a:cubicBezTo>
                    <a:pt x="1369" y="972"/>
                    <a:pt x="1366" y="969"/>
                    <a:pt x="1366" y="965"/>
                  </a:cubicBezTo>
                  <a:cubicBezTo>
                    <a:pt x="1366" y="912"/>
                    <a:pt x="1366" y="912"/>
                    <a:pt x="1366" y="912"/>
                  </a:cubicBezTo>
                  <a:cubicBezTo>
                    <a:pt x="1335" y="916"/>
                    <a:pt x="1311" y="912"/>
                    <a:pt x="1305" y="909"/>
                  </a:cubicBezTo>
                  <a:cubicBezTo>
                    <a:pt x="1297" y="905"/>
                    <a:pt x="1296" y="894"/>
                    <a:pt x="1295" y="875"/>
                  </a:cubicBezTo>
                  <a:cubicBezTo>
                    <a:pt x="1295" y="873"/>
                    <a:pt x="1295" y="873"/>
                    <a:pt x="1295" y="873"/>
                  </a:cubicBezTo>
                  <a:cubicBezTo>
                    <a:pt x="1294" y="861"/>
                    <a:pt x="1295" y="842"/>
                    <a:pt x="1296" y="832"/>
                  </a:cubicBezTo>
                  <a:cubicBezTo>
                    <a:pt x="1273" y="831"/>
                    <a:pt x="1267" y="819"/>
                    <a:pt x="1266" y="815"/>
                  </a:cubicBezTo>
                  <a:cubicBezTo>
                    <a:pt x="1263" y="806"/>
                    <a:pt x="1271" y="797"/>
                    <a:pt x="1280" y="788"/>
                  </a:cubicBezTo>
                  <a:cubicBezTo>
                    <a:pt x="1281" y="787"/>
                    <a:pt x="1282" y="786"/>
                    <a:pt x="1282" y="785"/>
                  </a:cubicBezTo>
                  <a:cubicBezTo>
                    <a:pt x="1286" y="780"/>
                    <a:pt x="1291" y="771"/>
                    <a:pt x="1295" y="760"/>
                  </a:cubicBezTo>
                  <a:cubicBezTo>
                    <a:pt x="1296" y="757"/>
                    <a:pt x="1297" y="752"/>
                    <a:pt x="1298" y="747"/>
                  </a:cubicBezTo>
                  <a:cubicBezTo>
                    <a:pt x="1300" y="740"/>
                    <a:pt x="1301" y="733"/>
                    <a:pt x="1303" y="728"/>
                  </a:cubicBezTo>
                  <a:cubicBezTo>
                    <a:pt x="1305" y="721"/>
                    <a:pt x="1307" y="702"/>
                    <a:pt x="1307" y="692"/>
                  </a:cubicBezTo>
                  <a:cubicBezTo>
                    <a:pt x="1306" y="692"/>
                    <a:pt x="1304" y="693"/>
                    <a:pt x="1303" y="693"/>
                  </a:cubicBezTo>
                  <a:cubicBezTo>
                    <a:pt x="1303" y="693"/>
                    <a:pt x="1303" y="693"/>
                    <a:pt x="1303" y="692"/>
                  </a:cubicBezTo>
                  <a:cubicBezTo>
                    <a:pt x="1299" y="675"/>
                    <a:pt x="1274" y="648"/>
                    <a:pt x="1282" y="648"/>
                  </a:cubicBezTo>
                  <a:cubicBezTo>
                    <a:pt x="1358" y="650"/>
                    <a:pt x="1334" y="629"/>
                    <a:pt x="1417" y="629"/>
                  </a:cubicBezTo>
                  <a:cubicBezTo>
                    <a:pt x="1489" y="629"/>
                    <a:pt x="1525" y="672"/>
                    <a:pt x="1543" y="709"/>
                  </a:cubicBezTo>
                  <a:cubicBezTo>
                    <a:pt x="1574" y="776"/>
                    <a:pt x="1523" y="842"/>
                    <a:pt x="1498" y="868"/>
                  </a:cubicBezTo>
                  <a:close/>
                  <a:moveTo>
                    <a:pt x="259" y="462"/>
                  </a:moveTo>
                  <a:cubicBezTo>
                    <a:pt x="116" y="462"/>
                    <a:pt x="0" y="578"/>
                    <a:pt x="0" y="721"/>
                  </a:cubicBezTo>
                  <a:cubicBezTo>
                    <a:pt x="0" y="864"/>
                    <a:pt x="116" y="980"/>
                    <a:pt x="259" y="980"/>
                  </a:cubicBezTo>
                  <a:cubicBezTo>
                    <a:pt x="402" y="980"/>
                    <a:pt x="518" y="864"/>
                    <a:pt x="518" y="721"/>
                  </a:cubicBezTo>
                  <a:cubicBezTo>
                    <a:pt x="518" y="578"/>
                    <a:pt x="402" y="462"/>
                    <a:pt x="259" y="462"/>
                  </a:cubicBezTo>
                  <a:close/>
                  <a:moveTo>
                    <a:pt x="406" y="737"/>
                  </a:moveTo>
                  <a:cubicBezTo>
                    <a:pt x="404" y="743"/>
                    <a:pt x="394" y="752"/>
                    <a:pt x="375" y="752"/>
                  </a:cubicBezTo>
                  <a:cubicBezTo>
                    <a:pt x="376" y="758"/>
                    <a:pt x="376" y="767"/>
                    <a:pt x="376" y="775"/>
                  </a:cubicBezTo>
                  <a:cubicBezTo>
                    <a:pt x="376" y="806"/>
                    <a:pt x="372" y="815"/>
                    <a:pt x="368" y="818"/>
                  </a:cubicBezTo>
                  <a:cubicBezTo>
                    <a:pt x="365" y="822"/>
                    <a:pt x="357" y="827"/>
                    <a:pt x="327" y="826"/>
                  </a:cubicBezTo>
                  <a:cubicBezTo>
                    <a:pt x="322" y="826"/>
                    <a:pt x="312" y="826"/>
                    <a:pt x="304" y="825"/>
                  </a:cubicBezTo>
                  <a:cubicBezTo>
                    <a:pt x="304" y="882"/>
                    <a:pt x="304" y="882"/>
                    <a:pt x="304" y="882"/>
                  </a:cubicBezTo>
                  <a:cubicBezTo>
                    <a:pt x="304" y="886"/>
                    <a:pt x="301" y="889"/>
                    <a:pt x="297" y="889"/>
                  </a:cubicBezTo>
                  <a:cubicBezTo>
                    <a:pt x="297" y="889"/>
                    <a:pt x="294" y="890"/>
                    <a:pt x="289" y="890"/>
                  </a:cubicBezTo>
                  <a:cubicBezTo>
                    <a:pt x="273" y="890"/>
                    <a:pt x="236" y="887"/>
                    <a:pt x="206" y="869"/>
                  </a:cubicBezTo>
                  <a:cubicBezTo>
                    <a:pt x="204" y="868"/>
                    <a:pt x="202" y="866"/>
                    <a:pt x="202" y="863"/>
                  </a:cubicBezTo>
                  <a:cubicBezTo>
                    <a:pt x="200" y="826"/>
                    <a:pt x="200" y="826"/>
                    <a:pt x="200" y="826"/>
                  </a:cubicBezTo>
                  <a:cubicBezTo>
                    <a:pt x="151" y="806"/>
                    <a:pt x="73" y="749"/>
                    <a:pt x="132" y="627"/>
                  </a:cubicBezTo>
                  <a:cubicBezTo>
                    <a:pt x="150" y="591"/>
                    <a:pt x="192" y="553"/>
                    <a:pt x="262" y="553"/>
                  </a:cubicBezTo>
                  <a:cubicBezTo>
                    <a:pt x="342" y="553"/>
                    <a:pt x="375" y="590"/>
                    <a:pt x="371" y="606"/>
                  </a:cubicBezTo>
                  <a:cubicBezTo>
                    <a:pt x="370" y="609"/>
                    <a:pt x="368" y="612"/>
                    <a:pt x="366" y="615"/>
                  </a:cubicBezTo>
                  <a:cubicBezTo>
                    <a:pt x="370" y="620"/>
                    <a:pt x="379" y="633"/>
                    <a:pt x="377" y="654"/>
                  </a:cubicBezTo>
                  <a:cubicBezTo>
                    <a:pt x="377" y="664"/>
                    <a:pt x="378" y="683"/>
                    <a:pt x="379" y="686"/>
                  </a:cubicBezTo>
                  <a:cubicBezTo>
                    <a:pt x="382" y="693"/>
                    <a:pt x="388" y="703"/>
                    <a:pt x="394" y="709"/>
                  </a:cubicBezTo>
                  <a:cubicBezTo>
                    <a:pt x="400" y="715"/>
                    <a:pt x="410" y="729"/>
                    <a:pt x="406" y="737"/>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25"/>
          <p:cNvGrpSpPr>
            <a:grpSpLocks noChangeAspect="1"/>
          </p:cNvGrpSpPr>
          <p:nvPr/>
        </p:nvGrpSpPr>
        <p:grpSpPr>
          <a:xfrm>
            <a:off x="3738359" y="3132000"/>
            <a:ext cx="1178889" cy="1178890"/>
            <a:chOff x="8263467" y="2265363"/>
            <a:chExt cx="1646237" cy="1646238"/>
          </a:xfrm>
        </p:grpSpPr>
        <p:sp>
          <p:nvSpPr>
            <p:cNvPr id="28" name="AutoShape 92"/>
            <p:cNvSpPr>
              <a:spLocks noChangeAspect="1" noChangeArrowheads="1" noTextEdit="1"/>
            </p:cNvSpPr>
            <p:nvPr/>
          </p:nvSpPr>
          <p:spPr bwMode="auto">
            <a:xfrm>
              <a:off x="8263467" y="2265363"/>
              <a:ext cx="1646237"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9" name="Group 27"/>
            <p:cNvGrpSpPr/>
            <p:nvPr/>
          </p:nvGrpSpPr>
          <p:grpSpPr>
            <a:xfrm>
              <a:off x="8692885" y="2434522"/>
              <a:ext cx="787400" cy="1307921"/>
              <a:chOff x="8692092" y="2433639"/>
              <a:chExt cx="787400" cy="1307921"/>
            </a:xfrm>
          </p:grpSpPr>
          <p:sp>
            <p:nvSpPr>
              <p:cNvPr id="30" name="Freeform 28"/>
              <p:cNvSpPr>
                <a:spLocks/>
              </p:cNvSpPr>
              <p:nvPr/>
            </p:nvSpPr>
            <p:spPr bwMode="auto">
              <a:xfrm rot="10800000">
                <a:off x="8692092" y="2433639"/>
                <a:ext cx="787400" cy="1307921"/>
              </a:xfrm>
              <a:custGeom>
                <a:avLst/>
                <a:gdLst>
                  <a:gd name="connsiteX0" fmla="*/ 741224 w 787400"/>
                  <a:gd name="connsiteY0" fmla="*/ 441255 h 1307921"/>
                  <a:gd name="connsiteX1" fmla="*/ 708088 w 787400"/>
                  <a:gd name="connsiteY1" fmla="*/ 427292 h 1307921"/>
                  <a:gd name="connsiteX2" fmla="*/ 440144 w 787400"/>
                  <a:gd name="connsiteY2" fmla="*/ 158780 h 1307921"/>
                  <a:gd name="connsiteX3" fmla="*/ 440144 w 787400"/>
                  <a:gd name="connsiteY3" fmla="*/ 440897 h 1307921"/>
                  <a:gd name="connsiteX4" fmla="*/ 408705 w 787400"/>
                  <a:gd name="connsiteY4" fmla="*/ 437317 h 1307921"/>
                  <a:gd name="connsiteX5" fmla="*/ 408705 w 787400"/>
                  <a:gd name="connsiteY5" fmla="*/ 120831 h 1307921"/>
                  <a:gd name="connsiteX6" fmla="*/ 418708 w 787400"/>
                  <a:gd name="connsiteY6" fmla="*/ 106510 h 1307921"/>
                  <a:gd name="connsiteX7" fmla="*/ 435857 w 787400"/>
                  <a:gd name="connsiteY7" fmla="*/ 109374 h 1307921"/>
                  <a:gd name="connsiteX8" fmla="*/ 730238 w 787400"/>
                  <a:gd name="connsiteY8" fmla="*/ 405095 h 1307921"/>
                  <a:gd name="connsiteX9" fmla="*/ 751674 w 787400"/>
                  <a:gd name="connsiteY9" fmla="*/ 405095 h 1307921"/>
                  <a:gd name="connsiteX10" fmla="*/ 755961 w 787400"/>
                  <a:gd name="connsiteY10" fmla="*/ 394355 h 1307921"/>
                  <a:gd name="connsiteX11" fmla="*/ 751674 w 787400"/>
                  <a:gd name="connsiteY11" fmla="*/ 384330 h 1307921"/>
                  <a:gd name="connsiteX12" fmla="*/ 404418 w 787400"/>
                  <a:gd name="connsiteY12" fmla="*/ 36339 h 1307921"/>
                  <a:gd name="connsiteX13" fmla="*/ 402989 w 787400"/>
                  <a:gd name="connsiteY13" fmla="*/ 34907 h 1307921"/>
                  <a:gd name="connsiteX14" fmla="*/ 399416 w 787400"/>
                  <a:gd name="connsiteY14" fmla="*/ 32759 h 1307921"/>
                  <a:gd name="connsiteX15" fmla="*/ 395129 w 787400"/>
                  <a:gd name="connsiteY15" fmla="*/ 31327 h 1307921"/>
                  <a:gd name="connsiteX16" fmla="*/ 392271 w 787400"/>
                  <a:gd name="connsiteY16" fmla="*/ 31327 h 1307921"/>
                  <a:gd name="connsiteX17" fmla="*/ 386555 w 787400"/>
                  <a:gd name="connsiteY17" fmla="*/ 33475 h 1307921"/>
                  <a:gd name="connsiteX18" fmla="*/ 384411 w 787400"/>
                  <a:gd name="connsiteY18" fmla="*/ 34907 h 1307921"/>
                  <a:gd name="connsiteX19" fmla="*/ 382982 w 787400"/>
                  <a:gd name="connsiteY19" fmla="*/ 35623 h 1307921"/>
                  <a:gd name="connsiteX20" fmla="*/ 382982 w 787400"/>
                  <a:gd name="connsiteY20" fmla="*/ 36339 h 1307921"/>
                  <a:gd name="connsiteX21" fmla="*/ 35726 w 787400"/>
                  <a:gd name="connsiteY21" fmla="*/ 384330 h 1307921"/>
                  <a:gd name="connsiteX22" fmla="*/ 31439 w 787400"/>
                  <a:gd name="connsiteY22" fmla="*/ 394355 h 1307921"/>
                  <a:gd name="connsiteX23" fmla="*/ 35726 w 787400"/>
                  <a:gd name="connsiteY23" fmla="*/ 405095 h 1307921"/>
                  <a:gd name="connsiteX24" fmla="*/ 57162 w 787400"/>
                  <a:gd name="connsiteY24" fmla="*/ 405095 h 1307921"/>
                  <a:gd name="connsiteX25" fmla="*/ 351543 w 787400"/>
                  <a:gd name="connsiteY25" fmla="*/ 109374 h 1307921"/>
                  <a:gd name="connsiteX26" fmla="*/ 362976 w 787400"/>
                  <a:gd name="connsiteY26" fmla="*/ 105078 h 1307921"/>
                  <a:gd name="connsiteX27" fmla="*/ 368692 w 787400"/>
                  <a:gd name="connsiteY27" fmla="*/ 106510 h 1307921"/>
                  <a:gd name="connsiteX28" fmla="*/ 378695 w 787400"/>
                  <a:gd name="connsiteY28" fmla="*/ 120831 h 1307921"/>
                  <a:gd name="connsiteX29" fmla="*/ 378695 w 787400"/>
                  <a:gd name="connsiteY29" fmla="*/ 437317 h 1307921"/>
                  <a:gd name="connsiteX30" fmla="*/ 347256 w 787400"/>
                  <a:gd name="connsiteY30" fmla="*/ 440897 h 1307921"/>
                  <a:gd name="connsiteX31" fmla="*/ 347256 w 787400"/>
                  <a:gd name="connsiteY31" fmla="*/ 158780 h 1307921"/>
                  <a:gd name="connsiteX32" fmla="*/ 79312 w 787400"/>
                  <a:gd name="connsiteY32" fmla="*/ 427292 h 1307921"/>
                  <a:gd name="connsiteX33" fmla="*/ 13576 w 787400"/>
                  <a:gd name="connsiteY33" fmla="*/ 427292 h 1307921"/>
                  <a:gd name="connsiteX34" fmla="*/ 0 w 787400"/>
                  <a:gd name="connsiteY34" fmla="*/ 394355 h 1307921"/>
                  <a:gd name="connsiteX35" fmla="*/ 13576 w 787400"/>
                  <a:gd name="connsiteY35" fmla="*/ 362133 h 1307921"/>
                  <a:gd name="connsiteX36" fmla="*/ 360832 w 787400"/>
                  <a:gd name="connsiteY36" fmla="*/ 13426 h 1307921"/>
                  <a:gd name="connsiteX37" fmla="*/ 361547 w 787400"/>
                  <a:gd name="connsiteY37" fmla="*/ 13426 h 1307921"/>
                  <a:gd name="connsiteX38" fmla="*/ 364405 w 787400"/>
                  <a:gd name="connsiteY38" fmla="*/ 10562 h 1307921"/>
                  <a:gd name="connsiteX39" fmla="*/ 365834 w 787400"/>
                  <a:gd name="connsiteY39" fmla="*/ 9130 h 1307921"/>
                  <a:gd name="connsiteX40" fmla="*/ 367977 w 787400"/>
                  <a:gd name="connsiteY40" fmla="*/ 7697 h 1307921"/>
                  <a:gd name="connsiteX41" fmla="*/ 369406 w 787400"/>
                  <a:gd name="connsiteY41" fmla="*/ 6981 h 1307921"/>
                  <a:gd name="connsiteX42" fmla="*/ 370121 w 787400"/>
                  <a:gd name="connsiteY42" fmla="*/ 6265 h 1307921"/>
                  <a:gd name="connsiteX43" fmla="*/ 371550 w 787400"/>
                  <a:gd name="connsiteY43" fmla="*/ 5549 h 1307921"/>
                  <a:gd name="connsiteX44" fmla="*/ 373693 w 787400"/>
                  <a:gd name="connsiteY44" fmla="*/ 4833 h 1307921"/>
                  <a:gd name="connsiteX45" fmla="*/ 374408 w 787400"/>
                  <a:gd name="connsiteY45" fmla="*/ 4117 h 1307921"/>
                  <a:gd name="connsiteX46" fmla="*/ 375837 w 787400"/>
                  <a:gd name="connsiteY46" fmla="*/ 3401 h 1307921"/>
                  <a:gd name="connsiteX47" fmla="*/ 377981 w 787400"/>
                  <a:gd name="connsiteY47" fmla="*/ 2685 h 1307921"/>
                  <a:gd name="connsiteX48" fmla="*/ 380124 w 787400"/>
                  <a:gd name="connsiteY48" fmla="*/ 1969 h 1307921"/>
                  <a:gd name="connsiteX49" fmla="*/ 382268 w 787400"/>
                  <a:gd name="connsiteY49" fmla="*/ 1253 h 1307921"/>
                  <a:gd name="connsiteX50" fmla="*/ 384411 w 787400"/>
                  <a:gd name="connsiteY50" fmla="*/ 1253 h 1307921"/>
                  <a:gd name="connsiteX51" fmla="*/ 386555 w 787400"/>
                  <a:gd name="connsiteY51" fmla="*/ 537 h 1307921"/>
                  <a:gd name="connsiteX52" fmla="*/ 387269 w 787400"/>
                  <a:gd name="connsiteY52" fmla="*/ 537 h 1307921"/>
                  <a:gd name="connsiteX53" fmla="*/ 389413 w 787400"/>
                  <a:gd name="connsiteY53" fmla="*/ 537 h 1307921"/>
                  <a:gd name="connsiteX54" fmla="*/ 397987 w 787400"/>
                  <a:gd name="connsiteY54" fmla="*/ 537 h 1307921"/>
                  <a:gd name="connsiteX55" fmla="*/ 400131 w 787400"/>
                  <a:gd name="connsiteY55" fmla="*/ 537 h 1307921"/>
                  <a:gd name="connsiteX56" fmla="*/ 400845 w 787400"/>
                  <a:gd name="connsiteY56" fmla="*/ 537 h 1307921"/>
                  <a:gd name="connsiteX57" fmla="*/ 402989 w 787400"/>
                  <a:gd name="connsiteY57" fmla="*/ 1253 h 1307921"/>
                  <a:gd name="connsiteX58" fmla="*/ 404418 w 787400"/>
                  <a:gd name="connsiteY58" fmla="*/ 1253 h 1307921"/>
                  <a:gd name="connsiteX59" fmla="*/ 405132 w 787400"/>
                  <a:gd name="connsiteY59" fmla="*/ 1253 h 1307921"/>
                  <a:gd name="connsiteX60" fmla="*/ 407276 w 787400"/>
                  <a:gd name="connsiteY60" fmla="*/ 1969 h 1307921"/>
                  <a:gd name="connsiteX61" fmla="*/ 409419 w 787400"/>
                  <a:gd name="connsiteY61" fmla="*/ 2685 h 1307921"/>
                  <a:gd name="connsiteX62" fmla="*/ 411563 w 787400"/>
                  <a:gd name="connsiteY62" fmla="*/ 3401 h 1307921"/>
                  <a:gd name="connsiteX63" fmla="*/ 412992 w 787400"/>
                  <a:gd name="connsiteY63" fmla="*/ 4117 h 1307921"/>
                  <a:gd name="connsiteX64" fmla="*/ 413707 w 787400"/>
                  <a:gd name="connsiteY64" fmla="*/ 4833 h 1307921"/>
                  <a:gd name="connsiteX65" fmla="*/ 415850 w 787400"/>
                  <a:gd name="connsiteY65" fmla="*/ 5549 h 1307921"/>
                  <a:gd name="connsiteX66" fmla="*/ 417279 w 787400"/>
                  <a:gd name="connsiteY66" fmla="*/ 6265 h 1307921"/>
                  <a:gd name="connsiteX67" fmla="*/ 417279 w 787400"/>
                  <a:gd name="connsiteY67" fmla="*/ 6981 h 1307921"/>
                  <a:gd name="connsiteX68" fmla="*/ 419423 w 787400"/>
                  <a:gd name="connsiteY68" fmla="*/ 7697 h 1307921"/>
                  <a:gd name="connsiteX69" fmla="*/ 420852 w 787400"/>
                  <a:gd name="connsiteY69" fmla="*/ 9130 h 1307921"/>
                  <a:gd name="connsiteX70" fmla="*/ 421566 w 787400"/>
                  <a:gd name="connsiteY70" fmla="*/ 9130 h 1307921"/>
                  <a:gd name="connsiteX71" fmla="*/ 422995 w 787400"/>
                  <a:gd name="connsiteY71" fmla="*/ 10562 h 1307921"/>
                  <a:gd name="connsiteX72" fmla="*/ 425853 w 787400"/>
                  <a:gd name="connsiteY72" fmla="*/ 13426 h 1307921"/>
                  <a:gd name="connsiteX73" fmla="*/ 426568 w 787400"/>
                  <a:gd name="connsiteY73" fmla="*/ 13426 h 1307921"/>
                  <a:gd name="connsiteX74" fmla="*/ 773824 w 787400"/>
                  <a:gd name="connsiteY74" fmla="*/ 362133 h 1307921"/>
                  <a:gd name="connsiteX75" fmla="*/ 787400 w 787400"/>
                  <a:gd name="connsiteY75" fmla="*/ 394355 h 1307921"/>
                  <a:gd name="connsiteX76" fmla="*/ 773824 w 787400"/>
                  <a:gd name="connsiteY76" fmla="*/ 427292 h 1307921"/>
                  <a:gd name="connsiteX77" fmla="*/ 741224 w 787400"/>
                  <a:gd name="connsiteY77" fmla="*/ 441255 h 1307921"/>
                  <a:gd name="connsiteX78" fmla="*/ 392906 w 787400"/>
                  <a:gd name="connsiteY78" fmla="*/ 1307921 h 1307921"/>
                  <a:gd name="connsiteX79" fmla="*/ 346075 w 787400"/>
                  <a:gd name="connsiteY79" fmla="*/ 1261542 h 1307921"/>
                  <a:gd name="connsiteX80" fmla="*/ 346075 w 787400"/>
                  <a:gd name="connsiteY80" fmla="*/ 976133 h 1307921"/>
                  <a:gd name="connsiteX81" fmla="*/ 377776 w 787400"/>
                  <a:gd name="connsiteY81" fmla="*/ 979701 h 1307921"/>
                  <a:gd name="connsiteX82" fmla="*/ 377776 w 787400"/>
                  <a:gd name="connsiteY82" fmla="*/ 1261542 h 1307921"/>
                  <a:gd name="connsiteX83" fmla="*/ 392906 w 787400"/>
                  <a:gd name="connsiteY83" fmla="*/ 1276526 h 1307921"/>
                  <a:gd name="connsiteX84" fmla="*/ 408036 w 787400"/>
                  <a:gd name="connsiteY84" fmla="*/ 1261542 h 1307921"/>
                  <a:gd name="connsiteX85" fmla="*/ 408036 w 787400"/>
                  <a:gd name="connsiteY85" fmla="*/ 979701 h 1307921"/>
                  <a:gd name="connsiteX86" fmla="*/ 439737 w 787400"/>
                  <a:gd name="connsiteY86" fmla="*/ 976133 h 1307921"/>
                  <a:gd name="connsiteX87" fmla="*/ 439737 w 787400"/>
                  <a:gd name="connsiteY87" fmla="*/ 1261542 h 1307921"/>
                  <a:gd name="connsiteX88" fmla="*/ 392906 w 787400"/>
                  <a:gd name="connsiteY88" fmla="*/ 1307921 h 1307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787400" h="1307921">
                    <a:moveTo>
                      <a:pt x="741224" y="441255"/>
                    </a:moveTo>
                    <a:cubicBezTo>
                      <a:pt x="729345" y="441255"/>
                      <a:pt x="717377" y="436601"/>
                      <a:pt x="708088" y="427292"/>
                    </a:cubicBezTo>
                    <a:cubicBezTo>
                      <a:pt x="708088" y="427292"/>
                      <a:pt x="708088" y="427292"/>
                      <a:pt x="440144" y="158780"/>
                    </a:cubicBezTo>
                    <a:cubicBezTo>
                      <a:pt x="440144" y="158780"/>
                      <a:pt x="440144" y="158780"/>
                      <a:pt x="440144" y="440897"/>
                    </a:cubicBezTo>
                    <a:cubicBezTo>
                      <a:pt x="430140" y="438749"/>
                      <a:pt x="419423" y="438033"/>
                      <a:pt x="408705" y="437317"/>
                    </a:cubicBezTo>
                    <a:cubicBezTo>
                      <a:pt x="408705" y="437317"/>
                      <a:pt x="408705" y="437317"/>
                      <a:pt x="408705" y="120831"/>
                    </a:cubicBezTo>
                    <a:cubicBezTo>
                      <a:pt x="408705" y="114386"/>
                      <a:pt x="412278" y="108658"/>
                      <a:pt x="418708" y="106510"/>
                    </a:cubicBezTo>
                    <a:cubicBezTo>
                      <a:pt x="424424" y="103646"/>
                      <a:pt x="430855" y="105078"/>
                      <a:pt x="435857" y="109374"/>
                    </a:cubicBezTo>
                    <a:cubicBezTo>
                      <a:pt x="435857" y="109374"/>
                      <a:pt x="435857" y="109374"/>
                      <a:pt x="730238" y="405095"/>
                    </a:cubicBezTo>
                    <a:cubicBezTo>
                      <a:pt x="736669" y="410824"/>
                      <a:pt x="745958" y="410824"/>
                      <a:pt x="751674" y="405095"/>
                    </a:cubicBezTo>
                    <a:cubicBezTo>
                      <a:pt x="754532" y="402231"/>
                      <a:pt x="755961" y="398651"/>
                      <a:pt x="755961" y="394355"/>
                    </a:cubicBezTo>
                    <a:cubicBezTo>
                      <a:pt x="755961" y="390775"/>
                      <a:pt x="754532" y="387195"/>
                      <a:pt x="751674" y="384330"/>
                    </a:cubicBezTo>
                    <a:cubicBezTo>
                      <a:pt x="751674" y="384330"/>
                      <a:pt x="751674" y="384330"/>
                      <a:pt x="404418" y="36339"/>
                    </a:cubicBezTo>
                    <a:cubicBezTo>
                      <a:pt x="403703" y="35623"/>
                      <a:pt x="403703" y="34907"/>
                      <a:pt x="402989" y="34907"/>
                    </a:cubicBezTo>
                    <a:cubicBezTo>
                      <a:pt x="402989" y="34907"/>
                      <a:pt x="402989" y="34907"/>
                      <a:pt x="399416" y="32759"/>
                    </a:cubicBezTo>
                    <a:cubicBezTo>
                      <a:pt x="399416" y="32759"/>
                      <a:pt x="399416" y="32759"/>
                      <a:pt x="395129" y="31327"/>
                    </a:cubicBezTo>
                    <a:cubicBezTo>
                      <a:pt x="394415" y="31327"/>
                      <a:pt x="392985" y="31327"/>
                      <a:pt x="392271" y="31327"/>
                    </a:cubicBezTo>
                    <a:cubicBezTo>
                      <a:pt x="392271" y="31327"/>
                      <a:pt x="392271" y="31327"/>
                      <a:pt x="386555" y="33475"/>
                    </a:cubicBezTo>
                    <a:cubicBezTo>
                      <a:pt x="386555" y="33475"/>
                      <a:pt x="386555" y="33475"/>
                      <a:pt x="384411" y="34907"/>
                    </a:cubicBezTo>
                    <a:cubicBezTo>
                      <a:pt x="383697" y="35623"/>
                      <a:pt x="383697" y="35623"/>
                      <a:pt x="382982" y="35623"/>
                    </a:cubicBezTo>
                    <a:cubicBezTo>
                      <a:pt x="382982" y="36339"/>
                      <a:pt x="382982" y="36339"/>
                      <a:pt x="382982" y="36339"/>
                    </a:cubicBezTo>
                    <a:cubicBezTo>
                      <a:pt x="382982" y="36339"/>
                      <a:pt x="382982" y="36339"/>
                      <a:pt x="35726" y="384330"/>
                    </a:cubicBezTo>
                    <a:cubicBezTo>
                      <a:pt x="32868" y="387195"/>
                      <a:pt x="31439" y="390775"/>
                      <a:pt x="31439" y="394355"/>
                    </a:cubicBezTo>
                    <a:cubicBezTo>
                      <a:pt x="31439" y="398651"/>
                      <a:pt x="32868" y="402231"/>
                      <a:pt x="35726" y="405095"/>
                    </a:cubicBezTo>
                    <a:cubicBezTo>
                      <a:pt x="41442" y="410824"/>
                      <a:pt x="50731" y="410824"/>
                      <a:pt x="57162" y="405095"/>
                    </a:cubicBezTo>
                    <a:cubicBezTo>
                      <a:pt x="57162" y="405095"/>
                      <a:pt x="57162" y="405095"/>
                      <a:pt x="351543" y="109374"/>
                    </a:cubicBezTo>
                    <a:cubicBezTo>
                      <a:pt x="355116" y="106510"/>
                      <a:pt x="358689" y="105078"/>
                      <a:pt x="362976" y="105078"/>
                    </a:cubicBezTo>
                    <a:cubicBezTo>
                      <a:pt x="365119" y="105078"/>
                      <a:pt x="367263" y="105794"/>
                      <a:pt x="368692" y="106510"/>
                    </a:cubicBezTo>
                    <a:cubicBezTo>
                      <a:pt x="375122" y="108658"/>
                      <a:pt x="378695" y="114386"/>
                      <a:pt x="378695" y="120831"/>
                    </a:cubicBezTo>
                    <a:cubicBezTo>
                      <a:pt x="378695" y="120831"/>
                      <a:pt x="378695" y="120831"/>
                      <a:pt x="378695" y="437317"/>
                    </a:cubicBezTo>
                    <a:cubicBezTo>
                      <a:pt x="367977" y="438033"/>
                      <a:pt x="357260" y="438749"/>
                      <a:pt x="347256" y="440897"/>
                    </a:cubicBezTo>
                    <a:cubicBezTo>
                      <a:pt x="347256" y="440897"/>
                      <a:pt x="347256" y="440897"/>
                      <a:pt x="347256" y="158780"/>
                    </a:cubicBezTo>
                    <a:cubicBezTo>
                      <a:pt x="347256" y="158780"/>
                      <a:pt x="347256" y="158780"/>
                      <a:pt x="79312" y="427292"/>
                    </a:cubicBezTo>
                    <a:cubicBezTo>
                      <a:pt x="60734" y="445909"/>
                      <a:pt x="31439" y="445909"/>
                      <a:pt x="13576" y="427292"/>
                    </a:cubicBezTo>
                    <a:cubicBezTo>
                      <a:pt x="5002" y="418700"/>
                      <a:pt x="0" y="407243"/>
                      <a:pt x="0" y="394355"/>
                    </a:cubicBezTo>
                    <a:cubicBezTo>
                      <a:pt x="0" y="382182"/>
                      <a:pt x="5002" y="370726"/>
                      <a:pt x="13576" y="362133"/>
                    </a:cubicBezTo>
                    <a:cubicBezTo>
                      <a:pt x="13576" y="362133"/>
                      <a:pt x="13576" y="362133"/>
                      <a:pt x="360832" y="13426"/>
                    </a:cubicBezTo>
                    <a:cubicBezTo>
                      <a:pt x="360832" y="13426"/>
                      <a:pt x="360832" y="13426"/>
                      <a:pt x="361547" y="13426"/>
                    </a:cubicBezTo>
                    <a:cubicBezTo>
                      <a:pt x="362261" y="11994"/>
                      <a:pt x="362976" y="11278"/>
                      <a:pt x="364405" y="10562"/>
                    </a:cubicBezTo>
                    <a:cubicBezTo>
                      <a:pt x="364405" y="10562"/>
                      <a:pt x="365119" y="9846"/>
                      <a:pt x="365834" y="9130"/>
                    </a:cubicBezTo>
                    <a:cubicBezTo>
                      <a:pt x="366548" y="8414"/>
                      <a:pt x="367263" y="8414"/>
                      <a:pt x="367977" y="7697"/>
                    </a:cubicBezTo>
                    <a:cubicBezTo>
                      <a:pt x="368692" y="7697"/>
                      <a:pt x="369406" y="6981"/>
                      <a:pt x="369406" y="6981"/>
                    </a:cubicBezTo>
                    <a:cubicBezTo>
                      <a:pt x="369406" y="6981"/>
                      <a:pt x="369406" y="6981"/>
                      <a:pt x="370121" y="6265"/>
                    </a:cubicBezTo>
                    <a:cubicBezTo>
                      <a:pt x="370835" y="6265"/>
                      <a:pt x="371550" y="5549"/>
                      <a:pt x="371550" y="5549"/>
                    </a:cubicBezTo>
                    <a:cubicBezTo>
                      <a:pt x="372264" y="5549"/>
                      <a:pt x="372979" y="4833"/>
                      <a:pt x="373693" y="4833"/>
                    </a:cubicBezTo>
                    <a:cubicBezTo>
                      <a:pt x="373693" y="4833"/>
                      <a:pt x="373693" y="4833"/>
                      <a:pt x="374408" y="4117"/>
                    </a:cubicBezTo>
                    <a:cubicBezTo>
                      <a:pt x="374408" y="4117"/>
                      <a:pt x="375122" y="4117"/>
                      <a:pt x="375837" y="3401"/>
                    </a:cubicBezTo>
                    <a:cubicBezTo>
                      <a:pt x="376552" y="3401"/>
                      <a:pt x="377266" y="3401"/>
                      <a:pt x="377981" y="2685"/>
                    </a:cubicBezTo>
                    <a:cubicBezTo>
                      <a:pt x="378695" y="2685"/>
                      <a:pt x="379410" y="1969"/>
                      <a:pt x="380124" y="1969"/>
                    </a:cubicBezTo>
                    <a:cubicBezTo>
                      <a:pt x="380839" y="1969"/>
                      <a:pt x="381553" y="1969"/>
                      <a:pt x="382268" y="1253"/>
                    </a:cubicBezTo>
                    <a:cubicBezTo>
                      <a:pt x="382982" y="1253"/>
                      <a:pt x="383697" y="1253"/>
                      <a:pt x="384411" y="1253"/>
                    </a:cubicBezTo>
                    <a:cubicBezTo>
                      <a:pt x="385126" y="537"/>
                      <a:pt x="385840" y="537"/>
                      <a:pt x="386555" y="537"/>
                    </a:cubicBezTo>
                    <a:cubicBezTo>
                      <a:pt x="386555" y="537"/>
                      <a:pt x="386555" y="537"/>
                      <a:pt x="387269" y="537"/>
                    </a:cubicBezTo>
                    <a:cubicBezTo>
                      <a:pt x="387984" y="537"/>
                      <a:pt x="388698" y="537"/>
                      <a:pt x="389413" y="537"/>
                    </a:cubicBezTo>
                    <a:cubicBezTo>
                      <a:pt x="392271" y="-179"/>
                      <a:pt x="395129" y="-179"/>
                      <a:pt x="397987" y="537"/>
                    </a:cubicBezTo>
                    <a:cubicBezTo>
                      <a:pt x="398702" y="537"/>
                      <a:pt x="399416" y="537"/>
                      <a:pt x="400131" y="537"/>
                    </a:cubicBezTo>
                    <a:cubicBezTo>
                      <a:pt x="400131" y="537"/>
                      <a:pt x="400131" y="537"/>
                      <a:pt x="400845" y="537"/>
                    </a:cubicBezTo>
                    <a:cubicBezTo>
                      <a:pt x="401560" y="537"/>
                      <a:pt x="402274" y="537"/>
                      <a:pt x="402989" y="1253"/>
                    </a:cubicBezTo>
                    <a:cubicBezTo>
                      <a:pt x="403703" y="1253"/>
                      <a:pt x="404418" y="1253"/>
                      <a:pt x="404418" y="1253"/>
                    </a:cubicBezTo>
                    <a:cubicBezTo>
                      <a:pt x="404418" y="1253"/>
                      <a:pt x="404418" y="1253"/>
                      <a:pt x="405132" y="1253"/>
                    </a:cubicBezTo>
                    <a:cubicBezTo>
                      <a:pt x="405847" y="1969"/>
                      <a:pt x="406561" y="1969"/>
                      <a:pt x="407276" y="1969"/>
                    </a:cubicBezTo>
                    <a:cubicBezTo>
                      <a:pt x="407990" y="1969"/>
                      <a:pt x="408705" y="2685"/>
                      <a:pt x="409419" y="2685"/>
                    </a:cubicBezTo>
                    <a:cubicBezTo>
                      <a:pt x="410134" y="3401"/>
                      <a:pt x="410848" y="3401"/>
                      <a:pt x="411563" y="3401"/>
                    </a:cubicBezTo>
                    <a:cubicBezTo>
                      <a:pt x="412278" y="4117"/>
                      <a:pt x="412278" y="4117"/>
                      <a:pt x="412992" y="4117"/>
                    </a:cubicBezTo>
                    <a:cubicBezTo>
                      <a:pt x="412992" y="4117"/>
                      <a:pt x="413707" y="4833"/>
                      <a:pt x="413707" y="4833"/>
                    </a:cubicBezTo>
                    <a:cubicBezTo>
                      <a:pt x="414421" y="4833"/>
                      <a:pt x="415136" y="5549"/>
                      <a:pt x="415850" y="5549"/>
                    </a:cubicBezTo>
                    <a:cubicBezTo>
                      <a:pt x="415850" y="5549"/>
                      <a:pt x="416565" y="6265"/>
                      <a:pt x="417279" y="6265"/>
                    </a:cubicBezTo>
                    <a:cubicBezTo>
                      <a:pt x="417279" y="6265"/>
                      <a:pt x="417279" y="6265"/>
                      <a:pt x="417279" y="6981"/>
                    </a:cubicBezTo>
                    <a:cubicBezTo>
                      <a:pt x="417994" y="6981"/>
                      <a:pt x="418708" y="7697"/>
                      <a:pt x="419423" y="7697"/>
                    </a:cubicBezTo>
                    <a:cubicBezTo>
                      <a:pt x="420137" y="8414"/>
                      <a:pt x="420852" y="8414"/>
                      <a:pt x="420852" y="9130"/>
                    </a:cubicBezTo>
                    <a:cubicBezTo>
                      <a:pt x="420852" y="9130"/>
                      <a:pt x="420852" y="9130"/>
                      <a:pt x="421566" y="9130"/>
                    </a:cubicBezTo>
                    <a:cubicBezTo>
                      <a:pt x="422281" y="9846"/>
                      <a:pt x="422995" y="10562"/>
                      <a:pt x="422995" y="10562"/>
                    </a:cubicBezTo>
                    <a:cubicBezTo>
                      <a:pt x="424424" y="11278"/>
                      <a:pt x="425139" y="11994"/>
                      <a:pt x="425853" y="13426"/>
                    </a:cubicBezTo>
                    <a:cubicBezTo>
                      <a:pt x="426568" y="13426"/>
                      <a:pt x="426568" y="13426"/>
                      <a:pt x="426568" y="13426"/>
                    </a:cubicBezTo>
                    <a:cubicBezTo>
                      <a:pt x="426568" y="13426"/>
                      <a:pt x="426568" y="13426"/>
                      <a:pt x="773824" y="362133"/>
                    </a:cubicBezTo>
                    <a:cubicBezTo>
                      <a:pt x="782398" y="370726"/>
                      <a:pt x="787400" y="382182"/>
                      <a:pt x="787400" y="394355"/>
                    </a:cubicBezTo>
                    <a:cubicBezTo>
                      <a:pt x="787400" y="407243"/>
                      <a:pt x="782398" y="418700"/>
                      <a:pt x="773824" y="427292"/>
                    </a:cubicBezTo>
                    <a:cubicBezTo>
                      <a:pt x="764892" y="436601"/>
                      <a:pt x="753103" y="441255"/>
                      <a:pt x="741224" y="441255"/>
                    </a:cubicBezTo>
                    <a:close/>
                    <a:moveTo>
                      <a:pt x="392906" y="1307921"/>
                    </a:moveTo>
                    <a:cubicBezTo>
                      <a:pt x="366969" y="1307921"/>
                      <a:pt x="346075" y="1287229"/>
                      <a:pt x="346075" y="1261542"/>
                    </a:cubicBezTo>
                    <a:cubicBezTo>
                      <a:pt x="346075" y="1261542"/>
                      <a:pt x="346075" y="1261542"/>
                      <a:pt x="346075" y="976133"/>
                    </a:cubicBezTo>
                    <a:cubicBezTo>
                      <a:pt x="356162" y="977560"/>
                      <a:pt x="366969" y="978987"/>
                      <a:pt x="377776" y="979701"/>
                    </a:cubicBezTo>
                    <a:cubicBezTo>
                      <a:pt x="377776" y="979701"/>
                      <a:pt x="377776" y="979701"/>
                      <a:pt x="377776" y="1261542"/>
                    </a:cubicBezTo>
                    <a:cubicBezTo>
                      <a:pt x="377776" y="1269391"/>
                      <a:pt x="384260" y="1276526"/>
                      <a:pt x="392906" y="1276526"/>
                    </a:cubicBezTo>
                    <a:cubicBezTo>
                      <a:pt x="401552" y="1276526"/>
                      <a:pt x="408036" y="1269391"/>
                      <a:pt x="408036" y="1261542"/>
                    </a:cubicBezTo>
                    <a:lnTo>
                      <a:pt x="408036" y="979701"/>
                    </a:lnTo>
                    <a:cubicBezTo>
                      <a:pt x="418843" y="978987"/>
                      <a:pt x="429650" y="977560"/>
                      <a:pt x="439737" y="976133"/>
                    </a:cubicBezTo>
                    <a:cubicBezTo>
                      <a:pt x="439737" y="976133"/>
                      <a:pt x="439737" y="976133"/>
                      <a:pt x="439737" y="1261542"/>
                    </a:cubicBezTo>
                    <a:cubicBezTo>
                      <a:pt x="439737" y="1287229"/>
                      <a:pt x="418843" y="1307921"/>
                      <a:pt x="392906" y="13079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31" name="Freeform 96"/>
              <p:cNvSpPr>
                <a:spLocks noEditPoints="1"/>
              </p:cNvSpPr>
              <p:nvPr/>
            </p:nvSpPr>
            <p:spPr bwMode="auto">
              <a:xfrm>
                <a:off x="8846080" y="2794000"/>
                <a:ext cx="481012" cy="481013"/>
              </a:xfrm>
              <a:custGeom>
                <a:avLst/>
                <a:gdLst>
                  <a:gd name="T0" fmla="*/ 401 w 672"/>
                  <a:gd name="T1" fmla="*/ 7 h 672"/>
                  <a:gd name="T2" fmla="*/ 357 w 672"/>
                  <a:gd name="T3" fmla="*/ 1 h 672"/>
                  <a:gd name="T4" fmla="*/ 336 w 672"/>
                  <a:gd name="T5" fmla="*/ 0 h 672"/>
                  <a:gd name="T6" fmla="*/ 315 w 672"/>
                  <a:gd name="T7" fmla="*/ 1 h 672"/>
                  <a:gd name="T8" fmla="*/ 271 w 672"/>
                  <a:gd name="T9" fmla="*/ 7 h 672"/>
                  <a:gd name="T10" fmla="*/ 0 w 672"/>
                  <a:gd name="T11" fmla="*/ 336 h 672"/>
                  <a:gd name="T12" fmla="*/ 271 w 672"/>
                  <a:gd name="T13" fmla="*/ 666 h 672"/>
                  <a:gd name="T14" fmla="*/ 315 w 672"/>
                  <a:gd name="T15" fmla="*/ 671 h 672"/>
                  <a:gd name="T16" fmla="*/ 336 w 672"/>
                  <a:gd name="T17" fmla="*/ 672 h 672"/>
                  <a:gd name="T18" fmla="*/ 357 w 672"/>
                  <a:gd name="T19" fmla="*/ 671 h 672"/>
                  <a:gd name="T20" fmla="*/ 401 w 672"/>
                  <a:gd name="T21" fmla="*/ 666 h 672"/>
                  <a:gd name="T22" fmla="*/ 672 w 672"/>
                  <a:gd name="T23" fmla="*/ 336 h 672"/>
                  <a:gd name="T24" fmla="*/ 401 w 672"/>
                  <a:gd name="T25" fmla="*/ 7 h 672"/>
                  <a:gd name="T26" fmla="*/ 427 w 672"/>
                  <a:gd name="T27" fmla="*/ 483 h 672"/>
                  <a:gd name="T28" fmla="*/ 401 w 672"/>
                  <a:gd name="T29" fmla="*/ 505 h 672"/>
                  <a:gd name="T30" fmla="*/ 363 w 672"/>
                  <a:gd name="T31" fmla="*/ 520 h 672"/>
                  <a:gd name="T32" fmla="*/ 363 w 672"/>
                  <a:gd name="T33" fmla="*/ 579 h 672"/>
                  <a:gd name="T34" fmla="*/ 357 w 672"/>
                  <a:gd name="T35" fmla="*/ 579 h 672"/>
                  <a:gd name="T36" fmla="*/ 315 w 672"/>
                  <a:gd name="T37" fmla="*/ 579 h 672"/>
                  <a:gd name="T38" fmla="*/ 304 w 672"/>
                  <a:gd name="T39" fmla="*/ 579 h 672"/>
                  <a:gd name="T40" fmla="*/ 304 w 672"/>
                  <a:gd name="T41" fmla="*/ 525 h 672"/>
                  <a:gd name="T42" fmla="*/ 271 w 672"/>
                  <a:gd name="T43" fmla="*/ 519 h 672"/>
                  <a:gd name="T44" fmla="*/ 222 w 672"/>
                  <a:gd name="T45" fmla="*/ 498 h 672"/>
                  <a:gd name="T46" fmla="*/ 247 w 672"/>
                  <a:gd name="T47" fmla="*/ 438 h 672"/>
                  <a:gd name="T48" fmla="*/ 271 w 672"/>
                  <a:gd name="T49" fmla="*/ 453 h 672"/>
                  <a:gd name="T50" fmla="*/ 315 w 672"/>
                  <a:gd name="T51" fmla="*/ 465 h 672"/>
                  <a:gd name="T52" fmla="*/ 325 w 672"/>
                  <a:gd name="T53" fmla="*/ 466 h 672"/>
                  <a:gd name="T54" fmla="*/ 357 w 672"/>
                  <a:gd name="T55" fmla="*/ 461 h 672"/>
                  <a:gd name="T56" fmla="*/ 383 w 672"/>
                  <a:gd name="T57" fmla="*/ 425 h 672"/>
                  <a:gd name="T58" fmla="*/ 368 w 672"/>
                  <a:gd name="T59" fmla="*/ 387 h 672"/>
                  <a:gd name="T60" fmla="*/ 357 w 672"/>
                  <a:gd name="T61" fmla="*/ 376 h 672"/>
                  <a:gd name="T62" fmla="*/ 315 w 672"/>
                  <a:gd name="T63" fmla="*/ 350 h 672"/>
                  <a:gd name="T64" fmla="*/ 311 w 672"/>
                  <a:gd name="T65" fmla="*/ 348 h 672"/>
                  <a:gd name="T66" fmla="*/ 271 w 672"/>
                  <a:gd name="T67" fmla="*/ 326 h 672"/>
                  <a:gd name="T68" fmla="*/ 254 w 672"/>
                  <a:gd name="T69" fmla="*/ 313 h 672"/>
                  <a:gd name="T70" fmla="*/ 231 w 672"/>
                  <a:gd name="T71" fmla="*/ 280 h 672"/>
                  <a:gd name="T72" fmla="*/ 223 w 672"/>
                  <a:gd name="T73" fmla="*/ 237 h 672"/>
                  <a:gd name="T74" fmla="*/ 245 w 672"/>
                  <a:gd name="T75" fmla="*/ 175 h 672"/>
                  <a:gd name="T76" fmla="*/ 271 w 672"/>
                  <a:gd name="T77" fmla="*/ 153 h 672"/>
                  <a:gd name="T78" fmla="*/ 304 w 672"/>
                  <a:gd name="T79" fmla="*/ 140 h 672"/>
                  <a:gd name="T80" fmla="*/ 304 w 672"/>
                  <a:gd name="T81" fmla="*/ 93 h 672"/>
                  <a:gd name="T82" fmla="*/ 315 w 672"/>
                  <a:gd name="T83" fmla="*/ 93 h 672"/>
                  <a:gd name="T84" fmla="*/ 357 w 672"/>
                  <a:gd name="T85" fmla="*/ 93 h 672"/>
                  <a:gd name="T86" fmla="*/ 363 w 672"/>
                  <a:gd name="T87" fmla="*/ 93 h 672"/>
                  <a:gd name="T88" fmla="*/ 362 w 672"/>
                  <a:gd name="T89" fmla="*/ 137 h 672"/>
                  <a:gd name="T90" fmla="*/ 401 w 672"/>
                  <a:gd name="T91" fmla="*/ 144 h 672"/>
                  <a:gd name="T92" fmla="*/ 433 w 672"/>
                  <a:gd name="T93" fmla="*/ 160 h 672"/>
                  <a:gd name="T94" fmla="*/ 412 w 672"/>
                  <a:gd name="T95" fmla="*/ 218 h 672"/>
                  <a:gd name="T96" fmla="*/ 401 w 672"/>
                  <a:gd name="T97" fmla="*/ 210 h 672"/>
                  <a:gd name="T98" fmla="*/ 357 w 672"/>
                  <a:gd name="T99" fmla="*/ 194 h 672"/>
                  <a:gd name="T100" fmla="*/ 338 w 672"/>
                  <a:gd name="T101" fmla="*/ 193 h 672"/>
                  <a:gd name="T102" fmla="*/ 315 w 672"/>
                  <a:gd name="T103" fmla="*/ 197 h 672"/>
                  <a:gd name="T104" fmla="*/ 302 w 672"/>
                  <a:gd name="T105" fmla="*/ 205 h 672"/>
                  <a:gd name="T106" fmla="*/ 290 w 672"/>
                  <a:gd name="T107" fmla="*/ 237 h 672"/>
                  <a:gd name="T108" fmla="*/ 315 w 672"/>
                  <a:gd name="T109" fmla="*/ 276 h 672"/>
                  <a:gd name="T110" fmla="*/ 357 w 672"/>
                  <a:gd name="T111" fmla="*/ 302 h 672"/>
                  <a:gd name="T112" fmla="*/ 361 w 672"/>
                  <a:gd name="T113" fmla="*/ 304 h 672"/>
                  <a:gd name="T114" fmla="*/ 401 w 672"/>
                  <a:gd name="T115" fmla="*/ 326 h 672"/>
                  <a:gd name="T116" fmla="*/ 416 w 672"/>
                  <a:gd name="T117" fmla="*/ 338 h 672"/>
                  <a:gd name="T118" fmla="*/ 441 w 672"/>
                  <a:gd name="T119" fmla="*/ 374 h 672"/>
                  <a:gd name="T120" fmla="*/ 450 w 672"/>
                  <a:gd name="T121" fmla="*/ 420 h 672"/>
                  <a:gd name="T122" fmla="*/ 427 w 672"/>
                  <a:gd name="T123" fmla="*/ 483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2" h="672">
                    <a:moveTo>
                      <a:pt x="401" y="7"/>
                    </a:moveTo>
                    <a:cubicBezTo>
                      <a:pt x="387" y="4"/>
                      <a:pt x="372" y="2"/>
                      <a:pt x="357" y="1"/>
                    </a:cubicBezTo>
                    <a:cubicBezTo>
                      <a:pt x="350" y="0"/>
                      <a:pt x="343" y="0"/>
                      <a:pt x="336" y="0"/>
                    </a:cubicBezTo>
                    <a:cubicBezTo>
                      <a:pt x="329" y="0"/>
                      <a:pt x="322" y="0"/>
                      <a:pt x="315" y="1"/>
                    </a:cubicBezTo>
                    <a:cubicBezTo>
                      <a:pt x="300" y="2"/>
                      <a:pt x="285" y="4"/>
                      <a:pt x="271" y="7"/>
                    </a:cubicBezTo>
                    <a:cubicBezTo>
                      <a:pt x="117" y="37"/>
                      <a:pt x="0" y="173"/>
                      <a:pt x="0" y="336"/>
                    </a:cubicBezTo>
                    <a:cubicBezTo>
                      <a:pt x="0" y="499"/>
                      <a:pt x="117" y="635"/>
                      <a:pt x="271" y="666"/>
                    </a:cubicBezTo>
                    <a:cubicBezTo>
                      <a:pt x="285" y="669"/>
                      <a:pt x="300" y="671"/>
                      <a:pt x="315" y="671"/>
                    </a:cubicBezTo>
                    <a:cubicBezTo>
                      <a:pt x="322" y="672"/>
                      <a:pt x="329" y="672"/>
                      <a:pt x="336" y="672"/>
                    </a:cubicBezTo>
                    <a:cubicBezTo>
                      <a:pt x="343" y="672"/>
                      <a:pt x="350" y="672"/>
                      <a:pt x="357" y="671"/>
                    </a:cubicBezTo>
                    <a:cubicBezTo>
                      <a:pt x="372" y="671"/>
                      <a:pt x="387" y="669"/>
                      <a:pt x="401" y="666"/>
                    </a:cubicBezTo>
                    <a:cubicBezTo>
                      <a:pt x="555" y="635"/>
                      <a:pt x="672" y="499"/>
                      <a:pt x="672" y="336"/>
                    </a:cubicBezTo>
                    <a:cubicBezTo>
                      <a:pt x="672" y="173"/>
                      <a:pt x="555" y="37"/>
                      <a:pt x="401" y="7"/>
                    </a:cubicBezTo>
                    <a:close/>
                    <a:moveTo>
                      <a:pt x="427" y="483"/>
                    </a:moveTo>
                    <a:cubicBezTo>
                      <a:pt x="420" y="492"/>
                      <a:pt x="411" y="499"/>
                      <a:pt x="401" y="505"/>
                    </a:cubicBezTo>
                    <a:cubicBezTo>
                      <a:pt x="390" y="511"/>
                      <a:pt x="377" y="517"/>
                      <a:pt x="363" y="520"/>
                    </a:cubicBezTo>
                    <a:cubicBezTo>
                      <a:pt x="363" y="579"/>
                      <a:pt x="363" y="579"/>
                      <a:pt x="363" y="579"/>
                    </a:cubicBezTo>
                    <a:cubicBezTo>
                      <a:pt x="357" y="579"/>
                      <a:pt x="357" y="579"/>
                      <a:pt x="357" y="579"/>
                    </a:cubicBezTo>
                    <a:cubicBezTo>
                      <a:pt x="315" y="579"/>
                      <a:pt x="315" y="579"/>
                      <a:pt x="315" y="579"/>
                    </a:cubicBezTo>
                    <a:cubicBezTo>
                      <a:pt x="304" y="579"/>
                      <a:pt x="304" y="579"/>
                      <a:pt x="304" y="579"/>
                    </a:cubicBezTo>
                    <a:cubicBezTo>
                      <a:pt x="304" y="525"/>
                      <a:pt x="304" y="525"/>
                      <a:pt x="304" y="525"/>
                    </a:cubicBezTo>
                    <a:cubicBezTo>
                      <a:pt x="292" y="524"/>
                      <a:pt x="282" y="522"/>
                      <a:pt x="271" y="519"/>
                    </a:cubicBezTo>
                    <a:cubicBezTo>
                      <a:pt x="254" y="515"/>
                      <a:pt x="237" y="508"/>
                      <a:pt x="222" y="498"/>
                    </a:cubicBezTo>
                    <a:cubicBezTo>
                      <a:pt x="247" y="438"/>
                      <a:pt x="247" y="438"/>
                      <a:pt x="247" y="438"/>
                    </a:cubicBezTo>
                    <a:cubicBezTo>
                      <a:pt x="255" y="444"/>
                      <a:pt x="263" y="449"/>
                      <a:pt x="271" y="453"/>
                    </a:cubicBezTo>
                    <a:cubicBezTo>
                      <a:pt x="286" y="460"/>
                      <a:pt x="301" y="464"/>
                      <a:pt x="315" y="465"/>
                    </a:cubicBezTo>
                    <a:cubicBezTo>
                      <a:pt x="318" y="466"/>
                      <a:pt x="321" y="466"/>
                      <a:pt x="325" y="466"/>
                    </a:cubicBezTo>
                    <a:cubicBezTo>
                      <a:pt x="338" y="466"/>
                      <a:pt x="348" y="464"/>
                      <a:pt x="357" y="461"/>
                    </a:cubicBezTo>
                    <a:cubicBezTo>
                      <a:pt x="375" y="455"/>
                      <a:pt x="383" y="443"/>
                      <a:pt x="383" y="425"/>
                    </a:cubicBezTo>
                    <a:cubicBezTo>
                      <a:pt x="383" y="412"/>
                      <a:pt x="378" y="399"/>
                      <a:pt x="368" y="387"/>
                    </a:cubicBezTo>
                    <a:cubicBezTo>
                      <a:pt x="365" y="384"/>
                      <a:pt x="362" y="380"/>
                      <a:pt x="357" y="376"/>
                    </a:cubicBezTo>
                    <a:cubicBezTo>
                      <a:pt x="347" y="368"/>
                      <a:pt x="333" y="359"/>
                      <a:pt x="315" y="350"/>
                    </a:cubicBezTo>
                    <a:cubicBezTo>
                      <a:pt x="314" y="349"/>
                      <a:pt x="313" y="349"/>
                      <a:pt x="311" y="348"/>
                    </a:cubicBezTo>
                    <a:cubicBezTo>
                      <a:pt x="295" y="340"/>
                      <a:pt x="281" y="332"/>
                      <a:pt x="271" y="326"/>
                    </a:cubicBezTo>
                    <a:cubicBezTo>
                      <a:pt x="264" y="321"/>
                      <a:pt x="258" y="317"/>
                      <a:pt x="254" y="313"/>
                    </a:cubicBezTo>
                    <a:cubicBezTo>
                      <a:pt x="244" y="304"/>
                      <a:pt x="236" y="293"/>
                      <a:pt x="231" y="280"/>
                    </a:cubicBezTo>
                    <a:cubicBezTo>
                      <a:pt x="225" y="267"/>
                      <a:pt x="223" y="253"/>
                      <a:pt x="223" y="237"/>
                    </a:cubicBezTo>
                    <a:cubicBezTo>
                      <a:pt x="223" y="214"/>
                      <a:pt x="230" y="193"/>
                      <a:pt x="245" y="175"/>
                    </a:cubicBezTo>
                    <a:cubicBezTo>
                      <a:pt x="252" y="166"/>
                      <a:pt x="261" y="159"/>
                      <a:pt x="271" y="153"/>
                    </a:cubicBezTo>
                    <a:cubicBezTo>
                      <a:pt x="281" y="147"/>
                      <a:pt x="292" y="143"/>
                      <a:pt x="304" y="140"/>
                    </a:cubicBezTo>
                    <a:cubicBezTo>
                      <a:pt x="304" y="93"/>
                      <a:pt x="304" y="93"/>
                      <a:pt x="304" y="93"/>
                    </a:cubicBezTo>
                    <a:cubicBezTo>
                      <a:pt x="315" y="93"/>
                      <a:pt x="315" y="93"/>
                      <a:pt x="315" y="93"/>
                    </a:cubicBezTo>
                    <a:cubicBezTo>
                      <a:pt x="357" y="93"/>
                      <a:pt x="357" y="93"/>
                      <a:pt x="357" y="93"/>
                    </a:cubicBezTo>
                    <a:cubicBezTo>
                      <a:pt x="363" y="93"/>
                      <a:pt x="363" y="93"/>
                      <a:pt x="363" y="93"/>
                    </a:cubicBezTo>
                    <a:cubicBezTo>
                      <a:pt x="362" y="137"/>
                      <a:pt x="362" y="137"/>
                      <a:pt x="362" y="137"/>
                    </a:cubicBezTo>
                    <a:cubicBezTo>
                      <a:pt x="377" y="139"/>
                      <a:pt x="390" y="141"/>
                      <a:pt x="401" y="144"/>
                    </a:cubicBezTo>
                    <a:cubicBezTo>
                      <a:pt x="414" y="148"/>
                      <a:pt x="425" y="154"/>
                      <a:pt x="433" y="160"/>
                    </a:cubicBezTo>
                    <a:cubicBezTo>
                      <a:pt x="412" y="218"/>
                      <a:pt x="412" y="218"/>
                      <a:pt x="412" y="218"/>
                    </a:cubicBezTo>
                    <a:cubicBezTo>
                      <a:pt x="409" y="215"/>
                      <a:pt x="405" y="213"/>
                      <a:pt x="401" y="210"/>
                    </a:cubicBezTo>
                    <a:cubicBezTo>
                      <a:pt x="387" y="202"/>
                      <a:pt x="372" y="197"/>
                      <a:pt x="357" y="194"/>
                    </a:cubicBezTo>
                    <a:cubicBezTo>
                      <a:pt x="351" y="193"/>
                      <a:pt x="345" y="193"/>
                      <a:pt x="338" y="193"/>
                    </a:cubicBezTo>
                    <a:cubicBezTo>
                      <a:pt x="329" y="193"/>
                      <a:pt x="322" y="194"/>
                      <a:pt x="315" y="197"/>
                    </a:cubicBezTo>
                    <a:cubicBezTo>
                      <a:pt x="310" y="199"/>
                      <a:pt x="306" y="202"/>
                      <a:pt x="302" y="205"/>
                    </a:cubicBezTo>
                    <a:cubicBezTo>
                      <a:pt x="294" y="213"/>
                      <a:pt x="290" y="224"/>
                      <a:pt x="290" y="237"/>
                    </a:cubicBezTo>
                    <a:cubicBezTo>
                      <a:pt x="290" y="249"/>
                      <a:pt x="298" y="263"/>
                      <a:pt x="315" y="276"/>
                    </a:cubicBezTo>
                    <a:cubicBezTo>
                      <a:pt x="326" y="284"/>
                      <a:pt x="340" y="293"/>
                      <a:pt x="357" y="302"/>
                    </a:cubicBezTo>
                    <a:cubicBezTo>
                      <a:pt x="358" y="302"/>
                      <a:pt x="360" y="303"/>
                      <a:pt x="361" y="304"/>
                    </a:cubicBezTo>
                    <a:cubicBezTo>
                      <a:pt x="377" y="312"/>
                      <a:pt x="391" y="319"/>
                      <a:pt x="401" y="326"/>
                    </a:cubicBezTo>
                    <a:cubicBezTo>
                      <a:pt x="407" y="330"/>
                      <a:pt x="412" y="334"/>
                      <a:pt x="416" y="338"/>
                    </a:cubicBezTo>
                    <a:cubicBezTo>
                      <a:pt x="427" y="348"/>
                      <a:pt x="435" y="360"/>
                      <a:pt x="441" y="374"/>
                    </a:cubicBezTo>
                    <a:cubicBezTo>
                      <a:pt x="447" y="388"/>
                      <a:pt x="450" y="403"/>
                      <a:pt x="450" y="420"/>
                    </a:cubicBezTo>
                    <a:cubicBezTo>
                      <a:pt x="450" y="444"/>
                      <a:pt x="442" y="465"/>
                      <a:pt x="427" y="48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2" name="Group 37"/>
          <p:cNvGrpSpPr>
            <a:grpSpLocks noChangeAspect="1"/>
          </p:cNvGrpSpPr>
          <p:nvPr/>
        </p:nvGrpSpPr>
        <p:grpSpPr>
          <a:xfrm>
            <a:off x="3737789" y="4572000"/>
            <a:ext cx="1180028" cy="1178890"/>
            <a:chOff x="6464300" y="2606675"/>
            <a:chExt cx="1646238" cy="1644650"/>
          </a:xfrm>
        </p:grpSpPr>
        <p:sp>
          <p:nvSpPr>
            <p:cNvPr id="33" name="AutoShape 1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4" name="Group 39"/>
            <p:cNvGrpSpPr/>
            <p:nvPr/>
          </p:nvGrpSpPr>
          <p:grpSpPr>
            <a:xfrm>
              <a:off x="6634163" y="2962275"/>
              <a:ext cx="1306513" cy="931863"/>
              <a:chOff x="6634163" y="2962275"/>
              <a:chExt cx="1306513" cy="931863"/>
            </a:xfrm>
          </p:grpSpPr>
          <p:sp>
            <p:nvSpPr>
              <p:cNvPr id="35" name="Freeform 40"/>
              <p:cNvSpPr>
                <a:spLocks/>
              </p:cNvSpPr>
              <p:nvPr/>
            </p:nvSpPr>
            <p:spPr bwMode="auto">
              <a:xfrm>
                <a:off x="6634163" y="2962275"/>
                <a:ext cx="1306513" cy="931863"/>
              </a:xfrm>
              <a:custGeom>
                <a:avLst/>
                <a:gdLst>
                  <a:gd name="connsiteX0" fmla="*/ 852892 w 1306513"/>
                  <a:gd name="connsiteY0" fmla="*/ 61593 h 931863"/>
                  <a:gd name="connsiteX1" fmla="*/ 988690 w 1306513"/>
                  <a:gd name="connsiteY1" fmla="*/ 104412 h 931863"/>
                  <a:gd name="connsiteX2" fmla="*/ 989404 w 1306513"/>
                  <a:gd name="connsiteY2" fmla="*/ 105125 h 931863"/>
                  <a:gd name="connsiteX3" fmla="*/ 990119 w 1306513"/>
                  <a:gd name="connsiteY3" fmla="*/ 105125 h 931863"/>
                  <a:gd name="connsiteX4" fmla="*/ 990834 w 1306513"/>
                  <a:gd name="connsiteY4" fmla="*/ 105125 h 931863"/>
                  <a:gd name="connsiteX5" fmla="*/ 991549 w 1306513"/>
                  <a:gd name="connsiteY5" fmla="*/ 105839 h 931863"/>
                  <a:gd name="connsiteX6" fmla="*/ 992978 w 1306513"/>
                  <a:gd name="connsiteY6" fmla="*/ 106553 h 931863"/>
                  <a:gd name="connsiteX7" fmla="*/ 993693 w 1306513"/>
                  <a:gd name="connsiteY7" fmla="*/ 107266 h 931863"/>
                  <a:gd name="connsiteX8" fmla="*/ 994407 w 1306513"/>
                  <a:gd name="connsiteY8" fmla="*/ 107980 h 931863"/>
                  <a:gd name="connsiteX9" fmla="*/ 995122 w 1306513"/>
                  <a:gd name="connsiteY9" fmla="*/ 107980 h 931863"/>
                  <a:gd name="connsiteX10" fmla="*/ 995837 w 1306513"/>
                  <a:gd name="connsiteY10" fmla="*/ 108693 h 931863"/>
                  <a:gd name="connsiteX11" fmla="*/ 995837 w 1306513"/>
                  <a:gd name="connsiteY11" fmla="*/ 109407 h 931863"/>
                  <a:gd name="connsiteX12" fmla="*/ 996552 w 1306513"/>
                  <a:gd name="connsiteY12" fmla="*/ 110121 h 931863"/>
                  <a:gd name="connsiteX13" fmla="*/ 997266 w 1306513"/>
                  <a:gd name="connsiteY13" fmla="*/ 110834 h 931863"/>
                  <a:gd name="connsiteX14" fmla="*/ 997981 w 1306513"/>
                  <a:gd name="connsiteY14" fmla="*/ 112262 h 931863"/>
                  <a:gd name="connsiteX15" fmla="*/ 998696 w 1306513"/>
                  <a:gd name="connsiteY15" fmla="*/ 113689 h 931863"/>
                  <a:gd name="connsiteX16" fmla="*/ 998696 w 1306513"/>
                  <a:gd name="connsiteY16" fmla="*/ 114403 h 931863"/>
                  <a:gd name="connsiteX17" fmla="*/ 999410 w 1306513"/>
                  <a:gd name="connsiteY17" fmla="*/ 115116 h 931863"/>
                  <a:gd name="connsiteX18" fmla="*/ 999410 w 1306513"/>
                  <a:gd name="connsiteY18" fmla="*/ 115830 h 931863"/>
                  <a:gd name="connsiteX19" fmla="*/ 1000125 w 1306513"/>
                  <a:gd name="connsiteY19" fmla="*/ 116544 h 931863"/>
                  <a:gd name="connsiteX20" fmla="*/ 1000125 w 1306513"/>
                  <a:gd name="connsiteY20" fmla="*/ 117257 h 931863"/>
                  <a:gd name="connsiteX21" fmla="*/ 1000125 w 1306513"/>
                  <a:gd name="connsiteY21" fmla="*/ 117971 h 931863"/>
                  <a:gd name="connsiteX22" fmla="*/ 1000125 w 1306513"/>
                  <a:gd name="connsiteY22" fmla="*/ 118685 h 931863"/>
                  <a:gd name="connsiteX23" fmla="*/ 1000125 w 1306513"/>
                  <a:gd name="connsiteY23" fmla="*/ 119398 h 931863"/>
                  <a:gd name="connsiteX24" fmla="*/ 1000125 w 1306513"/>
                  <a:gd name="connsiteY24" fmla="*/ 120112 h 931863"/>
                  <a:gd name="connsiteX25" fmla="*/ 1000125 w 1306513"/>
                  <a:gd name="connsiteY25" fmla="*/ 120825 h 931863"/>
                  <a:gd name="connsiteX26" fmla="*/ 1000125 w 1306513"/>
                  <a:gd name="connsiteY26" fmla="*/ 121539 h 931863"/>
                  <a:gd name="connsiteX27" fmla="*/ 1000125 w 1306513"/>
                  <a:gd name="connsiteY27" fmla="*/ 122253 h 931863"/>
                  <a:gd name="connsiteX28" fmla="*/ 999410 w 1306513"/>
                  <a:gd name="connsiteY28" fmla="*/ 122966 h 931863"/>
                  <a:gd name="connsiteX29" fmla="*/ 999410 w 1306513"/>
                  <a:gd name="connsiteY29" fmla="*/ 123680 h 931863"/>
                  <a:gd name="connsiteX30" fmla="*/ 999410 w 1306513"/>
                  <a:gd name="connsiteY30" fmla="*/ 124394 h 931863"/>
                  <a:gd name="connsiteX31" fmla="*/ 999410 w 1306513"/>
                  <a:gd name="connsiteY31" fmla="*/ 125107 h 931863"/>
                  <a:gd name="connsiteX32" fmla="*/ 998696 w 1306513"/>
                  <a:gd name="connsiteY32" fmla="*/ 125821 h 931863"/>
                  <a:gd name="connsiteX33" fmla="*/ 998696 w 1306513"/>
                  <a:gd name="connsiteY33" fmla="*/ 126535 h 931863"/>
                  <a:gd name="connsiteX34" fmla="*/ 997981 w 1306513"/>
                  <a:gd name="connsiteY34" fmla="*/ 127248 h 931863"/>
                  <a:gd name="connsiteX35" fmla="*/ 929367 w 1306513"/>
                  <a:gd name="connsiteY35" fmla="*/ 252850 h 931863"/>
                  <a:gd name="connsiteX36" fmla="*/ 915788 w 1306513"/>
                  <a:gd name="connsiteY36" fmla="*/ 260700 h 931863"/>
                  <a:gd name="connsiteX37" fmla="*/ 908640 w 1306513"/>
                  <a:gd name="connsiteY37" fmla="*/ 258559 h 931863"/>
                  <a:gd name="connsiteX38" fmla="*/ 902208 w 1306513"/>
                  <a:gd name="connsiteY38" fmla="*/ 237864 h 931863"/>
                  <a:gd name="connsiteX39" fmla="*/ 949380 w 1306513"/>
                  <a:gd name="connsiteY39" fmla="*/ 150799 h 931863"/>
                  <a:gd name="connsiteX40" fmla="*/ 212498 w 1306513"/>
                  <a:gd name="connsiteY40" fmla="*/ 446962 h 931863"/>
                  <a:gd name="connsiteX41" fmla="*/ 206780 w 1306513"/>
                  <a:gd name="connsiteY41" fmla="*/ 447676 h 931863"/>
                  <a:gd name="connsiteX42" fmla="*/ 192486 w 1306513"/>
                  <a:gd name="connsiteY42" fmla="*/ 438399 h 931863"/>
                  <a:gd name="connsiteX43" fmla="*/ 201063 w 1306513"/>
                  <a:gd name="connsiteY43" fmla="*/ 417703 h 931863"/>
                  <a:gd name="connsiteX44" fmla="*/ 937944 w 1306513"/>
                  <a:gd name="connsiteY44" fmla="*/ 121539 h 931863"/>
                  <a:gd name="connsiteX45" fmla="*/ 843600 w 1306513"/>
                  <a:gd name="connsiteY45" fmla="*/ 91566 h 931863"/>
                  <a:gd name="connsiteX46" fmla="*/ 832880 w 1306513"/>
                  <a:gd name="connsiteY46" fmla="*/ 71584 h 931863"/>
                  <a:gd name="connsiteX47" fmla="*/ 852892 w 1306513"/>
                  <a:gd name="connsiteY47" fmla="*/ 61593 h 931863"/>
                  <a:gd name="connsiteX48" fmla="*/ 31750 w 1306513"/>
                  <a:gd name="connsiteY48" fmla="*/ 31750 h 931863"/>
                  <a:gd name="connsiteX49" fmla="*/ 31750 w 1306513"/>
                  <a:gd name="connsiteY49" fmla="*/ 900113 h 931863"/>
                  <a:gd name="connsiteX50" fmla="*/ 1274763 w 1306513"/>
                  <a:gd name="connsiteY50" fmla="*/ 900113 h 931863"/>
                  <a:gd name="connsiteX51" fmla="*/ 1274763 w 1306513"/>
                  <a:gd name="connsiteY51" fmla="*/ 31750 h 931863"/>
                  <a:gd name="connsiteX52" fmla="*/ 31750 w 1306513"/>
                  <a:gd name="connsiteY52" fmla="*/ 31750 h 931863"/>
                  <a:gd name="connsiteX53" fmla="*/ 15724 w 1306513"/>
                  <a:gd name="connsiteY53" fmla="*/ 0 h 931863"/>
                  <a:gd name="connsiteX54" fmla="*/ 1290789 w 1306513"/>
                  <a:gd name="connsiteY54" fmla="*/ 0 h 931863"/>
                  <a:gd name="connsiteX55" fmla="*/ 1306513 w 1306513"/>
                  <a:gd name="connsiteY55" fmla="*/ 15698 h 931863"/>
                  <a:gd name="connsiteX56" fmla="*/ 1306513 w 1306513"/>
                  <a:gd name="connsiteY56" fmla="*/ 916166 h 931863"/>
                  <a:gd name="connsiteX57" fmla="*/ 1290789 w 1306513"/>
                  <a:gd name="connsiteY57" fmla="*/ 931863 h 931863"/>
                  <a:gd name="connsiteX58" fmla="*/ 15724 w 1306513"/>
                  <a:gd name="connsiteY58" fmla="*/ 931863 h 931863"/>
                  <a:gd name="connsiteX59" fmla="*/ 0 w 1306513"/>
                  <a:gd name="connsiteY59" fmla="*/ 916166 h 931863"/>
                  <a:gd name="connsiteX60" fmla="*/ 0 w 1306513"/>
                  <a:gd name="connsiteY60" fmla="*/ 15698 h 931863"/>
                  <a:gd name="connsiteX61" fmla="*/ 15724 w 1306513"/>
                  <a:gd name="connsiteY61"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06513" h="931863">
                    <a:moveTo>
                      <a:pt x="852892" y="61593"/>
                    </a:moveTo>
                    <a:cubicBezTo>
                      <a:pt x="852892" y="61593"/>
                      <a:pt x="852892" y="61593"/>
                      <a:pt x="988690" y="104412"/>
                    </a:cubicBezTo>
                    <a:cubicBezTo>
                      <a:pt x="988690" y="104412"/>
                      <a:pt x="988690" y="104412"/>
                      <a:pt x="989404" y="105125"/>
                    </a:cubicBezTo>
                    <a:cubicBezTo>
                      <a:pt x="990119" y="105125"/>
                      <a:pt x="990119" y="105125"/>
                      <a:pt x="990119" y="105125"/>
                    </a:cubicBezTo>
                    <a:cubicBezTo>
                      <a:pt x="990119" y="105125"/>
                      <a:pt x="990834" y="105125"/>
                      <a:pt x="990834" y="105125"/>
                    </a:cubicBezTo>
                    <a:cubicBezTo>
                      <a:pt x="990834" y="105125"/>
                      <a:pt x="990834" y="105839"/>
                      <a:pt x="991549" y="105839"/>
                    </a:cubicBezTo>
                    <a:cubicBezTo>
                      <a:pt x="992263" y="105839"/>
                      <a:pt x="992263" y="106553"/>
                      <a:pt x="992978" y="106553"/>
                    </a:cubicBezTo>
                    <a:cubicBezTo>
                      <a:pt x="993693" y="107266"/>
                      <a:pt x="993693" y="107266"/>
                      <a:pt x="993693" y="107266"/>
                    </a:cubicBezTo>
                    <a:cubicBezTo>
                      <a:pt x="994407" y="107266"/>
                      <a:pt x="994407" y="107266"/>
                      <a:pt x="994407" y="107980"/>
                    </a:cubicBezTo>
                    <a:cubicBezTo>
                      <a:pt x="994407" y="107980"/>
                      <a:pt x="995122" y="107980"/>
                      <a:pt x="995122" y="107980"/>
                    </a:cubicBezTo>
                    <a:cubicBezTo>
                      <a:pt x="995122" y="108693"/>
                      <a:pt x="995122" y="108693"/>
                      <a:pt x="995837" y="108693"/>
                    </a:cubicBezTo>
                    <a:cubicBezTo>
                      <a:pt x="995837" y="109407"/>
                      <a:pt x="995837" y="109407"/>
                      <a:pt x="995837" y="109407"/>
                    </a:cubicBezTo>
                    <a:cubicBezTo>
                      <a:pt x="996552" y="109407"/>
                      <a:pt x="996552" y="109407"/>
                      <a:pt x="996552" y="110121"/>
                    </a:cubicBezTo>
                    <a:cubicBezTo>
                      <a:pt x="996552" y="110121"/>
                      <a:pt x="996552" y="110121"/>
                      <a:pt x="997266" y="110834"/>
                    </a:cubicBezTo>
                    <a:cubicBezTo>
                      <a:pt x="997981" y="111548"/>
                      <a:pt x="997981" y="111548"/>
                      <a:pt x="997981" y="112262"/>
                    </a:cubicBezTo>
                    <a:cubicBezTo>
                      <a:pt x="998696" y="112975"/>
                      <a:pt x="998696" y="113689"/>
                      <a:pt x="998696" y="113689"/>
                    </a:cubicBezTo>
                    <a:cubicBezTo>
                      <a:pt x="998696" y="113689"/>
                      <a:pt x="998696" y="114403"/>
                      <a:pt x="998696" y="114403"/>
                    </a:cubicBezTo>
                    <a:cubicBezTo>
                      <a:pt x="999410" y="114403"/>
                      <a:pt x="999410" y="115116"/>
                      <a:pt x="999410" y="115116"/>
                    </a:cubicBezTo>
                    <a:cubicBezTo>
                      <a:pt x="999410" y="115830"/>
                      <a:pt x="999410" y="115830"/>
                      <a:pt x="999410" y="115830"/>
                    </a:cubicBezTo>
                    <a:cubicBezTo>
                      <a:pt x="999410" y="116544"/>
                      <a:pt x="999410" y="116544"/>
                      <a:pt x="1000125" y="116544"/>
                    </a:cubicBezTo>
                    <a:cubicBezTo>
                      <a:pt x="1000125" y="117257"/>
                      <a:pt x="1000125" y="117257"/>
                      <a:pt x="1000125" y="117257"/>
                    </a:cubicBezTo>
                    <a:cubicBezTo>
                      <a:pt x="1000125" y="117257"/>
                      <a:pt x="1000125" y="117971"/>
                      <a:pt x="1000125" y="117971"/>
                    </a:cubicBezTo>
                    <a:cubicBezTo>
                      <a:pt x="1000125" y="117971"/>
                      <a:pt x="1000125" y="117971"/>
                      <a:pt x="1000125" y="118685"/>
                    </a:cubicBezTo>
                    <a:cubicBezTo>
                      <a:pt x="1000125" y="118685"/>
                      <a:pt x="1000125" y="118685"/>
                      <a:pt x="1000125" y="119398"/>
                    </a:cubicBezTo>
                    <a:cubicBezTo>
                      <a:pt x="1000125" y="119398"/>
                      <a:pt x="1000125" y="119398"/>
                      <a:pt x="1000125" y="120112"/>
                    </a:cubicBezTo>
                    <a:cubicBezTo>
                      <a:pt x="1000125" y="120112"/>
                      <a:pt x="1000125" y="120112"/>
                      <a:pt x="1000125" y="120825"/>
                    </a:cubicBezTo>
                    <a:cubicBezTo>
                      <a:pt x="1000125" y="120825"/>
                      <a:pt x="1000125" y="120825"/>
                      <a:pt x="1000125" y="121539"/>
                    </a:cubicBezTo>
                    <a:cubicBezTo>
                      <a:pt x="1000125" y="121539"/>
                      <a:pt x="1000125" y="121539"/>
                      <a:pt x="1000125" y="122253"/>
                    </a:cubicBezTo>
                    <a:cubicBezTo>
                      <a:pt x="1000125" y="122253"/>
                      <a:pt x="1000125" y="122966"/>
                      <a:pt x="999410" y="122966"/>
                    </a:cubicBezTo>
                    <a:cubicBezTo>
                      <a:pt x="999410" y="122966"/>
                      <a:pt x="999410" y="123680"/>
                      <a:pt x="999410" y="123680"/>
                    </a:cubicBezTo>
                    <a:cubicBezTo>
                      <a:pt x="999410" y="123680"/>
                      <a:pt x="999410" y="124394"/>
                      <a:pt x="999410" y="124394"/>
                    </a:cubicBezTo>
                    <a:cubicBezTo>
                      <a:pt x="999410" y="125107"/>
                      <a:pt x="999410" y="125107"/>
                      <a:pt x="999410" y="125107"/>
                    </a:cubicBezTo>
                    <a:cubicBezTo>
                      <a:pt x="998696" y="125107"/>
                      <a:pt x="998696" y="125821"/>
                      <a:pt x="998696" y="125821"/>
                    </a:cubicBezTo>
                    <a:cubicBezTo>
                      <a:pt x="998696" y="125821"/>
                      <a:pt x="998696" y="126535"/>
                      <a:pt x="998696" y="126535"/>
                    </a:cubicBezTo>
                    <a:cubicBezTo>
                      <a:pt x="998696" y="126535"/>
                      <a:pt x="997981" y="126535"/>
                      <a:pt x="997981" y="127248"/>
                    </a:cubicBezTo>
                    <a:cubicBezTo>
                      <a:pt x="997981" y="127248"/>
                      <a:pt x="997981" y="127248"/>
                      <a:pt x="929367" y="252850"/>
                    </a:cubicBezTo>
                    <a:cubicBezTo>
                      <a:pt x="926509" y="257846"/>
                      <a:pt x="921505" y="260700"/>
                      <a:pt x="915788" y="260700"/>
                    </a:cubicBezTo>
                    <a:cubicBezTo>
                      <a:pt x="913643" y="260700"/>
                      <a:pt x="910785" y="259987"/>
                      <a:pt x="908640" y="258559"/>
                    </a:cubicBezTo>
                    <a:cubicBezTo>
                      <a:pt x="900778" y="254991"/>
                      <a:pt x="897920" y="245000"/>
                      <a:pt x="902208" y="237864"/>
                    </a:cubicBezTo>
                    <a:cubicBezTo>
                      <a:pt x="902208" y="237864"/>
                      <a:pt x="902208" y="237864"/>
                      <a:pt x="949380" y="150799"/>
                    </a:cubicBezTo>
                    <a:cubicBezTo>
                      <a:pt x="949380" y="150799"/>
                      <a:pt x="949380" y="150799"/>
                      <a:pt x="212498" y="446962"/>
                    </a:cubicBezTo>
                    <a:cubicBezTo>
                      <a:pt x="211069" y="447676"/>
                      <a:pt x="208925" y="447676"/>
                      <a:pt x="206780" y="447676"/>
                    </a:cubicBezTo>
                    <a:cubicBezTo>
                      <a:pt x="200348" y="447676"/>
                      <a:pt x="194630" y="444108"/>
                      <a:pt x="192486" y="438399"/>
                    </a:cubicBezTo>
                    <a:cubicBezTo>
                      <a:pt x="188912" y="429835"/>
                      <a:pt x="193201" y="420558"/>
                      <a:pt x="201063" y="417703"/>
                    </a:cubicBezTo>
                    <a:cubicBezTo>
                      <a:pt x="201063" y="417703"/>
                      <a:pt x="201063" y="417703"/>
                      <a:pt x="937944" y="121539"/>
                    </a:cubicBezTo>
                    <a:cubicBezTo>
                      <a:pt x="937944" y="121539"/>
                      <a:pt x="937944" y="121539"/>
                      <a:pt x="843600" y="91566"/>
                    </a:cubicBezTo>
                    <a:cubicBezTo>
                      <a:pt x="835024" y="88711"/>
                      <a:pt x="830735" y="80148"/>
                      <a:pt x="832880" y="71584"/>
                    </a:cubicBezTo>
                    <a:cubicBezTo>
                      <a:pt x="835738" y="63734"/>
                      <a:pt x="844315" y="58738"/>
                      <a:pt x="852892" y="61593"/>
                    </a:cubicBezTo>
                    <a:close/>
                    <a:moveTo>
                      <a:pt x="31750" y="31750"/>
                    </a:moveTo>
                    <a:cubicBezTo>
                      <a:pt x="31750" y="900113"/>
                      <a:pt x="31750" y="900113"/>
                      <a:pt x="31750" y="900113"/>
                    </a:cubicBezTo>
                    <a:cubicBezTo>
                      <a:pt x="1274763" y="900113"/>
                      <a:pt x="1274763" y="900113"/>
                      <a:pt x="1274763" y="900113"/>
                    </a:cubicBezTo>
                    <a:cubicBezTo>
                      <a:pt x="1274763" y="31750"/>
                      <a:pt x="1274763" y="31750"/>
                      <a:pt x="1274763" y="31750"/>
                    </a:cubicBezTo>
                    <a:cubicBezTo>
                      <a:pt x="31750" y="31750"/>
                      <a:pt x="31750" y="31750"/>
                      <a:pt x="31750" y="31750"/>
                    </a:cubicBezTo>
                    <a:close/>
                    <a:moveTo>
                      <a:pt x="15724" y="0"/>
                    </a:moveTo>
                    <a:cubicBezTo>
                      <a:pt x="15724" y="0"/>
                      <a:pt x="15724" y="0"/>
                      <a:pt x="1290789" y="0"/>
                    </a:cubicBezTo>
                    <a:cubicBezTo>
                      <a:pt x="1299366" y="0"/>
                      <a:pt x="1306513" y="6422"/>
                      <a:pt x="1306513" y="15698"/>
                    </a:cubicBezTo>
                    <a:cubicBezTo>
                      <a:pt x="1306513" y="15698"/>
                      <a:pt x="1306513" y="15698"/>
                      <a:pt x="1306513" y="916166"/>
                    </a:cubicBezTo>
                    <a:cubicBezTo>
                      <a:pt x="1306513" y="925441"/>
                      <a:pt x="1299366" y="931863"/>
                      <a:pt x="1290789" y="931863"/>
                    </a:cubicBezTo>
                    <a:cubicBezTo>
                      <a:pt x="1290789" y="931863"/>
                      <a:pt x="1290789" y="931863"/>
                      <a:pt x="15724" y="931863"/>
                    </a:cubicBezTo>
                    <a:cubicBezTo>
                      <a:pt x="7147" y="931863"/>
                      <a:pt x="0" y="925441"/>
                      <a:pt x="0" y="916166"/>
                    </a:cubicBezTo>
                    <a:cubicBezTo>
                      <a:pt x="0" y="916166"/>
                      <a:pt x="0" y="916166"/>
                      <a:pt x="0" y="15698"/>
                    </a:cubicBezTo>
                    <a:cubicBezTo>
                      <a:pt x="0" y="6422"/>
                      <a:pt x="7147" y="0"/>
                      <a:pt x="1572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36" name="Freeform 41"/>
              <p:cNvSpPr>
                <a:spLocks/>
              </p:cNvSpPr>
              <p:nvPr/>
            </p:nvSpPr>
            <p:spPr bwMode="auto">
              <a:xfrm>
                <a:off x="6697662" y="3179763"/>
                <a:ext cx="1179512" cy="652463"/>
              </a:xfrm>
              <a:custGeom>
                <a:avLst/>
                <a:gdLst>
                  <a:gd name="connsiteX0" fmla="*/ 15707 w 1179512"/>
                  <a:gd name="connsiteY0" fmla="*/ 379412 h 652463"/>
                  <a:gd name="connsiteX1" fmla="*/ 254168 w 1179512"/>
                  <a:gd name="connsiteY1" fmla="*/ 379412 h 652463"/>
                  <a:gd name="connsiteX2" fmla="*/ 269875 w 1179512"/>
                  <a:gd name="connsiteY2" fmla="*/ 395138 h 652463"/>
                  <a:gd name="connsiteX3" fmla="*/ 269875 w 1179512"/>
                  <a:gd name="connsiteY3" fmla="*/ 636737 h 652463"/>
                  <a:gd name="connsiteX4" fmla="*/ 254168 w 1179512"/>
                  <a:gd name="connsiteY4" fmla="*/ 652462 h 652463"/>
                  <a:gd name="connsiteX5" fmla="*/ 15707 w 1179512"/>
                  <a:gd name="connsiteY5" fmla="*/ 652462 h 652463"/>
                  <a:gd name="connsiteX6" fmla="*/ 0 w 1179512"/>
                  <a:gd name="connsiteY6" fmla="*/ 636737 h 652463"/>
                  <a:gd name="connsiteX7" fmla="*/ 0 w 1179512"/>
                  <a:gd name="connsiteY7" fmla="*/ 395138 h 652463"/>
                  <a:gd name="connsiteX8" fmla="*/ 15707 w 1179512"/>
                  <a:gd name="connsiteY8" fmla="*/ 379412 h 652463"/>
                  <a:gd name="connsiteX9" fmla="*/ 318919 w 1179512"/>
                  <a:gd name="connsiteY9" fmla="*/ 273050 h 652463"/>
                  <a:gd name="connsiteX10" fmla="*/ 557380 w 1179512"/>
                  <a:gd name="connsiteY10" fmla="*/ 273050 h 652463"/>
                  <a:gd name="connsiteX11" fmla="*/ 573087 w 1179512"/>
                  <a:gd name="connsiteY11" fmla="*/ 288770 h 652463"/>
                  <a:gd name="connsiteX12" fmla="*/ 573087 w 1179512"/>
                  <a:gd name="connsiteY12" fmla="*/ 636744 h 652463"/>
                  <a:gd name="connsiteX13" fmla="*/ 557380 w 1179512"/>
                  <a:gd name="connsiteY13" fmla="*/ 652463 h 652463"/>
                  <a:gd name="connsiteX14" fmla="*/ 318919 w 1179512"/>
                  <a:gd name="connsiteY14" fmla="*/ 652463 h 652463"/>
                  <a:gd name="connsiteX15" fmla="*/ 303212 w 1179512"/>
                  <a:gd name="connsiteY15" fmla="*/ 636744 h 652463"/>
                  <a:gd name="connsiteX16" fmla="*/ 303212 w 1179512"/>
                  <a:gd name="connsiteY16" fmla="*/ 288770 h 652463"/>
                  <a:gd name="connsiteX17" fmla="*/ 318919 w 1179512"/>
                  <a:gd name="connsiteY17" fmla="*/ 273050 h 652463"/>
                  <a:gd name="connsiteX18" fmla="*/ 622132 w 1179512"/>
                  <a:gd name="connsiteY18" fmla="*/ 153987 h 652463"/>
                  <a:gd name="connsiteX19" fmla="*/ 860593 w 1179512"/>
                  <a:gd name="connsiteY19" fmla="*/ 153987 h 652463"/>
                  <a:gd name="connsiteX20" fmla="*/ 876300 w 1179512"/>
                  <a:gd name="connsiteY20" fmla="*/ 169698 h 652463"/>
                  <a:gd name="connsiteX21" fmla="*/ 876300 w 1179512"/>
                  <a:gd name="connsiteY21" fmla="*/ 636751 h 652463"/>
                  <a:gd name="connsiteX22" fmla="*/ 860593 w 1179512"/>
                  <a:gd name="connsiteY22" fmla="*/ 652462 h 652463"/>
                  <a:gd name="connsiteX23" fmla="*/ 622132 w 1179512"/>
                  <a:gd name="connsiteY23" fmla="*/ 652462 h 652463"/>
                  <a:gd name="connsiteX24" fmla="*/ 606425 w 1179512"/>
                  <a:gd name="connsiteY24" fmla="*/ 636751 h 652463"/>
                  <a:gd name="connsiteX25" fmla="*/ 606425 w 1179512"/>
                  <a:gd name="connsiteY25" fmla="*/ 169698 h 652463"/>
                  <a:gd name="connsiteX26" fmla="*/ 622132 w 1179512"/>
                  <a:gd name="connsiteY26" fmla="*/ 153987 h 652463"/>
                  <a:gd name="connsiteX27" fmla="*/ 925344 w 1179512"/>
                  <a:gd name="connsiteY27" fmla="*/ 0 h 652463"/>
                  <a:gd name="connsiteX28" fmla="*/ 1163805 w 1179512"/>
                  <a:gd name="connsiteY28" fmla="*/ 0 h 652463"/>
                  <a:gd name="connsiteX29" fmla="*/ 1179512 w 1179512"/>
                  <a:gd name="connsiteY29" fmla="*/ 15705 h 652463"/>
                  <a:gd name="connsiteX30" fmla="*/ 1179512 w 1179512"/>
                  <a:gd name="connsiteY30" fmla="*/ 636758 h 652463"/>
                  <a:gd name="connsiteX31" fmla="*/ 1163805 w 1179512"/>
                  <a:gd name="connsiteY31" fmla="*/ 652463 h 652463"/>
                  <a:gd name="connsiteX32" fmla="*/ 925344 w 1179512"/>
                  <a:gd name="connsiteY32" fmla="*/ 652463 h 652463"/>
                  <a:gd name="connsiteX33" fmla="*/ 909637 w 1179512"/>
                  <a:gd name="connsiteY33" fmla="*/ 636758 h 652463"/>
                  <a:gd name="connsiteX34" fmla="*/ 909637 w 1179512"/>
                  <a:gd name="connsiteY34" fmla="*/ 15705 h 652463"/>
                  <a:gd name="connsiteX35" fmla="*/ 925344 w 1179512"/>
                  <a:gd name="connsiteY35" fmla="*/ 0 h 65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79512" h="652463">
                    <a:moveTo>
                      <a:pt x="15707" y="379412"/>
                    </a:moveTo>
                    <a:cubicBezTo>
                      <a:pt x="15707" y="379412"/>
                      <a:pt x="15707" y="379412"/>
                      <a:pt x="254168" y="379412"/>
                    </a:cubicBezTo>
                    <a:cubicBezTo>
                      <a:pt x="262735" y="379412"/>
                      <a:pt x="269875" y="385845"/>
                      <a:pt x="269875" y="395138"/>
                    </a:cubicBezTo>
                    <a:cubicBezTo>
                      <a:pt x="269875" y="395138"/>
                      <a:pt x="269875" y="395138"/>
                      <a:pt x="269875" y="636737"/>
                    </a:cubicBezTo>
                    <a:cubicBezTo>
                      <a:pt x="269875" y="646029"/>
                      <a:pt x="262735" y="652462"/>
                      <a:pt x="254168" y="652462"/>
                    </a:cubicBezTo>
                    <a:cubicBezTo>
                      <a:pt x="254168" y="652462"/>
                      <a:pt x="254168" y="652462"/>
                      <a:pt x="15707" y="652462"/>
                    </a:cubicBezTo>
                    <a:cubicBezTo>
                      <a:pt x="7139" y="652462"/>
                      <a:pt x="0" y="646029"/>
                      <a:pt x="0" y="636737"/>
                    </a:cubicBezTo>
                    <a:cubicBezTo>
                      <a:pt x="0" y="636737"/>
                      <a:pt x="0" y="636737"/>
                      <a:pt x="0" y="395138"/>
                    </a:cubicBezTo>
                    <a:cubicBezTo>
                      <a:pt x="0" y="385845"/>
                      <a:pt x="7139" y="379412"/>
                      <a:pt x="15707" y="379412"/>
                    </a:cubicBezTo>
                    <a:close/>
                    <a:moveTo>
                      <a:pt x="318919" y="273050"/>
                    </a:moveTo>
                    <a:cubicBezTo>
                      <a:pt x="318919" y="273050"/>
                      <a:pt x="318919" y="273050"/>
                      <a:pt x="557380" y="273050"/>
                    </a:cubicBezTo>
                    <a:cubicBezTo>
                      <a:pt x="565947" y="273050"/>
                      <a:pt x="573087" y="280195"/>
                      <a:pt x="573087" y="288770"/>
                    </a:cubicBezTo>
                    <a:cubicBezTo>
                      <a:pt x="573087" y="288770"/>
                      <a:pt x="573087" y="288770"/>
                      <a:pt x="573087" y="636744"/>
                    </a:cubicBezTo>
                    <a:cubicBezTo>
                      <a:pt x="573087" y="646032"/>
                      <a:pt x="565947" y="652463"/>
                      <a:pt x="557380" y="652463"/>
                    </a:cubicBezTo>
                    <a:cubicBezTo>
                      <a:pt x="557380" y="652463"/>
                      <a:pt x="557380" y="652463"/>
                      <a:pt x="318919" y="652463"/>
                    </a:cubicBezTo>
                    <a:cubicBezTo>
                      <a:pt x="309637" y="652463"/>
                      <a:pt x="303212" y="646032"/>
                      <a:pt x="303212" y="636744"/>
                    </a:cubicBezTo>
                    <a:cubicBezTo>
                      <a:pt x="303212" y="636744"/>
                      <a:pt x="303212" y="636744"/>
                      <a:pt x="303212" y="288770"/>
                    </a:cubicBezTo>
                    <a:cubicBezTo>
                      <a:pt x="303212" y="280195"/>
                      <a:pt x="309637" y="273050"/>
                      <a:pt x="318919" y="273050"/>
                    </a:cubicBezTo>
                    <a:close/>
                    <a:moveTo>
                      <a:pt x="622132" y="153987"/>
                    </a:moveTo>
                    <a:cubicBezTo>
                      <a:pt x="622132" y="153987"/>
                      <a:pt x="622132" y="153987"/>
                      <a:pt x="860593" y="153987"/>
                    </a:cubicBezTo>
                    <a:cubicBezTo>
                      <a:pt x="869874" y="153987"/>
                      <a:pt x="876300" y="161129"/>
                      <a:pt x="876300" y="169698"/>
                    </a:cubicBezTo>
                    <a:cubicBezTo>
                      <a:pt x="876300" y="169698"/>
                      <a:pt x="876300" y="169698"/>
                      <a:pt x="876300" y="636751"/>
                    </a:cubicBezTo>
                    <a:cubicBezTo>
                      <a:pt x="876300" y="646035"/>
                      <a:pt x="869874" y="652462"/>
                      <a:pt x="860593" y="652462"/>
                    </a:cubicBezTo>
                    <a:cubicBezTo>
                      <a:pt x="860593" y="652462"/>
                      <a:pt x="860593" y="652462"/>
                      <a:pt x="622132" y="652462"/>
                    </a:cubicBezTo>
                    <a:cubicBezTo>
                      <a:pt x="613564" y="652462"/>
                      <a:pt x="606425" y="646035"/>
                      <a:pt x="606425" y="636751"/>
                    </a:cubicBezTo>
                    <a:cubicBezTo>
                      <a:pt x="606425" y="636751"/>
                      <a:pt x="606425" y="636751"/>
                      <a:pt x="606425" y="169698"/>
                    </a:cubicBezTo>
                    <a:cubicBezTo>
                      <a:pt x="606425" y="161129"/>
                      <a:pt x="613564" y="153987"/>
                      <a:pt x="622132" y="153987"/>
                    </a:cubicBezTo>
                    <a:close/>
                    <a:moveTo>
                      <a:pt x="925344" y="0"/>
                    </a:moveTo>
                    <a:cubicBezTo>
                      <a:pt x="925344" y="0"/>
                      <a:pt x="925344" y="0"/>
                      <a:pt x="1163805" y="0"/>
                    </a:cubicBezTo>
                    <a:cubicBezTo>
                      <a:pt x="1172373" y="0"/>
                      <a:pt x="1179512" y="7139"/>
                      <a:pt x="1179512" y="15705"/>
                    </a:cubicBezTo>
                    <a:cubicBezTo>
                      <a:pt x="1179512" y="15705"/>
                      <a:pt x="1179512" y="15705"/>
                      <a:pt x="1179512" y="636758"/>
                    </a:cubicBezTo>
                    <a:cubicBezTo>
                      <a:pt x="1179512" y="646038"/>
                      <a:pt x="1172373" y="652463"/>
                      <a:pt x="1163805" y="652463"/>
                    </a:cubicBezTo>
                    <a:cubicBezTo>
                      <a:pt x="1163805" y="652463"/>
                      <a:pt x="1163805" y="652463"/>
                      <a:pt x="925344" y="652463"/>
                    </a:cubicBezTo>
                    <a:cubicBezTo>
                      <a:pt x="916777" y="652463"/>
                      <a:pt x="909637" y="646038"/>
                      <a:pt x="909637" y="636758"/>
                    </a:cubicBezTo>
                    <a:cubicBezTo>
                      <a:pt x="909637" y="636758"/>
                      <a:pt x="909637" y="636758"/>
                      <a:pt x="909637" y="15705"/>
                    </a:cubicBezTo>
                    <a:cubicBezTo>
                      <a:pt x="909637" y="7139"/>
                      <a:pt x="916777" y="0"/>
                      <a:pt x="925344"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37" name="Rectangle 49"/>
          <p:cNvSpPr/>
          <p:nvPr/>
        </p:nvSpPr>
        <p:spPr>
          <a:xfrm>
            <a:off x="5232834" y="1692000"/>
            <a:ext cx="2103172" cy="1080000"/>
          </a:xfrm>
          <a:prstGeom prst="rect">
            <a:avLst/>
          </a:prstGeom>
          <a:solidFill>
            <a:srgbClr val="005478">
              <a:alpha val="90000"/>
            </a:srgbClr>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r>
              <a:rPr lang="ru-RU" sz="2400" b="1" dirty="0" smtClean="0">
                <a:solidFill>
                  <a:srgbClr val="FFFF00"/>
                </a:solidFill>
              </a:rPr>
              <a:t>НОВЫЕ СЕГМЕНТЫ КЛИЕНТОВ</a:t>
            </a:r>
            <a:endParaRPr lang="en-US" sz="2400" b="1" dirty="0" smtClean="0">
              <a:solidFill>
                <a:srgbClr val="FFFF00"/>
              </a:solidFill>
            </a:endParaRPr>
          </a:p>
        </p:txBody>
      </p:sp>
      <p:sp>
        <p:nvSpPr>
          <p:cNvPr id="38" name="Rectangle 50"/>
          <p:cNvSpPr/>
          <p:nvPr/>
        </p:nvSpPr>
        <p:spPr>
          <a:xfrm>
            <a:off x="5232834" y="3132000"/>
            <a:ext cx="2103172" cy="1080000"/>
          </a:xfrm>
          <a:prstGeom prst="rect">
            <a:avLst/>
          </a:prstGeom>
          <a:solidFill>
            <a:srgbClr val="005478">
              <a:alpha val="90000"/>
            </a:srgbClr>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r>
              <a:rPr lang="ru-RU" sz="2400" b="1" dirty="0" smtClean="0">
                <a:solidFill>
                  <a:srgbClr val="FFFF00"/>
                </a:solidFill>
              </a:rPr>
              <a:t>НИЗКАЯ ЦЕНА ПОКУПКИ</a:t>
            </a:r>
            <a:endParaRPr lang="en-US" sz="2400" b="1" dirty="0" smtClean="0">
              <a:solidFill>
                <a:srgbClr val="FFFF00"/>
              </a:solidFill>
            </a:endParaRPr>
          </a:p>
        </p:txBody>
      </p:sp>
      <p:sp>
        <p:nvSpPr>
          <p:cNvPr id="39" name="Rectangle 51"/>
          <p:cNvSpPr/>
          <p:nvPr/>
        </p:nvSpPr>
        <p:spPr>
          <a:xfrm>
            <a:off x="5232834" y="4572000"/>
            <a:ext cx="2103172" cy="1044000"/>
          </a:xfrm>
          <a:prstGeom prst="rect">
            <a:avLst/>
          </a:prstGeom>
          <a:solidFill>
            <a:srgbClr val="005478">
              <a:alpha val="90000"/>
            </a:srgbClr>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r>
              <a:rPr lang="ru-RU" b="1" dirty="0" smtClean="0">
                <a:solidFill>
                  <a:srgbClr val="FFFF00"/>
                </a:solidFill>
              </a:rPr>
              <a:t>ВЫСОКОЕ УДЕРЖАНИЕ И ИСПОЛЬЗОВАНИЕ</a:t>
            </a:r>
            <a:endParaRPr lang="en-US" b="1" dirty="0" smtClean="0">
              <a:solidFill>
                <a:srgbClr val="FFFF00"/>
              </a:solidFill>
            </a:endParaRPr>
          </a:p>
        </p:txBody>
      </p:sp>
      <p:sp>
        <p:nvSpPr>
          <p:cNvPr id="40" name="Rectangle 52"/>
          <p:cNvSpPr/>
          <p:nvPr/>
        </p:nvSpPr>
        <p:spPr>
          <a:xfrm>
            <a:off x="7723087" y="1439998"/>
            <a:ext cx="4097312" cy="1332002"/>
          </a:xfrm>
          <a:prstGeom prst="rect">
            <a:avLst/>
          </a:prstGeom>
          <a:solidFill>
            <a:srgbClr val="005478">
              <a:alpha val="9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lvl="1">
              <a:spcAft>
                <a:spcPts val="600"/>
              </a:spcAft>
              <a:buClr>
                <a:schemeClr val="accent1"/>
              </a:buClr>
              <a:buSzPct val="100000"/>
            </a:pPr>
            <a:r>
              <a:rPr lang="ru-RU" sz="1400" dirty="0" smtClean="0">
                <a:solidFill>
                  <a:srgbClr val="FFFF00"/>
                </a:solidFill>
                <a:latin typeface="Corbel" panose="020B0503020204020204" pitchFamily="34" charset="0"/>
              </a:rPr>
              <a:t>СЕГМЕНТ МАСС МАРКЕТ И ЕЖЕДНЕВНЫХ ПОЕЗДОК </a:t>
            </a:r>
            <a:r>
              <a:rPr lang="ru-RU" sz="1400" dirty="0" smtClean="0">
                <a:solidFill>
                  <a:schemeClr val="bg1"/>
                </a:solidFill>
                <a:latin typeface="Corbel" panose="020B0503020204020204" pitchFamily="34" charset="0"/>
              </a:rPr>
              <a:t>ОТКРЫВАЕТСЯ С ИНТЕГРАЦИЕЙ ОБЩЕСТВЕННОГО ТРАНСПОРТА</a:t>
            </a:r>
            <a:endParaRPr lang="en-US" sz="1400" dirty="0" smtClean="0">
              <a:solidFill>
                <a:schemeClr val="bg1"/>
              </a:solidFill>
              <a:latin typeface="Corbel" panose="020B0503020204020204" pitchFamily="34" charset="0"/>
            </a:endParaRPr>
          </a:p>
          <a:p>
            <a:pPr marL="0" lvl="1">
              <a:spcAft>
                <a:spcPts val="600"/>
              </a:spcAft>
              <a:buClr>
                <a:schemeClr val="accent1"/>
              </a:buClr>
              <a:buSzPct val="100000"/>
            </a:pPr>
            <a:r>
              <a:rPr lang="ru-RU" sz="1400" dirty="0" smtClean="0">
                <a:solidFill>
                  <a:schemeClr val="bg1"/>
                </a:solidFill>
                <a:latin typeface="Corbel" panose="020B0503020204020204" pitchFamily="34" charset="0"/>
              </a:rPr>
              <a:t>СИЛЬНАЯ АЛЬТЕРНАТИВА ЧАСТНОЙ И КОРПОРАТИВНОЙ МАШИНЕ ЧЕРЕЗ ЕЖЕМЕСЯЧНУЮ ПЛАТУ</a:t>
            </a:r>
            <a:endParaRPr lang="en-US" sz="1400" dirty="0">
              <a:solidFill>
                <a:schemeClr val="bg1"/>
              </a:solidFill>
              <a:latin typeface="Corbel" panose="020B0503020204020204" pitchFamily="34" charset="0"/>
            </a:endParaRPr>
          </a:p>
        </p:txBody>
      </p:sp>
      <p:sp>
        <p:nvSpPr>
          <p:cNvPr id="41" name="Rectangle 53"/>
          <p:cNvSpPr/>
          <p:nvPr/>
        </p:nvSpPr>
        <p:spPr>
          <a:xfrm>
            <a:off x="7723087" y="3132000"/>
            <a:ext cx="4097312" cy="1080000"/>
          </a:xfrm>
          <a:prstGeom prst="rect">
            <a:avLst/>
          </a:prstGeom>
          <a:solidFill>
            <a:srgbClr val="005478">
              <a:alpha val="9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lvl="1">
              <a:spcAft>
                <a:spcPts val="600"/>
              </a:spcAft>
              <a:buClr>
                <a:schemeClr val="accent1"/>
              </a:buClr>
              <a:buSzPct val="100000"/>
            </a:pPr>
            <a:r>
              <a:rPr lang="en-US" sz="1400" dirty="0" smtClean="0">
                <a:solidFill>
                  <a:srgbClr val="FFFF00"/>
                </a:solidFill>
                <a:latin typeface="Corbel" panose="020B0503020204020204" pitchFamily="34" charset="0"/>
              </a:rPr>
              <a:t>B2B </a:t>
            </a:r>
            <a:r>
              <a:rPr lang="ru-RU" sz="1400" dirty="0" smtClean="0">
                <a:solidFill>
                  <a:srgbClr val="FFFF00"/>
                </a:solidFill>
                <a:latin typeface="Corbel" panose="020B0503020204020204" pitchFamily="34" charset="0"/>
              </a:rPr>
              <a:t>ПОДХОД</a:t>
            </a:r>
            <a:r>
              <a:rPr lang="en-US" sz="1400" dirty="0" smtClean="0">
                <a:solidFill>
                  <a:srgbClr val="FFFF00"/>
                </a:solidFill>
                <a:latin typeface="Corbel" panose="020B0503020204020204" pitchFamily="34" charset="0"/>
              </a:rPr>
              <a:t> </a:t>
            </a:r>
            <a:r>
              <a:rPr lang="ru-RU" sz="1400" dirty="0" smtClean="0">
                <a:solidFill>
                  <a:schemeClr val="bg1"/>
                </a:solidFill>
                <a:latin typeface="Corbel" panose="020B0503020204020204" pitchFamily="34" charset="0"/>
              </a:rPr>
              <a:t>ПОЗВОЛЯЕТ ПОДПИСАТЬ</a:t>
            </a:r>
            <a:r>
              <a:rPr lang="en-US" sz="1400" dirty="0" smtClean="0">
                <a:solidFill>
                  <a:schemeClr val="bg1"/>
                </a:solidFill>
                <a:latin typeface="Corbel" panose="020B0503020204020204" pitchFamily="34" charset="0"/>
              </a:rPr>
              <a:t> </a:t>
            </a:r>
            <a:r>
              <a:rPr lang="en-US" sz="1400" dirty="0" smtClean="0">
                <a:solidFill>
                  <a:schemeClr val="bg1"/>
                </a:solidFill>
                <a:latin typeface="Corbel" panose="020B0503020204020204" pitchFamily="34" charset="0"/>
              </a:rPr>
              <a:t>&gt;1K </a:t>
            </a:r>
            <a:r>
              <a:rPr lang="ru-RU" sz="1400" dirty="0" smtClean="0">
                <a:solidFill>
                  <a:schemeClr val="bg1"/>
                </a:solidFill>
                <a:latin typeface="Corbel" panose="020B0503020204020204" pitchFamily="34" charset="0"/>
              </a:rPr>
              <a:t>КЛИЕНТОВ ЧЕРЕЗ ОДНУ КОМПАНИЮ</a:t>
            </a:r>
            <a:endParaRPr lang="en-US" sz="1400" dirty="0" smtClean="0">
              <a:solidFill>
                <a:schemeClr val="bg1"/>
              </a:solidFill>
              <a:latin typeface="Corbel" panose="020B0503020204020204" pitchFamily="34" charset="0"/>
            </a:endParaRPr>
          </a:p>
          <a:p>
            <a:pPr marL="0" lvl="1">
              <a:spcAft>
                <a:spcPts val="600"/>
              </a:spcAft>
              <a:buClr>
                <a:schemeClr val="accent1"/>
              </a:buClr>
              <a:buSzPct val="100000"/>
            </a:pPr>
            <a:r>
              <a:rPr lang="ru-RU" sz="1400" dirty="0" smtClean="0">
                <a:solidFill>
                  <a:srgbClr val="FFFF00"/>
                </a:solidFill>
                <a:latin typeface="Corbel" panose="020B0503020204020204" pitchFamily="34" charset="0"/>
              </a:rPr>
              <a:t>СУЩЕСТВЕННО НИЖЕ ЦЕНА ОДНОГО КЛИЕНТА </a:t>
            </a:r>
            <a:r>
              <a:rPr lang="en-US" sz="1400" dirty="0" smtClean="0">
                <a:solidFill>
                  <a:schemeClr val="bg1"/>
                </a:solidFill>
                <a:latin typeface="Corbel" panose="020B0503020204020204" pitchFamily="34" charset="0"/>
              </a:rPr>
              <a:t> </a:t>
            </a:r>
            <a:r>
              <a:rPr lang="ru-RU" sz="1400" dirty="0" smtClean="0">
                <a:solidFill>
                  <a:schemeClr val="bg1"/>
                </a:solidFill>
                <a:latin typeface="Corbel" panose="020B0503020204020204" pitchFamily="34" charset="0"/>
              </a:rPr>
              <a:t>НЕЖЕЛИ В БИЗНЕСЕ МОБИЛЬНОСТИ ПО МОДЕЛИ</a:t>
            </a:r>
            <a:r>
              <a:rPr lang="en-US" sz="1400" dirty="0" smtClean="0">
                <a:solidFill>
                  <a:schemeClr val="bg1"/>
                </a:solidFill>
                <a:latin typeface="Corbel" panose="020B0503020204020204" pitchFamily="34" charset="0"/>
              </a:rPr>
              <a:t> B2C</a:t>
            </a:r>
            <a:endParaRPr lang="en-US" sz="1400" dirty="0" smtClean="0">
              <a:solidFill>
                <a:schemeClr val="bg1"/>
              </a:solidFill>
              <a:latin typeface="Corbel" panose="020B0503020204020204" pitchFamily="34" charset="0"/>
            </a:endParaRPr>
          </a:p>
        </p:txBody>
      </p:sp>
      <p:sp>
        <p:nvSpPr>
          <p:cNvPr id="42" name="Rectangle 54"/>
          <p:cNvSpPr/>
          <p:nvPr/>
        </p:nvSpPr>
        <p:spPr>
          <a:xfrm>
            <a:off x="7723087" y="4570578"/>
            <a:ext cx="4097312" cy="1080000"/>
          </a:xfrm>
          <a:prstGeom prst="rect">
            <a:avLst/>
          </a:prstGeom>
          <a:solidFill>
            <a:srgbClr val="005478">
              <a:alpha val="90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lvl="1">
              <a:spcAft>
                <a:spcPts val="600"/>
              </a:spcAft>
              <a:buClr>
                <a:schemeClr val="accent1"/>
              </a:buClr>
              <a:buSzPct val="100000"/>
            </a:pPr>
            <a:r>
              <a:rPr lang="ru-RU" sz="1400" dirty="0" smtClean="0">
                <a:solidFill>
                  <a:schemeClr val="bg1"/>
                </a:solidFill>
                <a:latin typeface="Corbel" panose="020B0503020204020204" pitchFamily="34" charset="0"/>
              </a:rPr>
              <a:t>МОДЕЛЬ ПОДПИСКИ СОЗДАЕТ ЛОЯЛЬНЫХ КЛИЕНТОВ </a:t>
            </a:r>
          </a:p>
          <a:p>
            <a:pPr marL="0" lvl="1">
              <a:spcAft>
                <a:spcPts val="600"/>
              </a:spcAft>
              <a:buClr>
                <a:schemeClr val="accent1"/>
              </a:buClr>
              <a:buSzPct val="100000"/>
            </a:pPr>
            <a:r>
              <a:rPr lang="ru-RU" sz="1400" dirty="0" smtClean="0">
                <a:solidFill>
                  <a:schemeClr val="bg1"/>
                </a:solidFill>
                <a:latin typeface="Corbel" panose="020B0503020204020204" pitchFamily="34" charset="0"/>
              </a:rPr>
              <a:t>ПОВТОРЯЮЩЕЕСЯ ИСПОЛЬЗОВАНИЕ СОЗДАЕТ СТАБИЛЬНУЮ ПРИБЫЛЬ ДЛЯ ВЕРТИКАЛЕЙ «</a:t>
            </a:r>
            <a:r>
              <a:rPr lang="en-US" sz="1400" dirty="0" smtClean="0">
                <a:solidFill>
                  <a:srgbClr val="FFFF00"/>
                </a:solidFill>
                <a:latin typeface="Corbel" panose="020B0503020204020204" pitchFamily="34" charset="0"/>
              </a:rPr>
              <a:t>NOW</a:t>
            </a:r>
            <a:r>
              <a:rPr lang="ru-RU" sz="1400" dirty="0" smtClean="0">
                <a:solidFill>
                  <a:srgbClr val="FFFF00"/>
                </a:solidFill>
                <a:latin typeface="Corbel" panose="020B0503020204020204" pitchFamily="34" charset="0"/>
              </a:rPr>
              <a:t>»</a:t>
            </a:r>
            <a:r>
              <a:rPr lang="en-US" sz="1400" dirty="0" smtClean="0">
                <a:solidFill>
                  <a:srgbClr val="FFFF00"/>
                </a:solidFill>
                <a:latin typeface="Corbel" panose="020B0503020204020204" pitchFamily="34" charset="0"/>
              </a:rPr>
              <a:t> </a:t>
            </a:r>
            <a:endParaRPr lang="en-US" sz="1400" dirty="0" smtClean="0">
              <a:solidFill>
                <a:srgbClr val="FFFF00"/>
              </a:solidFill>
              <a:latin typeface="Corbel" panose="020B0503020204020204" pitchFamily="34" charset="0"/>
            </a:endParaRPr>
          </a:p>
        </p:txBody>
      </p:sp>
      <p:sp>
        <p:nvSpPr>
          <p:cNvPr id="43" name="Freeform 94"/>
          <p:cNvSpPr>
            <a:spLocks/>
          </p:cNvSpPr>
          <p:nvPr/>
        </p:nvSpPr>
        <p:spPr bwMode="gray">
          <a:xfrm>
            <a:off x="7370076" y="2106432"/>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5478"/>
          </a:solidFill>
          <a:ln w="9525" cap="flat" cmpd="sng" algn="ctr">
            <a:solidFill>
              <a:srgbClr val="005478"/>
            </a:solidFill>
            <a:prstDash val="solid"/>
            <a:round/>
            <a:headEnd type="none" w="med" len="med"/>
            <a:tailEnd type="none" w="med" len="med"/>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44" name="Freeform 95"/>
          <p:cNvSpPr>
            <a:spLocks/>
          </p:cNvSpPr>
          <p:nvPr/>
        </p:nvSpPr>
        <p:spPr bwMode="gray">
          <a:xfrm>
            <a:off x="7486507" y="2136032"/>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00"/>
          </a:solidFill>
          <a:ln>
            <a:no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45" name="Freeform 94"/>
          <p:cNvSpPr>
            <a:spLocks/>
          </p:cNvSpPr>
          <p:nvPr/>
        </p:nvSpPr>
        <p:spPr bwMode="gray">
          <a:xfrm>
            <a:off x="7370075" y="3457421"/>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5478"/>
          </a:solidFill>
          <a:ln w="9525" cap="flat" cmpd="sng" algn="ctr">
            <a:solidFill>
              <a:srgbClr val="005478"/>
            </a:solidFill>
            <a:prstDash val="solid"/>
            <a:round/>
            <a:headEnd type="none" w="med" len="med"/>
            <a:tailEnd type="none" w="med" len="med"/>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46" name="Freeform 95"/>
          <p:cNvSpPr>
            <a:spLocks/>
          </p:cNvSpPr>
          <p:nvPr/>
        </p:nvSpPr>
        <p:spPr bwMode="gray">
          <a:xfrm>
            <a:off x="7486506" y="3487021"/>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00"/>
          </a:solidFill>
          <a:ln>
            <a:no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47" name="Freeform 94"/>
          <p:cNvSpPr>
            <a:spLocks/>
          </p:cNvSpPr>
          <p:nvPr/>
        </p:nvSpPr>
        <p:spPr bwMode="gray">
          <a:xfrm>
            <a:off x="7370075" y="5004066"/>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5478"/>
          </a:solidFill>
          <a:ln w="9525" cap="flat" cmpd="sng" algn="ctr">
            <a:solidFill>
              <a:srgbClr val="005478"/>
            </a:solidFill>
            <a:prstDash val="solid"/>
            <a:round/>
            <a:headEnd type="none" w="med" len="med"/>
            <a:tailEnd type="none" w="med" len="med"/>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48" name="Freeform 95"/>
          <p:cNvSpPr>
            <a:spLocks/>
          </p:cNvSpPr>
          <p:nvPr/>
        </p:nvSpPr>
        <p:spPr bwMode="gray">
          <a:xfrm>
            <a:off x="7486506" y="5033666"/>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00"/>
          </a:solidFill>
          <a:ln>
            <a:no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Tree>
    <p:extLst>
      <p:ext uri="{BB962C8B-B14F-4D97-AF65-F5344CB8AC3E}">
        <p14:creationId xmlns:p14="http://schemas.microsoft.com/office/powerpoint/2010/main" val="1392382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337693">
            <a:alpha val="80000"/>
          </a:srgbClr>
        </a:solidFill>
        <a:effectLst/>
      </p:bgPr>
    </p:bg>
    <p:spTree>
      <p:nvGrpSpPr>
        <p:cNvPr id="1" name=""/>
        <p:cNvGrpSpPr/>
        <p:nvPr/>
      </p:nvGrpSpPr>
      <p:grpSpPr>
        <a:xfrm>
          <a:off x="0" y="0"/>
          <a:ext cx="0" cy="0"/>
          <a:chOff x="0" y="0"/>
          <a:chExt cx="0" cy="0"/>
        </a:xfrm>
      </p:grpSpPr>
      <p:sp>
        <p:nvSpPr>
          <p:cNvPr id="101" name="Oval 64"/>
          <p:cNvSpPr/>
          <p:nvPr/>
        </p:nvSpPr>
        <p:spPr>
          <a:xfrm>
            <a:off x="2304000" y="1380968"/>
            <a:ext cx="7977823" cy="4532218"/>
          </a:xfrm>
          <a:prstGeom prst="ellipse">
            <a:avLst/>
          </a:prstGeom>
          <a:solidFill>
            <a:srgbClr val="005478">
              <a:alpha val="50000"/>
            </a:srgbClr>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chemeClr val="bg1"/>
              </a:solidFill>
            </a:endParaRPr>
          </a:p>
        </p:txBody>
      </p:sp>
      <p:cxnSp>
        <p:nvCxnSpPr>
          <p:cNvPr id="106" name="Straight Connector 43"/>
          <p:cNvCxnSpPr/>
          <p:nvPr/>
        </p:nvCxnSpPr>
        <p:spPr>
          <a:xfrm>
            <a:off x="6239156" y="1259999"/>
            <a:ext cx="32836" cy="4730575"/>
          </a:xfrm>
          <a:prstGeom prst="line">
            <a:avLst/>
          </a:prstGeom>
          <a:ln w="9525" cap="rnd">
            <a:solidFill>
              <a:srgbClr val="FFFF00"/>
            </a:solidFill>
            <a:prstDash val="solid"/>
          </a:ln>
        </p:spPr>
        <p:style>
          <a:lnRef idx="1">
            <a:schemeClr val="accent1"/>
          </a:lnRef>
          <a:fillRef idx="0">
            <a:schemeClr val="accent1"/>
          </a:fillRef>
          <a:effectRef idx="0">
            <a:schemeClr val="accent1"/>
          </a:effectRef>
          <a:fontRef idx="minor">
            <a:schemeClr val="tx1"/>
          </a:fontRef>
        </p:style>
      </p:cxnSp>
      <p:sp>
        <p:nvSpPr>
          <p:cNvPr id="104" name="Oval 72"/>
          <p:cNvSpPr/>
          <p:nvPr/>
        </p:nvSpPr>
        <p:spPr>
          <a:xfrm>
            <a:off x="-2064526" y="1692000"/>
            <a:ext cx="5093982" cy="5093982"/>
          </a:xfrm>
          <a:prstGeom prst="ellipse">
            <a:avLst/>
          </a:prstGeom>
          <a:solidFill>
            <a:srgbClr val="005478">
              <a:alpha val="50000"/>
            </a:srgbClr>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chemeClr val="bg1"/>
              </a:solidFill>
            </a:endParaRPr>
          </a:p>
        </p:txBody>
      </p:sp>
      <p:sp>
        <p:nvSpPr>
          <p:cNvPr id="102" name="Oval 72"/>
          <p:cNvSpPr/>
          <p:nvPr/>
        </p:nvSpPr>
        <p:spPr>
          <a:xfrm>
            <a:off x="9458051" y="1692000"/>
            <a:ext cx="5093982" cy="5093982"/>
          </a:xfrm>
          <a:prstGeom prst="ellipse">
            <a:avLst/>
          </a:prstGeom>
          <a:solidFill>
            <a:srgbClr val="005478">
              <a:alpha val="50000"/>
            </a:srgbClr>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chemeClr val="bg1"/>
              </a:solidFill>
            </a:endParaRPr>
          </a:p>
        </p:txBody>
      </p:sp>
      <p:sp>
        <p:nvSpPr>
          <p:cNvPr id="4" name="Rechteck 3"/>
          <p:cNvSpPr/>
          <p:nvPr/>
        </p:nvSpPr>
        <p:spPr bwMode="gray">
          <a:xfrm>
            <a:off x="2304000" y="431999"/>
            <a:ext cx="9516399" cy="828000"/>
          </a:xfrm>
          <a:prstGeom prst="rect">
            <a:avLst/>
          </a:prstGeom>
          <a:solidFill>
            <a:srgbClr val="005478">
              <a:alpha val="90000"/>
            </a:srgbClr>
          </a:solidFill>
          <a:ln w="12700" cap="flat" cmpd="sng" algn="ctr">
            <a:noFill/>
            <a:prstDash val="solid"/>
            <a:miter lim="800000"/>
          </a:ln>
          <a:effectLst/>
          <a:extLst/>
        </p:spPr>
        <p:txBody>
          <a:bodyPr rtlCol="0" anchor="ctr"/>
          <a:lstStyle/>
          <a:p>
            <a:r>
              <a:rPr lang="ru-RU" sz="2800" b="1" dirty="0" smtClean="0">
                <a:solidFill>
                  <a:srgbClr val="FFFF00"/>
                </a:solidFill>
                <a:latin typeface="CorpoS" pitchFamily="2" charset="0"/>
              </a:rPr>
              <a:t>БЮДЖЕТ МОБИЛЬНОСТИ</a:t>
            </a:r>
            <a:r>
              <a:rPr lang="en-US" sz="2800" b="1" dirty="0" smtClean="0">
                <a:solidFill>
                  <a:srgbClr val="FFFF00"/>
                </a:solidFill>
                <a:latin typeface="CorpoS" pitchFamily="2" charset="0"/>
              </a:rPr>
              <a:t>: </a:t>
            </a:r>
            <a:endParaRPr lang="en-US" sz="2800" b="1" dirty="0" smtClean="0">
              <a:solidFill>
                <a:srgbClr val="FFFF00"/>
              </a:solidFill>
              <a:latin typeface="CorpoS" pitchFamily="2" charset="0"/>
            </a:endParaRPr>
          </a:p>
          <a:p>
            <a:r>
              <a:rPr lang="ru-RU" sz="2800" b="1" dirty="0" smtClean="0">
                <a:solidFill>
                  <a:schemeClr val="bg1"/>
                </a:solidFill>
                <a:latin typeface="CorpoS" pitchFamily="2" charset="0"/>
              </a:rPr>
              <a:t>ПРИВЛЕКАТЕЛЕН ДЛЯ КОМПАНИИ И СОТРУДНИКОВ</a:t>
            </a:r>
            <a:r>
              <a:rPr lang="en-US" sz="2800" b="1" dirty="0" smtClean="0">
                <a:solidFill>
                  <a:schemeClr val="bg1"/>
                </a:solidFill>
                <a:latin typeface="CorpoS" pitchFamily="2" charset="0"/>
              </a:rPr>
              <a:t> </a:t>
            </a:r>
            <a:endParaRPr lang="de-DE" sz="2800" b="1" dirty="0">
              <a:solidFill>
                <a:srgbClr val="FFFF00"/>
              </a:solidFill>
              <a:latin typeface="CorpoS" pitchFamily="2" charset="0"/>
              <a:ea typeface="MS Mincho" panose="02020609040205080304" pitchFamily="49" charset="-128"/>
              <a:cs typeface="Helvetica" panose="020B0604020202020204" pitchFamily="34" charset="0"/>
            </a:endParaRPr>
          </a:p>
        </p:txBody>
      </p:sp>
      <p:pic>
        <p:nvPicPr>
          <p:cNvPr id="5" name="Grafik 4"/>
          <p:cNvPicPr>
            <a:picLocks noChangeAspect="1"/>
          </p:cNvPicPr>
          <p:nvPr/>
        </p:nvPicPr>
        <p:blipFill>
          <a:blip r:embed="rId3"/>
          <a:stretch>
            <a:fillRect/>
          </a:stretch>
        </p:blipFill>
        <p:spPr>
          <a:xfrm>
            <a:off x="180000" y="262510"/>
            <a:ext cx="2153787" cy="1206000"/>
          </a:xfrm>
          <a:prstGeom prst="rect">
            <a:avLst/>
          </a:prstGeom>
        </p:spPr>
      </p:pic>
      <p:pic>
        <p:nvPicPr>
          <p:cNvPr id="12" name="Bild 1">
            <a:extLst>
              <a:ext uri="{FF2B5EF4-FFF2-40B4-BE49-F238E27FC236}">
                <a16:creationId xmlns:a16="http://schemas.microsoft.com/office/drawing/2014/main" id="{C26DA6D4-BD77-AA4D-A043-13D0AFF68D2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006" t="4006" r="4006" b="5652"/>
          <a:stretch/>
        </p:blipFill>
        <p:spPr bwMode="auto">
          <a:xfrm>
            <a:off x="4817142" y="1648418"/>
            <a:ext cx="2951538" cy="4603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 name="Group 42"/>
          <p:cNvGrpSpPr/>
          <p:nvPr/>
        </p:nvGrpSpPr>
        <p:grpSpPr>
          <a:xfrm>
            <a:off x="5359491" y="2201878"/>
            <a:ext cx="1801170" cy="3092262"/>
            <a:chOff x="9758860" y="2620785"/>
            <a:chExt cx="1818962" cy="3226442"/>
          </a:xfrm>
        </p:grpSpPr>
        <p:grpSp>
          <p:nvGrpSpPr>
            <p:cNvPr id="14" name="Group 47"/>
            <p:cNvGrpSpPr/>
            <p:nvPr/>
          </p:nvGrpSpPr>
          <p:grpSpPr>
            <a:xfrm>
              <a:off x="9758860" y="2620785"/>
              <a:ext cx="1818962" cy="3226442"/>
              <a:chOff x="653298" y="2320576"/>
              <a:chExt cx="1818962" cy="3226442"/>
            </a:xfrm>
          </p:grpSpPr>
          <p:pic>
            <p:nvPicPr>
              <p:cNvPr id="16" name="Google Shape;2863;p396"/>
              <p:cNvPicPr preferRelativeResize="0">
                <a:picLocks noChangeAspect="1"/>
              </p:cNvPicPr>
              <p:nvPr/>
            </p:nvPicPr>
            <p:blipFill rotWithShape="1">
              <a:blip r:embed="rId5">
                <a:alphaModFix/>
              </a:blip>
              <a:srcRect b="12463"/>
              <a:stretch/>
            </p:blipFill>
            <p:spPr>
              <a:xfrm>
                <a:off x="653298" y="2320576"/>
                <a:ext cx="1818962" cy="2957544"/>
              </a:xfrm>
              <a:prstGeom prst="rect">
                <a:avLst/>
              </a:prstGeom>
              <a:noFill/>
              <a:ln>
                <a:noFill/>
              </a:ln>
            </p:spPr>
          </p:pic>
          <p:pic>
            <p:nvPicPr>
              <p:cNvPr id="17" name="Google Shape;2863;p396"/>
              <p:cNvPicPr preferRelativeResize="0">
                <a:picLocks noChangeAspect="1"/>
              </p:cNvPicPr>
              <p:nvPr/>
            </p:nvPicPr>
            <p:blipFill rotWithShape="1">
              <a:blip r:embed="rId5">
                <a:alphaModFix/>
              </a:blip>
              <a:srcRect t="91699"/>
              <a:stretch/>
            </p:blipFill>
            <p:spPr>
              <a:xfrm>
                <a:off x="653298" y="5266545"/>
                <a:ext cx="1818962" cy="280473"/>
              </a:xfrm>
              <a:prstGeom prst="rect">
                <a:avLst/>
              </a:prstGeom>
              <a:noFill/>
              <a:ln>
                <a:noFill/>
              </a:ln>
            </p:spPr>
          </p:pic>
        </p:grpSp>
        <p:pic>
          <p:nvPicPr>
            <p:cNvPr id="15" name="Grafik 25">
              <a:extLst>
                <a:ext uri="{FF2B5EF4-FFF2-40B4-BE49-F238E27FC236}">
                  <a16:creationId xmlns:a16="http://schemas.microsoft.com/office/drawing/2014/main" id="{C7E5F27A-B8F0-0747-A492-C51CA9051E88}"/>
                </a:ext>
              </a:extLst>
            </p:cNvPr>
            <p:cNvPicPr>
              <a:picLocks noChangeAspect="1"/>
            </p:cNvPicPr>
            <p:nvPr/>
          </p:nvPicPr>
          <p:blipFill rotWithShape="1">
            <a:blip r:embed="rId6"/>
            <a:srcRect l="12022" t="50513" r="11054" b="7743"/>
            <a:stretch/>
          </p:blipFill>
          <p:spPr>
            <a:xfrm>
              <a:off x="9927002" y="4155680"/>
              <a:ext cx="1482678" cy="1431082"/>
            </a:xfrm>
            <a:prstGeom prst="rect">
              <a:avLst/>
            </a:prstGeom>
          </p:spPr>
        </p:pic>
      </p:grpSp>
      <p:sp>
        <p:nvSpPr>
          <p:cNvPr id="18" name="Rechteck 17"/>
          <p:cNvSpPr/>
          <p:nvPr/>
        </p:nvSpPr>
        <p:spPr>
          <a:xfrm>
            <a:off x="2692911" y="5996905"/>
            <a:ext cx="7200000" cy="620503"/>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ru-RU" sz="2400" b="1" dirty="0">
                <a:solidFill>
                  <a:srgbClr val="FFFF00"/>
                </a:solidFill>
                <a:latin typeface="CorpoS" pitchFamily="2" charset="0"/>
              </a:rPr>
              <a:t>КОМБИНАЦИЯ ЗАКАЗ-НАРЯДА, СЛУЖЕБНОЙ МАШИНЫ И МНОГОЕ ДРУГОЕ</a:t>
            </a:r>
            <a:r>
              <a:rPr lang="en-US" sz="2400" b="1" dirty="0" smtClean="0">
                <a:solidFill>
                  <a:srgbClr val="FFFF00"/>
                </a:solidFill>
                <a:latin typeface="CorpoS" pitchFamily="2" charset="0"/>
              </a:rPr>
              <a:t>!</a:t>
            </a:r>
            <a:endParaRPr lang="en-US" sz="2400" b="1" dirty="0">
              <a:solidFill>
                <a:prstClr val="white"/>
              </a:solidFill>
              <a:latin typeface="CorpoS" pitchFamily="2" charset="0"/>
            </a:endParaRPr>
          </a:p>
        </p:txBody>
      </p:sp>
      <p:sp>
        <p:nvSpPr>
          <p:cNvPr id="48" name="Rectangle 49"/>
          <p:cNvSpPr/>
          <p:nvPr/>
        </p:nvSpPr>
        <p:spPr>
          <a:xfrm>
            <a:off x="1711768" y="1728000"/>
            <a:ext cx="1728000" cy="556072"/>
          </a:xfrm>
          <a:prstGeom prst="rect">
            <a:avLst/>
          </a:prstGeom>
          <a:solidFill>
            <a:srgbClr val="005478"/>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r>
              <a:rPr lang="ru-RU" sz="2400" b="1" dirty="0" smtClean="0">
                <a:solidFill>
                  <a:srgbClr val="FFFF00"/>
                </a:solidFill>
              </a:rPr>
              <a:t>КОМПАНИЯ</a:t>
            </a:r>
            <a:endParaRPr lang="en-US" sz="2400" b="1" dirty="0" smtClean="0">
              <a:solidFill>
                <a:srgbClr val="FFFF00"/>
              </a:solidFill>
            </a:endParaRPr>
          </a:p>
        </p:txBody>
      </p:sp>
      <p:sp>
        <p:nvSpPr>
          <p:cNvPr id="49" name="Rectangle 49"/>
          <p:cNvSpPr/>
          <p:nvPr/>
        </p:nvSpPr>
        <p:spPr>
          <a:xfrm>
            <a:off x="8873136" y="1728000"/>
            <a:ext cx="1918725" cy="556072"/>
          </a:xfrm>
          <a:prstGeom prst="rect">
            <a:avLst/>
          </a:prstGeom>
          <a:solidFill>
            <a:srgbClr val="005478"/>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r>
              <a:rPr lang="ru-RU" sz="2400" b="1" dirty="0" smtClean="0">
                <a:solidFill>
                  <a:srgbClr val="FFFF00"/>
                </a:solidFill>
              </a:rPr>
              <a:t>СОТРУДНИК</a:t>
            </a:r>
            <a:endParaRPr lang="en-US" sz="2400" b="1" dirty="0" smtClean="0">
              <a:solidFill>
                <a:srgbClr val="FFFF00"/>
              </a:solidFill>
            </a:endParaRPr>
          </a:p>
        </p:txBody>
      </p:sp>
      <p:grpSp>
        <p:nvGrpSpPr>
          <p:cNvPr id="51" name="Group 6"/>
          <p:cNvGrpSpPr/>
          <p:nvPr/>
        </p:nvGrpSpPr>
        <p:grpSpPr>
          <a:xfrm>
            <a:off x="309813" y="3021618"/>
            <a:ext cx="1646836" cy="1480620"/>
            <a:chOff x="916808" y="2402867"/>
            <a:chExt cx="1779843" cy="1830050"/>
          </a:xfrm>
        </p:grpSpPr>
        <p:sp>
          <p:nvSpPr>
            <p:cNvPr id="52" name="TextBox 10"/>
            <p:cNvSpPr txBox="1"/>
            <p:nvPr/>
          </p:nvSpPr>
          <p:spPr>
            <a:xfrm>
              <a:off x="916808" y="3565476"/>
              <a:ext cx="1779843" cy="667441"/>
            </a:xfrm>
            <a:prstGeom prst="rect">
              <a:avLst/>
            </a:prstGeom>
            <a:solidFill>
              <a:srgbClr val="005478"/>
            </a:solidFill>
            <a:ln w="9525" cap="rnd">
              <a:noFill/>
              <a:prstDash val="solid"/>
              <a:roun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20000"/>
                </a:lnSpc>
              </a:pPr>
              <a:r>
                <a:rPr lang="ru-RU" sz="1400" b="1" dirty="0" smtClean="0">
                  <a:solidFill>
                    <a:schemeClr val="bg1"/>
                  </a:solidFill>
                </a:rPr>
                <a:t>БРЕНД РАБОТОДАТЕЛЯ</a:t>
              </a:r>
              <a:endParaRPr lang="en-US" sz="1400" dirty="0">
                <a:solidFill>
                  <a:schemeClr val="bg1"/>
                </a:solidFill>
              </a:endParaRPr>
            </a:p>
          </p:txBody>
        </p:sp>
        <p:grpSp>
          <p:nvGrpSpPr>
            <p:cNvPr id="53" name="Group 43"/>
            <p:cNvGrpSpPr/>
            <p:nvPr/>
          </p:nvGrpSpPr>
          <p:grpSpPr>
            <a:xfrm>
              <a:off x="1430537" y="2402867"/>
              <a:ext cx="739609" cy="1030603"/>
              <a:chOff x="5643809" y="2738437"/>
              <a:chExt cx="937614" cy="1306513"/>
            </a:xfrm>
          </p:grpSpPr>
          <p:sp>
            <p:nvSpPr>
              <p:cNvPr id="54" name="Freeform 44"/>
              <p:cNvSpPr>
                <a:spLocks/>
              </p:cNvSpPr>
              <p:nvPr/>
            </p:nvSpPr>
            <p:spPr bwMode="auto">
              <a:xfrm>
                <a:off x="5677318" y="2738437"/>
                <a:ext cx="872292" cy="904875"/>
              </a:xfrm>
              <a:custGeom>
                <a:avLst/>
                <a:gdLst>
                  <a:gd name="connsiteX0" fmla="*/ 436147 w 872293"/>
                  <a:gd name="connsiteY0" fmla="*/ 193674 h 904875"/>
                  <a:gd name="connsiteX1" fmla="*/ 175797 w 872293"/>
                  <a:gd name="connsiteY1" fmla="*/ 453230 h 904875"/>
                  <a:gd name="connsiteX2" fmla="*/ 436147 w 872293"/>
                  <a:gd name="connsiteY2" fmla="*/ 712786 h 904875"/>
                  <a:gd name="connsiteX3" fmla="*/ 696497 w 872293"/>
                  <a:gd name="connsiteY3" fmla="*/ 453230 h 904875"/>
                  <a:gd name="connsiteX4" fmla="*/ 436147 w 872293"/>
                  <a:gd name="connsiteY4" fmla="*/ 193674 h 904875"/>
                  <a:gd name="connsiteX5" fmla="*/ 436147 w 872293"/>
                  <a:gd name="connsiteY5" fmla="*/ 163511 h 904875"/>
                  <a:gd name="connsiteX6" fmla="*/ 725072 w 872293"/>
                  <a:gd name="connsiteY6" fmla="*/ 453230 h 904875"/>
                  <a:gd name="connsiteX7" fmla="*/ 436147 w 872293"/>
                  <a:gd name="connsiteY7" fmla="*/ 742949 h 904875"/>
                  <a:gd name="connsiteX8" fmla="*/ 147222 w 872293"/>
                  <a:gd name="connsiteY8" fmla="*/ 453230 h 904875"/>
                  <a:gd name="connsiteX9" fmla="*/ 436147 w 872293"/>
                  <a:gd name="connsiteY9" fmla="*/ 163511 h 904875"/>
                  <a:gd name="connsiteX10" fmla="*/ 436147 w 872293"/>
                  <a:gd name="connsiteY10" fmla="*/ 31750 h 904875"/>
                  <a:gd name="connsiteX11" fmla="*/ 387607 w 872293"/>
                  <a:gd name="connsiteY11" fmla="*/ 47463 h 904875"/>
                  <a:gd name="connsiteX12" fmla="*/ 342636 w 872293"/>
                  <a:gd name="connsiteY12" fmla="*/ 80318 h 904875"/>
                  <a:gd name="connsiteX13" fmla="*/ 293382 w 872293"/>
                  <a:gd name="connsiteY13" fmla="*/ 96032 h 904875"/>
                  <a:gd name="connsiteX14" fmla="*/ 237704 w 872293"/>
                  <a:gd name="connsiteY14" fmla="*/ 96032 h 904875"/>
                  <a:gd name="connsiteX15" fmla="*/ 158469 w 872293"/>
                  <a:gd name="connsiteY15" fmla="*/ 153885 h 904875"/>
                  <a:gd name="connsiteX16" fmla="*/ 141338 w 872293"/>
                  <a:gd name="connsiteY16" fmla="*/ 206739 h 904875"/>
                  <a:gd name="connsiteX17" fmla="*/ 111357 w 872293"/>
                  <a:gd name="connsiteY17" fmla="*/ 248165 h 904875"/>
                  <a:gd name="connsiteX18" fmla="*/ 66386 w 872293"/>
                  <a:gd name="connsiteY18" fmla="*/ 281020 h 904875"/>
                  <a:gd name="connsiteX19" fmla="*/ 36405 w 872293"/>
                  <a:gd name="connsiteY19" fmla="*/ 373871 h 904875"/>
                  <a:gd name="connsiteX20" fmla="*/ 53537 w 872293"/>
                  <a:gd name="connsiteY20" fmla="*/ 426725 h 904875"/>
                  <a:gd name="connsiteX21" fmla="*/ 53537 w 872293"/>
                  <a:gd name="connsiteY21" fmla="*/ 478150 h 904875"/>
                  <a:gd name="connsiteX22" fmla="*/ 36405 w 872293"/>
                  <a:gd name="connsiteY22" fmla="*/ 531004 h 904875"/>
                  <a:gd name="connsiteX23" fmla="*/ 66386 w 872293"/>
                  <a:gd name="connsiteY23" fmla="*/ 623855 h 904875"/>
                  <a:gd name="connsiteX24" fmla="*/ 111357 w 872293"/>
                  <a:gd name="connsiteY24" fmla="*/ 656710 h 904875"/>
                  <a:gd name="connsiteX25" fmla="*/ 131344 w 872293"/>
                  <a:gd name="connsiteY25" fmla="*/ 677423 h 904875"/>
                  <a:gd name="connsiteX26" fmla="*/ 139196 w 872293"/>
                  <a:gd name="connsiteY26" fmla="*/ 692422 h 904875"/>
                  <a:gd name="connsiteX27" fmla="*/ 141338 w 872293"/>
                  <a:gd name="connsiteY27" fmla="*/ 698136 h 904875"/>
                  <a:gd name="connsiteX28" fmla="*/ 146334 w 872293"/>
                  <a:gd name="connsiteY28" fmla="*/ 714564 h 904875"/>
                  <a:gd name="connsiteX29" fmla="*/ 154186 w 872293"/>
                  <a:gd name="connsiteY29" fmla="*/ 737420 h 904875"/>
                  <a:gd name="connsiteX30" fmla="*/ 158469 w 872293"/>
                  <a:gd name="connsiteY30" fmla="*/ 750990 h 904875"/>
                  <a:gd name="connsiteX31" fmla="*/ 162038 w 872293"/>
                  <a:gd name="connsiteY31" fmla="*/ 760275 h 904875"/>
                  <a:gd name="connsiteX32" fmla="*/ 237704 w 872293"/>
                  <a:gd name="connsiteY32" fmla="*/ 808844 h 904875"/>
                  <a:gd name="connsiteX33" fmla="*/ 293382 w 872293"/>
                  <a:gd name="connsiteY33" fmla="*/ 808844 h 904875"/>
                  <a:gd name="connsiteX34" fmla="*/ 342636 w 872293"/>
                  <a:gd name="connsiteY34" fmla="*/ 824557 h 904875"/>
                  <a:gd name="connsiteX35" fmla="*/ 364051 w 872293"/>
                  <a:gd name="connsiteY35" fmla="*/ 840270 h 904875"/>
                  <a:gd name="connsiteX36" fmla="*/ 378327 w 872293"/>
                  <a:gd name="connsiteY36" fmla="*/ 850984 h 904875"/>
                  <a:gd name="connsiteX37" fmla="*/ 387607 w 872293"/>
                  <a:gd name="connsiteY37" fmla="*/ 857412 h 904875"/>
                  <a:gd name="connsiteX38" fmla="*/ 392603 w 872293"/>
                  <a:gd name="connsiteY38" fmla="*/ 860983 h 904875"/>
                  <a:gd name="connsiteX39" fmla="*/ 436147 w 872293"/>
                  <a:gd name="connsiteY39" fmla="*/ 873125 h 904875"/>
                  <a:gd name="connsiteX40" fmla="*/ 455420 w 872293"/>
                  <a:gd name="connsiteY40" fmla="*/ 870982 h 904875"/>
                  <a:gd name="connsiteX41" fmla="*/ 475407 w 872293"/>
                  <a:gd name="connsiteY41" fmla="*/ 863840 h 904875"/>
                  <a:gd name="connsiteX42" fmla="*/ 484687 w 872293"/>
                  <a:gd name="connsiteY42" fmla="*/ 857412 h 904875"/>
                  <a:gd name="connsiteX43" fmla="*/ 497536 w 872293"/>
                  <a:gd name="connsiteY43" fmla="*/ 848127 h 904875"/>
                  <a:gd name="connsiteX44" fmla="*/ 513954 w 872293"/>
                  <a:gd name="connsiteY44" fmla="*/ 836699 h 904875"/>
                  <a:gd name="connsiteX45" fmla="*/ 526802 w 872293"/>
                  <a:gd name="connsiteY45" fmla="*/ 826700 h 904875"/>
                  <a:gd name="connsiteX46" fmla="*/ 529658 w 872293"/>
                  <a:gd name="connsiteY46" fmla="*/ 824557 h 904875"/>
                  <a:gd name="connsiteX47" fmla="*/ 578911 w 872293"/>
                  <a:gd name="connsiteY47" fmla="*/ 808844 h 904875"/>
                  <a:gd name="connsiteX48" fmla="*/ 634590 w 872293"/>
                  <a:gd name="connsiteY48" fmla="*/ 808844 h 904875"/>
                  <a:gd name="connsiteX49" fmla="*/ 698120 w 872293"/>
                  <a:gd name="connsiteY49" fmla="*/ 778845 h 904875"/>
                  <a:gd name="connsiteX50" fmla="*/ 708114 w 872293"/>
                  <a:gd name="connsiteY50" fmla="*/ 763846 h 904875"/>
                  <a:gd name="connsiteX51" fmla="*/ 713824 w 872293"/>
                  <a:gd name="connsiteY51" fmla="*/ 750990 h 904875"/>
                  <a:gd name="connsiteX52" fmla="*/ 715966 w 872293"/>
                  <a:gd name="connsiteY52" fmla="*/ 743133 h 904875"/>
                  <a:gd name="connsiteX53" fmla="*/ 730956 w 872293"/>
                  <a:gd name="connsiteY53" fmla="*/ 698136 h 904875"/>
                  <a:gd name="connsiteX54" fmla="*/ 760937 w 872293"/>
                  <a:gd name="connsiteY54" fmla="*/ 656710 h 904875"/>
                  <a:gd name="connsiteX55" fmla="*/ 805907 w 872293"/>
                  <a:gd name="connsiteY55" fmla="*/ 623855 h 904875"/>
                  <a:gd name="connsiteX56" fmla="*/ 835888 w 872293"/>
                  <a:gd name="connsiteY56" fmla="*/ 531004 h 904875"/>
                  <a:gd name="connsiteX57" fmla="*/ 818756 w 872293"/>
                  <a:gd name="connsiteY57" fmla="*/ 478150 h 904875"/>
                  <a:gd name="connsiteX58" fmla="*/ 818756 w 872293"/>
                  <a:gd name="connsiteY58" fmla="*/ 426725 h 904875"/>
                  <a:gd name="connsiteX59" fmla="*/ 835888 w 872293"/>
                  <a:gd name="connsiteY59" fmla="*/ 373871 h 904875"/>
                  <a:gd name="connsiteX60" fmla="*/ 805907 w 872293"/>
                  <a:gd name="connsiteY60" fmla="*/ 281020 h 904875"/>
                  <a:gd name="connsiteX61" fmla="*/ 760937 w 872293"/>
                  <a:gd name="connsiteY61" fmla="*/ 248165 h 904875"/>
                  <a:gd name="connsiteX62" fmla="*/ 730956 w 872293"/>
                  <a:gd name="connsiteY62" fmla="*/ 206739 h 904875"/>
                  <a:gd name="connsiteX63" fmla="*/ 713824 w 872293"/>
                  <a:gd name="connsiteY63" fmla="*/ 153885 h 904875"/>
                  <a:gd name="connsiteX64" fmla="*/ 634590 w 872293"/>
                  <a:gd name="connsiteY64" fmla="*/ 96032 h 904875"/>
                  <a:gd name="connsiteX65" fmla="*/ 578911 w 872293"/>
                  <a:gd name="connsiteY65" fmla="*/ 96032 h 904875"/>
                  <a:gd name="connsiteX66" fmla="*/ 529658 w 872293"/>
                  <a:gd name="connsiteY66" fmla="*/ 80318 h 904875"/>
                  <a:gd name="connsiteX67" fmla="*/ 484687 w 872293"/>
                  <a:gd name="connsiteY67" fmla="*/ 47463 h 904875"/>
                  <a:gd name="connsiteX68" fmla="*/ 436147 w 872293"/>
                  <a:gd name="connsiteY68" fmla="*/ 31750 h 904875"/>
                  <a:gd name="connsiteX69" fmla="*/ 436147 w 872293"/>
                  <a:gd name="connsiteY69" fmla="*/ 0 h 904875"/>
                  <a:gd name="connsiteX70" fmla="*/ 503346 w 872293"/>
                  <a:gd name="connsiteY70" fmla="*/ 22157 h 904875"/>
                  <a:gd name="connsiteX71" fmla="*/ 548383 w 872293"/>
                  <a:gd name="connsiteY71" fmla="*/ 54321 h 904875"/>
                  <a:gd name="connsiteX72" fmla="*/ 579123 w 872293"/>
                  <a:gd name="connsiteY72" fmla="*/ 64328 h 904875"/>
                  <a:gd name="connsiteX73" fmla="*/ 634884 w 872293"/>
                  <a:gd name="connsiteY73" fmla="*/ 64328 h 904875"/>
                  <a:gd name="connsiteX74" fmla="*/ 743547 w 872293"/>
                  <a:gd name="connsiteY74" fmla="*/ 143665 h 904875"/>
                  <a:gd name="connsiteX75" fmla="*/ 761419 w 872293"/>
                  <a:gd name="connsiteY75" fmla="*/ 196557 h 904875"/>
                  <a:gd name="connsiteX76" fmla="*/ 780006 w 872293"/>
                  <a:gd name="connsiteY76" fmla="*/ 222288 h 904875"/>
                  <a:gd name="connsiteX77" fmla="*/ 825044 w 872293"/>
                  <a:gd name="connsiteY77" fmla="*/ 255166 h 904875"/>
                  <a:gd name="connsiteX78" fmla="*/ 866507 w 872293"/>
                  <a:gd name="connsiteY78" fmla="*/ 383822 h 904875"/>
                  <a:gd name="connsiteX79" fmla="*/ 849350 w 872293"/>
                  <a:gd name="connsiteY79" fmla="*/ 436713 h 904875"/>
                  <a:gd name="connsiteX80" fmla="*/ 849350 w 872293"/>
                  <a:gd name="connsiteY80" fmla="*/ 468162 h 904875"/>
                  <a:gd name="connsiteX81" fmla="*/ 866507 w 872293"/>
                  <a:gd name="connsiteY81" fmla="*/ 521054 h 904875"/>
                  <a:gd name="connsiteX82" fmla="*/ 825044 w 872293"/>
                  <a:gd name="connsiteY82" fmla="*/ 649709 h 904875"/>
                  <a:gd name="connsiteX83" fmla="*/ 780006 w 872293"/>
                  <a:gd name="connsiteY83" fmla="*/ 682588 h 904875"/>
                  <a:gd name="connsiteX84" fmla="*/ 761419 w 872293"/>
                  <a:gd name="connsiteY84" fmla="*/ 708319 h 904875"/>
                  <a:gd name="connsiteX85" fmla="*/ 743547 w 872293"/>
                  <a:gd name="connsiteY85" fmla="*/ 761210 h 904875"/>
                  <a:gd name="connsiteX86" fmla="*/ 734968 w 872293"/>
                  <a:gd name="connsiteY86" fmla="*/ 781938 h 904875"/>
                  <a:gd name="connsiteX87" fmla="*/ 724245 w 872293"/>
                  <a:gd name="connsiteY87" fmla="*/ 797662 h 904875"/>
                  <a:gd name="connsiteX88" fmla="*/ 712807 w 872293"/>
                  <a:gd name="connsiteY88" fmla="*/ 809813 h 904875"/>
                  <a:gd name="connsiteX89" fmla="*/ 634884 w 872293"/>
                  <a:gd name="connsiteY89" fmla="*/ 840548 h 904875"/>
                  <a:gd name="connsiteX90" fmla="*/ 579123 w 872293"/>
                  <a:gd name="connsiteY90" fmla="*/ 840548 h 904875"/>
                  <a:gd name="connsiteX91" fmla="*/ 548383 w 872293"/>
                  <a:gd name="connsiteY91" fmla="*/ 850554 h 904875"/>
                  <a:gd name="connsiteX92" fmla="*/ 524077 w 872293"/>
                  <a:gd name="connsiteY92" fmla="*/ 868423 h 904875"/>
                  <a:gd name="connsiteX93" fmla="*/ 503346 w 872293"/>
                  <a:gd name="connsiteY93" fmla="*/ 883433 h 904875"/>
                  <a:gd name="connsiteX94" fmla="*/ 500486 w 872293"/>
                  <a:gd name="connsiteY94" fmla="*/ 884862 h 904875"/>
                  <a:gd name="connsiteX95" fmla="*/ 479040 w 872293"/>
                  <a:gd name="connsiteY95" fmla="*/ 896298 h 904875"/>
                  <a:gd name="connsiteX96" fmla="*/ 460453 w 872293"/>
                  <a:gd name="connsiteY96" fmla="*/ 902731 h 904875"/>
                  <a:gd name="connsiteX97" fmla="*/ 442581 w 872293"/>
                  <a:gd name="connsiteY97" fmla="*/ 904875 h 904875"/>
                  <a:gd name="connsiteX98" fmla="*/ 436147 w 872293"/>
                  <a:gd name="connsiteY98" fmla="*/ 904875 h 904875"/>
                  <a:gd name="connsiteX99" fmla="*/ 409696 w 872293"/>
                  <a:gd name="connsiteY99" fmla="*/ 902016 h 904875"/>
                  <a:gd name="connsiteX100" fmla="*/ 388964 w 872293"/>
                  <a:gd name="connsiteY100" fmla="*/ 894869 h 904875"/>
                  <a:gd name="connsiteX101" fmla="*/ 368948 w 872293"/>
                  <a:gd name="connsiteY101" fmla="*/ 883433 h 904875"/>
                  <a:gd name="connsiteX102" fmla="*/ 365373 w 872293"/>
                  <a:gd name="connsiteY102" fmla="*/ 880574 h 904875"/>
                  <a:gd name="connsiteX103" fmla="*/ 323910 w 872293"/>
                  <a:gd name="connsiteY103" fmla="*/ 850554 h 904875"/>
                  <a:gd name="connsiteX104" fmla="*/ 293170 w 872293"/>
                  <a:gd name="connsiteY104" fmla="*/ 840548 h 904875"/>
                  <a:gd name="connsiteX105" fmla="*/ 237409 w 872293"/>
                  <a:gd name="connsiteY105" fmla="*/ 840548 h 904875"/>
                  <a:gd name="connsiteX106" fmla="*/ 147334 w 872293"/>
                  <a:gd name="connsiteY106" fmla="*/ 796948 h 904875"/>
                  <a:gd name="connsiteX107" fmla="*/ 136610 w 872293"/>
                  <a:gd name="connsiteY107" fmla="*/ 781223 h 904875"/>
                  <a:gd name="connsiteX108" fmla="*/ 128747 w 872293"/>
                  <a:gd name="connsiteY108" fmla="*/ 761210 h 904875"/>
                  <a:gd name="connsiteX109" fmla="*/ 128032 w 872293"/>
                  <a:gd name="connsiteY109" fmla="*/ 760495 h 904875"/>
                  <a:gd name="connsiteX110" fmla="*/ 120168 w 872293"/>
                  <a:gd name="connsiteY110" fmla="*/ 736909 h 904875"/>
                  <a:gd name="connsiteX111" fmla="*/ 113019 w 872293"/>
                  <a:gd name="connsiteY111" fmla="*/ 713322 h 904875"/>
                  <a:gd name="connsiteX112" fmla="*/ 110875 w 872293"/>
                  <a:gd name="connsiteY112" fmla="*/ 708319 h 904875"/>
                  <a:gd name="connsiteX113" fmla="*/ 92288 w 872293"/>
                  <a:gd name="connsiteY113" fmla="*/ 682588 h 904875"/>
                  <a:gd name="connsiteX114" fmla="*/ 47250 w 872293"/>
                  <a:gd name="connsiteY114" fmla="*/ 649709 h 904875"/>
                  <a:gd name="connsiteX115" fmla="*/ 5787 w 872293"/>
                  <a:gd name="connsiteY115" fmla="*/ 521054 h 904875"/>
                  <a:gd name="connsiteX116" fmla="*/ 22944 w 872293"/>
                  <a:gd name="connsiteY116" fmla="*/ 468162 h 904875"/>
                  <a:gd name="connsiteX117" fmla="*/ 22944 w 872293"/>
                  <a:gd name="connsiteY117" fmla="*/ 436713 h 904875"/>
                  <a:gd name="connsiteX118" fmla="*/ 5787 w 872293"/>
                  <a:gd name="connsiteY118" fmla="*/ 383822 h 904875"/>
                  <a:gd name="connsiteX119" fmla="*/ 47250 w 872293"/>
                  <a:gd name="connsiteY119" fmla="*/ 255166 h 904875"/>
                  <a:gd name="connsiteX120" fmla="*/ 92288 w 872293"/>
                  <a:gd name="connsiteY120" fmla="*/ 222288 h 904875"/>
                  <a:gd name="connsiteX121" fmla="*/ 110875 w 872293"/>
                  <a:gd name="connsiteY121" fmla="*/ 196557 h 904875"/>
                  <a:gd name="connsiteX122" fmla="*/ 128747 w 872293"/>
                  <a:gd name="connsiteY122" fmla="*/ 143665 h 904875"/>
                  <a:gd name="connsiteX123" fmla="*/ 237409 w 872293"/>
                  <a:gd name="connsiteY123" fmla="*/ 64328 h 904875"/>
                  <a:gd name="connsiteX124" fmla="*/ 293170 w 872293"/>
                  <a:gd name="connsiteY124" fmla="*/ 64328 h 904875"/>
                  <a:gd name="connsiteX125" fmla="*/ 323910 w 872293"/>
                  <a:gd name="connsiteY125" fmla="*/ 54321 h 904875"/>
                  <a:gd name="connsiteX126" fmla="*/ 368948 w 872293"/>
                  <a:gd name="connsiteY126" fmla="*/ 22157 h 904875"/>
                  <a:gd name="connsiteX127" fmla="*/ 436147 w 872293"/>
                  <a:gd name="connsiteY127" fmla="*/ 0 h 90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872293" h="904875">
                    <a:moveTo>
                      <a:pt x="436147" y="193674"/>
                    </a:moveTo>
                    <a:cubicBezTo>
                      <a:pt x="292360" y="193674"/>
                      <a:pt x="175797" y="309881"/>
                      <a:pt x="175797" y="453230"/>
                    </a:cubicBezTo>
                    <a:cubicBezTo>
                      <a:pt x="175797" y="596579"/>
                      <a:pt x="292360" y="712786"/>
                      <a:pt x="436147" y="712786"/>
                    </a:cubicBezTo>
                    <a:cubicBezTo>
                      <a:pt x="579934" y="712786"/>
                      <a:pt x="696497" y="596579"/>
                      <a:pt x="696497" y="453230"/>
                    </a:cubicBezTo>
                    <a:cubicBezTo>
                      <a:pt x="696497" y="309881"/>
                      <a:pt x="579934" y="193674"/>
                      <a:pt x="436147" y="193674"/>
                    </a:cubicBezTo>
                    <a:close/>
                    <a:moveTo>
                      <a:pt x="436147" y="163511"/>
                    </a:moveTo>
                    <a:cubicBezTo>
                      <a:pt x="595716" y="163511"/>
                      <a:pt x="725072" y="293223"/>
                      <a:pt x="725072" y="453230"/>
                    </a:cubicBezTo>
                    <a:cubicBezTo>
                      <a:pt x="725072" y="613237"/>
                      <a:pt x="595716" y="742949"/>
                      <a:pt x="436147" y="742949"/>
                    </a:cubicBezTo>
                    <a:cubicBezTo>
                      <a:pt x="276578" y="742949"/>
                      <a:pt x="147222" y="613237"/>
                      <a:pt x="147222" y="453230"/>
                    </a:cubicBezTo>
                    <a:cubicBezTo>
                      <a:pt x="147222" y="293223"/>
                      <a:pt x="276578" y="163511"/>
                      <a:pt x="436147" y="163511"/>
                    </a:cubicBezTo>
                    <a:close/>
                    <a:moveTo>
                      <a:pt x="436147" y="31750"/>
                    </a:moveTo>
                    <a:cubicBezTo>
                      <a:pt x="419015" y="31750"/>
                      <a:pt x="401883" y="36750"/>
                      <a:pt x="387607" y="47463"/>
                    </a:cubicBezTo>
                    <a:cubicBezTo>
                      <a:pt x="387607" y="47463"/>
                      <a:pt x="387607" y="47463"/>
                      <a:pt x="342636" y="80318"/>
                    </a:cubicBezTo>
                    <a:cubicBezTo>
                      <a:pt x="328359" y="90318"/>
                      <a:pt x="311228" y="96032"/>
                      <a:pt x="293382" y="96032"/>
                    </a:cubicBezTo>
                    <a:cubicBezTo>
                      <a:pt x="293382" y="96032"/>
                      <a:pt x="293382" y="96032"/>
                      <a:pt x="237704" y="96032"/>
                    </a:cubicBezTo>
                    <a:cubicBezTo>
                      <a:pt x="202013" y="96032"/>
                      <a:pt x="169890" y="119602"/>
                      <a:pt x="158469" y="153885"/>
                    </a:cubicBezTo>
                    <a:cubicBezTo>
                      <a:pt x="158469" y="153885"/>
                      <a:pt x="158469" y="153885"/>
                      <a:pt x="141338" y="206739"/>
                    </a:cubicBezTo>
                    <a:cubicBezTo>
                      <a:pt x="136341" y="223167"/>
                      <a:pt x="125633" y="237451"/>
                      <a:pt x="111357" y="248165"/>
                    </a:cubicBezTo>
                    <a:cubicBezTo>
                      <a:pt x="111357" y="248165"/>
                      <a:pt x="111357" y="248165"/>
                      <a:pt x="66386" y="281020"/>
                    </a:cubicBezTo>
                    <a:cubicBezTo>
                      <a:pt x="37119" y="301733"/>
                      <a:pt x="24984" y="339588"/>
                      <a:pt x="36405" y="373871"/>
                    </a:cubicBezTo>
                    <a:cubicBezTo>
                      <a:pt x="36405" y="373871"/>
                      <a:pt x="36405" y="373871"/>
                      <a:pt x="53537" y="426725"/>
                    </a:cubicBezTo>
                    <a:cubicBezTo>
                      <a:pt x="58534" y="443153"/>
                      <a:pt x="58534" y="461723"/>
                      <a:pt x="53537" y="478150"/>
                    </a:cubicBezTo>
                    <a:cubicBezTo>
                      <a:pt x="53537" y="478150"/>
                      <a:pt x="53537" y="478150"/>
                      <a:pt x="36405" y="531004"/>
                    </a:cubicBezTo>
                    <a:cubicBezTo>
                      <a:pt x="24984" y="565288"/>
                      <a:pt x="37119" y="603142"/>
                      <a:pt x="66386" y="623855"/>
                    </a:cubicBezTo>
                    <a:cubicBezTo>
                      <a:pt x="66386" y="623855"/>
                      <a:pt x="66386" y="623855"/>
                      <a:pt x="111357" y="656710"/>
                    </a:cubicBezTo>
                    <a:cubicBezTo>
                      <a:pt x="119209" y="662424"/>
                      <a:pt x="126347" y="669567"/>
                      <a:pt x="131344" y="677423"/>
                    </a:cubicBezTo>
                    <a:cubicBezTo>
                      <a:pt x="134199" y="682423"/>
                      <a:pt x="137055" y="687423"/>
                      <a:pt x="139196" y="692422"/>
                    </a:cubicBezTo>
                    <a:cubicBezTo>
                      <a:pt x="139910" y="694565"/>
                      <a:pt x="140624" y="696708"/>
                      <a:pt x="141338" y="698136"/>
                    </a:cubicBezTo>
                    <a:cubicBezTo>
                      <a:pt x="141338" y="698136"/>
                      <a:pt x="141338" y="698136"/>
                      <a:pt x="146334" y="714564"/>
                    </a:cubicBezTo>
                    <a:cubicBezTo>
                      <a:pt x="146334" y="714564"/>
                      <a:pt x="146334" y="714564"/>
                      <a:pt x="154186" y="737420"/>
                    </a:cubicBezTo>
                    <a:cubicBezTo>
                      <a:pt x="154186" y="737420"/>
                      <a:pt x="154186" y="737420"/>
                      <a:pt x="158469" y="750990"/>
                    </a:cubicBezTo>
                    <a:cubicBezTo>
                      <a:pt x="159897" y="754561"/>
                      <a:pt x="160611" y="757418"/>
                      <a:pt x="162038" y="760275"/>
                    </a:cubicBezTo>
                    <a:cubicBezTo>
                      <a:pt x="175601" y="789559"/>
                      <a:pt x="204868" y="808844"/>
                      <a:pt x="237704" y="808844"/>
                    </a:cubicBezTo>
                    <a:cubicBezTo>
                      <a:pt x="237704" y="808844"/>
                      <a:pt x="237704" y="808844"/>
                      <a:pt x="293382" y="808844"/>
                    </a:cubicBezTo>
                    <a:cubicBezTo>
                      <a:pt x="311228" y="808844"/>
                      <a:pt x="328359" y="814557"/>
                      <a:pt x="342636" y="824557"/>
                    </a:cubicBezTo>
                    <a:cubicBezTo>
                      <a:pt x="342636" y="824557"/>
                      <a:pt x="342636" y="824557"/>
                      <a:pt x="364051" y="840270"/>
                    </a:cubicBezTo>
                    <a:cubicBezTo>
                      <a:pt x="364051" y="840270"/>
                      <a:pt x="364051" y="840270"/>
                      <a:pt x="378327" y="850984"/>
                    </a:cubicBezTo>
                    <a:cubicBezTo>
                      <a:pt x="378327" y="850984"/>
                      <a:pt x="378327" y="850984"/>
                      <a:pt x="387607" y="857412"/>
                    </a:cubicBezTo>
                    <a:cubicBezTo>
                      <a:pt x="389034" y="858840"/>
                      <a:pt x="391176" y="860269"/>
                      <a:pt x="392603" y="860983"/>
                    </a:cubicBezTo>
                    <a:cubicBezTo>
                      <a:pt x="406166" y="869554"/>
                      <a:pt x="421156" y="873125"/>
                      <a:pt x="436147" y="873125"/>
                    </a:cubicBezTo>
                    <a:cubicBezTo>
                      <a:pt x="442571" y="873125"/>
                      <a:pt x="448996" y="872411"/>
                      <a:pt x="455420" y="870982"/>
                    </a:cubicBezTo>
                    <a:cubicBezTo>
                      <a:pt x="461844" y="869554"/>
                      <a:pt x="468983" y="866697"/>
                      <a:pt x="475407" y="863840"/>
                    </a:cubicBezTo>
                    <a:cubicBezTo>
                      <a:pt x="478262" y="861697"/>
                      <a:pt x="481831" y="859555"/>
                      <a:pt x="484687" y="857412"/>
                    </a:cubicBezTo>
                    <a:cubicBezTo>
                      <a:pt x="484687" y="857412"/>
                      <a:pt x="484687" y="857412"/>
                      <a:pt x="497536" y="848127"/>
                    </a:cubicBezTo>
                    <a:cubicBezTo>
                      <a:pt x="497536" y="848127"/>
                      <a:pt x="497536" y="848127"/>
                      <a:pt x="513954" y="836699"/>
                    </a:cubicBezTo>
                    <a:cubicBezTo>
                      <a:pt x="513954" y="836699"/>
                      <a:pt x="513954" y="836699"/>
                      <a:pt x="526802" y="826700"/>
                    </a:cubicBezTo>
                    <a:cubicBezTo>
                      <a:pt x="526802" y="826700"/>
                      <a:pt x="526802" y="826700"/>
                      <a:pt x="529658" y="824557"/>
                    </a:cubicBezTo>
                    <a:cubicBezTo>
                      <a:pt x="543934" y="814557"/>
                      <a:pt x="561066" y="808844"/>
                      <a:pt x="578911" y="808844"/>
                    </a:cubicBezTo>
                    <a:cubicBezTo>
                      <a:pt x="578911" y="808844"/>
                      <a:pt x="578911" y="808844"/>
                      <a:pt x="634590" y="808844"/>
                    </a:cubicBezTo>
                    <a:cubicBezTo>
                      <a:pt x="659574" y="808844"/>
                      <a:pt x="683130" y="797416"/>
                      <a:pt x="698120" y="778845"/>
                    </a:cubicBezTo>
                    <a:cubicBezTo>
                      <a:pt x="702403" y="774560"/>
                      <a:pt x="705258" y="768846"/>
                      <a:pt x="708114" y="763846"/>
                    </a:cubicBezTo>
                    <a:cubicBezTo>
                      <a:pt x="710255" y="759561"/>
                      <a:pt x="712397" y="755276"/>
                      <a:pt x="713824" y="750990"/>
                    </a:cubicBezTo>
                    <a:lnTo>
                      <a:pt x="715966" y="743133"/>
                    </a:lnTo>
                    <a:cubicBezTo>
                      <a:pt x="715966" y="743133"/>
                      <a:pt x="715966" y="743133"/>
                      <a:pt x="730956" y="698136"/>
                    </a:cubicBezTo>
                    <a:cubicBezTo>
                      <a:pt x="735953" y="681709"/>
                      <a:pt x="746660" y="667424"/>
                      <a:pt x="760937" y="656710"/>
                    </a:cubicBezTo>
                    <a:cubicBezTo>
                      <a:pt x="760937" y="656710"/>
                      <a:pt x="760937" y="656710"/>
                      <a:pt x="805907" y="623855"/>
                    </a:cubicBezTo>
                    <a:cubicBezTo>
                      <a:pt x="835174" y="603142"/>
                      <a:pt x="847309" y="565288"/>
                      <a:pt x="835888" y="531004"/>
                    </a:cubicBezTo>
                    <a:cubicBezTo>
                      <a:pt x="835888" y="531004"/>
                      <a:pt x="835888" y="531004"/>
                      <a:pt x="818756" y="478150"/>
                    </a:cubicBezTo>
                    <a:cubicBezTo>
                      <a:pt x="813760" y="461723"/>
                      <a:pt x="813760" y="443153"/>
                      <a:pt x="818756" y="426725"/>
                    </a:cubicBezTo>
                    <a:cubicBezTo>
                      <a:pt x="818756" y="426725"/>
                      <a:pt x="818756" y="426725"/>
                      <a:pt x="835888" y="373871"/>
                    </a:cubicBezTo>
                    <a:cubicBezTo>
                      <a:pt x="847309" y="339588"/>
                      <a:pt x="835174" y="301733"/>
                      <a:pt x="805907" y="281020"/>
                    </a:cubicBezTo>
                    <a:cubicBezTo>
                      <a:pt x="805907" y="281020"/>
                      <a:pt x="805907" y="281020"/>
                      <a:pt x="760937" y="248165"/>
                    </a:cubicBezTo>
                    <a:cubicBezTo>
                      <a:pt x="746660" y="237451"/>
                      <a:pt x="735953" y="223167"/>
                      <a:pt x="730956" y="206739"/>
                    </a:cubicBezTo>
                    <a:cubicBezTo>
                      <a:pt x="730956" y="206739"/>
                      <a:pt x="730956" y="206739"/>
                      <a:pt x="713824" y="153885"/>
                    </a:cubicBezTo>
                    <a:cubicBezTo>
                      <a:pt x="702403" y="119602"/>
                      <a:pt x="670281" y="96032"/>
                      <a:pt x="634590" y="96032"/>
                    </a:cubicBezTo>
                    <a:cubicBezTo>
                      <a:pt x="634590" y="96032"/>
                      <a:pt x="634590" y="96032"/>
                      <a:pt x="578911" y="96032"/>
                    </a:cubicBezTo>
                    <a:cubicBezTo>
                      <a:pt x="561066" y="96032"/>
                      <a:pt x="543934" y="90318"/>
                      <a:pt x="529658" y="80318"/>
                    </a:cubicBezTo>
                    <a:cubicBezTo>
                      <a:pt x="529658" y="80318"/>
                      <a:pt x="529658" y="80318"/>
                      <a:pt x="484687" y="47463"/>
                    </a:cubicBezTo>
                    <a:cubicBezTo>
                      <a:pt x="470410" y="36750"/>
                      <a:pt x="453279" y="31750"/>
                      <a:pt x="436147" y="31750"/>
                    </a:cubicBezTo>
                    <a:close/>
                    <a:moveTo>
                      <a:pt x="436147" y="0"/>
                    </a:moveTo>
                    <a:cubicBezTo>
                      <a:pt x="460453" y="0"/>
                      <a:pt x="484044" y="7148"/>
                      <a:pt x="503346" y="22157"/>
                    </a:cubicBezTo>
                    <a:cubicBezTo>
                      <a:pt x="503346" y="22157"/>
                      <a:pt x="503346" y="22157"/>
                      <a:pt x="548383" y="54321"/>
                    </a:cubicBezTo>
                    <a:cubicBezTo>
                      <a:pt x="557677" y="60754"/>
                      <a:pt x="568400" y="64328"/>
                      <a:pt x="579123" y="64328"/>
                    </a:cubicBezTo>
                    <a:cubicBezTo>
                      <a:pt x="579123" y="64328"/>
                      <a:pt x="579123" y="64328"/>
                      <a:pt x="634884" y="64328"/>
                    </a:cubicBezTo>
                    <a:cubicBezTo>
                      <a:pt x="684926" y="64328"/>
                      <a:pt x="728534" y="96492"/>
                      <a:pt x="743547" y="143665"/>
                    </a:cubicBezTo>
                    <a:cubicBezTo>
                      <a:pt x="743547" y="143665"/>
                      <a:pt x="743547" y="143665"/>
                      <a:pt x="761419" y="196557"/>
                    </a:cubicBezTo>
                    <a:cubicBezTo>
                      <a:pt x="764278" y="207278"/>
                      <a:pt x="770712" y="215855"/>
                      <a:pt x="780006" y="222288"/>
                    </a:cubicBezTo>
                    <a:cubicBezTo>
                      <a:pt x="780006" y="222288"/>
                      <a:pt x="780006" y="222288"/>
                      <a:pt x="825044" y="255166"/>
                    </a:cubicBezTo>
                    <a:cubicBezTo>
                      <a:pt x="865077" y="284471"/>
                      <a:pt x="882234" y="335933"/>
                      <a:pt x="866507" y="383822"/>
                    </a:cubicBezTo>
                    <a:cubicBezTo>
                      <a:pt x="866507" y="383822"/>
                      <a:pt x="866507" y="383822"/>
                      <a:pt x="849350" y="436713"/>
                    </a:cubicBezTo>
                    <a:cubicBezTo>
                      <a:pt x="845775" y="446720"/>
                      <a:pt x="845775" y="458156"/>
                      <a:pt x="849350" y="468162"/>
                    </a:cubicBezTo>
                    <a:lnTo>
                      <a:pt x="866507" y="521054"/>
                    </a:lnTo>
                    <a:cubicBezTo>
                      <a:pt x="882234" y="568942"/>
                      <a:pt x="865077" y="620404"/>
                      <a:pt x="825044" y="649709"/>
                    </a:cubicBezTo>
                    <a:cubicBezTo>
                      <a:pt x="825044" y="649709"/>
                      <a:pt x="825044" y="649709"/>
                      <a:pt x="780006" y="682588"/>
                    </a:cubicBezTo>
                    <a:cubicBezTo>
                      <a:pt x="770712" y="689020"/>
                      <a:pt x="764278" y="697597"/>
                      <a:pt x="761419" y="708319"/>
                    </a:cubicBezTo>
                    <a:cubicBezTo>
                      <a:pt x="761419" y="708319"/>
                      <a:pt x="761419" y="708319"/>
                      <a:pt x="743547" y="761210"/>
                    </a:cubicBezTo>
                    <a:cubicBezTo>
                      <a:pt x="741402" y="768358"/>
                      <a:pt x="738543" y="775505"/>
                      <a:pt x="734968" y="781938"/>
                    </a:cubicBezTo>
                    <a:cubicBezTo>
                      <a:pt x="731394" y="787656"/>
                      <a:pt x="728534" y="792659"/>
                      <a:pt x="724245" y="797662"/>
                    </a:cubicBezTo>
                    <a:cubicBezTo>
                      <a:pt x="720670" y="801951"/>
                      <a:pt x="717096" y="806239"/>
                      <a:pt x="712807" y="809813"/>
                    </a:cubicBezTo>
                    <a:cubicBezTo>
                      <a:pt x="692075" y="829112"/>
                      <a:pt x="664195" y="840548"/>
                      <a:pt x="634884" y="840548"/>
                    </a:cubicBezTo>
                    <a:cubicBezTo>
                      <a:pt x="634884" y="840548"/>
                      <a:pt x="634884" y="840548"/>
                      <a:pt x="579123" y="840548"/>
                    </a:cubicBezTo>
                    <a:cubicBezTo>
                      <a:pt x="568400" y="840548"/>
                      <a:pt x="557677" y="844121"/>
                      <a:pt x="548383" y="850554"/>
                    </a:cubicBezTo>
                    <a:cubicBezTo>
                      <a:pt x="548383" y="850554"/>
                      <a:pt x="548383" y="850554"/>
                      <a:pt x="524077" y="868423"/>
                    </a:cubicBezTo>
                    <a:cubicBezTo>
                      <a:pt x="524077" y="868423"/>
                      <a:pt x="524077" y="868423"/>
                      <a:pt x="503346" y="883433"/>
                    </a:cubicBezTo>
                    <a:cubicBezTo>
                      <a:pt x="502631" y="884147"/>
                      <a:pt x="501916" y="884147"/>
                      <a:pt x="500486" y="884862"/>
                    </a:cubicBezTo>
                    <a:cubicBezTo>
                      <a:pt x="494052" y="889865"/>
                      <a:pt x="486903" y="893439"/>
                      <a:pt x="479040" y="896298"/>
                    </a:cubicBezTo>
                    <a:cubicBezTo>
                      <a:pt x="473321" y="899157"/>
                      <a:pt x="466887" y="901301"/>
                      <a:pt x="460453" y="902731"/>
                    </a:cubicBezTo>
                    <a:cubicBezTo>
                      <a:pt x="454734" y="903446"/>
                      <a:pt x="448300" y="904160"/>
                      <a:pt x="442581" y="904875"/>
                    </a:cubicBezTo>
                    <a:cubicBezTo>
                      <a:pt x="440436" y="904875"/>
                      <a:pt x="438291" y="904875"/>
                      <a:pt x="436147" y="904875"/>
                    </a:cubicBezTo>
                    <a:cubicBezTo>
                      <a:pt x="426853" y="904875"/>
                      <a:pt x="418275" y="904160"/>
                      <a:pt x="409696" y="902016"/>
                    </a:cubicBezTo>
                    <a:cubicBezTo>
                      <a:pt x="402547" y="900587"/>
                      <a:pt x="395398" y="897728"/>
                      <a:pt x="388964" y="894869"/>
                    </a:cubicBezTo>
                    <a:cubicBezTo>
                      <a:pt x="381816" y="892010"/>
                      <a:pt x="375382" y="887721"/>
                      <a:pt x="368948" y="883433"/>
                    </a:cubicBezTo>
                    <a:cubicBezTo>
                      <a:pt x="368948" y="883433"/>
                      <a:pt x="368948" y="883433"/>
                      <a:pt x="365373" y="880574"/>
                    </a:cubicBezTo>
                    <a:cubicBezTo>
                      <a:pt x="365373" y="880574"/>
                      <a:pt x="365373" y="880574"/>
                      <a:pt x="323910" y="850554"/>
                    </a:cubicBezTo>
                    <a:cubicBezTo>
                      <a:pt x="314616" y="844121"/>
                      <a:pt x="303893" y="840548"/>
                      <a:pt x="293170" y="840548"/>
                    </a:cubicBezTo>
                    <a:cubicBezTo>
                      <a:pt x="293170" y="840548"/>
                      <a:pt x="293170" y="840548"/>
                      <a:pt x="237409" y="840548"/>
                    </a:cubicBezTo>
                    <a:cubicBezTo>
                      <a:pt x="201665" y="840548"/>
                      <a:pt x="168780" y="824108"/>
                      <a:pt x="147334" y="796948"/>
                    </a:cubicBezTo>
                    <a:cubicBezTo>
                      <a:pt x="143759" y="791944"/>
                      <a:pt x="140185" y="786941"/>
                      <a:pt x="136610" y="781223"/>
                    </a:cubicBezTo>
                    <a:cubicBezTo>
                      <a:pt x="133751" y="774790"/>
                      <a:pt x="130891" y="768358"/>
                      <a:pt x="128747" y="761210"/>
                    </a:cubicBezTo>
                    <a:cubicBezTo>
                      <a:pt x="128747" y="761210"/>
                      <a:pt x="128747" y="761210"/>
                      <a:pt x="128032" y="760495"/>
                    </a:cubicBezTo>
                    <a:cubicBezTo>
                      <a:pt x="128032" y="760495"/>
                      <a:pt x="128032" y="760495"/>
                      <a:pt x="120168" y="736909"/>
                    </a:cubicBezTo>
                    <a:cubicBezTo>
                      <a:pt x="120168" y="736909"/>
                      <a:pt x="120168" y="736909"/>
                      <a:pt x="113019" y="713322"/>
                    </a:cubicBezTo>
                    <a:cubicBezTo>
                      <a:pt x="113019" y="713322"/>
                      <a:pt x="113019" y="713322"/>
                      <a:pt x="110875" y="708319"/>
                    </a:cubicBezTo>
                    <a:cubicBezTo>
                      <a:pt x="108015" y="697597"/>
                      <a:pt x="101581" y="689020"/>
                      <a:pt x="92288" y="682588"/>
                    </a:cubicBezTo>
                    <a:cubicBezTo>
                      <a:pt x="92288" y="682588"/>
                      <a:pt x="92288" y="682588"/>
                      <a:pt x="47250" y="649709"/>
                    </a:cubicBezTo>
                    <a:cubicBezTo>
                      <a:pt x="7216" y="620404"/>
                      <a:pt x="-9941" y="568942"/>
                      <a:pt x="5787" y="521054"/>
                    </a:cubicBezTo>
                    <a:cubicBezTo>
                      <a:pt x="5787" y="521054"/>
                      <a:pt x="5787" y="521054"/>
                      <a:pt x="22944" y="468162"/>
                    </a:cubicBezTo>
                    <a:cubicBezTo>
                      <a:pt x="26518" y="458156"/>
                      <a:pt x="26518" y="446720"/>
                      <a:pt x="22944" y="436713"/>
                    </a:cubicBezTo>
                    <a:cubicBezTo>
                      <a:pt x="22944" y="436713"/>
                      <a:pt x="22944" y="436713"/>
                      <a:pt x="5787" y="383822"/>
                    </a:cubicBezTo>
                    <a:cubicBezTo>
                      <a:pt x="-9941" y="335933"/>
                      <a:pt x="7216" y="284471"/>
                      <a:pt x="47250" y="255166"/>
                    </a:cubicBezTo>
                    <a:cubicBezTo>
                      <a:pt x="47250" y="255166"/>
                      <a:pt x="47250" y="255166"/>
                      <a:pt x="92288" y="222288"/>
                    </a:cubicBezTo>
                    <a:cubicBezTo>
                      <a:pt x="101581" y="215855"/>
                      <a:pt x="108015" y="207278"/>
                      <a:pt x="110875" y="196557"/>
                    </a:cubicBezTo>
                    <a:cubicBezTo>
                      <a:pt x="110875" y="196557"/>
                      <a:pt x="110875" y="196557"/>
                      <a:pt x="128747" y="143665"/>
                    </a:cubicBezTo>
                    <a:cubicBezTo>
                      <a:pt x="143759" y="96492"/>
                      <a:pt x="187367" y="64328"/>
                      <a:pt x="237409" y="64328"/>
                    </a:cubicBezTo>
                    <a:cubicBezTo>
                      <a:pt x="237409" y="64328"/>
                      <a:pt x="237409" y="64328"/>
                      <a:pt x="293170" y="64328"/>
                    </a:cubicBezTo>
                    <a:cubicBezTo>
                      <a:pt x="303893" y="64328"/>
                      <a:pt x="314616" y="60754"/>
                      <a:pt x="323910" y="54321"/>
                    </a:cubicBezTo>
                    <a:cubicBezTo>
                      <a:pt x="323910" y="54321"/>
                      <a:pt x="323910" y="54321"/>
                      <a:pt x="368948" y="22157"/>
                    </a:cubicBezTo>
                    <a:cubicBezTo>
                      <a:pt x="388250" y="7148"/>
                      <a:pt x="411841" y="0"/>
                      <a:pt x="436147" y="0"/>
                    </a:cubicBezTo>
                    <a:close/>
                  </a:path>
                </a:pathLst>
              </a:custGeom>
              <a:solidFill>
                <a:srgbClr val="FFFF00"/>
              </a:solidFill>
              <a:ln>
                <a:noFill/>
              </a:ln>
            </p:spPr>
            <p:txBody>
              <a:bodyPr vert="horz" wrap="square" lIns="91440" tIns="45720" rIns="91440" bIns="45720" numCol="1" anchor="t" anchorCtr="0" compatLnSpc="1">
                <a:prstTxWarp prst="textNoShape">
                  <a:avLst/>
                </a:prstTxWarp>
                <a:noAutofit/>
              </a:bodyPr>
              <a:lstStyle/>
              <a:p>
                <a:endParaRPr lang="en-US" sz="1400" dirty="0"/>
              </a:p>
            </p:txBody>
          </p:sp>
          <p:sp>
            <p:nvSpPr>
              <p:cNvPr id="55" name="Freeform 45"/>
              <p:cNvSpPr>
                <a:spLocks noChangeArrowheads="1"/>
              </p:cNvSpPr>
              <p:nvPr/>
            </p:nvSpPr>
            <p:spPr bwMode="auto">
              <a:xfrm>
                <a:off x="5643809" y="2963863"/>
                <a:ext cx="937614" cy="1081087"/>
              </a:xfrm>
              <a:custGeom>
                <a:avLst/>
                <a:gdLst>
                  <a:gd name="connsiteX0" fmla="*/ 782276 w 937614"/>
                  <a:gd name="connsiteY0" fmla="*/ 587375 h 1081087"/>
                  <a:gd name="connsiteX1" fmla="*/ 936155 w 937614"/>
                  <a:gd name="connsiteY1" fmla="*/ 919846 h 1081087"/>
                  <a:gd name="connsiteX2" fmla="*/ 921907 w 937614"/>
                  <a:gd name="connsiteY2" fmla="*/ 941963 h 1081087"/>
                  <a:gd name="connsiteX3" fmla="*/ 915496 w 937614"/>
                  <a:gd name="connsiteY3" fmla="*/ 940536 h 1081087"/>
                  <a:gd name="connsiteX4" fmla="*/ 706049 w 937614"/>
                  <a:gd name="connsiteY4" fmla="*/ 842079 h 1081087"/>
                  <a:gd name="connsiteX5" fmla="*/ 699637 w 937614"/>
                  <a:gd name="connsiteY5" fmla="*/ 840652 h 1081087"/>
                  <a:gd name="connsiteX6" fmla="*/ 684677 w 937614"/>
                  <a:gd name="connsiteY6" fmla="*/ 852068 h 1081087"/>
                  <a:gd name="connsiteX7" fmla="*/ 618423 w 937614"/>
                  <a:gd name="connsiteY7" fmla="*/ 1069672 h 1081087"/>
                  <a:gd name="connsiteX8" fmla="*/ 603463 w 937614"/>
                  <a:gd name="connsiteY8" fmla="*/ 1081087 h 1081087"/>
                  <a:gd name="connsiteX9" fmla="*/ 589215 w 937614"/>
                  <a:gd name="connsiteY9" fmla="*/ 1071812 h 1081087"/>
                  <a:gd name="connsiteX10" fmla="*/ 482354 w 937614"/>
                  <a:gd name="connsiteY10" fmla="*/ 837798 h 1081087"/>
                  <a:gd name="connsiteX11" fmla="*/ 490903 w 937614"/>
                  <a:gd name="connsiteY11" fmla="*/ 817108 h 1081087"/>
                  <a:gd name="connsiteX12" fmla="*/ 498740 w 937614"/>
                  <a:gd name="connsiteY12" fmla="*/ 796418 h 1081087"/>
                  <a:gd name="connsiteX13" fmla="*/ 600613 w 937614"/>
                  <a:gd name="connsiteY13" fmla="*/ 1021157 h 1081087"/>
                  <a:gd name="connsiteX14" fmla="*/ 654756 w 937614"/>
                  <a:gd name="connsiteY14" fmla="*/ 842793 h 1081087"/>
                  <a:gd name="connsiteX15" fmla="*/ 699637 w 937614"/>
                  <a:gd name="connsiteY15" fmla="*/ 809260 h 1081087"/>
                  <a:gd name="connsiteX16" fmla="*/ 719585 w 937614"/>
                  <a:gd name="connsiteY16" fmla="*/ 814254 h 1081087"/>
                  <a:gd name="connsiteX17" fmla="*/ 889849 w 937614"/>
                  <a:gd name="connsiteY17" fmla="*/ 894161 h 1081087"/>
                  <a:gd name="connsiteX18" fmla="*/ 758767 w 937614"/>
                  <a:gd name="connsiteY18" fmla="*/ 611633 h 1081087"/>
                  <a:gd name="connsiteX19" fmla="*/ 770878 w 937614"/>
                  <a:gd name="connsiteY19" fmla="*/ 600217 h 1081087"/>
                  <a:gd name="connsiteX20" fmla="*/ 782276 w 937614"/>
                  <a:gd name="connsiteY20" fmla="*/ 587375 h 1081087"/>
                  <a:gd name="connsiteX21" fmla="*/ 146410 w 937614"/>
                  <a:gd name="connsiteY21" fmla="*/ 573087 h 1081087"/>
                  <a:gd name="connsiteX22" fmla="*/ 157141 w 937614"/>
                  <a:gd name="connsiteY22" fmla="*/ 588762 h 1081087"/>
                  <a:gd name="connsiteX23" fmla="*/ 168588 w 937614"/>
                  <a:gd name="connsiteY23" fmla="*/ 602299 h 1081087"/>
                  <a:gd name="connsiteX24" fmla="*/ 46255 w 937614"/>
                  <a:gd name="connsiteY24" fmla="*/ 911516 h 1081087"/>
                  <a:gd name="connsiteX25" fmla="*/ 212227 w 937614"/>
                  <a:gd name="connsiteY25" fmla="*/ 821744 h 1081087"/>
                  <a:gd name="connsiteX26" fmla="*/ 235120 w 937614"/>
                  <a:gd name="connsiteY26" fmla="*/ 816044 h 1081087"/>
                  <a:gd name="connsiteX27" fmla="*/ 279475 w 937614"/>
                  <a:gd name="connsiteY27" fmla="*/ 846680 h 1081087"/>
                  <a:gd name="connsiteX28" fmla="*/ 343861 w 937614"/>
                  <a:gd name="connsiteY28" fmla="*/ 1020526 h 1081087"/>
                  <a:gd name="connsiteX29" fmla="*/ 445447 w 937614"/>
                  <a:gd name="connsiteY29" fmla="*/ 757620 h 1081087"/>
                  <a:gd name="connsiteX30" fmla="*/ 454032 w 937614"/>
                  <a:gd name="connsiteY30" fmla="*/ 737671 h 1081087"/>
                  <a:gd name="connsiteX31" fmla="*/ 461901 w 937614"/>
                  <a:gd name="connsiteY31" fmla="*/ 717009 h 1081087"/>
                  <a:gd name="connsiteX32" fmla="*/ 464763 w 937614"/>
                  <a:gd name="connsiteY32" fmla="*/ 708459 h 1081087"/>
                  <a:gd name="connsiteX33" fmla="*/ 469771 w 937614"/>
                  <a:gd name="connsiteY33" fmla="*/ 708459 h 1081087"/>
                  <a:gd name="connsiteX34" fmla="*/ 481932 w 937614"/>
                  <a:gd name="connsiteY34" fmla="*/ 708459 h 1081087"/>
                  <a:gd name="connsiteX35" fmla="*/ 499817 w 937614"/>
                  <a:gd name="connsiteY35" fmla="*/ 705609 h 1081087"/>
                  <a:gd name="connsiteX36" fmla="*/ 479786 w 937614"/>
                  <a:gd name="connsiteY36" fmla="*/ 756908 h 1081087"/>
                  <a:gd name="connsiteX37" fmla="*/ 471917 w 937614"/>
                  <a:gd name="connsiteY37" fmla="*/ 777570 h 1081087"/>
                  <a:gd name="connsiteX38" fmla="*/ 464047 w 937614"/>
                  <a:gd name="connsiteY38" fmla="*/ 798232 h 1081087"/>
                  <a:gd name="connsiteX39" fmla="*/ 441870 w 937614"/>
                  <a:gd name="connsiteY39" fmla="*/ 855230 h 1081087"/>
                  <a:gd name="connsiteX40" fmla="*/ 358884 w 937614"/>
                  <a:gd name="connsiteY40" fmla="*/ 1071112 h 1081087"/>
                  <a:gd name="connsiteX41" fmla="*/ 357453 w 937614"/>
                  <a:gd name="connsiteY41" fmla="*/ 1073250 h 1081087"/>
                  <a:gd name="connsiteX42" fmla="*/ 356738 w 937614"/>
                  <a:gd name="connsiteY42" fmla="*/ 1073962 h 1081087"/>
                  <a:gd name="connsiteX43" fmla="*/ 356022 w 937614"/>
                  <a:gd name="connsiteY43" fmla="*/ 1075387 h 1081087"/>
                  <a:gd name="connsiteX44" fmla="*/ 355307 w 937614"/>
                  <a:gd name="connsiteY44" fmla="*/ 1076100 h 1081087"/>
                  <a:gd name="connsiteX45" fmla="*/ 354591 w 937614"/>
                  <a:gd name="connsiteY45" fmla="*/ 1076812 h 1081087"/>
                  <a:gd name="connsiteX46" fmla="*/ 353876 w 937614"/>
                  <a:gd name="connsiteY46" fmla="*/ 1077525 h 1081087"/>
                  <a:gd name="connsiteX47" fmla="*/ 352445 w 937614"/>
                  <a:gd name="connsiteY47" fmla="*/ 1078237 h 1081087"/>
                  <a:gd name="connsiteX48" fmla="*/ 352445 w 937614"/>
                  <a:gd name="connsiteY48" fmla="*/ 1078950 h 1081087"/>
                  <a:gd name="connsiteX49" fmla="*/ 350299 w 937614"/>
                  <a:gd name="connsiteY49" fmla="*/ 1079662 h 1081087"/>
                  <a:gd name="connsiteX50" fmla="*/ 348153 w 937614"/>
                  <a:gd name="connsiteY50" fmla="*/ 1080375 h 1081087"/>
                  <a:gd name="connsiteX51" fmla="*/ 346007 w 937614"/>
                  <a:gd name="connsiteY51" fmla="*/ 1081087 h 1081087"/>
                  <a:gd name="connsiteX52" fmla="*/ 343861 w 937614"/>
                  <a:gd name="connsiteY52" fmla="*/ 1081087 h 1081087"/>
                  <a:gd name="connsiteX53" fmla="*/ 341714 w 937614"/>
                  <a:gd name="connsiteY53" fmla="*/ 1081087 h 1081087"/>
                  <a:gd name="connsiteX54" fmla="*/ 339568 w 937614"/>
                  <a:gd name="connsiteY54" fmla="*/ 1080375 h 1081087"/>
                  <a:gd name="connsiteX55" fmla="*/ 337422 w 937614"/>
                  <a:gd name="connsiteY55" fmla="*/ 1079662 h 1081087"/>
                  <a:gd name="connsiteX56" fmla="*/ 335276 w 937614"/>
                  <a:gd name="connsiteY56" fmla="*/ 1078237 h 1081087"/>
                  <a:gd name="connsiteX57" fmla="*/ 333845 w 937614"/>
                  <a:gd name="connsiteY57" fmla="*/ 1077525 h 1081087"/>
                  <a:gd name="connsiteX58" fmla="*/ 333130 w 937614"/>
                  <a:gd name="connsiteY58" fmla="*/ 1076812 h 1081087"/>
                  <a:gd name="connsiteX59" fmla="*/ 332414 w 937614"/>
                  <a:gd name="connsiteY59" fmla="*/ 1075387 h 1081087"/>
                  <a:gd name="connsiteX60" fmla="*/ 331699 w 937614"/>
                  <a:gd name="connsiteY60" fmla="*/ 1075387 h 1081087"/>
                  <a:gd name="connsiteX61" fmla="*/ 330983 w 937614"/>
                  <a:gd name="connsiteY61" fmla="*/ 1073962 h 1081087"/>
                  <a:gd name="connsiteX62" fmla="*/ 330268 w 937614"/>
                  <a:gd name="connsiteY62" fmla="*/ 1073250 h 1081087"/>
                  <a:gd name="connsiteX63" fmla="*/ 328837 w 937614"/>
                  <a:gd name="connsiteY63" fmla="*/ 1071112 h 1081087"/>
                  <a:gd name="connsiteX64" fmla="*/ 328837 w 937614"/>
                  <a:gd name="connsiteY64" fmla="*/ 1070400 h 1081087"/>
                  <a:gd name="connsiteX65" fmla="*/ 250143 w 937614"/>
                  <a:gd name="connsiteY65" fmla="*/ 857368 h 1081087"/>
                  <a:gd name="connsiteX66" fmla="*/ 235120 w 937614"/>
                  <a:gd name="connsiteY66" fmla="*/ 847393 h 1081087"/>
                  <a:gd name="connsiteX67" fmla="*/ 227250 w 937614"/>
                  <a:gd name="connsiteY67" fmla="*/ 848818 h 1081087"/>
                  <a:gd name="connsiteX68" fmla="*/ 23362 w 937614"/>
                  <a:gd name="connsiteY68" fmla="*/ 959253 h 1081087"/>
                  <a:gd name="connsiteX69" fmla="*/ 21931 w 937614"/>
                  <a:gd name="connsiteY69" fmla="*/ 959965 h 1081087"/>
                  <a:gd name="connsiteX70" fmla="*/ 19785 w 937614"/>
                  <a:gd name="connsiteY70" fmla="*/ 960678 h 1081087"/>
                  <a:gd name="connsiteX71" fmla="*/ 18354 w 937614"/>
                  <a:gd name="connsiteY71" fmla="*/ 961390 h 1081087"/>
                  <a:gd name="connsiteX72" fmla="*/ 17639 w 937614"/>
                  <a:gd name="connsiteY72" fmla="*/ 961390 h 1081087"/>
                  <a:gd name="connsiteX73" fmla="*/ 16208 w 937614"/>
                  <a:gd name="connsiteY73" fmla="*/ 961390 h 1081087"/>
                  <a:gd name="connsiteX74" fmla="*/ 14777 w 937614"/>
                  <a:gd name="connsiteY74" fmla="*/ 961390 h 1081087"/>
                  <a:gd name="connsiteX75" fmla="*/ 6192 w 937614"/>
                  <a:gd name="connsiteY75" fmla="*/ 957828 h 1081087"/>
                  <a:gd name="connsiteX76" fmla="*/ 5477 w 937614"/>
                  <a:gd name="connsiteY76" fmla="*/ 957115 h 1081087"/>
                  <a:gd name="connsiteX77" fmla="*/ 4762 w 937614"/>
                  <a:gd name="connsiteY77" fmla="*/ 956403 h 1081087"/>
                  <a:gd name="connsiteX78" fmla="*/ 4046 w 937614"/>
                  <a:gd name="connsiteY78" fmla="*/ 955690 h 1081087"/>
                  <a:gd name="connsiteX79" fmla="*/ 3331 w 937614"/>
                  <a:gd name="connsiteY79" fmla="*/ 955690 h 1081087"/>
                  <a:gd name="connsiteX80" fmla="*/ 3331 w 937614"/>
                  <a:gd name="connsiteY80" fmla="*/ 954265 h 1081087"/>
                  <a:gd name="connsiteX81" fmla="*/ 2615 w 937614"/>
                  <a:gd name="connsiteY81" fmla="*/ 953553 h 1081087"/>
                  <a:gd name="connsiteX82" fmla="*/ 1900 w 937614"/>
                  <a:gd name="connsiteY82" fmla="*/ 952840 h 1081087"/>
                  <a:gd name="connsiteX83" fmla="*/ 1900 w 937614"/>
                  <a:gd name="connsiteY83" fmla="*/ 952128 h 1081087"/>
                  <a:gd name="connsiteX84" fmla="*/ 1185 w 937614"/>
                  <a:gd name="connsiteY84" fmla="*/ 950703 h 1081087"/>
                  <a:gd name="connsiteX85" fmla="*/ 469 w 937614"/>
                  <a:gd name="connsiteY85" fmla="*/ 941441 h 1081087"/>
                  <a:gd name="connsiteX86" fmla="*/ 1185 w 937614"/>
                  <a:gd name="connsiteY86" fmla="*/ 940016 h 1081087"/>
                  <a:gd name="connsiteX87" fmla="*/ 56270 w 937614"/>
                  <a:gd name="connsiteY87" fmla="*/ 801082 h 1081087"/>
                  <a:gd name="connsiteX88" fmla="*/ 146410 w 937614"/>
                  <a:gd name="connsiteY88" fmla="*/ 573087 h 1081087"/>
                  <a:gd name="connsiteX89" fmla="*/ 466795 w 937614"/>
                  <a:gd name="connsiteY89" fmla="*/ 74303 h 1081087"/>
                  <a:gd name="connsiteX90" fmla="*/ 433201 w 937614"/>
                  <a:gd name="connsiteY90" fmla="*/ 176770 h 1081087"/>
                  <a:gd name="connsiteX91" fmla="*/ 430342 w 937614"/>
                  <a:gd name="connsiteY91" fmla="*/ 178920 h 1081087"/>
                  <a:gd name="connsiteX92" fmla="*/ 323130 w 937614"/>
                  <a:gd name="connsiteY92" fmla="*/ 178920 h 1081087"/>
                  <a:gd name="connsiteX93" fmla="*/ 321700 w 937614"/>
                  <a:gd name="connsiteY93" fmla="*/ 184652 h 1081087"/>
                  <a:gd name="connsiteX94" fmla="*/ 408185 w 937614"/>
                  <a:gd name="connsiteY94" fmla="*/ 247709 h 1081087"/>
                  <a:gd name="connsiteX95" fmla="*/ 409615 w 937614"/>
                  <a:gd name="connsiteY95" fmla="*/ 251291 h 1081087"/>
                  <a:gd name="connsiteX96" fmla="*/ 376021 w 937614"/>
                  <a:gd name="connsiteY96" fmla="*/ 353758 h 1081087"/>
                  <a:gd name="connsiteX97" fmla="*/ 381025 w 937614"/>
                  <a:gd name="connsiteY97" fmla="*/ 356624 h 1081087"/>
                  <a:gd name="connsiteX98" fmla="*/ 467509 w 937614"/>
                  <a:gd name="connsiteY98" fmla="*/ 293568 h 1081087"/>
                  <a:gd name="connsiteX99" fmla="*/ 471798 w 937614"/>
                  <a:gd name="connsiteY99" fmla="*/ 293568 h 1081087"/>
                  <a:gd name="connsiteX100" fmla="*/ 558283 w 937614"/>
                  <a:gd name="connsiteY100" fmla="*/ 356624 h 1081087"/>
                  <a:gd name="connsiteX101" fmla="*/ 563286 w 937614"/>
                  <a:gd name="connsiteY101" fmla="*/ 353758 h 1081087"/>
                  <a:gd name="connsiteX102" fmla="*/ 529693 w 937614"/>
                  <a:gd name="connsiteY102" fmla="*/ 251291 h 1081087"/>
                  <a:gd name="connsiteX103" fmla="*/ 531122 w 937614"/>
                  <a:gd name="connsiteY103" fmla="*/ 247709 h 1081087"/>
                  <a:gd name="connsiteX104" fmla="*/ 617607 w 937614"/>
                  <a:gd name="connsiteY104" fmla="*/ 184652 h 1081087"/>
                  <a:gd name="connsiteX105" fmla="*/ 616178 w 937614"/>
                  <a:gd name="connsiteY105" fmla="*/ 178920 h 1081087"/>
                  <a:gd name="connsiteX106" fmla="*/ 508965 w 937614"/>
                  <a:gd name="connsiteY106" fmla="*/ 178920 h 1081087"/>
                  <a:gd name="connsiteX107" fmla="*/ 505391 w 937614"/>
                  <a:gd name="connsiteY107" fmla="*/ 176770 h 1081087"/>
                  <a:gd name="connsiteX108" fmla="*/ 472513 w 937614"/>
                  <a:gd name="connsiteY108" fmla="*/ 74303 h 1081087"/>
                  <a:gd name="connsiteX109" fmla="*/ 466795 w 937614"/>
                  <a:gd name="connsiteY109" fmla="*/ 74303 h 1081087"/>
                  <a:gd name="connsiteX110" fmla="*/ 469654 w 937614"/>
                  <a:gd name="connsiteY110" fmla="*/ 0 h 1081087"/>
                  <a:gd name="connsiteX111" fmla="*/ 698254 w 937614"/>
                  <a:gd name="connsiteY111" fmla="*/ 228600 h 1081087"/>
                  <a:gd name="connsiteX112" fmla="*/ 469654 w 937614"/>
                  <a:gd name="connsiteY112" fmla="*/ 457200 h 1081087"/>
                  <a:gd name="connsiteX113" fmla="*/ 241054 w 937614"/>
                  <a:gd name="connsiteY113" fmla="*/ 228600 h 1081087"/>
                  <a:gd name="connsiteX114" fmla="*/ 469654 w 937614"/>
                  <a:gd name="connsiteY114" fmla="*/ 0 h 1081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937614" h="1081087">
                    <a:moveTo>
                      <a:pt x="782276" y="587375"/>
                    </a:moveTo>
                    <a:cubicBezTo>
                      <a:pt x="782276" y="587375"/>
                      <a:pt x="782276" y="587375"/>
                      <a:pt x="936155" y="919846"/>
                    </a:cubicBezTo>
                    <a:cubicBezTo>
                      <a:pt x="941142" y="931261"/>
                      <a:pt x="932593" y="941963"/>
                      <a:pt x="921907" y="941963"/>
                    </a:cubicBezTo>
                    <a:cubicBezTo>
                      <a:pt x="919770" y="941963"/>
                      <a:pt x="917633" y="941963"/>
                      <a:pt x="915496" y="940536"/>
                    </a:cubicBezTo>
                    <a:cubicBezTo>
                      <a:pt x="915496" y="940536"/>
                      <a:pt x="915496" y="940536"/>
                      <a:pt x="706049" y="842079"/>
                    </a:cubicBezTo>
                    <a:cubicBezTo>
                      <a:pt x="703912" y="841366"/>
                      <a:pt x="701775" y="840652"/>
                      <a:pt x="699637" y="840652"/>
                    </a:cubicBezTo>
                    <a:cubicBezTo>
                      <a:pt x="692513" y="840652"/>
                      <a:pt x="686814" y="844933"/>
                      <a:pt x="684677" y="852068"/>
                    </a:cubicBezTo>
                    <a:cubicBezTo>
                      <a:pt x="684677" y="852068"/>
                      <a:pt x="684677" y="852068"/>
                      <a:pt x="618423" y="1069672"/>
                    </a:cubicBezTo>
                    <a:cubicBezTo>
                      <a:pt x="615574" y="1077520"/>
                      <a:pt x="609875" y="1081087"/>
                      <a:pt x="603463" y="1081087"/>
                    </a:cubicBezTo>
                    <a:cubicBezTo>
                      <a:pt x="597764" y="1081087"/>
                      <a:pt x="591352" y="1078233"/>
                      <a:pt x="589215" y="1071812"/>
                    </a:cubicBezTo>
                    <a:cubicBezTo>
                      <a:pt x="589215" y="1071812"/>
                      <a:pt x="589215" y="1071812"/>
                      <a:pt x="482354" y="837798"/>
                    </a:cubicBezTo>
                    <a:cubicBezTo>
                      <a:pt x="482354" y="837798"/>
                      <a:pt x="482354" y="837798"/>
                      <a:pt x="490903" y="817108"/>
                    </a:cubicBezTo>
                    <a:cubicBezTo>
                      <a:pt x="490903" y="817108"/>
                      <a:pt x="490903" y="817108"/>
                      <a:pt x="498740" y="796418"/>
                    </a:cubicBezTo>
                    <a:cubicBezTo>
                      <a:pt x="498740" y="796418"/>
                      <a:pt x="498740" y="796418"/>
                      <a:pt x="600613" y="1021157"/>
                    </a:cubicBezTo>
                    <a:cubicBezTo>
                      <a:pt x="600613" y="1021157"/>
                      <a:pt x="600613" y="1021157"/>
                      <a:pt x="654756" y="842793"/>
                    </a:cubicBezTo>
                    <a:cubicBezTo>
                      <a:pt x="660455" y="822816"/>
                      <a:pt x="678978" y="809260"/>
                      <a:pt x="699637" y="809260"/>
                    </a:cubicBezTo>
                    <a:cubicBezTo>
                      <a:pt x="706761" y="809260"/>
                      <a:pt x="713173" y="810687"/>
                      <a:pt x="719585" y="814254"/>
                    </a:cubicBezTo>
                    <a:cubicBezTo>
                      <a:pt x="719585" y="814254"/>
                      <a:pt x="719585" y="814254"/>
                      <a:pt x="889849" y="894161"/>
                    </a:cubicBezTo>
                    <a:cubicBezTo>
                      <a:pt x="889849" y="894161"/>
                      <a:pt x="889849" y="894161"/>
                      <a:pt x="758767" y="611633"/>
                    </a:cubicBezTo>
                    <a:cubicBezTo>
                      <a:pt x="763041" y="608065"/>
                      <a:pt x="767316" y="604498"/>
                      <a:pt x="770878" y="600217"/>
                    </a:cubicBezTo>
                    <a:cubicBezTo>
                      <a:pt x="775152" y="596650"/>
                      <a:pt x="778714" y="591656"/>
                      <a:pt x="782276" y="587375"/>
                    </a:cubicBezTo>
                    <a:close/>
                    <a:moveTo>
                      <a:pt x="146410" y="573087"/>
                    </a:moveTo>
                    <a:cubicBezTo>
                      <a:pt x="149987" y="578787"/>
                      <a:pt x="153564" y="583774"/>
                      <a:pt x="157141" y="588762"/>
                    </a:cubicBezTo>
                    <a:cubicBezTo>
                      <a:pt x="160718" y="593749"/>
                      <a:pt x="165011" y="598024"/>
                      <a:pt x="168588" y="602299"/>
                    </a:cubicBezTo>
                    <a:cubicBezTo>
                      <a:pt x="168588" y="602299"/>
                      <a:pt x="168588" y="602299"/>
                      <a:pt x="46255" y="911516"/>
                    </a:cubicBezTo>
                    <a:cubicBezTo>
                      <a:pt x="46255" y="911516"/>
                      <a:pt x="46255" y="911516"/>
                      <a:pt x="212227" y="821744"/>
                    </a:cubicBezTo>
                    <a:cubicBezTo>
                      <a:pt x="219381" y="817469"/>
                      <a:pt x="227250" y="816044"/>
                      <a:pt x="235120" y="816044"/>
                    </a:cubicBezTo>
                    <a:cubicBezTo>
                      <a:pt x="254436" y="816044"/>
                      <a:pt x="272321" y="828156"/>
                      <a:pt x="279475" y="846680"/>
                    </a:cubicBezTo>
                    <a:cubicBezTo>
                      <a:pt x="279475" y="846680"/>
                      <a:pt x="279475" y="846680"/>
                      <a:pt x="343861" y="1020526"/>
                    </a:cubicBezTo>
                    <a:cubicBezTo>
                      <a:pt x="343861" y="1020526"/>
                      <a:pt x="343861" y="1020526"/>
                      <a:pt x="445447" y="757620"/>
                    </a:cubicBezTo>
                    <a:cubicBezTo>
                      <a:pt x="445447" y="757620"/>
                      <a:pt x="445447" y="757620"/>
                      <a:pt x="454032" y="737671"/>
                    </a:cubicBezTo>
                    <a:cubicBezTo>
                      <a:pt x="454032" y="737671"/>
                      <a:pt x="454032" y="737671"/>
                      <a:pt x="461901" y="717009"/>
                    </a:cubicBezTo>
                    <a:cubicBezTo>
                      <a:pt x="461901" y="717009"/>
                      <a:pt x="461901" y="717009"/>
                      <a:pt x="464763" y="708459"/>
                    </a:cubicBezTo>
                    <a:cubicBezTo>
                      <a:pt x="466194" y="708459"/>
                      <a:pt x="468340" y="708459"/>
                      <a:pt x="469771" y="708459"/>
                    </a:cubicBezTo>
                    <a:cubicBezTo>
                      <a:pt x="474063" y="708459"/>
                      <a:pt x="477640" y="708459"/>
                      <a:pt x="481932" y="708459"/>
                    </a:cubicBezTo>
                    <a:cubicBezTo>
                      <a:pt x="487655" y="707746"/>
                      <a:pt x="494094" y="707034"/>
                      <a:pt x="499817" y="705609"/>
                    </a:cubicBezTo>
                    <a:cubicBezTo>
                      <a:pt x="499817" y="705609"/>
                      <a:pt x="499817" y="705609"/>
                      <a:pt x="479786" y="756908"/>
                    </a:cubicBezTo>
                    <a:cubicBezTo>
                      <a:pt x="479786" y="756908"/>
                      <a:pt x="479786" y="756908"/>
                      <a:pt x="471917" y="777570"/>
                    </a:cubicBezTo>
                    <a:cubicBezTo>
                      <a:pt x="471917" y="777570"/>
                      <a:pt x="471917" y="777570"/>
                      <a:pt x="464047" y="798232"/>
                    </a:cubicBezTo>
                    <a:cubicBezTo>
                      <a:pt x="464047" y="798232"/>
                      <a:pt x="464047" y="798232"/>
                      <a:pt x="441870" y="855230"/>
                    </a:cubicBezTo>
                    <a:cubicBezTo>
                      <a:pt x="441870" y="855230"/>
                      <a:pt x="441870" y="855230"/>
                      <a:pt x="358884" y="1071112"/>
                    </a:cubicBezTo>
                    <a:cubicBezTo>
                      <a:pt x="358168" y="1071825"/>
                      <a:pt x="358168" y="1072537"/>
                      <a:pt x="357453" y="1073250"/>
                    </a:cubicBezTo>
                    <a:cubicBezTo>
                      <a:pt x="357453" y="1073250"/>
                      <a:pt x="357453" y="1073962"/>
                      <a:pt x="356738" y="1073962"/>
                    </a:cubicBezTo>
                    <a:cubicBezTo>
                      <a:pt x="356738" y="1074675"/>
                      <a:pt x="356738" y="1074675"/>
                      <a:pt x="356022" y="1075387"/>
                    </a:cubicBezTo>
                    <a:cubicBezTo>
                      <a:pt x="356022" y="1075387"/>
                      <a:pt x="356022" y="1075387"/>
                      <a:pt x="355307" y="1076100"/>
                    </a:cubicBezTo>
                    <a:cubicBezTo>
                      <a:pt x="355307" y="1076100"/>
                      <a:pt x="354591" y="1076812"/>
                      <a:pt x="354591" y="1076812"/>
                    </a:cubicBezTo>
                    <a:cubicBezTo>
                      <a:pt x="354591" y="1076812"/>
                      <a:pt x="353876" y="1077525"/>
                      <a:pt x="353876" y="1077525"/>
                    </a:cubicBezTo>
                    <a:cubicBezTo>
                      <a:pt x="353161" y="1077525"/>
                      <a:pt x="353161" y="1078237"/>
                      <a:pt x="352445" y="1078237"/>
                    </a:cubicBezTo>
                    <a:cubicBezTo>
                      <a:pt x="352445" y="1078237"/>
                      <a:pt x="352445" y="1078237"/>
                      <a:pt x="352445" y="1078950"/>
                    </a:cubicBezTo>
                    <a:cubicBezTo>
                      <a:pt x="351730" y="1078950"/>
                      <a:pt x="351015" y="1078950"/>
                      <a:pt x="350299" y="1079662"/>
                    </a:cubicBezTo>
                    <a:cubicBezTo>
                      <a:pt x="349584" y="1079662"/>
                      <a:pt x="348868" y="1080375"/>
                      <a:pt x="348153" y="1080375"/>
                    </a:cubicBezTo>
                    <a:cubicBezTo>
                      <a:pt x="347438" y="1080375"/>
                      <a:pt x="346722" y="1080375"/>
                      <a:pt x="346007" y="1081087"/>
                    </a:cubicBezTo>
                    <a:cubicBezTo>
                      <a:pt x="345291" y="1081087"/>
                      <a:pt x="344576" y="1081087"/>
                      <a:pt x="343861" y="1081087"/>
                    </a:cubicBezTo>
                    <a:cubicBezTo>
                      <a:pt x="343145" y="1081087"/>
                      <a:pt x="342430" y="1081087"/>
                      <a:pt x="341714" y="1081087"/>
                    </a:cubicBezTo>
                    <a:cubicBezTo>
                      <a:pt x="340999" y="1080375"/>
                      <a:pt x="340284" y="1080375"/>
                      <a:pt x="339568" y="1080375"/>
                    </a:cubicBezTo>
                    <a:cubicBezTo>
                      <a:pt x="338853" y="1080375"/>
                      <a:pt x="338137" y="1079662"/>
                      <a:pt x="337422" y="1079662"/>
                    </a:cubicBezTo>
                    <a:cubicBezTo>
                      <a:pt x="336707" y="1078950"/>
                      <a:pt x="335991" y="1078950"/>
                      <a:pt x="335276" y="1078237"/>
                    </a:cubicBezTo>
                    <a:cubicBezTo>
                      <a:pt x="334560" y="1078237"/>
                      <a:pt x="333845" y="1077525"/>
                      <a:pt x="333845" y="1077525"/>
                    </a:cubicBezTo>
                    <a:cubicBezTo>
                      <a:pt x="333845" y="1076812"/>
                      <a:pt x="333130" y="1076812"/>
                      <a:pt x="333130" y="1076812"/>
                    </a:cubicBezTo>
                    <a:cubicBezTo>
                      <a:pt x="333130" y="1076812"/>
                      <a:pt x="332414" y="1076100"/>
                      <a:pt x="332414" y="1075387"/>
                    </a:cubicBezTo>
                    <a:cubicBezTo>
                      <a:pt x="331699" y="1075387"/>
                      <a:pt x="331699" y="1075387"/>
                      <a:pt x="331699" y="1075387"/>
                    </a:cubicBezTo>
                    <a:cubicBezTo>
                      <a:pt x="330983" y="1074675"/>
                      <a:pt x="330983" y="1073962"/>
                      <a:pt x="330983" y="1073962"/>
                    </a:cubicBezTo>
                    <a:cubicBezTo>
                      <a:pt x="330268" y="1073250"/>
                      <a:pt x="330268" y="1073250"/>
                      <a:pt x="330268" y="1073250"/>
                    </a:cubicBezTo>
                    <a:cubicBezTo>
                      <a:pt x="329553" y="1072537"/>
                      <a:pt x="329553" y="1071825"/>
                      <a:pt x="328837" y="1071112"/>
                    </a:cubicBezTo>
                    <a:cubicBezTo>
                      <a:pt x="328837" y="1070400"/>
                      <a:pt x="328837" y="1070400"/>
                      <a:pt x="328837" y="1070400"/>
                    </a:cubicBezTo>
                    <a:cubicBezTo>
                      <a:pt x="328837" y="1070400"/>
                      <a:pt x="328837" y="1070400"/>
                      <a:pt x="250143" y="857368"/>
                    </a:cubicBezTo>
                    <a:cubicBezTo>
                      <a:pt x="247282" y="850955"/>
                      <a:pt x="241559" y="847393"/>
                      <a:pt x="235120" y="847393"/>
                    </a:cubicBezTo>
                    <a:cubicBezTo>
                      <a:pt x="232258" y="847393"/>
                      <a:pt x="230112" y="847393"/>
                      <a:pt x="227250" y="848818"/>
                    </a:cubicBezTo>
                    <a:cubicBezTo>
                      <a:pt x="227250" y="848818"/>
                      <a:pt x="227250" y="848818"/>
                      <a:pt x="23362" y="959253"/>
                    </a:cubicBezTo>
                    <a:cubicBezTo>
                      <a:pt x="22646" y="959965"/>
                      <a:pt x="21931" y="959965"/>
                      <a:pt x="21931" y="959965"/>
                    </a:cubicBezTo>
                    <a:cubicBezTo>
                      <a:pt x="21216" y="960678"/>
                      <a:pt x="20500" y="960678"/>
                      <a:pt x="19785" y="960678"/>
                    </a:cubicBezTo>
                    <a:cubicBezTo>
                      <a:pt x="19069" y="960678"/>
                      <a:pt x="18354" y="961390"/>
                      <a:pt x="18354" y="961390"/>
                    </a:cubicBezTo>
                    <a:cubicBezTo>
                      <a:pt x="17639" y="961390"/>
                      <a:pt x="17639" y="961390"/>
                      <a:pt x="17639" y="961390"/>
                    </a:cubicBezTo>
                    <a:cubicBezTo>
                      <a:pt x="16923" y="961390"/>
                      <a:pt x="16923" y="961390"/>
                      <a:pt x="16208" y="961390"/>
                    </a:cubicBezTo>
                    <a:cubicBezTo>
                      <a:pt x="15493" y="961390"/>
                      <a:pt x="14777" y="961390"/>
                      <a:pt x="14777" y="961390"/>
                    </a:cubicBezTo>
                    <a:cubicBezTo>
                      <a:pt x="11200" y="960678"/>
                      <a:pt x="8339" y="959965"/>
                      <a:pt x="6192" y="957828"/>
                    </a:cubicBezTo>
                    <a:cubicBezTo>
                      <a:pt x="5477" y="957828"/>
                      <a:pt x="5477" y="957828"/>
                      <a:pt x="5477" y="957115"/>
                    </a:cubicBezTo>
                    <a:cubicBezTo>
                      <a:pt x="5477" y="957115"/>
                      <a:pt x="4762" y="957115"/>
                      <a:pt x="4762" y="956403"/>
                    </a:cubicBezTo>
                    <a:cubicBezTo>
                      <a:pt x="4762" y="956403"/>
                      <a:pt x="4762" y="956403"/>
                      <a:pt x="4046" y="955690"/>
                    </a:cubicBezTo>
                    <a:cubicBezTo>
                      <a:pt x="4046" y="955690"/>
                      <a:pt x="4046" y="955690"/>
                      <a:pt x="3331" y="955690"/>
                    </a:cubicBezTo>
                    <a:cubicBezTo>
                      <a:pt x="3331" y="954978"/>
                      <a:pt x="3331" y="954978"/>
                      <a:pt x="3331" y="954265"/>
                    </a:cubicBezTo>
                    <a:cubicBezTo>
                      <a:pt x="2615" y="954265"/>
                      <a:pt x="2615" y="954265"/>
                      <a:pt x="2615" y="953553"/>
                    </a:cubicBezTo>
                    <a:cubicBezTo>
                      <a:pt x="2615" y="953553"/>
                      <a:pt x="1900" y="953553"/>
                      <a:pt x="1900" y="952840"/>
                    </a:cubicBezTo>
                    <a:cubicBezTo>
                      <a:pt x="1900" y="952840"/>
                      <a:pt x="1900" y="952840"/>
                      <a:pt x="1900" y="952128"/>
                    </a:cubicBezTo>
                    <a:cubicBezTo>
                      <a:pt x="1900" y="952128"/>
                      <a:pt x="1185" y="951415"/>
                      <a:pt x="1185" y="950703"/>
                    </a:cubicBezTo>
                    <a:cubicBezTo>
                      <a:pt x="-246" y="947853"/>
                      <a:pt x="-246" y="945003"/>
                      <a:pt x="469" y="941441"/>
                    </a:cubicBezTo>
                    <a:cubicBezTo>
                      <a:pt x="1185" y="941441"/>
                      <a:pt x="1185" y="940728"/>
                      <a:pt x="1185" y="940016"/>
                    </a:cubicBezTo>
                    <a:cubicBezTo>
                      <a:pt x="1185" y="940016"/>
                      <a:pt x="1185" y="940016"/>
                      <a:pt x="56270" y="801082"/>
                    </a:cubicBezTo>
                    <a:cubicBezTo>
                      <a:pt x="56270" y="801082"/>
                      <a:pt x="56270" y="801082"/>
                      <a:pt x="146410" y="573087"/>
                    </a:cubicBezTo>
                    <a:close/>
                    <a:moveTo>
                      <a:pt x="466795" y="74303"/>
                    </a:moveTo>
                    <a:cubicBezTo>
                      <a:pt x="466795" y="74303"/>
                      <a:pt x="466795" y="74303"/>
                      <a:pt x="433201" y="176770"/>
                    </a:cubicBezTo>
                    <a:cubicBezTo>
                      <a:pt x="433201" y="178203"/>
                      <a:pt x="431772" y="178920"/>
                      <a:pt x="430342" y="178920"/>
                    </a:cubicBezTo>
                    <a:cubicBezTo>
                      <a:pt x="430342" y="178920"/>
                      <a:pt x="430342" y="178920"/>
                      <a:pt x="323130" y="178920"/>
                    </a:cubicBezTo>
                    <a:cubicBezTo>
                      <a:pt x="320271" y="178920"/>
                      <a:pt x="318841" y="182503"/>
                      <a:pt x="321700" y="184652"/>
                    </a:cubicBezTo>
                    <a:cubicBezTo>
                      <a:pt x="321700" y="184652"/>
                      <a:pt x="321700" y="184652"/>
                      <a:pt x="408185" y="247709"/>
                    </a:cubicBezTo>
                    <a:cubicBezTo>
                      <a:pt x="409615" y="248425"/>
                      <a:pt x="409615" y="249858"/>
                      <a:pt x="409615" y="251291"/>
                    </a:cubicBezTo>
                    <a:cubicBezTo>
                      <a:pt x="409615" y="251291"/>
                      <a:pt x="409615" y="251291"/>
                      <a:pt x="376021" y="353758"/>
                    </a:cubicBezTo>
                    <a:cubicBezTo>
                      <a:pt x="375307" y="356624"/>
                      <a:pt x="378880" y="358774"/>
                      <a:pt x="381025" y="356624"/>
                    </a:cubicBezTo>
                    <a:cubicBezTo>
                      <a:pt x="381025" y="356624"/>
                      <a:pt x="381025" y="356624"/>
                      <a:pt x="467509" y="293568"/>
                    </a:cubicBezTo>
                    <a:cubicBezTo>
                      <a:pt x="468939" y="292851"/>
                      <a:pt x="470368" y="292851"/>
                      <a:pt x="471798" y="293568"/>
                    </a:cubicBezTo>
                    <a:cubicBezTo>
                      <a:pt x="471798" y="293568"/>
                      <a:pt x="471798" y="293568"/>
                      <a:pt x="558283" y="356624"/>
                    </a:cubicBezTo>
                    <a:cubicBezTo>
                      <a:pt x="560427" y="358774"/>
                      <a:pt x="564001" y="356624"/>
                      <a:pt x="563286" y="353758"/>
                    </a:cubicBezTo>
                    <a:cubicBezTo>
                      <a:pt x="563286" y="353758"/>
                      <a:pt x="563286" y="353758"/>
                      <a:pt x="529693" y="251291"/>
                    </a:cubicBezTo>
                    <a:cubicBezTo>
                      <a:pt x="529693" y="249858"/>
                      <a:pt x="529693" y="248425"/>
                      <a:pt x="531122" y="247709"/>
                    </a:cubicBezTo>
                    <a:cubicBezTo>
                      <a:pt x="531122" y="247709"/>
                      <a:pt x="531122" y="247709"/>
                      <a:pt x="617607" y="184652"/>
                    </a:cubicBezTo>
                    <a:cubicBezTo>
                      <a:pt x="620466" y="182503"/>
                      <a:pt x="619037" y="178920"/>
                      <a:pt x="616178" y="178920"/>
                    </a:cubicBezTo>
                    <a:cubicBezTo>
                      <a:pt x="616178" y="178920"/>
                      <a:pt x="616178" y="178920"/>
                      <a:pt x="508965" y="178920"/>
                    </a:cubicBezTo>
                    <a:cubicBezTo>
                      <a:pt x="507536" y="178920"/>
                      <a:pt x="506106" y="178203"/>
                      <a:pt x="505391" y="176770"/>
                    </a:cubicBezTo>
                    <a:cubicBezTo>
                      <a:pt x="505391" y="176770"/>
                      <a:pt x="505391" y="176770"/>
                      <a:pt x="472513" y="74303"/>
                    </a:cubicBezTo>
                    <a:cubicBezTo>
                      <a:pt x="471798" y="71437"/>
                      <a:pt x="467509" y="71437"/>
                      <a:pt x="466795" y="74303"/>
                    </a:cubicBezTo>
                    <a:close/>
                    <a:moveTo>
                      <a:pt x="469654" y="0"/>
                    </a:moveTo>
                    <a:cubicBezTo>
                      <a:pt x="595906" y="0"/>
                      <a:pt x="698254" y="102348"/>
                      <a:pt x="698254" y="228600"/>
                    </a:cubicBezTo>
                    <a:cubicBezTo>
                      <a:pt x="698254" y="354852"/>
                      <a:pt x="595906" y="457200"/>
                      <a:pt x="469654" y="457200"/>
                    </a:cubicBezTo>
                    <a:cubicBezTo>
                      <a:pt x="343402" y="457200"/>
                      <a:pt x="241054" y="354852"/>
                      <a:pt x="241054" y="228600"/>
                    </a:cubicBezTo>
                    <a:cubicBezTo>
                      <a:pt x="241054" y="102348"/>
                      <a:pt x="343402" y="0"/>
                      <a:pt x="469654" y="0"/>
                    </a:cubicBezTo>
                    <a:close/>
                  </a:path>
                </a:pathLst>
              </a:custGeom>
              <a:solidFill>
                <a:srgbClr val="FFFF00"/>
              </a:solidFill>
              <a:ln>
                <a:noFill/>
              </a:ln>
            </p:spPr>
            <p:txBody>
              <a:bodyPr vert="horz" wrap="square" lIns="91440" tIns="45720" rIns="91440" bIns="45720" numCol="1" anchor="t" anchorCtr="0" compatLnSpc="1">
                <a:prstTxWarp prst="textNoShape">
                  <a:avLst/>
                </a:prstTxWarp>
                <a:noAutofit/>
              </a:bodyPr>
              <a:lstStyle/>
              <a:p>
                <a:endParaRPr lang="en-US" sz="1400" dirty="0"/>
              </a:p>
            </p:txBody>
          </p:sp>
        </p:grpSp>
      </p:grpSp>
      <p:grpSp>
        <p:nvGrpSpPr>
          <p:cNvPr id="56" name="Group 7"/>
          <p:cNvGrpSpPr/>
          <p:nvPr/>
        </p:nvGrpSpPr>
        <p:grpSpPr>
          <a:xfrm>
            <a:off x="309813" y="4868939"/>
            <a:ext cx="1907048" cy="1542252"/>
            <a:chOff x="3753061" y="2424409"/>
            <a:chExt cx="1747184" cy="1621486"/>
          </a:xfrm>
        </p:grpSpPr>
        <p:sp>
          <p:nvSpPr>
            <p:cNvPr id="57" name="TextBox 20"/>
            <p:cNvSpPr txBox="1"/>
            <p:nvPr/>
          </p:nvSpPr>
          <p:spPr>
            <a:xfrm>
              <a:off x="3753061" y="3390701"/>
              <a:ext cx="1747184" cy="655194"/>
            </a:xfrm>
            <a:prstGeom prst="rect">
              <a:avLst/>
            </a:prstGeom>
            <a:solidFill>
              <a:srgbClr val="005478"/>
            </a:solidFill>
            <a:ln w="9525" cap="rnd">
              <a:noFill/>
              <a:prstDash val="solid"/>
              <a:roun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20000"/>
                </a:lnSpc>
              </a:pPr>
              <a:r>
                <a:rPr lang="ru-RU" sz="1400" b="1" dirty="0" smtClean="0">
                  <a:solidFill>
                    <a:schemeClr val="bg1"/>
                  </a:solidFill>
                </a:rPr>
                <a:t>ДОПОЛНИТЕЛЬНЫЙ СТИМУЛ</a:t>
              </a:r>
              <a:endParaRPr lang="en-US" sz="1400" dirty="0">
                <a:solidFill>
                  <a:schemeClr val="bg1"/>
                </a:solidFill>
              </a:endParaRPr>
            </a:p>
          </p:txBody>
        </p:sp>
        <p:grpSp>
          <p:nvGrpSpPr>
            <p:cNvPr id="58" name="Group 49"/>
            <p:cNvGrpSpPr/>
            <p:nvPr/>
          </p:nvGrpSpPr>
          <p:grpSpPr>
            <a:xfrm>
              <a:off x="4185795" y="2424409"/>
              <a:ext cx="773455" cy="839411"/>
              <a:chOff x="5507163" y="2792305"/>
              <a:chExt cx="1172211" cy="1272171"/>
            </a:xfrm>
          </p:grpSpPr>
          <p:sp>
            <p:nvSpPr>
              <p:cNvPr id="59" name="Freeform 30"/>
              <p:cNvSpPr>
                <a:spLocks noEditPoints="1"/>
              </p:cNvSpPr>
              <p:nvPr/>
            </p:nvSpPr>
            <p:spPr bwMode="auto">
              <a:xfrm>
                <a:off x="5507163" y="3151724"/>
                <a:ext cx="1172211" cy="912752"/>
              </a:xfrm>
              <a:custGeom>
                <a:avLst/>
                <a:gdLst>
                  <a:gd name="T0" fmla="*/ 875 w 1644"/>
                  <a:gd name="T1" fmla="*/ 440 h 1280"/>
                  <a:gd name="T2" fmla="*/ 1563 w 1644"/>
                  <a:gd name="T3" fmla="*/ 440 h 1280"/>
                  <a:gd name="T4" fmla="*/ 1563 w 1644"/>
                  <a:gd name="T5" fmla="*/ 483 h 1280"/>
                  <a:gd name="T6" fmla="*/ 1563 w 1644"/>
                  <a:gd name="T7" fmla="*/ 1134 h 1280"/>
                  <a:gd name="T8" fmla="*/ 1417 w 1644"/>
                  <a:gd name="T9" fmla="*/ 1280 h 1280"/>
                  <a:gd name="T10" fmla="*/ 921 w 1644"/>
                  <a:gd name="T11" fmla="*/ 1280 h 1280"/>
                  <a:gd name="T12" fmla="*/ 875 w 1644"/>
                  <a:gd name="T13" fmla="*/ 1278 h 1280"/>
                  <a:gd name="T14" fmla="*/ 875 w 1644"/>
                  <a:gd name="T15" fmla="*/ 440 h 1280"/>
                  <a:gd name="T16" fmla="*/ 766 w 1644"/>
                  <a:gd name="T17" fmla="*/ 440 h 1280"/>
                  <a:gd name="T18" fmla="*/ 78 w 1644"/>
                  <a:gd name="T19" fmla="*/ 440 h 1280"/>
                  <a:gd name="T20" fmla="*/ 78 w 1644"/>
                  <a:gd name="T21" fmla="*/ 483 h 1280"/>
                  <a:gd name="T22" fmla="*/ 78 w 1644"/>
                  <a:gd name="T23" fmla="*/ 1134 h 1280"/>
                  <a:gd name="T24" fmla="*/ 225 w 1644"/>
                  <a:gd name="T25" fmla="*/ 1280 h 1280"/>
                  <a:gd name="T26" fmla="*/ 721 w 1644"/>
                  <a:gd name="T27" fmla="*/ 1280 h 1280"/>
                  <a:gd name="T28" fmla="*/ 766 w 1644"/>
                  <a:gd name="T29" fmla="*/ 1278 h 1280"/>
                  <a:gd name="T30" fmla="*/ 766 w 1644"/>
                  <a:gd name="T31" fmla="*/ 440 h 1280"/>
                  <a:gd name="T32" fmla="*/ 766 w 1644"/>
                  <a:gd name="T33" fmla="*/ 0 h 1280"/>
                  <a:gd name="T34" fmla="*/ 89 w 1644"/>
                  <a:gd name="T35" fmla="*/ 0 h 1280"/>
                  <a:gd name="T36" fmla="*/ 0 w 1644"/>
                  <a:gd name="T37" fmla="*/ 89 h 1280"/>
                  <a:gd name="T38" fmla="*/ 0 w 1644"/>
                  <a:gd name="T39" fmla="*/ 245 h 1280"/>
                  <a:gd name="T40" fmla="*/ 89 w 1644"/>
                  <a:gd name="T41" fmla="*/ 334 h 1280"/>
                  <a:gd name="T42" fmla="*/ 766 w 1644"/>
                  <a:gd name="T43" fmla="*/ 334 h 1280"/>
                  <a:gd name="T44" fmla="*/ 766 w 1644"/>
                  <a:gd name="T45" fmla="*/ 0 h 1280"/>
                  <a:gd name="T46" fmla="*/ 1555 w 1644"/>
                  <a:gd name="T47" fmla="*/ 0 h 1280"/>
                  <a:gd name="T48" fmla="*/ 875 w 1644"/>
                  <a:gd name="T49" fmla="*/ 0 h 1280"/>
                  <a:gd name="T50" fmla="*/ 875 w 1644"/>
                  <a:gd name="T51" fmla="*/ 334 h 1280"/>
                  <a:gd name="T52" fmla="*/ 1555 w 1644"/>
                  <a:gd name="T53" fmla="*/ 334 h 1280"/>
                  <a:gd name="T54" fmla="*/ 1644 w 1644"/>
                  <a:gd name="T55" fmla="*/ 245 h 1280"/>
                  <a:gd name="T56" fmla="*/ 1644 w 1644"/>
                  <a:gd name="T57" fmla="*/ 89 h 1280"/>
                  <a:gd name="T58" fmla="*/ 1555 w 1644"/>
                  <a:gd name="T59" fmla="*/ 0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4" h="1280">
                    <a:moveTo>
                      <a:pt x="875" y="440"/>
                    </a:moveTo>
                    <a:cubicBezTo>
                      <a:pt x="1105" y="440"/>
                      <a:pt x="1331" y="440"/>
                      <a:pt x="1563" y="440"/>
                    </a:cubicBezTo>
                    <a:cubicBezTo>
                      <a:pt x="1563" y="455"/>
                      <a:pt x="1563" y="469"/>
                      <a:pt x="1563" y="483"/>
                    </a:cubicBezTo>
                    <a:cubicBezTo>
                      <a:pt x="1563" y="700"/>
                      <a:pt x="1564" y="917"/>
                      <a:pt x="1563" y="1134"/>
                    </a:cubicBezTo>
                    <a:cubicBezTo>
                      <a:pt x="1563" y="1234"/>
                      <a:pt x="1517" y="1280"/>
                      <a:pt x="1417" y="1280"/>
                    </a:cubicBezTo>
                    <a:cubicBezTo>
                      <a:pt x="1251" y="1280"/>
                      <a:pt x="1086" y="1280"/>
                      <a:pt x="921" y="1280"/>
                    </a:cubicBezTo>
                    <a:cubicBezTo>
                      <a:pt x="906" y="1280"/>
                      <a:pt x="892" y="1279"/>
                      <a:pt x="875" y="1278"/>
                    </a:cubicBezTo>
                    <a:cubicBezTo>
                      <a:pt x="875" y="998"/>
                      <a:pt x="875" y="721"/>
                      <a:pt x="875" y="440"/>
                    </a:cubicBezTo>
                    <a:close/>
                    <a:moveTo>
                      <a:pt x="766" y="440"/>
                    </a:moveTo>
                    <a:cubicBezTo>
                      <a:pt x="536" y="440"/>
                      <a:pt x="310" y="440"/>
                      <a:pt x="78" y="440"/>
                    </a:cubicBezTo>
                    <a:cubicBezTo>
                      <a:pt x="78" y="455"/>
                      <a:pt x="78" y="469"/>
                      <a:pt x="78" y="483"/>
                    </a:cubicBezTo>
                    <a:cubicBezTo>
                      <a:pt x="78" y="700"/>
                      <a:pt x="78" y="917"/>
                      <a:pt x="78" y="1134"/>
                    </a:cubicBezTo>
                    <a:cubicBezTo>
                      <a:pt x="78" y="1234"/>
                      <a:pt x="124" y="1280"/>
                      <a:pt x="225" y="1280"/>
                    </a:cubicBezTo>
                    <a:cubicBezTo>
                      <a:pt x="390" y="1280"/>
                      <a:pt x="555" y="1280"/>
                      <a:pt x="721" y="1280"/>
                    </a:cubicBezTo>
                    <a:cubicBezTo>
                      <a:pt x="735" y="1280"/>
                      <a:pt x="749" y="1279"/>
                      <a:pt x="766" y="1278"/>
                    </a:cubicBezTo>
                    <a:cubicBezTo>
                      <a:pt x="766" y="998"/>
                      <a:pt x="766" y="721"/>
                      <a:pt x="766" y="440"/>
                    </a:cubicBezTo>
                    <a:close/>
                    <a:moveTo>
                      <a:pt x="766" y="0"/>
                    </a:moveTo>
                    <a:cubicBezTo>
                      <a:pt x="89" y="0"/>
                      <a:pt x="89" y="0"/>
                      <a:pt x="89" y="0"/>
                    </a:cubicBezTo>
                    <a:cubicBezTo>
                      <a:pt x="40" y="0"/>
                      <a:pt x="0" y="40"/>
                      <a:pt x="0" y="89"/>
                    </a:cubicBezTo>
                    <a:cubicBezTo>
                      <a:pt x="0" y="245"/>
                      <a:pt x="0" y="245"/>
                      <a:pt x="0" y="245"/>
                    </a:cubicBezTo>
                    <a:cubicBezTo>
                      <a:pt x="0" y="294"/>
                      <a:pt x="40" y="334"/>
                      <a:pt x="89" y="334"/>
                    </a:cubicBezTo>
                    <a:cubicBezTo>
                      <a:pt x="766" y="334"/>
                      <a:pt x="766" y="334"/>
                      <a:pt x="766" y="334"/>
                    </a:cubicBezTo>
                    <a:lnTo>
                      <a:pt x="766" y="0"/>
                    </a:lnTo>
                    <a:close/>
                    <a:moveTo>
                      <a:pt x="1555" y="0"/>
                    </a:moveTo>
                    <a:cubicBezTo>
                      <a:pt x="875" y="0"/>
                      <a:pt x="875" y="0"/>
                      <a:pt x="875" y="0"/>
                    </a:cubicBezTo>
                    <a:cubicBezTo>
                      <a:pt x="875" y="334"/>
                      <a:pt x="875" y="334"/>
                      <a:pt x="875" y="334"/>
                    </a:cubicBezTo>
                    <a:cubicBezTo>
                      <a:pt x="1555" y="334"/>
                      <a:pt x="1555" y="334"/>
                      <a:pt x="1555" y="334"/>
                    </a:cubicBezTo>
                    <a:cubicBezTo>
                      <a:pt x="1604" y="334"/>
                      <a:pt x="1644" y="294"/>
                      <a:pt x="1644" y="245"/>
                    </a:cubicBezTo>
                    <a:cubicBezTo>
                      <a:pt x="1644" y="89"/>
                      <a:pt x="1644" y="89"/>
                      <a:pt x="1644" y="89"/>
                    </a:cubicBezTo>
                    <a:cubicBezTo>
                      <a:pt x="1644" y="40"/>
                      <a:pt x="1604" y="0"/>
                      <a:pt x="1555" y="0"/>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60" name="Freeform 31"/>
              <p:cNvSpPr>
                <a:spLocks noEditPoints="1"/>
              </p:cNvSpPr>
              <p:nvPr/>
            </p:nvSpPr>
            <p:spPr bwMode="auto">
              <a:xfrm>
                <a:off x="5683596" y="2792305"/>
                <a:ext cx="818800" cy="325554"/>
              </a:xfrm>
              <a:custGeom>
                <a:avLst/>
                <a:gdLst>
                  <a:gd name="T0" fmla="*/ 1112 w 1148"/>
                  <a:gd name="T1" fmla="*/ 95 h 457"/>
                  <a:gd name="T2" fmla="*/ 974 w 1148"/>
                  <a:gd name="T3" fmla="*/ 0 h 457"/>
                  <a:gd name="T4" fmla="*/ 691 w 1148"/>
                  <a:gd name="T5" fmla="*/ 197 h 457"/>
                  <a:gd name="T6" fmla="*/ 598 w 1148"/>
                  <a:gd name="T7" fmla="*/ 324 h 457"/>
                  <a:gd name="T8" fmla="*/ 726 w 1148"/>
                  <a:gd name="T9" fmla="*/ 78 h 457"/>
                  <a:gd name="T10" fmla="*/ 737 w 1148"/>
                  <a:gd name="T11" fmla="*/ 49 h 457"/>
                  <a:gd name="T12" fmla="*/ 708 w 1148"/>
                  <a:gd name="T13" fmla="*/ 38 h 457"/>
                  <a:gd name="T14" fmla="*/ 553 w 1148"/>
                  <a:gd name="T15" fmla="*/ 327 h 457"/>
                  <a:gd name="T16" fmla="*/ 457 w 1148"/>
                  <a:gd name="T17" fmla="*/ 197 h 457"/>
                  <a:gd name="T18" fmla="*/ 174 w 1148"/>
                  <a:gd name="T19" fmla="*/ 0 h 457"/>
                  <a:gd name="T20" fmla="*/ 36 w 1148"/>
                  <a:gd name="T21" fmla="*/ 95 h 457"/>
                  <a:gd name="T22" fmla="*/ 31 w 1148"/>
                  <a:gd name="T23" fmla="*/ 270 h 457"/>
                  <a:gd name="T24" fmla="*/ 243 w 1148"/>
                  <a:gd name="T25" fmla="*/ 413 h 457"/>
                  <a:gd name="T26" fmla="*/ 495 w 1148"/>
                  <a:gd name="T27" fmla="*/ 457 h 457"/>
                  <a:gd name="T28" fmla="*/ 495 w 1148"/>
                  <a:gd name="T29" fmla="*/ 457 h 457"/>
                  <a:gd name="T30" fmla="*/ 574 w 1148"/>
                  <a:gd name="T31" fmla="*/ 446 h 457"/>
                  <a:gd name="T32" fmla="*/ 653 w 1148"/>
                  <a:gd name="T33" fmla="*/ 457 h 457"/>
                  <a:gd name="T34" fmla="*/ 905 w 1148"/>
                  <a:gd name="T35" fmla="*/ 413 h 457"/>
                  <a:gd name="T36" fmla="*/ 1117 w 1148"/>
                  <a:gd name="T37" fmla="*/ 270 h 457"/>
                  <a:gd name="T38" fmla="*/ 1112 w 1148"/>
                  <a:gd name="T39" fmla="*/ 95 h 457"/>
                  <a:gd name="T40" fmla="*/ 495 w 1148"/>
                  <a:gd name="T41" fmla="*/ 413 h 457"/>
                  <a:gd name="T42" fmla="*/ 495 w 1148"/>
                  <a:gd name="T43" fmla="*/ 413 h 457"/>
                  <a:gd name="T44" fmla="*/ 69 w 1148"/>
                  <a:gd name="T45" fmla="*/ 248 h 457"/>
                  <a:gd name="T46" fmla="*/ 74 w 1148"/>
                  <a:gd name="T47" fmla="*/ 117 h 457"/>
                  <a:gd name="T48" fmla="*/ 174 w 1148"/>
                  <a:gd name="T49" fmla="*/ 44 h 457"/>
                  <a:gd name="T50" fmla="*/ 550 w 1148"/>
                  <a:gd name="T51" fmla="*/ 404 h 457"/>
                  <a:gd name="T52" fmla="*/ 549 w 1148"/>
                  <a:gd name="T53" fmla="*/ 408 h 457"/>
                  <a:gd name="T54" fmla="*/ 495 w 1148"/>
                  <a:gd name="T55" fmla="*/ 413 h 457"/>
                  <a:gd name="T56" fmla="*/ 1079 w 1148"/>
                  <a:gd name="T57" fmla="*/ 248 h 457"/>
                  <a:gd name="T58" fmla="*/ 653 w 1148"/>
                  <a:gd name="T59" fmla="*/ 413 h 457"/>
                  <a:gd name="T60" fmla="*/ 599 w 1148"/>
                  <a:gd name="T61" fmla="*/ 408 h 457"/>
                  <a:gd name="T62" fmla="*/ 598 w 1148"/>
                  <a:gd name="T63" fmla="*/ 404 h 457"/>
                  <a:gd name="T64" fmla="*/ 974 w 1148"/>
                  <a:gd name="T65" fmla="*/ 44 h 457"/>
                  <a:gd name="T66" fmla="*/ 1074 w 1148"/>
                  <a:gd name="T67" fmla="*/ 117 h 457"/>
                  <a:gd name="T68" fmla="*/ 1079 w 1148"/>
                  <a:gd name="T69" fmla="*/ 2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8" h="457">
                    <a:moveTo>
                      <a:pt x="1112" y="95"/>
                    </a:moveTo>
                    <a:cubicBezTo>
                      <a:pt x="1077" y="32"/>
                      <a:pt x="1030" y="0"/>
                      <a:pt x="974" y="0"/>
                    </a:cubicBezTo>
                    <a:cubicBezTo>
                      <a:pt x="895" y="0"/>
                      <a:pt x="799" y="66"/>
                      <a:pt x="691" y="197"/>
                    </a:cubicBezTo>
                    <a:cubicBezTo>
                      <a:pt x="654" y="243"/>
                      <a:pt x="621" y="289"/>
                      <a:pt x="598" y="324"/>
                    </a:cubicBezTo>
                    <a:cubicBezTo>
                      <a:pt x="607" y="251"/>
                      <a:pt x="637" y="120"/>
                      <a:pt x="726" y="78"/>
                    </a:cubicBezTo>
                    <a:cubicBezTo>
                      <a:pt x="737" y="73"/>
                      <a:pt x="742" y="60"/>
                      <a:pt x="737" y="49"/>
                    </a:cubicBezTo>
                    <a:cubicBezTo>
                      <a:pt x="732" y="38"/>
                      <a:pt x="719" y="33"/>
                      <a:pt x="708" y="38"/>
                    </a:cubicBezTo>
                    <a:cubicBezTo>
                      <a:pt x="595" y="91"/>
                      <a:pt x="562" y="249"/>
                      <a:pt x="553" y="327"/>
                    </a:cubicBezTo>
                    <a:cubicBezTo>
                      <a:pt x="529" y="292"/>
                      <a:pt x="495" y="245"/>
                      <a:pt x="457" y="197"/>
                    </a:cubicBezTo>
                    <a:cubicBezTo>
                      <a:pt x="349" y="66"/>
                      <a:pt x="253" y="0"/>
                      <a:pt x="174" y="0"/>
                    </a:cubicBezTo>
                    <a:cubicBezTo>
                      <a:pt x="118" y="0"/>
                      <a:pt x="71" y="32"/>
                      <a:pt x="36" y="95"/>
                    </a:cubicBezTo>
                    <a:cubicBezTo>
                      <a:pt x="1" y="157"/>
                      <a:pt x="0" y="217"/>
                      <a:pt x="31" y="270"/>
                    </a:cubicBezTo>
                    <a:cubicBezTo>
                      <a:pt x="74" y="343"/>
                      <a:pt x="170" y="388"/>
                      <a:pt x="243" y="413"/>
                    </a:cubicBezTo>
                    <a:cubicBezTo>
                      <a:pt x="324" y="440"/>
                      <a:pt x="421" y="457"/>
                      <a:pt x="495" y="457"/>
                    </a:cubicBezTo>
                    <a:cubicBezTo>
                      <a:pt x="495" y="457"/>
                      <a:pt x="495" y="457"/>
                      <a:pt x="495" y="457"/>
                    </a:cubicBezTo>
                    <a:cubicBezTo>
                      <a:pt x="535" y="457"/>
                      <a:pt x="559" y="452"/>
                      <a:pt x="574" y="446"/>
                    </a:cubicBezTo>
                    <a:cubicBezTo>
                      <a:pt x="589" y="452"/>
                      <a:pt x="613" y="457"/>
                      <a:pt x="653" y="457"/>
                    </a:cubicBezTo>
                    <a:cubicBezTo>
                      <a:pt x="727" y="457"/>
                      <a:pt x="824" y="440"/>
                      <a:pt x="905" y="413"/>
                    </a:cubicBezTo>
                    <a:cubicBezTo>
                      <a:pt x="978" y="388"/>
                      <a:pt x="1074" y="343"/>
                      <a:pt x="1117" y="270"/>
                    </a:cubicBezTo>
                    <a:cubicBezTo>
                      <a:pt x="1148" y="217"/>
                      <a:pt x="1147" y="157"/>
                      <a:pt x="1112" y="95"/>
                    </a:cubicBezTo>
                    <a:close/>
                    <a:moveTo>
                      <a:pt x="495" y="413"/>
                    </a:moveTo>
                    <a:cubicBezTo>
                      <a:pt x="495" y="413"/>
                      <a:pt x="495" y="413"/>
                      <a:pt x="495" y="413"/>
                    </a:cubicBezTo>
                    <a:cubicBezTo>
                      <a:pt x="360" y="413"/>
                      <a:pt x="131" y="354"/>
                      <a:pt x="69" y="248"/>
                    </a:cubicBezTo>
                    <a:cubicBezTo>
                      <a:pt x="45" y="208"/>
                      <a:pt x="47" y="165"/>
                      <a:pt x="74" y="117"/>
                    </a:cubicBezTo>
                    <a:cubicBezTo>
                      <a:pt x="101" y="67"/>
                      <a:pt x="134" y="44"/>
                      <a:pt x="174" y="44"/>
                    </a:cubicBezTo>
                    <a:cubicBezTo>
                      <a:pt x="304" y="44"/>
                      <a:pt x="484" y="295"/>
                      <a:pt x="550" y="404"/>
                    </a:cubicBezTo>
                    <a:cubicBezTo>
                      <a:pt x="549" y="405"/>
                      <a:pt x="549" y="407"/>
                      <a:pt x="549" y="408"/>
                    </a:cubicBezTo>
                    <a:cubicBezTo>
                      <a:pt x="540" y="411"/>
                      <a:pt x="523" y="413"/>
                      <a:pt x="495" y="413"/>
                    </a:cubicBezTo>
                    <a:close/>
                    <a:moveTo>
                      <a:pt x="1079" y="248"/>
                    </a:moveTo>
                    <a:cubicBezTo>
                      <a:pt x="1017" y="354"/>
                      <a:pt x="788" y="413"/>
                      <a:pt x="653" y="413"/>
                    </a:cubicBezTo>
                    <a:cubicBezTo>
                      <a:pt x="625" y="413"/>
                      <a:pt x="608" y="411"/>
                      <a:pt x="599" y="408"/>
                    </a:cubicBezTo>
                    <a:cubicBezTo>
                      <a:pt x="599" y="407"/>
                      <a:pt x="599" y="405"/>
                      <a:pt x="598" y="404"/>
                    </a:cubicBezTo>
                    <a:cubicBezTo>
                      <a:pt x="664" y="295"/>
                      <a:pt x="844" y="44"/>
                      <a:pt x="974" y="44"/>
                    </a:cubicBezTo>
                    <a:cubicBezTo>
                      <a:pt x="1014" y="44"/>
                      <a:pt x="1047" y="67"/>
                      <a:pt x="1074" y="117"/>
                    </a:cubicBezTo>
                    <a:cubicBezTo>
                      <a:pt x="1101" y="165"/>
                      <a:pt x="1103" y="208"/>
                      <a:pt x="1079" y="248"/>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grpSp>
      <p:sp>
        <p:nvSpPr>
          <p:cNvPr id="61" name="TextBox 15"/>
          <p:cNvSpPr txBox="1"/>
          <p:nvPr/>
        </p:nvSpPr>
        <p:spPr>
          <a:xfrm>
            <a:off x="-313475" y="1908000"/>
            <a:ext cx="2530336" cy="7038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smtClean="0">
              <a:solidFill>
                <a:schemeClr val="bg1"/>
              </a:solidFill>
            </a:endParaRPr>
          </a:p>
          <a:p>
            <a:pPr algn="ctr"/>
            <a:endParaRPr lang="en-US" sz="1400" b="1" dirty="0">
              <a:solidFill>
                <a:schemeClr val="bg1"/>
              </a:solidFill>
            </a:endParaRPr>
          </a:p>
          <a:p>
            <a:pPr algn="ctr"/>
            <a:r>
              <a:rPr lang="ru-RU" sz="1400" b="1" dirty="0" smtClean="0">
                <a:solidFill>
                  <a:schemeClr val="bg1"/>
                </a:solidFill>
              </a:rPr>
              <a:t>УЛУЧШАЕТ </a:t>
            </a:r>
          </a:p>
          <a:p>
            <a:pPr algn="ctr"/>
            <a:r>
              <a:rPr lang="ru-RU" sz="1400" b="1" dirty="0" smtClean="0">
                <a:solidFill>
                  <a:schemeClr val="bg1"/>
                </a:solidFill>
              </a:rPr>
              <a:t>УСЛОВИЯ ТРУДА</a:t>
            </a:r>
            <a:endParaRPr lang="en-US" sz="1400" b="1" dirty="0" smtClean="0">
              <a:solidFill>
                <a:schemeClr val="bg1"/>
              </a:solidFill>
            </a:endParaRPr>
          </a:p>
          <a:p>
            <a:pPr algn="ctr"/>
            <a:endParaRPr lang="en-US" sz="1400" b="1" dirty="0" smtClean="0">
              <a:solidFill>
                <a:schemeClr val="bg1"/>
              </a:solidFill>
            </a:endParaRPr>
          </a:p>
        </p:txBody>
      </p:sp>
      <p:grpSp>
        <p:nvGrpSpPr>
          <p:cNvPr id="63" name="Group 8"/>
          <p:cNvGrpSpPr/>
          <p:nvPr/>
        </p:nvGrpSpPr>
        <p:grpSpPr>
          <a:xfrm>
            <a:off x="3509754" y="2811743"/>
            <a:ext cx="1440000" cy="1518469"/>
            <a:chOff x="9278649" y="2218178"/>
            <a:chExt cx="1747186" cy="1842395"/>
          </a:xfrm>
        </p:grpSpPr>
        <p:sp>
          <p:nvSpPr>
            <p:cNvPr id="64" name="TextBox 22"/>
            <p:cNvSpPr txBox="1"/>
            <p:nvPr/>
          </p:nvSpPr>
          <p:spPr>
            <a:xfrm>
              <a:off x="9278649" y="3405378"/>
              <a:ext cx="1747186" cy="655195"/>
            </a:xfrm>
            <a:prstGeom prst="rect">
              <a:avLst/>
            </a:prstGeom>
            <a:solidFill>
              <a:srgbClr val="005478"/>
            </a:solidFill>
            <a:ln w="9525" cap="rnd">
              <a:noFill/>
              <a:prstDash val="solid"/>
              <a:roun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20000"/>
                </a:lnSpc>
              </a:pPr>
              <a:r>
                <a:rPr lang="ru-RU" sz="1400" b="1" dirty="0" smtClean="0">
                  <a:solidFill>
                    <a:schemeClr val="bg1"/>
                  </a:solidFill>
                </a:rPr>
                <a:t>СНИЖАЕТ</a:t>
              </a:r>
            </a:p>
            <a:p>
              <a:pPr algn="ctr">
                <a:lnSpc>
                  <a:spcPct val="120000"/>
                </a:lnSpc>
              </a:pPr>
              <a:r>
                <a:rPr lang="ru-RU" sz="1400" b="1" dirty="0" smtClean="0">
                  <a:solidFill>
                    <a:schemeClr val="bg1"/>
                  </a:solidFill>
                </a:rPr>
                <a:t>ЗАТРАТЫ</a:t>
              </a:r>
              <a:endParaRPr lang="en-US" sz="1400" dirty="0">
                <a:solidFill>
                  <a:schemeClr val="bg1"/>
                </a:solidFill>
              </a:endParaRPr>
            </a:p>
          </p:txBody>
        </p:sp>
        <p:sp>
          <p:nvSpPr>
            <p:cNvPr id="65" name="AutoShape 9">
              <a:extLst>
                <a:ext uri="{FF2B5EF4-FFF2-40B4-BE49-F238E27FC236}">
                  <a16:creationId xmlns:a16="http://schemas.microsoft.com/office/drawing/2014/main" id="{E0D198FC-C2F2-4FED-9034-D826A21FCD89}"/>
                </a:ext>
              </a:extLst>
            </p:cNvPr>
            <p:cNvSpPr>
              <a:spLocks noChangeAspect="1" noChangeArrowheads="1" noTextEdit="1"/>
            </p:cNvSpPr>
            <p:nvPr/>
          </p:nvSpPr>
          <p:spPr bwMode="auto">
            <a:xfrm>
              <a:off x="9530580" y="2218178"/>
              <a:ext cx="1250712" cy="1251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6" name="Group 59"/>
            <p:cNvGrpSpPr/>
            <p:nvPr/>
          </p:nvGrpSpPr>
          <p:grpSpPr>
            <a:xfrm>
              <a:off x="9580423" y="2569108"/>
              <a:ext cx="1148128" cy="707366"/>
              <a:chOff x="5339333" y="3067431"/>
              <a:chExt cx="1509522" cy="930021"/>
            </a:xfrm>
          </p:grpSpPr>
          <p:sp>
            <p:nvSpPr>
              <p:cNvPr id="67" name="Freeform 11">
                <a:extLst>
                  <a:ext uri="{FF2B5EF4-FFF2-40B4-BE49-F238E27FC236}">
                    <a16:creationId xmlns:a16="http://schemas.microsoft.com/office/drawing/2014/main" id="{BF86BFAF-8981-4474-850E-2A9237D57EBB}"/>
                  </a:ext>
                </a:extLst>
              </p:cNvPr>
              <p:cNvSpPr>
                <a:spLocks noEditPoints="1"/>
              </p:cNvSpPr>
              <p:nvPr/>
            </p:nvSpPr>
            <p:spPr bwMode="auto">
              <a:xfrm>
                <a:off x="5339333" y="3067431"/>
                <a:ext cx="1509522" cy="930021"/>
              </a:xfrm>
              <a:custGeom>
                <a:avLst/>
                <a:gdLst>
                  <a:gd name="T0" fmla="*/ 154 w 2115"/>
                  <a:gd name="T1" fmla="*/ 956 h 1302"/>
                  <a:gd name="T2" fmla="*/ 144 w 2115"/>
                  <a:gd name="T3" fmla="*/ 334 h 1302"/>
                  <a:gd name="T4" fmla="*/ 573 w 2115"/>
                  <a:gd name="T5" fmla="*/ 324 h 1302"/>
                  <a:gd name="T6" fmla="*/ 573 w 2115"/>
                  <a:gd name="T7" fmla="*/ 1059 h 1302"/>
                  <a:gd name="T8" fmla="*/ 44 w 2115"/>
                  <a:gd name="T9" fmla="*/ 220 h 1302"/>
                  <a:gd name="T10" fmla="*/ 573 w 2115"/>
                  <a:gd name="T11" fmla="*/ 180 h 1302"/>
                  <a:gd name="T12" fmla="*/ 22 w 2115"/>
                  <a:gd name="T13" fmla="*/ 176 h 1302"/>
                  <a:gd name="T14" fmla="*/ 0 w 2115"/>
                  <a:gd name="T15" fmla="*/ 1081 h 1302"/>
                  <a:gd name="T16" fmla="*/ 573 w 2115"/>
                  <a:gd name="T17" fmla="*/ 1103 h 1302"/>
                  <a:gd name="T18" fmla="*/ 660 w 2115"/>
                  <a:gd name="T19" fmla="*/ 89 h 1302"/>
                  <a:gd name="T20" fmla="*/ 94 w 2115"/>
                  <a:gd name="T21" fmla="*/ 111 h 1302"/>
                  <a:gd name="T22" fmla="*/ 618 w 2115"/>
                  <a:gd name="T23" fmla="*/ 133 h 1302"/>
                  <a:gd name="T24" fmla="*/ 745 w 2115"/>
                  <a:gd name="T25" fmla="*/ 0 h 1302"/>
                  <a:gd name="T26" fmla="*/ 179 w 2115"/>
                  <a:gd name="T27" fmla="*/ 22 h 1302"/>
                  <a:gd name="T28" fmla="*/ 703 w 2115"/>
                  <a:gd name="T29" fmla="*/ 44 h 1302"/>
                  <a:gd name="T30" fmla="*/ 1882 w 2115"/>
                  <a:gd name="T31" fmla="*/ 948 h 1302"/>
                  <a:gd name="T32" fmla="*/ 1760 w 2115"/>
                  <a:gd name="T33" fmla="*/ 1286 h 1302"/>
                  <a:gd name="T34" fmla="*/ 1452 w 2115"/>
                  <a:gd name="T35" fmla="*/ 1286 h 1302"/>
                  <a:gd name="T36" fmla="*/ 1329 w 2115"/>
                  <a:gd name="T37" fmla="*/ 1168 h 1302"/>
                  <a:gd name="T38" fmla="*/ 1452 w 2115"/>
                  <a:gd name="T39" fmla="*/ 830 h 1302"/>
                  <a:gd name="T40" fmla="*/ 1760 w 2115"/>
                  <a:gd name="T41" fmla="*/ 830 h 1302"/>
                  <a:gd name="T42" fmla="*/ 1882 w 2115"/>
                  <a:gd name="T43" fmla="*/ 948 h 1302"/>
                  <a:gd name="T44" fmla="*/ 1750 w 2115"/>
                  <a:gd name="T45" fmla="*/ 873 h 1302"/>
                  <a:gd name="T46" fmla="*/ 1462 w 2115"/>
                  <a:gd name="T47" fmla="*/ 873 h 1302"/>
                  <a:gd name="T48" fmla="*/ 1373 w 2115"/>
                  <a:gd name="T49" fmla="*/ 1168 h 1302"/>
                  <a:gd name="T50" fmla="*/ 1606 w 2115"/>
                  <a:gd name="T51" fmla="*/ 1258 h 1302"/>
                  <a:gd name="T52" fmla="*/ 1838 w 2115"/>
                  <a:gd name="T53" fmla="*/ 1168 h 1302"/>
                  <a:gd name="T54" fmla="*/ 1728 w 2115"/>
                  <a:gd name="T55" fmla="*/ 325 h 1302"/>
                  <a:gd name="T56" fmla="*/ 1772 w 2115"/>
                  <a:gd name="T57" fmla="*/ 198 h 1302"/>
                  <a:gd name="T58" fmla="*/ 1246 w 2115"/>
                  <a:gd name="T59" fmla="*/ 176 h 1302"/>
                  <a:gd name="T60" fmla="*/ 1209 w 2115"/>
                  <a:gd name="T61" fmla="*/ 220 h 1302"/>
                  <a:gd name="T62" fmla="*/ 1728 w 2115"/>
                  <a:gd name="T63" fmla="*/ 325 h 1302"/>
                  <a:gd name="T64" fmla="*/ 1838 w 2115"/>
                  <a:gd name="T65" fmla="*/ 318 h 1302"/>
                  <a:gd name="T66" fmla="*/ 1866 w 2115"/>
                  <a:gd name="T67" fmla="*/ 111 h 1302"/>
                  <a:gd name="T68" fmla="*/ 1330 w 2115"/>
                  <a:gd name="T69" fmla="*/ 89 h 1302"/>
                  <a:gd name="T70" fmla="*/ 1822 w 2115"/>
                  <a:gd name="T71" fmla="*/ 133 h 1302"/>
                  <a:gd name="T72" fmla="*/ 1907 w 2115"/>
                  <a:gd name="T73" fmla="*/ 321 h 1302"/>
                  <a:gd name="T74" fmla="*/ 1951 w 2115"/>
                  <a:gd name="T75" fmla="*/ 22 h 1302"/>
                  <a:gd name="T76" fmla="*/ 1415 w 2115"/>
                  <a:gd name="T77" fmla="*/ 0 h 1302"/>
                  <a:gd name="T78" fmla="*/ 1907 w 2115"/>
                  <a:gd name="T79" fmla="*/ 44 h 1302"/>
                  <a:gd name="T80" fmla="*/ 1285 w 2115"/>
                  <a:gd name="T81" fmla="*/ 1059 h 1302"/>
                  <a:gd name="T82" fmla="*/ 1209 w 2115"/>
                  <a:gd name="T83" fmla="*/ 1103 h 1302"/>
                  <a:gd name="T84" fmla="*/ 1285 w 2115"/>
                  <a:gd name="T85" fmla="*/ 1059 h 1302"/>
                  <a:gd name="T86" fmla="*/ 1441 w 2115"/>
                  <a:gd name="T87" fmla="*/ 787 h 1302"/>
                  <a:gd name="T88" fmla="*/ 1518 w 2115"/>
                  <a:gd name="T89" fmla="*/ 496 h 1302"/>
                  <a:gd name="T90" fmla="*/ 1629 w 2115"/>
                  <a:gd name="T91" fmla="*/ 334 h 1302"/>
                  <a:gd name="T92" fmla="*/ 1209 w 2115"/>
                  <a:gd name="T93" fmla="*/ 324 h 1302"/>
                  <a:gd name="T94" fmla="*/ 1285 w 2115"/>
                  <a:gd name="T95" fmla="*/ 956 h 1302"/>
                  <a:gd name="T96" fmla="*/ 2057 w 2115"/>
                  <a:gd name="T97" fmla="*/ 403 h 1302"/>
                  <a:gd name="T98" fmla="*/ 1838 w 2115"/>
                  <a:gd name="T99" fmla="*/ 362 h 1302"/>
                  <a:gd name="T100" fmla="*/ 1562 w 2115"/>
                  <a:gd name="T101" fmla="*/ 496 h 1302"/>
                  <a:gd name="T102" fmla="*/ 1606 w 2115"/>
                  <a:gd name="T103" fmla="*/ 770 h 1302"/>
                  <a:gd name="T104" fmla="*/ 1606 w 2115"/>
                  <a:gd name="T105" fmla="*/ 496 h 1302"/>
                  <a:gd name="T106" fmla="*/ 1838 w 2115"/>
                  <a:gd name="T107" fmla="*/ 406 h 1302"/>
                  <a:gd name="T108" fmla="*/ 2071 w 2115"/>
                  <a:gd name="T109" fmla="*/ 496 h 1302"/>
                  <a:gd name="T110" fmla="*/ 1982 w 2115"/>
                  <a:gd name="T111" fmla="*/ 1130 h 1302"/>
                  <a:gd name="T112" fmla="*/ 1926 w 2115"/>
                  <a:gd name="T113" fmla="*/ 1168 h 1302"/>
                  <a:gd name="T114" fmla="*/ 1992 w 2115"/>
                  <a:gd name="T115" fmla="*/ 1173 h 1302"/>
                  <a:gd name="T116" fmla="*/ 2115 w 2115"/>
                  <a:gd name="T117" fmla="*/ 496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15" h="1302">
                    <a:moveTo>
                      <a:pt x="573" y="956"/>
                    </a:moveTo>
                    <a:cubicBezTo>
                      <a:pt x="154" y="956"/>
                      <a:pt x="154" y="956"/>
                      <a:pt x="154" y="956"/>
                    </a:cubicBezTo>
                    <a:cubicBezTo>
                      <a:pt x="148" y="956"/>
                      <a:pt x="144" y="951"/>
                      <a:pt x="144" y="946"/>
                    </a:cubicBezTo>
                    <a:cubicBezTo>
                      <a:pt x="144" y="334"/>
                      <a:pt x="144" y="334"/>
                      <a:pt x="144" y="334"/>
                    </a:cubicBezTo>
                    <a:cubicBezTo>
                      <a:pt x="144" y="328"/>
                      <a:pt x="148" y="324"/>
                      <a:pt x="154" y="324"/>
                    </a:cubicBezTo>
                    <a:cubicBezTo>
                      <a:pt x="573" y="324"/>
                      <a:pt x="573" y="324"/>
                      <a:pt x="573" y="324"/>
                    </a:cubicBezTo>
                    <a:lnTo>
                      <a:pt x="573" y="956"/>
                    </a:lnTo>
                    <a:close/>
                    <a:moveTo>
                      <a:pt x="573" y="1059"/>
                    </a:moveTo>
                    <a:cubicBezTo>
                      <a:pt x="44" y="1059"/>
                      <a:pt x="44" y="1059"/>
                      <a:pt x="44" y="1059"/>
                    </a:cubicBezTo>
                    <a:cubicBezTo>
                      <a:pt x="44" y="220"/>
                      <a:pt x="44" y="220"/>
                      <a:pt x="44" y="220"/>
                    </a:cubicBezTo>
                    <a:cubicBezTo>
                      <a:pt x="573" y="220"/>
                      <a:pt x="573" y="220"/>
                      <a:pt x="573" y="220"/>
                    </a:cubicBezTo>
                    <a:cubicBezTo>
                      <a:pt x="573" y="180"/>
                      <a:pt x="573" y="180"/>
                      <a:pt x="573" y="180"/>
                    </a:cubicBezTo>
                    <a:cubicBezTo>
                      <a:pt x="576" y="176"/>
                      <a:pt x="576" y="176"/>
                      <a:pt x="576" y="176"/>
                    </a:cubicBezTo>
                    <a:cubicBezTo>
                      <a:pt x="22" y="176"/>
                      <a:pt x="22" y="176"/>
                      <a:pt x="22" y="176"/>
                    </a:cubicBezTo>
                    <a:cubicBezTo>
                      <a:pt x="10" y="176"/>
                      <a:pt x="0" y="186"/>
                      <a:pt x="0" y="198"/>
                    </a:cubicBezTo>
                    <a:cubicBezTo>
                      <a:pt x="0" y="1081"/>
                      <a:pt x="0" y="1081"/>
                      <a:pt x="0" y="1081"/>
                    </a:cubicBezTo>
                    <a:cubicBezTo>
                      <a:pt x="0" y="1093"/>
                      <a:pt x="10" y="1103"/>
                      <a:pt x="22" y="1103"/>
                    </a:cubicBezTo>
                    <a:cubicBezTo>
                      <a:pt x="573" y="1103"/>
                      <a:pt x="573" y="1103"/>
                      <a:pt x="573" y="1103"/>
                    </a:cubicBezTo>
                    <a:lnTo>
                      <a:pt x="573" y="1059"/>
                    </a:lnTo>
                    <a:close/>
                    <a:moveTo>
                      <a:pt x="660" y="89"/>
                    </a:moveTo>
                    <a:cubicBezTo>
                      <a:pt x="116" y="89"/>
                      <a:pt x="116" y="89"/>
                      <a:pt x="116" y="89"/>
                    </a:cubicBezTo>
                    <a:cubicBezTo>
                      <a:pt x="104" y="89"/>
                      <a:pt x="94" y="99"/>
                      <a:pt x="94" y="111"/>
                    </a:cubicBezTo>
                    <a:cubicBezTo>
                      <a:pt x="94" y="123"/>
                      <a:pt x="104" y="133"/>
                      <a:pt x="116" y="133"/>
                    </a:cubicBezTo>
                    <a:cubicBezTo>
                      <a:pt x="618" y="133"/>
                      <a:pt x="618" y="133"/>
                      <a:pt x="618" y="133"/>
                    </a:cubicBezTo>
                    <a:lnTo>
                      <a:pt x="660" y="89"/>
                    </a:lnTo>
                    <a:close/>
                    <a:moveTo>
                      <a:pt x="745" y="0"/>
                    </a:moveTo>
                    <a:cubicBezTo>
                      <a:pt x="201" y="0"/>
                      <a:pt x="201" y="0"/>
                      <a:pt x="201" y="0"/>
                    </a:cubicBezTo>
                    <a:cubicBezTo>
                      <a:pt x="189" y="0"/>
                      <a:pt x="179" y="10"/>
                      <a:pt x="179" y="22"/>
                    </a:cubicBezTo>
                    <a:cubicBezTo>
                      <a:pt x="179" y="35"/>
                      <a:pt x="189" y="44"/>
                      <a:pt x="201" y="44"/>
                    </a:cubicBezTo>
                    <a:cubicBezTo>
                      <a:pt x="703" y="44"/>
                      <a:pt x="703" y="44"/>
                      <a:pt x="703" y="44"/>
                    </a:cubicBezTo>
                    <a:lnTo>
                      <a:pt x="745" y="0"/>
                    </a:lnTo>
                    <a:close/>
                    <a:moveTo>
                      <a:pt x="1882" y="948"/>
                    </a:moveTo>
                    <a:cubicBezTo>
                      <a:pt x="1882" y="1168"/>
                      <a:pt x="1882" y="1168"/>
                      <a:pt x="1882" y="1168"/>
                    </a:cubicBezTo>
                    <a:cubicBezTo>
                      <a:pt x="1882" y="1208"/>
                      <a:pt x="1861" y="1261"/>
                      <a:pt x="1760" y="1286"/>
                    </a:cubicBezTo>
                    <a:cubicBezTo>
                      <a:pt x="1718" y="1296"/>
                      <a:pt x="1663" y="1302"/>
                      <a:pt x="1606" y="1302"/>
                    </a:cubicBezTo>
                    <a:cubicBezTo>
                      <a:pt x="1549" y="1302"/>
                      <a:pt x="1494" y="1296"/>
                      <a:pt x="1452" y="1286"/>
                    </a:cubicBezTo>
                    <a:cubicBezTo>
                      <a:pt x="1439" y="1283"/>
                      <a:pt x="1412" y="1276"/>
                      <a:pt x="1387" y="1262"/>
                    </a:cubicBezTo>
                    <a:cubicBezTo>
                      <a:pt x="1350" y="1240"/>
                      <a:pt x="1329" y="1207"/>
                      <a:pt x="1329" y="1168"/>
                    </a:cubicBezTo>
                    <a:cubicBezTo>
                      <a:pt x="1329" y="948"/>
                      <a:pt x="1329" y="948"/>
                      <a:pt x="1329" y="948"/>
                    </a:cubicBezTo>
                    <a:cubicBezTo>
                      <a:pt x="1329" y="908"/>
                      <a:pt x="1350" y="855"/>
                      <a:pt x="1452" y="830"/>
                    </a:cubicBezTo>
                    <a:cubicBezTo>
                      <a:pt x="1494" y="820"/>
                      <a:pt x="1549" y="814"/>
                      <a:pt x="1606" y="814"/>
                    </a:cubicBezTo>
                    <a:cubicBezTo>
                      <a:pt x="1663" y="814"/>
                      <a:pt x="1718" y="820"/>
                      <a:pt x="1760" y="830"/>
                    </a:cubicBezTo>
                    <a:cubicBezTo>
                      <a:pt x="1773" y="833"/>
                      <a:pt x="1799" y="840"/>
                      <a:pt x="1824" y="854"/>
                    </a:cubicBezTo>
                    <a:cubicBezTo>
                      <a:pt x="1862" y="876"/>
                      <a:pt x="1882" y="910"/>
                      <a:pt x="1882" y="948"/>
                    </a:cubicBezTo>
                    <a:close/>
                    <a:moveTo>
                      <a:pt x="1838" y="948"/>
                    </a:moveTo>
                    <a:cubicBezTo>
                      <a:pt x="1838" y="894"/>
                      <a:pt x="1771" y="878"/>
                      <a:pt x="1750" y="873"/>
                    </a:cubicBezTo>
                    <a:cubicBezTo>
                      <a:pt x="1711" y="863"/>
                      <a:pt x="1660" y="858"/>
                      <a:pt x="1606" y="858"/>
                    </a:cubicBezTo>
                    <a:cubicBezTo>
                      <a:pt x="1552" y="858"/>
                      <a:pt x="1501" y="863"/>
                      <a:pt x="1462" y="873"/>
                    </a:cubicBezTo>
                    <a:cubicBezTo>
                      <a:pt x="1440" y="878"/>
                      <a:pt x="1373" y="894"/>
                      <a:pt x="1373" y="948"/>
                    </a:cubicBezTo>
                    <a:cubicBezTo>
                      <a:pt x="1373" y="1168"/>
                      <a:pt x="1373" y="1168"/>
                      <a:pt x="1373" y="1168"/>
                    </a:cubicBezTo>
                    <a:cubicBezTo>
                      <a:pt x="1373" y="1222"/>
                      <a:pt x="1440" y="1238"/>
                      <a:pt x="1462" y="1243"/>
                    </a:cubicBezTo>
                    <a:cubicBezTo>
                      <a:pt x="1501" y="1253"/>
                      <a:pt x="1552" y="1258"/>
                      <a:pt x="1606" y="1258"/>
                    </a:cubicBezTo>
                    <a:cubicBezTo>
                      <a:pt x="1660" y="1258"/>
                      <a:pt x="1711" y="1253"/>
                      <a:pt x="1750" y="1243"/>
                    </a:cubicBezTo>
                    <a:cubicBezTo>
                      <a:pt x="1771" y="1238"/>
                      <a:pt x="1838" y="1222"/>
                      <a:pt x="1838" y="1168"/>
                    </a:cubicBezTo>
                    <a:lnTo>
                      <a:pt x="1838" y="948"/>
                    </a:lnTo>
                    <a:close/>
                    <a:moveTo>
                      <a:pt x="1728" y="325"/>
                    </a:moveTo>
                    <a:cubicBezTo>
                      <a:pt x="1743" y="324"/>
                      <a:pt x="1757" y="322"/>
                      <a:pt x="1772" y="321"/>
                    </a:cubicBezTo>
                    <a:cubicBezTo>
                      <a:pt x="1772" y="198"/>
                      <a:pt x="1772" y="198"/>
                      <a:pt x="1772" y="198"/>
                    </a:cubicBezTo>
                    <a:cubicBezTo>
                      <a:pt x="1772" y="186"/>
                      <a:pt x="1763" y="176"/>
                      <a:pt x="1750" y="176"/>
                    </a:cubicBezTo>
                    <a:cubicBezTo>
                      <a:pt x="1246" y="176"/>
                      <a:pt x="1246" y="176"/>
                      <a:pt x="1246" y="176"/>
                    </a:cubicBezTo>
                    <a:cubicBezTo>
                      <a:pt x="1209" y="215"/>
                      <a:pt x="1209" y="215"/>
                      <a:pt x="1209" y="215"/>
                    </a:cubicBezTo>
                    <a:cubicBezTo>
                      <a:pt x="1209" y="220"/>
                      <a:pt x="1209" y="220"/>
                      <a:pt x="1209" y="220"/>
                    </a:cubicBezTo>
                    <a:cubicBezTo>
                      <a:pt x="1728" y="220"/>
                      <a:pt x="1728" y="220"/>
                      <a:pt x="1728" y="220"/>
                    </a:cubicBezTo>
                    <a:lnTo>
                      <a:pt x="1728" y="325"/>
                    </a:lnTo>
                    <a:close/>
                    <a:moveTo>
                      <a:pt x="1822" y="319"/>
                    </a:moveTo>
                    <a:cubicBezTo>
                      <a:pt x="1827" y="318"/>
                      <a:pt x="1833" y="318"/>
                      <a:pt x="1838" y="318"/>
                    </a:cubicBezTo>
                    <a:cubicBezTo>
                      <a:pt x="1848" y="318"/>
                      <a:pt x="1857" y="319"/>
                      <a:pt x="1866" y="319"/>
                    </a:cubicBezTo>
                    <a:cubicBezTo>
                      <a:pt x="1866" y="111"/>
                      <a:pt x="1866" y="111"/>
                      <a:pt x="1866" y="111"/>
                    </a:cubicBezTo>
                    <a:cubicBezTo>
                      <a:pt x="1866" y="99"/>
                      <a:pt x="1856" y="89"/>
                      <a:pt x="1844" y="89"/>
                    </a:cubicBezTo>
                    <a:cubicBezTo>
                      <a:pt x="1330" y="89"/>
                      <a:pt x="1330" y="89"/>
                      <a:pt x="1330" y="89"/>
                    </a:cubicBezTo>
                    <a:cubicBezTo>
                      <a:pt x="1288" y="133"/>
                      <a:pt x="1288" y="133"/>
                      <a:pt x="1288" y="133"/>
                    </a:cubicBezTo>
                    <a:cubicBezTo>
                      <a:pt x="1822" y="133"/>
                      <a:pt x="1822" y="133"/>
                      <a:pt x="1822" y="133"/>
                    </a:cubicBezTo>
                    <a:lnTo>
                      <a:pt x="1822" y="319"/>
                    </a:lnTo>
                    <a:close/>
                    <a:moveTo>
                      <a:pt x="1907" y="321"/>
                    </a:moveTo>
                    <a:cubicBezTo>
                      <a:pt x="1922" y="322"/>
                      <a:pt x="1937" y="324"/>
                      <a:pt x="1951" y="326"/>
                    </a:cubicBezTo>
                    <a:cubicBezTo>
                      <a:pt x="1951" y="22"/>
                      <a:pt x="1951" y="22"/>
                      <a:pt x="1951" y="22"/>
                    </a:cubicBezTo>
                    <a:cubicBezTo>
                      <a:pt x="1951" y="10"/>
                      <a:pt x="1941" y="0"/>
                      <a:pt x="1929" y="0"/>
                    </a:cubicBezTo>
                    <a:cubicBezTo>
                      <a:pt x="1415" y="0"/>
                      <a:pt x="1415" y="0"/>
                      <a:pt x="1415" y="0"/>
                    </a:cubicBezTo>
                    <a:cubicBezTo>
                      <a:pt x="1373" y="44"/>
                      <a:pt x="1373" y="44"/>
                      <a:pt x="1373" y="44"/>
                    </a:cubicBezTo>
                    <a:cubicBezTo>
                      <a:pt x="1907" y="44"/>
                      <a:pt x="1907" y="44"/>
                      <a:pt x="1907" y="44"/>
                    </a:cubicBezTo>
                    <a:lnTo>
                      <a:pt x="1907" y="321"/>
                    </a:lnTo>
                    <a:close/>
                    <a:moveTo>
                      <a:pt x="1285" y="1059"/>
                    </a:moveTo>
                    <a:cubicBezTo>
                      <a:pt x="1209" y="1059"/>
                      <a:pt x="1209" y="1059"/>
                      <a:pt x="1209" y="1059"/>
                    </a:cubicBezTo>
                    <a:cubicBezTo>
                      <a:pt x="1209" y="1103"/>
                      <a:pt x="1209" y="1103"/>
                      <a:pt x="1209" y="1103"/>
                    </a:cubicBezTo>
                    <a:cubicBezTo>
                      <a:pt x="1285" y="1103"/>
                      <a:pt x="1285" y="1103"/>
                      <a:pt x="1285" y="1103"/>
                    </a:cubicBezTo>
                    <a:lnTo>
                      <a:pt x="1285" y="1059"/>
                    </a:lnTo>
                    <a:close/>
                    <a:moveTo>
                      <a:pt x="1285" y="948"/>
                    </a:moveTo>
                    <a:cubicBezTo>
                      <a:pt x="1285" y="902"/>
                      <a:pt x="1305" y="820"/>
                      <a:pt x="1441" y="787"/>
                    </a:cubicBezTo>
                    <a:cubicBezTo>
                      <a:pt x="1464" y="782"/>
                      <a:pt x="1490" y="777"/>
                      <a:pt x="1518" y="775"/>
                    </a:cubicBezTo>
                    <a:cubicBezTo>
                      <a:pt x="1518" y="496"/>
                      <a:pt x="1518" y="496"/>
                      <a:pt x="1518" y="496"/>
                    </a:cubicBezTo>
                    <a:cubicBezTo>
                      <a:pt x="1518" y="456"/>
                      <a:pt x="1533" y="388"/>
                      <a:pt x="1629" y="350"/>
                    </a:cubicBezTo>
                    <a:cubicBezTo>
                      <a:pt x="1629" y="334"/>
                      <a:pt x="1629" y="334"/>
                      <a:pt x="1629" y="334"/>
                    </a:cubicBezTo>
                    <a:cubicBezTo>
                      <a:pt x="1629" y="328"/>
                      <a:pt x="1625" y="324"/>
                      <a:pt x="1619" y="324"/>
                    </a:cubicBezTo>
                    <a:cubicBezTo>
                      <a:pt x="1209" y="324"/>
                      <a:pt x="1209" y="324"/>
                      <a:pt x="1209" y="324"/>
                    </a:cubicBezTo>
                    <a:cubicBezTo>
                      <a:pt x="1209" y="956"/>
                      <a:pt x="1209" y="956"/>
                      <a:pt x="1209" y="956"/>
                    </a:cubicBezTo>
                    <a:cubicBezTo>
                      <a:pt x="1285" y="956"/>
                      <a:pt x="1285" y="956"/>
                      <a:pt x="1285" y="956"/>
                    </a:cubicBezTo>
                    <a:lnTo>
                      <a:pt x="1285" y="948"/>
                    </a:lnTo>
                    <a:close/>
                    <a:moveTo>
                      <a:pt x="2057" y="403"/>
                    </a:moveTo>
                    <a:cubicBezTo>
                      <a:pt x="2032" y="388"/>
                      <a:pt x="2005" y="381"/>
                      <a:pt x="1992" y="378"/>
                    </a:cubicBezTo>
                    <a:cubicBezTo>
                      <a:pt x="1950" y="368"/>
                      <a:pt x="1896" y="362"/>
                      <a:pt x="1838" y="362"/>
                    </a:cubicBezTo>
                    <a:cubicBezTo>
                      <a:pt x="1781" y="362"/>
                      <a:pt x="1726" y="368"/>
                      <a:pt x="1684" y="378"/>
                    </a:cubicBezTo>
                    <a:cubicBezTo>
                      <a:pt x="1583" y="403"/>
                      <a:pt x="1562" y="456"/>
                      <a:pt x="1562" y="496"/>
                    </a:cubicBezTo>
                    <a:cubicBezTo>
                      <a:pt x="1562" y="771"/>
                      <a:pt x="1562" y="771"/>
                      <a:pt x="1562" y="771"/>
                    </a:cubicBezTo>
                    <a:cubicBezTo>
                      <a:pt x="1576" y="770"/>
                      <a:pt x="1591" y="770"/>
                      <a:pt x="1606" y="770"/>
                    </a:cubicBezTo>
                    <a:cubicBezTo>
                      <a:pt x="1606" y="770"/>
                      <a:pt x="1606" y="770"/>
                      <a:pt x="1606" y="770"/>
                    </a:cubicBezTo>
                    <a:cubicBezTo>
                      <a:pt x="1606" y="496"/>
                      <a:pt x="1606" y="496"/>
                      <a:pt x="1606" y="496"/>
                    </a:cubicBezTo>
                    <a:cubicBezTo>
                      <a:pt x="1606" y="443"/>
                      <a:pt x="1673" y="426"/>
                      <a:pt x="1695" y="421"/>
                    </a:cubicBezTo>
                    <a:cubicBezTo>
                      <a:pt x="1734" y="412"/>
                      <a:pt x="1785" y="406"/>
                      <a:pt x="1838" y="406"/>
                    </a:cubicBezTo>
                    <a:cubicBezTo>
                      <a:pt x="1892" y="406"/>
                      <a:pt x="1943" y="412"/>
                      <a:pt x="1982" y="421"/>
                    </a:cubicBezTo>
                    <a:cubicBezTo>
                      <a:pt x="2004" y="426"/>
                      <a:pt x="2071" y="443"/>
                      <a:pt x="2071" y="496"/>
                    </a:cubicBezTo>
                    <a:cubicBezTo>
                      <a:pt x="2071" y="1055"/>
                      <a:pt x="2071" y="1055"/>
                      <a:pt x="2071" y="1055"/>
                    </a:cubicBezTo>
                    <a:cubicBezTo>
                      <a:pt x="2071" y="1108"/>
                      <a:pt x="2004" y="1125"/>
                      <a:pt x="1982" y="1130"/>
                    </a:cubicBezTo>
                    <a:cubicBezTo>
                      <a:pt x="1965" y="1134"/>
                      <a:pt x="1947" y="1137"/>
                      <a:pt x="1926" y="1140"/>
                    </a:cubicBezTo>
                    <a:cubicBezTo>
                      <a:pt x="1926" y="1168"/>
                      <a:pt x="1926" y="1168"/>
                      <a:pt x="1926" y="1168"/>
                    </a:cubicBezTo>
                    <a:cubicBezTo>
                      <a:pt x="1926" y="1173"/>
                      <a:pt x="1926" y="1178"/>
                      <a:pt x="1925" y="1184"/>
                    </a:cubicBezTo>
                    <a:cubicBezTo>
                      <a:pt x="1950" y="1181"/>
                      <a:pt x="1973" y="1178"/>
                      <a:pt x="1992" y="1173"/>
                    </a:cubicBezTo>
                    <a:cubicBezTo>
                      <a:pt x="2094" y="1148"/>
                      <a:pt x="2115" y="1095"/>
                      <a:pt x="2115" y="1055"/>
                    </a:cubicBezTo>
                    <a:cubicBezTo>
                      <a:pt x="2115" y="496"/>
                      <a:pt x="2115" y="496"/>
                      <a:pt x="2115" y="496"/>
                    </a:cubicBezTo>
                    <a:cubicBezTo>
                      <a:pt x="2115" y="458"/>
                      <a:pt x="2094" y="425"/>
                      <a:pt x="2057" y="403"/>
                    </a:cubicBez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2">
                <a:extLst>
                  <a:ext uri="{FF2B5EF4-FFF2-40B4-BE49-F238E27FC236}">
                    <a16:creationId xmlns:a16="http://schemas.microsoft.com/office/drawing/2014/main" id="{D63CC4D9-71E9-47B8-8268-8DD12EBA4D36}"/>
                  </a:ext>
                </a:extLst>
              </p:cNvPr>
              <p:cNvSpPr>
                <a:spLocks noEditPoints="1"/>
              </p:cNvSpPr>
              <p:nvPr/>
            </p:nvSpPr>
            <p:spPr bwMode="auto">
              <a:xfrm>
                <a:off x="5779768" y="3071622"/>
                <a:ext cx="1006602" cy="862965"/>
              </a:xfrm>
              <a:custGeom>
                <a:avLst/>
                <a:gdLst>
                  <a:gd name="T0" fmla="*/ 0 w 1410"/>
                  <a:gd name="T1" fmla="*/ 1099 h 1208"/>
                  <a:gd name="T2" fmla="*/ 184 w 1410"/>
                  <a:gd name="T3" fmla="*/ 0 h 1208"/>
                  <a:gd name="T4" fmla="*/ 548 w 1410"/>
                  <a:gd name="T5" fmla="*/ 191 h 1208"/>
                  <a:gd name="T6" fmla="*/ 1410 w 1410"/>
                  <a:gd name="T7" fmla="*/ 662 h 1208"/>
                  <a:gd name="T8" fmla="*/ 1221 w 1410"/>
                  <a:gd name="T9" fmla="*/ 692 h 1208"/>
                  <a:gd name="T10" fmla="*/ 1033 w 1410"/>
                  <a:gd name="T11" fmla="*/ 662 h 1208"/>
                  <a:gd name="T12" fmla="*/ 1033 w 1410"/>
                  <a:gd name="T13" fmla="*/ 711 h 1208"/>
                  <a:gd name="T14" fmla="*/ 1033 w 1410"/>
                  <a:gd name="T15" fmla="*/ 714 h 1208"/>
                  <a:gd name="T16" fmla="*/ 1410 w 1410"/>
                  <a:gd name="T17" fmla="*/ 714 h 1208"/>
                  <a:gd name="T18" fmla="*/ 1409 w 1410"/>
                  <a:gd name="T19" fmla="*/ 711 h 1208"/>
                  <a:gd name="T20" fmla="*/ 1410 w 1410"/>
                  <a:gd name="T21" fmla="*/ 662 h 1208"/>
                  <a:gd name="T22" fmla="*/ 1033 w 1410"/>
                  <a:gd name="T23" fmla="*/ 490 h 1208"/>
                  <a:gd name="T24" fmla="*/ 1221 w 1410"/>
                  <a:gd name="T25" fmla="*/ 536 h 1208"/>
                  <a:gd name="T26" fmla="*/ 1410 w 1410"/>
                  <a:gd name="T27" fmla="*/ 490 h 1208"/>
                  <a:gd name="T28" fmla="*/ 1409 w 1410"/>
                  <a:gd name="T29" fmla="*/ 487 h 1208"/>
                  <a:gd name="T30" fmla="*/ 1033 w 1410"/>
                  <a:gd name="T31" fmla="*/ 487 h 1208"/>
                  <a:gd name="T32" fmla="*/ 1221 w 1410"/>
                  <a:gd name="T33" fmla="*/ 580 h 1208"/>
                  <a:gd name="T34" fmla="*/ 1033 w 1410"/>
                  <a:gd name="T35" fmla="*/ 550 h 1208"/>
                  <a:gd name="T36" fmla="*/ 1033 w 1410"/>
                  <a:gd name="T37" fmla="*/ 599 h 1208"/>
                  <a:gd name="T38" fmla="*/ 1033 w 1410"/>
                  <a:gd name="T39" fmla="*/ 602 h 1208"/>
                  <a:gd name="T40" fmla="*/ 1410 w 1410"/>
                  <a:gd name="T41" fmla="*/ 602 h 1208"/>
                  <a:gd name="T42" fmla="*/ 1409 w 1410"/>
                  <a:gd name="T43" fmla="*/ 599 h 1208"/>
                  <a:gd name="T44" fmla="*/ 1410 w 1410"/>
                  <a:gd name="T45" fmla="*/ 550 h 1208"/>
                  <a:gd name="T46" fmla="*/ 1221 w 1410"/>
                  <a:gd name="T47" fmla="*/ 580 h 1208"/>
                  <a:gd name="T48" fmla="*/ 845 w 1410"/>
                  <a:gd name="T49" fmla="*/ 1015 h 1208"/>
                  <a:gd name="T50" fmla="*/ 800 w 1410"/>
                  <a:gd name="T51" fmla="*/ 1049 h 1208"/>
                  <a:gd name="T52" fmla="*/ 800 w 1410"/>
                  <a:gd name="T53" fmla="*/ 1052 h 1208"/>
                  <a:gd name="T54" fmla="*/ 989 w 1410"/>
                  <a:gd name="T55" fmla="*/ 1098 h 1208"/>
                  <a:gd name="T56" fmla="*/ 1177 w 1410"/>
                  <a:gd name="T57" fmla="*/ 1052 h 1208"/>
                  <a:gd name="T58" fmla="*/ 1177 w 1410"/>
                  <a:gd name="T59" fmla="*/ 1049 h 1208"/>
                  <a:gd name="T60" fmla="*/ 1133 w 1410"/>
                  <a:gd name="T61" fmla="*/ 1015 h 1208"/>
                  <a:gd name="T62" fmla="*/ 1133 w 1410"/>
                  <a:gd name="T63" fmla="*/ 1127 h 1208"/>
                  <a:gd name="T64" fmla="*/ 845 w 1410"/>
                  <a:gd name="T65" fmla="*/ 1127 h 1208"/>
                  <a:gd name="T66" fmla="*/ 800 w 1410"/>
                  <a:gd name="T67" fmla="*/ 1161 h 1208"/>
                  <a:gd name="T68" fmla="*/ 800 w 1410"/>
                  <a:gd name="T69" fmla="*/ 1163 h 1208"/>
                  <a:gd name="T70" fmla="*/ 1177 w 1410"/>
                  <a:gd name="T71" fmla="*/ 1163 h 1208"/>
                  <a:gd name="T72" fmla="*/ 1177 w 1410"/>
                  <a:gd name="T73" fmla="*/ 1161 h 1208"/>
                  <a:gd name="T74" fmla="*/ 1133 w 1410"/>
                  <a:gd name="T75" fmla="*/ 1127 h 1208"/>
                  <a:gd name="T76" fmla="*/ 1177 w 1410"/>
                  <a:gd name="T77" fmla="*/ 941 h 1208"/>
                  <a:gd name="T78" fmla="*/ 800 w 1410"/>
                  <a:gd name="T79" fmla="*/ 941 h 1208"/>
                  <a:gd name="T80" fmla="*/ 1410 w 1410"/>
                  <a:gd name="T81" fmla="*/ 774 h 1208"/>
                  <a:gd name="T82" fmla="*/ 1221 w 1410"/>
                  <a:gd name="T83" fmla="*/ 804 h 1208"/>
                  <a:gd name="T84" fmla="*/ 1230 w 1410"/>
                  <a:gd name="T85" fmla="*/ 810 h 1208"/>
                  <a:gd name="T86" fmla="*/ 1410 w 1410"/>
                  <a:gd name="T87" fmla="*/ 826 h 1208"/>
                  <a:gd name="T88" fmla="*/ 1409 w 1410"/>
                  <a:gd name="T89" fmla="*/ 824 h 1208"/>
                  <a:gd name="T90" fmla="*/ 1410 w 1410"/>
                  <a:gd name="T91" fmla="*/ 774 h 1208"/>
                  <a:gd name="T92" fmla="*/ 1365 w 1410"/>
                  <a:gd name="T93" fmla="*/ 902 h 1208"/>
                  <a:gd name="T94" fmla="*/ 1309 w 1410"/>
                  <a:gd name="T95" fmla="*/ 942 h 1208"/>
                  <a:gd name="T96" fmla="*/ 1410 w 1410"/>
                  <a:gd name="T97" fmla="*/ 939 h 1208"/>
                  <a:gd name="T98" fmla="*/ 1409 w 1410"/>
                  <a:gd name="T99" fmla="*/ 936 h 1208"/>
                  <a:gd name="T100" fmla="*/ 1410 w 1410"/>
                  <a:gd name="T101" fmla="*/ 886 h 1208"/>
                  <a:gd name="T102" fmla="*/ 1365 w 1410"/>
                  <a:gd name="T103" fmla="*/ 1014 h 1208"/>
                  <a:gd name="T104" fmla="*/ 1309 w 1410"/>
                  <a:gd name="T105" fmla="*/ 1089 h 1208"/>
                  <a:gd name="T106" fmla="*/ 1409 w 1410"/>
                  <a:gd name="T107" fmla="*/ 1048 h 1208"/>
                  <a:gd name="T108" fmla="*/ 1410 w 1410"/>
                  <a:gd name="T109" fmla="*/ 998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10" h="1208">
                    <a:moveTo>
                      <a:pt x="548" y="1099"/>
                    </a:moveTo>
                    <a:cubicBezTo>
                      <a:pt x="0" y="1099"/>
                      <a:pt x="0" y="1099"/>
                      <a:pt x="0" y="1099"/>
                    </a:cubicBezTo>
                    <a:cubicBezTo>
                      <a:pt x="0" y="191"/>
                      <a:pt x="0" y="191"/>
                      <a:pt x="0" y="191"/>
                    </a:cubicBezTo>
                    <a:cubicBezTo>
                      <a:pt x="184" y="0"/>
                      <a:pt x="184" y="0"/>
                      <a:pt x="184" y="0"/>
                    </a:cubicBezTo>
                    <a:cubicBezTo>
                      <a:pt x="732" y="0"/>
                      <a:pt x="732" y="0"/>
                      <a:pt x="732" y="0"/>
                    </a:cubicBezTo>
                    <a:cubicBezTo>
                      <a:pt x="548" y="191"/>
                      <a:pt x="548" y="191"/>
                      <a:pt x="548" y="191"/>
                    </a:cubicBezTo>
                    <a:lnTo>
                      <a:pt x="548" y="1099"/>
                    </a:lnTo>
                    <a:close/>
                    <a:moveTo>
                      <a:pt x="1410" y="662"/>
                    </a:moveTo>
                    <a:cubicBezTo>
                      <a:pt x="1398" y="668"/>
                      <a:pt x="1383" y="673"/>
                      <a:pt x="1365" y="678"/>
                    </a:cubicBezTo>
                    <a:cubicBezTo>
                      <a:pt x="1326" y="687"/>
                      <a:pt x="1275" y="692"/>
                      <a:pt x="1221" y="692"/>
                    </a:cubicBezTo>
                    <a:cubicBezTo>
                      <a:pt x="1168" y="692"/>
                      <a:pt x="1117" y="687"/>
                      <a:pt x="1078" y="678"/>
                    </a:cubicBezTo>
                    <a:cubicBezTo>
                      <a:pt x="1060" y="673"/>
                      <a:pt x="1045" y="668"/>
                      <a:pt x="1033" y="662"/>
                    </a:cubicBezTo>
                    <a:cubicBezTo>
                      <a:pt x="1033" y="711"/>
                      <a:pt x="1033" y="711"/>
                      <a:pt x="1033" y="711"/>
                    </a:cubicBezTo>
                    <a:cubicBezTo>
                      <a:pt x="1033" y="711"/>
                      <a:pt x="1033" y="711"/>
                      <a:pt x="1033" y="711"/>
                    </a:cubicBezTo>
                    <a:cubicBezTo>
                      <a:pt x="1033" y="712"/>
                      <a:pt x="1033" y="713"/>
                      <a:pt x="1033" y="714"/>
                    </a:cubicBezTo>
                    <a:cubicBezTo>
                      <a:pt x="1033" y="714"/>
                      <a:pt x="1033" y="714"/>
                      <a:pt x="1033" y="714"/>
                    </a:cubicBezTo>
                    <a:cubicBezTo>
                      <a:pt x="1033" y="740"/>
                      <a:pt x="1117" y="760"/>
                      <a:pt x="1221" y="760"/>
                    </a:cubicBezTo>
                    <a:cubicBezTo>
                      <a:pt x="1325" y="760"/>
                      <a:pt x="1410" y="740"/>
                      <a:pt x="1410" y="714"/>
                    </a:cubicBezTo>
                    <a:cubicBezTo>
                      <a:pt x="1410" y="714"/>
                      <a:pt x="1410" y="714"/>
                      <a:pt x="1410" y="714"/>
                    </a:cubicBezTo>
                    <a:cubicBezTo>
                      <a:pt x="1410" y="713"/>
                      <a:pt x="1410" y="712"/>
                      <a:pt x="1409" y="711"/>
                    </a:cubicBezTo>
                    <a:cubicBezTo>
                      <a:pt x="1410" y="711"/>
                      <a:pt x="1410" y="711"/>
                      <a:pt x="1410" y="711"/>
                    </a:cubicBezTo>
                    <a:lnTo>
                      <a:pt x="1410" y="662"/>
                    </a:lnTo>
                    <a:close/>
                    <a:moveTo>
                      <a:pt x="1033" y="488"/>
                    </a:moveTo>
                    <a:cubicBezTo>
                      <a:pt x="1033" y="489"/>
                      <a:pt x="1033" y="490"/>
                      <a:pt x="1033" y="490"/>
                    </a:cubicBezTo>
                    <a:cubicBezTo>
                      <a:pt x="1033" y="490"/>
                      <a:pt x="1033" y="490"/>
                      <a:pt x="1033" y="490"/>
                    </a:cubicBezTo>
                    <a:cubicBezTo>
                      <a:pt x="1033" y="516"/>
                      <a:pt x="1117" y="536"/>
                      <a:pt x="1221" y="536"/>
                    </a:cubicBezTo>
                    <a:cubicBezTo>
                      <a:pt x="1325" y="536"/>
                      <a:pt x="1410" y="516"/>
                      <a:pt x="1410" y="490"/>
                    </a:cubicBezTo>
                    <a:cubicBezTo>
                      <a:pt x="1410" y="490"/>
                      <a:pt x="1410" y="490"/>
                      <a:pt x="1410" y="490"/>
                    </a:cubicBezTo>
                    <a:cubicBezTo>
                      <a:pt x="1410" y="490"/>
                      <a:pt x="1410" y="489"/>
                      <a:pt x="1410" y="488"/>
                    </a:cubicBezTo>
                    <a:cubicBezTo>
                      <a:pt x="1410" y="488"/>
                      <a:pt x="1410" y="488"/>
                      <a:pt x="1409" y="487"/>
                    </a:cubicBezTo>
                    <a:cubicBezTo>
                      <a:pt x="1403" y="463"/>
                      <a:pt x="1321" y="444"/>
                      <a:pt x="1221" y="444"/>
                    </a:cubicBezTo>
                    <a:cubicBezTo>
                      <a:pt x="1121" y="444"/>
                      <a:pt x="1039" y="463"/>
                      <a:pt x="1033" y="487"/>
                    </a:cubicBezTo>
                    <a:cubicBezTo>
                      <a:pt x="1033" y="488"/>
                      <a:pt x="1033" y="488"/>
                      <a:pt x="1033" y="488"/>
                    </a:cubicBezTo>
                    <a:close/>
                    <a:moveTo>
                      <a:pt x="1221" y="580"/>
                    </a:moveTo>
                    <a:cubicBezTo>
                      <a:pt x="1168" y="580"/>
                      <a:pt x="1117" y="575"/>
                      <a:pt x="1078" y="565"/>
                    </a:cubicBezTo>
                    <a:cubicBezTo>
                      <a:pt x="1060" y="561"/>
                      <a:pt x="1045" y="556"/>
                      <a:pt x="1033" y="550"/>
                    </a:cubicBezTo>
                    <a:cubicBezTo>
                      <a:pt x="1033" y="599"/>
                      <a:pt x="1033" y="599"/>
                      <a:pt x="1033" y="599"/>
                    </a:cubicBezTo>
                    <a:cubicBezTo>
                      <a:pt x="1033" y="599"/>
                      <a:pt x="1033" y="599"/>
                      <a:pt x="1033" y="599"/>
                    </a:cubicBezTo>
                    <a:cubicBezTo>
                      <a:pt x="1033" y="600"/>
                      <a:pt x="1033" y="601"/>
                      <a:pt x="1033" y="602"/>
                    </a:cubicBezTo>
                    <a:cubicBezTo>
                      <a:pt x="1033" y="602"/>
                      <a:pt x="1033" y="602"/>
                      <a:pt x="1033" y="602"/>
                    </a:cubicBezTo>
                    <a:cubicBezTo>
                      <a:pt x="1033" y="628"/>
                      <a:pt x="1117" y="648"/>
                      <a:pt x="1221" y="648"/>
                    </a:cubicBezTo>
                    <a:cubicBezTo>
                      <a:pt x="1325" y="648"/>
                      <a:pt x="1410" y="628"/>
                      <a:pt x="1410" y="602"/>
                    </a:cubicBezTo>
                    <a:cubicBezTo>
                      <a:pt x="1410" y="602"/>
                      <a:pt x="1410" y="602"/>
                      <a:pt x="1410" y="602"/>
                    </a:cubicBezTo>
                    <a:cubicBezTo>
                      <a:pt x="1410" y="601"/>
                      <a:pt x="1410" y="600"/>
                      <a:pt x="1409" y="599"/>
                    </a:cubicBezTo>
                    <a:cubicBezTo>
                      <a:pt x="1410" y="599"/>
                      <a:pt x="1410" y="599"/>
                      <a:pt x="1410" y="599"/>
                    </a:cubicBezTo>
                    <a:cubicBezTo>
                      <a:pt x="1410" y="550"/>
                      <a:pt x="1410" y="550"/>
                      <a:pt x="1410" y="550"/>
                    </a:cubicBezTo>
                    <a:cubicBezTo>
                      <a:pt x="1398" y="556"/>
                      <a:pt x="1383" y="561"/>
                      <a:pt x="1365" y="565"/>
                    </a:cubicBezTo>
                    <a:cubicBezTo>
                      <a:pt x="1326" y="575"/>
                      <a:pt x="1275" y="580"/>
                      <a:pt x="1221" y="580"/>
                    </a:cubicBezTo>
                    <a:close/>
                    <a:moveTo>
                      <a:pt x="989" y="1030"/>
                    </a:moveTo>
                    <a:cubicBezTo>
                      <a:pt x="935" y="1030"/>
                      <a:pt x="884" y="1024"/>
                      <a:pt x="845" y="1015"/>
                    </a:cubicBezTo>
                    <a:cubicBezTo>
                      <a:pt x="827" y="1011"/>
                      <a:pt x="812" y="1005"/>
                      <a:pt x="800" y="999"/>
                    </a:cubicBezTo>
                    <a:cubicBezTo>
                      <a:pt x="800" y="1049"/>
                      <a:pt x="800" y="1049"/>
                      <a:pt x="800" y="1049"/>
                    </a:cubicBezTo>
                    <a:cubicBezTo>
                      <a:pt x="801" y="1049"/>
                      <a:pt x="801" y="1049"/>
                      <a:pt x="801" y="1049"/>
                    </a:cubicBezTo>
                    <a:cubicBezTo>
                      <a:pt x="800" y="1050"/>
                      <a:pt x="800" y="1051"/>
                      <a:pt x="800" y="1052"/>
                    </a:cubicBezTo>
                    <a:cubicBezTo>
                      <a:pt x="800" y="1052"/>
                      <a:pt x="800" y="1052"/>
                      <a:pt x="800" y="1052"/>
                    </a:cubicBezTo>
                    <a:cubicBezTo>
                      <a:pt x="800" y="1077"/>
                      <a:pt x="885" y="1098"/>
                      <a:pt x="989" y="1098"/>
                    </a:cubicBezTo>
                    <a:cubicBezTo>
                      <a:pt x="1093" y="1098"/>
                      <a:pt x="1177" y="1077"/>
                      <a:pt x="1177" y="1052"/>
                    </a:cubicBezTo>
                    <a:cubicBezTo>
                      <a:pt x="1177" y="1052"/>
                      <a:pt x="1177" y="1052"/>
                      <a:pt x="1177" y="1052"/>
                    </a:cubicBezTo>
                    <a:cubicBezTo>
                      <a:pt x="1177" y="1051"/>
                      <a:pt x="1177" y="1050"/>
                      <a:pt x="1177" y="1049"/>
                    </a:cubicBezTo>
                    <a:cubicBezTo>
                      <a:pt x="1177" y="1049"/>
                      <a:pt x="1177" y="1049"/>
                      <a:pt x="1177" y="1049"/>
                    </a:cubicBezTo>
                    <a:cubicBezTo>
                      <a:pt x="1177" y="999"/>
                      <a:pt x="1177" y="999"/>
                      <a:pt x="1177" y="999"/>
                    </a:cubicBezTo>
                    <a:cubicBezTo>
                      <a:pt x="1165" y="1005"/>
                      <a:pt x="1150" y="1011"/>
                      <a:pt x="1133" y="1015"/>
                    </a:cubicBezTo>
                    <a:cubicBezTo>
                      <a:pt x="1094" y="1024"/>
                      <a:pt x="1043" y="1030"/>
                      <a:pt x="989" y="1030"/>
                    </a:cubicBezTo>
                    <a:close/>
                    <a:moveTo>
                      <a:pt x="1133" y="1127"/>
                    </a:moveTo>
                    <a:cubicBezTo>
                      <a:pt x="1094" y="1136"/>
                      <a:pt x="1043" y="1142"/>
                      <a:pt x="989" y="1142"/>
                    </a:cubicBezTo>
                    <a:cubicBezTo>
                      <a:pt x="935" y="1142"/>
                      <a:pt x="884" y="1136"/>
                      <a:pt x="845" y="1127"/>
                    </a:cubicBezTo>
                    <a:cubicBezTo>
                      <a:pt x="827" y="1123"/>
                      <a:pt x="812" y="1117"/>
                      <a:pt x="800" y="1112"/>
                    </a:cubicBezTo>
                    <a:cubicBezTo>
                      <a:pt x="800" y="1161"/>
                      <a:pt x="800" y="1161"/>
                      <a:pt x="800" y="1161"/>
                    </a:cubicBezTo>
                    <a:cubicBezTo>
                      <a:pt x="801" y="1161"/>
                      <a:pt x="801" y="1161"/>
                      <a:pt x="801" y="1161"/>
                    </a:cubicBezTo>
                    <a:cubicBezTo>
                      <a:pt x="800" y="1162"/>
                      <a:pt x="800" y="1162"/>
                      <a:pt x="800" y="1163"/>
                    </a:cubicBezTo>
                    <a:cubicBezTo>
                      <a:pt x="802" y="1188"/>
                      <a:pt x="886" y="1208"/>
                      <a:pt x="989" y="1208"/>
                    </a:cubicBezTo>
                    <a:cubicBezTo>
                      <a:pt x="1092" y="1208"/>
                      <a:pt x="1176" y="1188"/>
                      <a:pt x="1177" y="1163"/>
                    </a:cubicBezTo>
                    <a:cubicBezTo>
                      <a:pt x="1177" y="1162"/>
                      <a:pt x="1177" y="1162"/>
                      <a:pt x="1177" y="1161"/>
                    </a:cubicBezTo>
                    <a:cubicBezTo>
                      <a:pt x="1177" y="1161"/>
                      <a:pt x="1177" y="1161"/>
                      <a:pt x="1177" y="1161"/>
                    </a:cubicBezTo>
                    <a:cubicBezTo>
                      <a:pt x="1177" y="1112"/>
                      <a:pt x="1177" y="1112"/>
                      <a:pt x="1177" y="1112"/>
                    </a:cubicBezTo>
                    <a:cubicBezTo>
                      <a:pt x="1165" y="1117"/>
                      <a:pt x="1150" y="1123"/>
                      <a:pt x="1133" y="1127"/>
                    </a:cubicBezTo>
                    <a:close/>
                    <a:moveTo>
                      <a:pt x="989" y="986"/>
                    </a:moveTo>
                    <a:cubicBezTo>
                      <a:pt x="1091" y="986"/>
                      <a:pt x="1175" y="966"/>
                      <a:pt x="1177" y="941"/>
                    </a:cubicBezTo>
                    <a:cubicBezTo>
                      <a:pt x="1175" y="916"/>
                      <a:pt x="1091" y="896"/>
                      <a:pt x="989" y="896"/>
                    </a:cubicBezTo>
                    <a:cubicBezTo>
                      <a:pt x="886" y="896"/>
                      <a:pt x="803" y="916"/>
                      <a:pt x="800" y="941"/>
                    </a:cubicBezTo>
                    <a:cubicBezTo>
                      <a:pt x="803" y="966"/>
                      <a:pt x="886" y="986"/>
                      <a:pt x="989" y="986"/>
                    </a:cubicBezTo>
                    <a:close/>
                    <a:moveTo>
                      <a:pt x="1410" y="774"/>
                    </a:moveTo>
                    <a:cubicBezTo>
                      <a:pt x="1398" y="780"/>
                      <a:pt x="1383" y="785"/>
                      <a:pt x="1365" y="790"/>
                    </a:cubicBezTo>
                    <a:cubicBezTo>
                      <a:pt x="1326" y="799"/>
                      <a:pt x="1275" y="804"/>
                      <a:pt x="1221" y="804"/>
                    </a:cubicBezTo>
                    <a:cubicBezTo>
                      <a:pt x="1220" y="804"/>
                      <a:pt x="1219" y="804"/>
                      <a:pt x="1219" y="804"/>
                    </a:cubicBezTo>
                    <a:cubicBezTo>
                      <a:pt x="1222" y="806"/>
                      <a:pt x="1226" y="808"/>
                      <a:pt x="1230" y="810"/>
                    </a:cubicBezTo>
                    <a:cubicBezTo>
                      <a:pt x="1256" y="826"/>
                      <a:pt x="1276" y="846"/>
                      <a:pt x="1290" y="869"/>
                    </a:cubicBezTo>
                    <a:cubicBezTo>
                      <a:pt x="1360" y="863"/>
                      <a:pt x="1410" y="846"/>
                      <a:pt x="1410" y="826"/>
                    </a:cubicBezTo>
                    <a:cubicBezTo>
                      <a:pt x="1410" y="826"/>
                      <a:pt x="1410" y="826"/>
                      <a:pt x="1410" y="826"/>
                    </a:cubicBezTo>
                    <a:cubicBezTo>
                      <a:pt x="1410" y="825"/>
                      <a:pt x="1410" y="824"/>
                      <a:pt x="1409" y="824"/>
                    </a:cubicBezTo>
                    <a:cubicBezTo>
                      <a:pt x="1410" y="824"/>
                      <a:pt x="1410" y="824"/>
                      <a:pt x="1410" y="824"/>
                    </a:cubicBezTo>
                    <a:lnTo>
                      <a:pt x="1410" y="774"/>
                    </a:lnTo>
                    <a:close/>
                    <a:moveTo>
                      <a:pt x="1410" y="886"/>
                    </a:moveTo>
                    <a:cubicBezTo>
                      <a:pt x="1398" y="892"/>
                      <a:pt x="1383" y="897"/>
                      <a:pt x="1365" y="902"/>
                    </a:cubicBezTo>
                    <a:cubicBezTo>
                      <a:pt x="1348" y="906"/>
                      <a:pt x="1328" y="909"/>
                      <a:pt x="1306" y="912"/>
                    </a:cubicBezTo>
                    <a:cubicBezTo>
                      <a:pt x="1308" y="922"/>
                      <a:pt x="1309" y="932"/>
                      <a:pt x="1309" y="942"/>
                    </a:cubicBezTo>
                    <a:cubicBezTo>
                      <a:pt x="1309" y="979"/>
                      <a:pt x="1309" y="979"/>
                      <a:pt x="1309" y="979"/>
                    </a:cubicBezTo>
                    <a:cubicBezTo>
                      <a:pt x="1369" y="971"/>
                      <a:pt x="1410" y="956"/>
                      <a:pt x="1410" y="939"/>
                    </a:cubicBezTo>
                    <a:cubicBezTo>
                      <a:pt x="1410" y="939"/>
                      <a:pt x="1410" y="939"/>
                      <a:pt x="1410" y="939"/>
                    </a:cubicBezTo>
                    <a:cubicBezTo>
                      <a:pt x="1410" y="938"/>
                      <a:pt x="1410" y="937"/>
                      <a:pt x="1409" y="936"/>
                    </a:cubicBezTo>
                    <a:cubicBezTo>
                      <a:pt x="1410" y="936"/>
                      <a:pt x="1410" y="936"/>
                      <a:pt x="1410" y="936"/>
                    </a:cubicBezTo>
                    <a:lnTo>
                      <a:pt x="1410" y="886"/>
                    </a:lnTo>
                    <a:close/>
                    <a:moveTo>
                      <a:pt x="1410" y="998"/>
                    </a:moveTo>
                    <a:cubicBezTo>
                      <a:pt x="1398" y="1004"/>
                      <a:pt x="1383" y="1009"/>
                      <a:pt x="1365" y="1014"/>
                    </a:cubicBezTo>
                    <a:cubicBezTo>
                      <a:pt x="1348" y="1018"/>
                      <a:pt x="1330" y="1021"/>
                      <a:pt x="1309" y="1023"/>
                    </a:cubicBezTo>
                    <a:cubicBezTo>
                      <a:pt x="1309" y="1089"/>
                      <a:pt x="1309" y="1089"/>
                      <a:pt x="1309" y="1089"/>
                    </a:cubicBezTo>
                    <a:cubicBezTo>
                      <a:pt x="1368" y="1082"/>
                      <a:pt x="1409" y="1067"/>
                      <a:pt x="1410" y="1050"/>
                    </a:cubicBezTo>
                    <a:cubicBezTo>
                      <a:pt x="1410" y="1049"/>
                      <a:pt x="1410" y="1048"/>
                      <a:pt x="1409" y="1048"/>
                    </a:cubicBezTo>
                    <a:cubicBezTo>
                      <a:pt x="1410" y="1048"/>
                      <a:pt x="1410" y="1048"/>
                      <a:pt x="1410" y="1048"/>
                    </a:cubicBezTo>
                    <a:lnTo>
                      <a:pt x="1410" y="998"/>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9" name="Group 41"/>
          <p:cNvGrpSpPr/>
          <p:nvPr/>
        </p:nvGrpSpPr>
        <p:grpSpPr>
          <a:xfrm>
            <a:off x="7508012" y="1694181"/>
            <a:ext cx="1440000" cy="1765340"/>
            <a:chOff x="962474" y="2180494"/>
            <a:chExt cx="1572222" cy="1927434"/>
          </a:xfrm>
        </p:grpSpPr>
        <p:grpSp>
          <p:nvGrpSpPr>
            <p:cNvPr id="70" name="Group 46"/>
            <p:cNvGrpSpPr>
              <a:grpSpLocks noChangeAspect="1"/>
            </p:cNvGrpSpPr>
            <p:nvPr/>
          </p:nvGrpSpPr>
          <p:grpSpPr>
            <a:xfrm>
              <a:off x="1072771" y="2180494"/>
              <a:ext cx="1344115" cy="1344115"/>
              <a:chOff x="5267325" y="2576513"/>
              <a:chExt cx="1644650" cy="1644650"/>
            </a:xfrm>
          </p:grpSpPr>
          <p:sp>
            <p:nvSpPr>
              <p:cNvPr id="72" name="AutoShape 39"/>
              <p:cNvSpPr>
                <a:spLocks noChangeAspect="1" noChangeArrowheads="1" noTextEdit="1"/>
              </p:cNvSpPr>
              <p:nvPr/>
            </p:nvSpPr>
            <p:spPr bwMode="auto">
              <a:xfrm>
                <a:off x="5267325" y="2576513"/>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3" name="Group 57"/>
              <p:cNvGrpSpPr/>
              <p:nvPr/>
            </p:nvGrpSpPr>
            <p:grpSpPr>
              <a:xfrm>
                <a:off x="5439004" y="2800351"/>
                <a:ext cx="1303466" cy="1198562"/>
                <a:chOff x="5439004" y="2800351"/>
                <a:chExt cx="1303466" cy="1198562"/>
              </a:xfrm>
            </p:grpSpPr>
            <p:sp>
              <p:nvSpPr>
                <p:cNvPr id="74" name="Freeform 62"/>
                <p:cNvSpPr>
                  <a:spLocks/>
                </p:cNvSpPr>
                <p:nvPr/>
              </p:nvSpPr>
              <p:spPr bwMode="auto">
                <a:xfrm>
                  <a:off x="5439004" y="3084513"/>
                  <a:ext cx="1303466" cy="914400"/>
                </a:xfrm>
                <a:custGeom>
                  <a:avLst/>
                  <a:gdLst>
                    <a:gd name="connsiteX0" fmla="*/ 1172545 w 1303466"/>
                    <a:gd name="connsiteY0" fmla="*/ 74613 h 914400"/>
                    <a:gd name="connsiteX1" fmla="*/ 1145461 w 1303466"/>
                    <a:gd name="connsiteY1" fmla="*/ 94369 h 914400"/>
                    <a:gd name="connsiteX2" fmla="*/ 1146886 w 1303466"/>
                    <a:gd name="connsiteY2" fmla="*/ 116241 h 914400"/>
                    <a:gd name="connsiteX3" fmla="*/ 1176822 w 1303466"/>
                    <a:gd name="connsiteY3" fmla="*/ 146580 h 914400"/>
                    <a:gd name="connsiteX4" fmla="*/ 1192503 w 1303466"/>
                    <a:gd name="connsiteY4" fmla="*/ 157163 h 914400"/>
                    <a:gd name="connsiteX5" fmla="*/ 1200343 w 1303466"/>
                    <a:gd name="connsiteY5" fmla="*/ 145169 h 914400"/>
                    <a:gd name="connsiteX6" fmla="*/ 1210321 w 1303466"/>
                    <a:gd name="connsiteY6" fmla="*/ 119769 h 914400"/>
                    <a:gd name="connsiteX7" fmla="*/ 1180386 w 1303466"/>
                    <a:gd name="connsiteY7" fmla="*/ 76024 h 914400"/>
                    <a:gd name="connsiteX8" fmla="*/ 1179673 w 1303466"/>
                    <a:gd name="connsiteY8" fmla="*/ 75319 h 914400"/>
                    <a:gd name="connsiteX9" fmla="*/ 1178960 w 1303466"/>
                    <a:gd name="connsiteY9" fmla="*/ 75319 h 914400"/>
                    <a:gd name="connsiteX10" fmla="*/ 1176822 w 1303466"/>
                    <a:gd name="connsiteY10" fmla="*/ 74613 h 914400"/>
                    <a:gd name="connsiteX11" fmla="*/ 1175396 w 1303466"/>
                    <a:gd name="connsiteY11" fmla="*/ 74613 h 914400"/>
                    <a:gd name="connsiteX12" fmla="*/ 1174684 w 1303466"/>
                    <a:gd name="connsiteY12" fmla="*/ 74613 h 914400"/>
                    <a:gd name="connsiteX13" fmla="*/ 1172545 w 1303466"/>
                    <a:gd name="connsiteY13" fmla="*/ 74613 h 914400"/>
                    <a:gd name="connsiteX14" fmla="*/ 205492 w 1303466"/>
                    <a:gd name="connsiteY14" fmla="*/ 31750 h 914400"/>
                    <a:gd name="connsiteX15" fmla="*/ 156270 w 1303466"/>
                    <a:gd name="connsiteY15" fmla="*/ 48854 h 914400"/>
                    <a:gd name="connsiteX16" fmla="*/ 155557 w 1303466"/>
                    <a:gd name="connsiteY16" fmla="*/ 49566 h 914400"/>
                    <a:gd name="connsiteX17" fmla="*/ 156270 w 1303466"/>
                    <a:gd name="connsiteY17" fmla="*/ 75934 h 914400"/>
                    <a:gd name="connsiteX18" fmla="*/ 244727 w 1303466"/>
                    <a:gd name="connsiteY18" fmla="*/ 211337 h 914400"/>
                    <a:gd name="connsiteX19" fmla="*/ 239020 w 1303466"/>
                    <a:gd name="connsiteY19" fmla="*/ 235567 h 914400"/>
                    <a:gd name="connsiteX20" fmla="*/ 237594 w 1303466"/>
                    <a:gd name="connsiteY20" fmla="*/ 237705 h 914400"/>
                    <a:gd name="connsiteX21" fmla="*/ 144856 w 1303466"/>
                    <a:gd name="connsiteY21" fmla="*/ 341751 h 914400"/>
                    <a:gd name="connsiteX22" fmla="*/ 139149 w 1303466"/>
                    <a:gd name="connsiteY22" fmla="*/ 346027 h 914400"/>
                    <a:gd name="connsiteX23" fmla="*/ 132729 w 1303466"/>
                    <a:gd name="connsiteY23" fmla="*/ 346740 h 914400"/>
                    <a:gd name="connsiteX24" fmla="*/ 102768 w 1303466"/>
                    <a:gd name="connsiteY24" fmla="*/ 351016 h 914400"/>
                    <a:gd name="connsiteX25" fmla="*/ 98488 w 1303466"/>
                    <a:gd name="connsiteY25" fmla="*/ 351728 h 914400"/>
                    <a:gd name="connsiteX26" fmla="*/ 59966 w 1303466"/>
                    <a:gd name="connsiteY26" fmla="*/ 358855 h 914400"/>
                    <a:gd name="connsiteX27" fmla="*/ 30005 w 1303466"/>
                    <a:gd name="connsiteY27" fmla="*/ 392349 h 914400"/>
                    <a:gd name="connsiteX28" fmla="*/ 56399 w 1303466"/>
                    <a:gd name="connsiteY28" fmla="*/ 557683 h 914400"/>
                    <a:gd name="connsiteX29" fmla="*/ 59966 w 1303466"/>
                    <a:gd name="connsiteY29" fmla="*/ 564810 h 914400"/>
                    <a:gd name="connsiteX30" fmla="*/ 67099 w 1303466"/>
                    <a:gd name="connsiteY30" fmla="*/ 566948 h 914400"/>
                    <a:gd name="connsiteX31" fmla="*/ 234740 w 1303466"/>
                    <a:gd name="connsiteY31" fmla="*/ 649615 h 914400"/>
                    <a:gd name="connsiteX32" fmla="*/ 235453 w 1303466"/>
                    <a:gd name="connsiteY32" fmla="*/ 650327 h 914400"/>
                    <a:gd name="connsiteX33" fmla="*/ 236167 w 1303466"/>
                    <a:gd name="connsiteY33" fmla="*/ 650327 h 914400"/>
                    <a:gd name="connsiteX34" fmla="*/ 382407 w 1303466"/>
                    <a:gd name="connsiteY34" fmla="*/ 732282 h 914400"/>
                    <a:gd name="connsiteX35" fmla="*/ 401667 w 1303466"/>
                    <a:gd name="connsiteY35" fmla="*/ 741546 h 914400"/>
                    <a:gd name="connsiteX36" fmla="*/ 400954 w 1303466"/>
                    <a:gd name="connsiteY36" fmla="*/ 762926 h 914400"/>
                    <a:gd name="connsiteX37" fmla="*/ 407374 w 1303466"/>
                    <a:gd name="connsiteY37" fmla="*/ 852006 h 914400"/>
                    <a:gd name="connsiteX38" fmla="*/ 408088 w 1303466"/>
                    <a:gd name="connsiteY38" fmla="*/ 855570 h 914400"/>
                    <a:gd name="connsiteX39" fmla="*/ 409514 w 1303466"/>
                    <a:gd name="connsiteY39" fmla="*/ 859845 h 914400"/>
                    <a:gd name="connsiteX40" fmla="*/ 413081 w 1303466"/>
                    <a:gd name="connsiteY40" fmla="*/ 863409 h 914400"/>
                    <a:gd name="connsiteX41" fmla="*/ 485844 w 1303466"/>
                    <a:gd name="connsiteY41" fmla="*/ 882650 h 914400"/>
                    <a:gd name="connsiteX42" fmla="*/ 552901 w 1303466"/>
                    <a:gd name="connsiteY42" fmla="*/ 850581 h 914400"/>
                    <a:gd name="connsiteX43" fmla="*/ 558608 w 1303466"/>
                    <a:gd name="connsiteY43" fmla="*/ 804259 h 914400"/>
                    <a:gd name="connsiteX44" fmla="*/ 564314 w 1303466"/>
                    <a:gd name="connsiteY44" fmla="*/ 775041 h 914400"/>
                    <a:gd name="connsiteX45" fmla="*/ 593562 w 1303466"/>
                    <a:gd name="connsiteY45" fmla="*/ 778604 h 914400"/>
                    <a:gd name="connsiteX46" fmla="*/ 677739 w 1303466"/>
                    <a:gd name="connsiteY46" fmla="*/ 784305 h 914400"/>
                    <a:gd name="connsiteX47" fmla="*/ 851087 w 1303466"/>
                    <a:gd name="connsiteY47" fmla="*/ 761500 h 914400"/>
                    <a:gd name="connsiteX48" fmla="*/ 892462 w 1303466"/>
                    <a:gd name="connsiteY48" fmla="*/ 749385 h 914400"/>
                    <a:gd name="connsiteX49" fmla="*/ 891035 w 1303466"/>
                    <a:gd name="connsiteY49" fmla="*/ 792144 h 914400"/>
                    <a:gd name="connsiteX50" fmla="*/ 894602 w 1303466"/>
                    <a:gd name="connsiteY50" fmla="*/ 840604 h 914400"/>
                    <a:gd name="connsiteX51" fmla="*/ 895316 w 1303466"/>
                    <a:gd name="connsiteY51" fmla="*/ 846305 h 914400"/>
                    <a:gd name="connsiteX52" fmla="*/ 956665 w 1303466"/>
                    <a:gd name="connsiteY52" fmla="*/ 876236 h 914400"/>
                    <a:gd name="connsiteX53" fmla="*/ 1008741 w 1303466"/>
                    <a:gd name="connsiteY53" fmla="*/ 871960 h 914400"/>
                    <a:gd name="connsiteX54" fmla="*/ 1046549 w 1303466"/>
                    <a:gd name="connsiteY54" fmla="*/ 857708 h 914400"/>
                    <a:gd name="connsiteX55" fmla="*/ 1047262 w 1303466"/>
                    <a:gd name="connsiteY55" fmla="*/ 856995 h 914400"/>
                    <a:gd name="connsiteX56" fmla="*/ 1052969 w 1303466"/>
                    <a:gd name="connsiteY56" fmla="*/ 842742 h 914400"/>
                    <a:gd name="connsiteX57" fmla="*/ 1052256 w 1303466"/>
                    <a:gd name="connsiteY57" fmla="*/ 842029 h 914400"/>
                    <a:gd name="connsiteX58" fmla="*/ 1052256 w 1303466"/>
                    <a:gd name="connsiteY58" fmla="*/ 841317 h 914400"/>
                    <a:gd name="connsiteX59" fmla="*/ 1064383 w 1303466"/>
                    <a:gd name="connsiteY59" fmla="*/ 737983 h 914400"/>
                    <a:gd name="connsiteX60" fmla="*/ 1064383 w 1303466"/>
                    <a:gd name="connsiteY60" fmla="*/ 735845 h 914400"/>
                    <a:gd name="connsiteX61" fmla="*/ 1065810 w 1303466"/>
                    <a:gd name="connsiteY61" fmla="*/ 733707 h 914400"/>
                    <a:gd name="connsiteX62" fmla="*/ 1133579 w 1303466"/>
                    <a:gd name="connsiteY62" fmla="*/ 628948 h 914400"/>
                    <a:gd name="connsiteX63" fmla="*/ 1135006 w 1303466"/>
                    <a:gd name="connsiteY63" fmla="*/ 626097 h 914400"/>
                    <a:gd name="connsiteX64" fmla="*/ 1137146 w 1303466"/>
                    <a:gd name="connsiteY64" fmla="*/ 623959 h 914400"/>
                    <a:gd name="connsiteX65" fmla="*/ 1183515 w 1303466"/>
                    <a:gd name="connsiteY65" fmla="*/ 384510 h 914400"/>
                    <a:gd name="connsiteX66" fmla="*/ 1144280 w 1303466"/>
                    <a:gd name="connsiteY66" fmla="*/ 271199 h 914400"/>
                    <a:gd name="connsiteX67" fmla="*/ 1143566 w 1303466"/>
                    <a:gd name="connsiteY67" fmla="*/ 270487 h 914400"/>
                    <a:gd name="connsiteX68" fmla="*/ 1143566 w 1303466"/>
                    <a:gd name="connsiteY68" fmla="*/ 269774 h 914400"/>
                    <a:gd name="connsiteX69" fmla="*/ 1127159 w 1303466"/>
                    <a:gd name="connsiteY69" fmla="*/ 246969 h 914400"/>
                    <a:gd name="connsiteX70" fmla="*/ 1114318 w 1303466"/>
                    <a:gd name="connsiteY70" fmla="*/ 229866 h 914400"/>
                    <a:gd name="connsiteX71" fmla="*/ 1109325 w 1303466"/>
                    <a:gd name="connsiteY71" fmla="*/ 224877 h 914400"/>
                    <a:gd name="connsiteX72" fmla="*/ 1095058 w 1303466"/>
                    <a:gd name="connsiteY72" fmla="*/ 209199 h 914400"/>
                    <a:gd name="connsiteX73" fmla="*/ 1093631 w 1303466"/>
                    <a:gd name="connsiteY73" fmla="*/ 207774 h 914400"/>
                    <a:gd name="connsiteX74" fmla="*/ 684160 w 1303466"/>
                    <a:gd name="connsiteY74" fmla="*/ 58831 h 914400"/>
                    <a:gd name="connsiteX75" fmla="*/ 406661 w 1303466"/>
                    <a:gd name="connsiteY75" fmla="*/ 113704 h 914400"/>
                    <a:gd name="connsiteX76" fmla="*/ 390254 w 1303466"/>
                    <a:gd name="connsiteY76" fmla="*/ 120831 h 914400"/>
                    <a:gd name="connsiteX77" fmla="*/ 375986 w 1303466"/>
                    <a:gd name="connsiteY77" fmla="*/ 110141 h 914400"/>
                    <a:gd name="connsiteX78" fmla="*/ 205492 w 1303466"/>
                    <a:gd name="connsiteY78" fmla="*/ 31750 h 914400"/>
                    <a:gd name="connsiteX79" fmla="*/ 204940 w 1303466"/>
                    <a:gd name="connsiteY79" fmla="*/ 0 h 914400"/>
                    <a:gd name="connsiteX80" fmla="*/ 394307 w 1303466"/>
                    <a:gd name="connsiteY80" fmla="*/ 84878 h 914400"/>
                    <a:gd name="connsiteX81" fmla="*/ 684431 w 1303466"/>
                    <a:gd name="connsiteY81" fmla="*/ 27104 h 914400"/>
                    <a:gd name="connsiteX82" fmla="*/ 1114615 w 1303466"/>
                    <a:gd name="connsiteY82" fmla="*/ 183308 h 914400"/>
                    <a:gd name="connsiteX83" fmla="*/ 1116759 w 1303466"/>
                    <a:gd name="connsiteY83" fmla="*/ 185448 h 914400"/>
                    <a:gd name="connsiteX84" fmla="*/ 1118188 w 1303466"/>
                    <a:gd name="connsiteY84" fmla="*/ 186874 h 914400"/>
                    <a:gd name="connsiteX85" fmla="*/ 1119617 w 1303466"/>
                    <a:gd name="connsiteY85" fmla="*/ 188301 h 914400"/>
                    <a:gd name="connsiteX86" fmla="*/ 1132480 w 1303466"/>
                    <a:gd name="connsiteY86" fmla="*/ 202566 h 914400"/>
                    <a:gd name="connsiteX87" fmla="*/ 1158920 w 1303466"/>
                    <a:gd name="connsiteY87" fmla="*/ 186161 h 914400"/>
                    <a:gd name="connsiteX88" fmla="*/ 1168924 w 1303466"/>
                    <a:gd name="connsiteY88" fmla="*/ 179029 h 914400"/>
                    <a:gd name="connsiteX89" fmla="*/ 1158920 w 1303466"/>
                    <a:gd name="connsiteY89" fmla="*/ 171896 h 914400"/>
                    <a:gd name="connsiteX90" fmla="*/ 1120332 w 1303466"/>
                    <a:gd name="connsiteY90" fmla="*/ 131240 h 914400"/>
                    <a:gd name="connsiteX91" fmla="*/ 1118188 w 1303466"/>
                    <a:gd name="connsiteY91" fmla="*/ 79885 h 914400"/>
                    <a:gd name="connsiteX92" fmla="*/ 1177499 w 1303466"/>
                    <a:gd name="connsiteY92" fmla="*/ 42796 h 914400"/>
                    <a:gd name="connsiteX93" fmla="*/ 1188932 w 1303466"/>
                    <a:gd name="connsiteY93" fmla="*/ 44936 h 914400"/>
                    <a:gd name="connsiteX94" fmla="*/ 1241812 w 1303466"/>
                    <a:gd name="connsiteY94" fmla="*/ 121254 h 914400"/>
                    <a:gd name="connsiteX95" fmla="*/ 1227520 w 1303466"/>
                    <a:gd name="connsiteY95" fmla="*/ 162624 h 914400"/>
                    <a:gd name="connsiteX96" fmla="*/ 1222518 w 1303466"/>
                    <a:gd name="connsiteY96" fmla="*/ 171183 h 914400"/>
                    <a:gd name="connsiteX97" fmla="*/ 1232522 w 1303466"/>
                    <a:gd name="connsiteY97" fmla="*/ 175462 h 914400"/>
                    <a:gd name="connsiteX98" fmla="*/ 1289690 w 1303466"/>
                    <a:gd name="connsiteY98" fmla="*/ 191154 h 914400"/>
                    <a:gd name="connsiteX99" fmla="*/ 1303267 w 1303466"/>
                    <a:gd name="connsiteY99" fmla="*/ 208985 h 914400"/>
                    <a:gd name="connsiteX100" fmla="*/ 1295407 w 1303466"/>
                    <a:gd name="connsiteY100" fmla="*/ 221111 h 914400"/>
                    <a:gd name="connsiteX101" fmla="*/ 1286117 w 1303466"/>
                    <a:gd name="connsiteY101" fmla="*/ 223251 h 914400"/>
                    <a:gd name="connsiteX102" fmla="*/ 1285402 w 1303466"/>
                    <a:gd name="connsiteY102" fmla="*/ 223251 h 914400"/>
                    <a:gd name="connsiteX103" fmla="*/ 1203939 w 1303466"/>
                    <a:gd name="connsiteY103" fmla="*/ 197573 h 914400"/>
                    <a:gd name="connsiteX104" fmla="*/ 1198937 w 1303466"/>
                    <a:gd name="connsiteY104" fmla="*/ 195434 h 914400"/>
                    <a:gd name="connsiteX105" fmla="*/ 1194649 w 1303466"/>
                    <a:gd name="connsiteY105" fmla="*/ 199000 h 914400"/>
                    <a:gd name="connsiteX106" fmla="*/ 1153203 w 1303466"/>
                    <a:gd name="connsiteY106" fmla="*/ 227530 h 914400"/>
                    <a:gd name="connsiteX107" fmla="*/ 1172497 w 1303466"/>
                    <a:gd name="connsiteY107" fmla="*/ 255347 h 914400"/>
                    <a:gd name="connsiteX108" fmla="*/ 1215372 w 1303466"/>
                    <a:gd name="connsiteY108" fmla="*/ 378741 h 914400"/>
                    <a:gd name="connsiteX109" fmla="*/ 1162493 w 1303466"/>
                    <a:gd name="connsiteY109" fmla="*/ 644074 h 914400"/>
                    <a:gd name="connsiteX110" fmla="*/ 1161778 w 1303466"/>
                    <a:gd name="connsiteY110" fmla="*/ 644788 h 914400"/>
                    <a:gd name="connsiteX111" fmla="*/ 1161063 w 1303466"/>
                    <a:gd name="connsiteY111" fmla="*/ 645501 h 914400"/>
                    <a:gd name="connsiteX112" fmla="*/ 1095321 w 1303466"/>
                    <a:gd name="connsiteY112" fmla="*/ 746784 h 914400"/>
                    <a:gd name="connsiteX113" fmla="*/ 1084602 w 1303466"/>
                    <a:gd name="connsiteY113" fmla="*/ 838795 h 914400"/>
                    <a:gd name="connsiteX114" fmla="*/ 1071025 w 1303466"/>
                    <a:gd name="connsiteY114" fmla="*/ 879450 h 914400"/>
                    <a:gd name="connsiteX115" fmla="*/ 1014572 w 1303466"/>
                    <a:gd name="connsiteY115" fmla="*/ 903701 h 914400"/>
                    <a:gd name="connsiteX116" fmla="*/ 957405 w 1303466"/>
                    <a:gd name="connsiteY116" fmla="*/ 908694 h 914400"/>
                    <a:gd name="connsiteX117" fmla="*/ 865223 w 1303466"/>
                    <a:gd name="connsiteY117" fmla="*/ 850920 h 914400"/>
                    <a:gd name="connsiteX118" fmla="*/ 864508 w 1303466"/>
                    <a:gd name="connsiteY118" fmla="*/ 845927 h 914400"/>
                    <a:gd name="connsiteX119" fmla="*/ 860220 w 1303466"/>
                    <a:gd name="connsiteY119" fmla="*/ 791719 h 914400"/>
                    <a:gd name="connsiteX120" fmla="*/ 678000 w 1303466"/>
                    <a:gd name="connsiteY120" fmla="*/ 815970 h 914400"/>
                    <a:gd name="connsiteX121" fmla="*/ 590105 w 1303466"/>
                    <a:gd name="connsiteY121" fmla="*/ 810264 h 914400"/>
                    <a:gd name="connsiteX122" fmla="*/ 584388 w 1303466"/>
                    <a:gd name="connsiteY122" fmla="*/ 853773 h 914400"/>
                    <a:gd name="connsiteX123" fmla="*/ 485775 w 1303466"/>
                    <a:gd name="connsiteY123" fmla="*/ 914400 h 914400"/>
                    <a:gd name="connsiteX124" fmla="*/ 391449 w 1303466"/>
                    <a:gd name="connsiteY124" fmla="*/ 886583 h 914400"/>
                    <a:gd name="connsiteX125" fmla="*/ 380730 w 1303466"/>
                    <a:gd name="connsiteY125" fmla="*/ 876597 h 914400"/>
                    <a:gd name="connsiteX126" fmla="*/ 377157 w 1303466"/>
                    <a:gd name="connsiteY126" fmla="*/ 862332 h 914400"/>
                    <a:gd name="connsiteX127" fmla="*/ 369296 w 1303466"/>
                    <a:gd name="connsiteY127" fmla="*/ 761049 h 914400"/>
                    <a:gd name="connsiteX128" fmla="*/ 217088 w 1303466"/>
                    <a:gd name="connsiteY128" fmla="*/ 676171 h 914400"/>
                    <a:gd name="connsiteX129" fmla="*/ 55591 w 1303466"/>
                    <a:gd name="connsiteY129" fmla="*/ 596999 h 914400"/>
                    <a:gd name="connsiteX130" fmla="*/ 37011 w 1303466"/>
                    <a:gd name="connsiteY130" fmla="*/ 589867 h 914400"/>
                    <a:gd name="connsiteX131" fmla="*/ 27722 w 1303466"/>
                    <a:gd name="connsiteY131" fmla="*/ 572748 h 914400"/>
                    <a:gd name="connsiteX132" fmla="*/ 1282 w 1303466"/>
                    <a:gd name="connsiteY132" fmla="*/ 363050 h 914400"/>
                    <a:gd name="connsiteX133" fmla="*/ 49159 w 1303466"/>
                    <a:gd name="connsiteY133" fmla="*/ 328813 h 914400"/>
                    <a:gd name="connsiteX134" fmla="*/ 94179 w 1303466"/>
                    <a:gd name="connsiteY134" fmla="*/ 320254 h 914400"/>
                    <a:gd name="connsiteX135" fmla="*/ 125621 w 1303466"/>
                    <a:gd name="connsiteY135" fmla="*/ 315975 h 914400"/>
                    <a:gd name="connsiteX136" fmla="*/ 211372 w 1303466"/>
                    <a:gd name="connsiteY136" fmla="*/ 218971 h 914400"/>
                    <a:gd name="connsiteX137" fmla="*/ 212801 w 1303466"/>
                    <a:gd name="connsiteY137" fmla="*/ 213265 h 914400"/>
                    <a:gd name="connsiteX138" fmla="*/ 132767 w 1303466"/>
                    <a:gd name="connsiteY138" fmla="*/ 97004 h 914400"/>
                    <a:gd name="connsiteX139" fmla="*/ 113473 w 1303466"/>
                    <a:gd name="connsiteY139" fmla="*/ 63480 h 914400"/>
                    <a:gd name="connsiteX140" fmla="*/ 131337 w 1303466"/>
                    <a:gd name="connsiteY140" fmla="*/ 28531 h 914400"/>
                    <a:gd name="connsiteX141" fmla="*/ 204940 w 1303466"/>
                    <a:gd name="connsiteY141"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303466" h="914400">
                      <a:moveTo>
                        <a:pt x="1172545" y="74613"/>
                      </a:moveTo>
                      <a:cubicBezTo>
                        <a:pt x="1158290" y="74613"/>
                        <a:pt x="1149737" y="86608"/>
                        <a:pt x="1145461" y="94369"/>
                      </a:cubicBezTo>
                      <a:cubicBezTo>
                        <a:pt x="1144035" y="97191"/>
                        <a:pt x="1141184" y="104952"/>
                        <a:pt x="1146886" y="116241"/>
                      </a:cubicBezTo>
                      <a:cubicBezTo>
                        <a:pt x="1150450" y="122591"/>
                        <a:pt x="1158290" y="133174"/>
                        <a:pt x="1176822" y="146580"/>
                      </a:cubicBezTo>
                      <a:cubicBezTo>
                        <a:pt x="1176822" y="146580"/>
                        <a:pt x="1176822" y="146580"/>
                        <a:pt x="1192503" y="157163"/>
                      </a:cubicBezTo>
                      <a:cubicBezTo>
                        <a:pt x="1192503" y="157163"/>
                        <a:pt x="1192503" y="157163"/>
                        <a:pt x="1200343" y="145169"/>
                      </a:cubicBezTo>
                      <a:cubicBezTo>
                        <a:pt x="1206758" y="135996"/>
                        <a:pt x="1209609" y="127530"/>
                        <a:pt x="1210321" y="119769"/>
                      </a:cubicBezTo>
                      <a:cubicBezTo>
                        <a:pt x="1211034" y="99308"/>
                        <a:pt x="1198205" y="80258"/>
                        <a:pt x="1180386" y="76024"/>
                      </a:cubicBezTo>
                      <a:cubicBezTo>
                        <a:pt x="1180386" y="76024"/>
                        <a:pt x="1180386" y="76024"/>
                        <a:pt x="1179673" y="75319"/>
                      </a:cubicBezTo>
                      <a:cubicBezTo>
                        <a:pt x="1179673" y="75319"/>
                        <a:pt x="1179673" y="75319"/>
                        <a:pt x="1178960" y="75319"/>
                      </a:cubicBezTo>
                      <a:cubicBezTo>
                        <a:pt x="1178248" y="75319"/>
                        <a:pt x="1177535" y="74613"/>
                        <a:pt x="1176822" y="74613"/>
                      </a:cubicBezTo>
                      <a:cubicBezTo>
                        <a:pt x="1176822" y="74613"/>
                        <a:pt x="1176822" y="74613"/>
                        <a:pt x="1175396" y="74613"/>
                      </a:cubicBezTo>
                      <a:cubicBezTo>
                        <a:pt x="1175396" y="74613"/>
                        <a:pt x="1175396" y="74613"/>
                        <a:pt x="1174684" y="74613"/>
                      </a:cubicBezTo>
                      <a:cubicBezTo>
                        <a:pt x="1173971" y="74613"/>
                        <a:pt x="1173258" y="74613"/>
                        <a:pt x="1172545" y="74613"/>
                      </a:cubicBezTo>
                      <a:close/>
                      <a:moveTo>
                        <a:pt x="205492" y="31750"/>
                      </a:moveTo>
                      <a:cubicBezTo>
                        <a:pt x="171964" y="31750"/>
                        <a:pt x="157697" y="47428"/>
                        <a:pt x="156270" y="48854"/>
                      </a:cubicBezTo>
                      <a:cubicBezTo>
                        <a:pt x="156270" y="48854"/>
                        <a:pt x="156270" y="48854"/>
                        <a:pt x="155557" y="49566"/>
                      </a:cubicBezTo>
                      <a:cubicBezTo>
                        <a:pt x="149136" y="57405"/>
                        <a:pt x="149850" y="68808"/>
                        <a:pt x="156270" y="75934"/>
                      </a:cubicBezTo>
                      <a:cubicBezTo>
                        <a:pt x="223326" y="148624"/>
                        <a:pt x="241874" y="189958"/>
                        <a:pt x="244727" y="211337"/>
                      </a:cubicBezTo>
                      <a:cubicBezTo>
                        <a:pt x="246154" y="219889"/>
                        <a:pt x="244014" y="228441"/>
                        <a:pt x="239020" y="235567"/>
                      </a:cubicBezTo>
                      <a:cubicBezTo>
                        <a:pt x="239020" y="235567"/>
                        <a:pt x="239020" y="235567"/>
                        <a:pt x="237594" y="237705"/>
                      </a:cubicBezTo>
                      <a:cubicBezTo>
                        <a:pt x="189798" y="304694"/>
                        <a:pt x="159123" y="331774"/>
                        <a:pt x="144856" y="341751"/>
                      </a:cubicBezTo>
                      <a:cubicBezTo>
                        <a:pt x="144856" y="341751"/>
                        <a:pt x="144856" y="341751"/>
                        <a:pt x="139149" y="346027"/>
                      </a:cubicBezTo>
                      <a:cubicBezTo>
                        <a:pt x="139149" y="346027"/>
                        <a:pt x="139149" y="346027"/>
                        <a:pt x="132729" y="346740"/>
                      </a:cubicBezTo>
                      <a:cubicBezTo>
                        <a:pt x="123455" y="348878"/>
                        <a:pt x="112755" y="350303"/>
                        <a:pt x="102768" y="351016"/>
                      </a:cubicBezTo>
                      <a:cubicBezTo>
                        <a:pt x="102768" y="351016"/>
                        <a:pt x="102768" y="351016"/>
                        <a:pt x="98488" y="351728"/>
                      </a:cubicBezTo>
                      <a:cubicBezTo>
                        <a:pt x="84220" y="353866"/>
                        <a:pt x="70666" y="355292"/>
                        <a:pt x="59966" y="358855"/>
                      </a:cubicBezTo>
                      <a:cubicBezTo>
                        <a:pt x="41418" y="364556"/>
                        <a:pt x="32145" y="375958"/>
                        <a:pt x="30005" y="392349"/>
                      </a:cubicBezTo>
                      <a:cubicBezTo>
                        <a:pt x="23584" y="495683"/>
                        <a:pt x="56399" y="556971"/>
                        <a:pt x="56399" y="557683"/>
                      </a:cubicBezTo>
                      <a:cubicBezTo>
                        <a:pt x="56399" y="557683"/>
                        <a:pt x="56399" y="557683"/>
                        <a:pt x="59966" y="564810"/>
                      </a:cubicBezTo>
                      <a:cubicBezTo>
                        <a:pt x="59966" y="564810"/>
                        <a:pt x="59966" y="564810"/>
                        <a:pt x="67099" y="566948"/>
                      </a:cubicBezTo>
                      <a:cubicBezTo>
                        <a:pt x="157697" y="600442"/>
                        <a:pt x="234027" y="648902"/>
                        <a:pt x="234740" y="649615"/>
                      </a:cubicBezTo>
                      <a:cubicBezTo>
                        <a:pt x="234740" y="649615"/>
                        <a:pt x="234740" y="649615"/>
                        <a:pt x="235453" y="650327"/>
                      </a:cubicBezTo>
                      <a:cubicBezTo>
                        <a:pt x="235453" y="650327"/>
                        <a:pt x="235453" y="650327"/>
                        <a:pt x="236167" y="650327"/>
                      </a:cubicBezTo>
                      <a:cubicBezTo>
                        <a:pt x="269695" y="675270"/>
                        <a:pt x="318917" y="703063"/>
                        <a:pt x="382407" y="732282"/>
                      </a:cubicBezTo>
                      <a:cubicBezTo>
                        <a:pt x="382407" y="732282"/>
                        <a:pt x="382407" y="732282"/>
                        <a:pt x="401667" y="741546"/>
                      </a:cubicBezTo>
                      <a:cubicBezTo>
                        <a:pt x="401667" y="741546"/>
                        <a:pt x="401667" y="741546"/>
                        <a:pt x="400954" y="762926"/>
                      </a:cubicBezTo>
                      <a:cubicBezTo>
                        <a:pt x="398101" y="804972"/>
                        <a:pt x="405234" y="840604"/>
                        <a:pt x="407374" y="852006"/>
                      </a:cubicBezTo>
                      <a:cubicBezTo>
                        <a:pt x="407374" y="853432"/>
                        <a:pt x="408088" y="854857"/>
                        <a:pt x="408088" y="855570"/>
                      </a:cubicBezTo>
                      <a:cubicBezTo>
                        <a:pt x="408088" y="855570"/>
                        <a:pt x="408088" y="855570"/>
                        <a:pt x="409514" y="859845"/>
                      </a:cubicBezTo>
                      <a:cubicBezTo>
                        <a:pt x="409514" y="859845"/>
                        <a:pt x="409514" y="859845"/>
                        <a:pt x="413081" y="863409"/>
                      </a:cubicBezTo>
                      <a:cubicBezTo>
                        <a:pt x="425922" y="875524"/>
                        <a:pt x="453030" y="882650"/>
                        <a:pt x="485844" y="882650"/>
                      </a:cubicBezTo>
                      <a:cubicBezTo>
                        <a:pt x="515092" y="882650"/>
                        <a:pt x="550761" y="876949"/>
                        <a:pt x="552901" y="850581"/>
                      </a:cubicBezTo>
                      <a:cubicBezTo>
                        <a:pt x="554327" y="839179"/>
                        <a:pt x="555754" y="822075"/>
                        <a:pt x="558608" y="804259"/>
                      </a:cubicBezTo>
                      <a:cubicBezTo>
                        <a:pt x="558608" y="804259"/>
                        <a:pt x="558608" y="804259"/>
                        <a:pt x="564314" y="775041"/>
                      </a:cubicBezTo>
                      <a:cubicBezTo>
                        <a:pt x="564314" y="775041"/>
                        <a:pt x="564314" y="775041"/>
                        <a:pt x="593562" y="778604"/>
                      </a:cubicBezTo>
                      <a:cubicBezTo>
                        <a:pt x="621384" y="782167"/>
                        <a:pt x="649918" y="784305"/>
                        <a:pt x="677739" y="784305"/>
                      </a:cubicBezTo>
                      <a:cubicBezTo>
                        <a:pt x="752643" y="784305"/>
                        <a:pt x="813279" y="771477"/>
                        <a:pt x="851087" y="761500"/>
                      </a:cubicBezTo>
                      <a:cubicBezTo>
                        <a:pt x="851087" y="761500"/>
                        <a:pt x="851087" y="761500"/>
                        <a:pt x="892462" y="749385"/>
                      </a:cubicBezTo>
                      <a:cubicBezTo>
                        <a:pt x="892462" y="749385"/>
                        <a:pt x="892462" y="749385"/>
                        <a:pt x="891035" y="792144"/>
                      </a:cubicBezTo>
                      <a:cubicBezTo>
                        <a:pt x="890322" y="809960"/>
                        <a:pt x="892462" y="824926"/>
                        <a:pt x="894602" y="840604"/>
                      </a:cubicBezTo>
                      <a:cubicBezTo>
                        <a:pt x="894602" y="840604"/>
                        <a:pt x="894602" y="840604"/>
                        <a:pt x="895316" y="846305"/>
                      </a:cubicBezTo>
                      <a:cubicBezTo>
                        <a:pt x="896742" y="854144"/>
                        <a:pt x="900309" y="876236"/>
                        <a:pt x="956665" y="876236"/>
                      </a:cubicBezTo>
                      <a:cubicBezTo>
                        <a:pt x="972359" y="876236"/>
                        <a:pt x="990906" y="874811"/>
                        <a:pt x="1008741" y="871960"/>
                      </a:cubicBezTo>
                      <a:cubicBezTo>
                        <a:pt x="1035135" y="867685"/>
                        <a:pt x="1042269" y="862696"/>
                        <a:pt x="1046549" y="857708"/>
                      </a:cubicBezTo>
                      <a:cubicBezTo>
                        <a:pt x="1046549" y="857708"/>
                        <a:pt x="1046549" y="857708"/>
                        <a:pt x="1047262" y="856995"/>
                      </a:cubicBezTo>
                      <a:cubicBezTo>
                        <a:pt x="1051542" y="852719"/>
                        <a:pt x="1052969" y="847730"/>
                        <a:pt x="1052969" y="842742"/>
                      </a:cubicBezTo>
                      <a:cubicBezTo>
                        <a:pt x="1052969" y="842742"/>
                        <a:pt x="1052969" y="842742"/>
                        <a:pt x="1052256" y="842029"/>
                      </a:cubicBezTo>
                      <a:cubicBezTo>
                        <a:pt x="1052256" y="842029"/>
                        <a:pt x="1052256" y="842029"/>
                        <a:pt x="1052256" y="841317"/>
                      </a:cubicBezTo>
                      <a:cubicBezTo>
                        <a:pt x="1048689" y="796420"/>
                        <a:pt x="1063670" y="738696"/>
                        <a:pt x="1064383" y="737983"/>
                      </a:cubicBezTo>
                      <a:cubicBezTo>
                        <a:pt x="1064383" y="737983"/>
                        <a:pt x="1064383" y="737983"/>
                        <a:pt x="1064383" y="735845"/>
                      </a:cubicBezTo>
                      <a:cubicBezTo>
                        <a:pt x="1064383" y="735845"/>
                        <a:pt x="1064383" y="735845"/>
                        <a:pt x="1065810" y="733707"/>
                      </a:cubicBezTo>
                      <a:cubicBezTo>
                        <a:pt x="1077937" y="707339"/>
                        <a:pt x="1114318" y="655316"/>
                        <a:pt x="1133579" y="628948"/>
                      </a:cubicBezTo>
                      <a:cubicBezTo>
                        <a:pt x="1133579" y="628948"/>
                        <a:pt x="1133579" y="628948"/>
                        <a:pt x="1135006" y="626097"/>
                      </a:cubicBezTo>
                      <a:cubicBezTo>
                        <a:pt x="1135006" y="626097"/>
                        <a:pt x="1135006" y="626097"/>
                        <a:pt x="1137146" y="623959"/>
                      </a:cubicBezTo>
                      <a:cubicBezTo>
                        <a:pt x="1183515" y="555545"/>
                        <a:pt x="1199922" y="472878"/>
                        <a:pt x="1183515" y="384510"/>
                      </a:cubicBezTo>
                      <a:cubicBezTo>
                        <a:pt x="1171388" y="321085"/>
                        <a:pt x="1146420" y="276188"/>
                        <a:pt x="1144280" y="271199"/>
                      </a:cubicBezTo>
                      <a:cubicBezTo>
                        <a:pt x="1144280" y="271199"/>
                        <a:pt x="1144280" y="271199"/>
                        <a:pt x="1143566" y="270487"/>
                      </a:cubicBezTo>
                      <a:cubicBezTo>
                        <a:pt x="1143566" y="270487"/>
                        <a:pt x="1143566" y="270487"/>
                        <a:pt x="1143566" y="269774"/>
                      </a:cubicBezTo>
                      <a:cubicBezTo>
                        <a:pt x="1140713" y="264073"/>
                        <a:pt x="1132153" y="253383"/>
                        <a:pt x="1127159" y="246969"/>
                      </a:cubicBezTo>
                      <a:cubicBezTo>
                        <a:pt x="1127159" y="246969"/>
                        <a:pt x="1127159" y="246969"/>
                        <a:pt x="1114318" y="229866"/>
                      </a:cubicBezTo>
                      <a:cubicBezTo>
                        <a:pt x="1114318" y="229866"/>
                        <a:pt x="1114318" y="229866"/>
                        <a:pt x="1109325" y="224877"/>
                      </a:cubicBezTo>
                      <a:cubicBezTo>
                        <a:pt x="1103618" y="219176"/>
                        <a:pt x="1098624" y="213475"/>
                        <a:pt x="1095058" y="209199"/>
                      </a:cubicBezTo>
                      <a:cubicBezTo>
                        <a:pt x="1095058" y="209199"/>
                        <a:pt x="1095058" y="209199"/>
                        <a:pt x="1093631" y="207774"/>
                      </a:cubicBezTo>
                      <a:cubicBezTo>
                        <a:pt x="974499" y="108716"/>
                        <a:pt x="836820" y="58831"/>
                        <a:pt x="684160" y="58831"/>
                      </a:cubicBezTo>
                      <a:cubicBezTo>
                        <a:pt x="557894" y="58831"/>
                        <a:pt x="455883" y="93038"/>
                        <a:pt x="406661" y="113704"/>
                      </a:cubicBezTo>
                      <a:cubicBezTo>
                        <a:pt x="406661" y="113704"/>
                        <a:pt x="406661" y="113704"/>
                        <a:pt x="390254" y="120831"/>
                      </a:cubicBezTo>
                      <a:cubicBezTo>
                        <a:pt x="390254" y="120831"/>
                        <a:pt x="390254" y="120831"/>
                        <a:pt x="375986" y="110141"/>
                      </a:cubicBezTo>
                      <a:cubicBezTo>
                        <a:pt x="306077" y="58118"/>
                        <a:pt x="248294" y="31750"/>
                        <a:pt x="205492" y="31750"/>
                      </a:cubicBezTo>
                      <a:close/>
                      <a:moveTo>
                        <a:pt x="204940" y="0"/>
                      </a:moveTo>
                      <a:cubicBezTo>
                        <a:pt x="255676" y="0"/>
                        <a:pt x="317846" y="27817"/>
                        <a:pt x="394307" y="84878"/>
                      </a:cubicBezTo>
                      <a:cubicBezTo>
                        <a:pt x="445043" y="63480"/>
                        <a:pt x="552232" y="27104"/>
                        <a:pt x="684431" y="27104"/>
                      </a:cubicBezTo>
                      <a:cubicBezTo>
                        <a:pt x="845214" y="27104"/>
                        <a:pt x="990276" y="79885"/>
                        <a:pt x="1114615" y="183308"/>
                      </a:cubicBezTo>
                      <a:cubicBezTo>
                        <a:pt x="1114615" y="183308"/>
                        <a:pt x="1114615" y="183308"/>
                        <a:pt x="1116759" y="185448"/>
                      </a:cubicBezTo>
                      <a:cubicBezTo>
                        <a:pt x="1117473" y="185448"/>
                        <a:pt x="1118188" y="186161"/>
                        <a:pt x="1118188" y="186874"/>
                      </a:cubicBezTo>
                      <a:cubicBezTo>
                        <a:pt x="1118188" y="186874"/>
                        <a:pt x="1118188" y="186874"/>
                        <a:pt x="1119617" y="188301"/>
                      </a:cubicBezTo>
                      <a:cubicBezTo>
                        <a:pt x="1123190" y="192580"/>
                        <a:pt x="1127478" y="197573"/>
                        <a:pt x="1132480" y="202566"/>
                      </a:cubicBezTo>
                      <a:cubicBezTo>
                        <a:pt x="1141055" y="198287"/>
                        <a:pt x="1150344" y="192580"/>
                        <a:pt x="1158920" y="186161"/>
                      </a:cubicBezTo>
                      <a:cubicBezTo>
                        <a:pt x="1158920" y="186161"/>
                        <a:pt x="1158920" y="186161"/>
                        <a:pt x="1168924" y="179029"/>
                      </a:cubicBezTo>
                      <a:cubicBezTo>
                        <a:pt x="1168924" y="179029"/>
                        <a:pt x="1168924" y="179029"/>
                        <a:pt x="1158920" y="171896"/>
                      </a:cubicBezTo>
                      <a:cubicBezTo>
                        <a:pt x="1141055" y="158344"/>
                        <a:pt x="1127478" y="144792"/>
                        <a:pt x="1120332" y="131240"/>
                      </a:cubicBezTo>
                      <a:cubicBezTo>
                        <a:pt x="1111042" y="114122"/>
                        <a:pt x="1110327" y="95577"/>
                        <a:pt x="1118188" y="79885"/>
                      </a:cubicBezTo>
                      <a:cubicBezTo>
                        <a:pt x="1131051" y="54921"/>
                        <a:pt x="1153203" y="41369"/>
                        <a:pt x="1177499" y="42796"/>
                      </a:cubicBezTo>
                      <a:cubicBezTo>
                        <a:pt x="1181072" y="42796"/>
                        <a:pt x="1185359" y="43509"/>
                        <a:pt x="1188932" y="44936"/>
                      </a:cubicBezTo>
                      <a:cubicBezTo>
                        <a:pt x="1221804" y="53495"/>
                        <a:pt x="1243956" y="86305"/>
                        <a:pt x="1241812" y="121254"/>
                      </a:cubicBezTo>
                      <a:cubicBezTo>
                        <a:pt x="1241812" y="134806"/>
                        <a:pt x="1236810" y="148358"/>
                        <a:pt x="1227520" y="162624"/>
                      </a:cubicBezTo>
                      <a:cubicBezTo>
                        <a:pt x="1227520" y="162624"/>
                        <a:pt x="1227520" y="162624"/>
                        <a:pt x="1222518" y="171183"/>
                      </a:cubicBezTo>
                      <a:cubicBezTo>
                        <a:pt x="1222518" y="171183"/>
                        <a:pt x="1222518" y="171183"/>
                        <a:pt x="1232522" y="175462"/>
                      </a:cubicBezTo>
                      <a:cubicBezTo>
                        <a:pt x="1253246" y="184021"/>
                        <a:pt x="1273969" y="189727"/>
                        <a:pt x="1289690" y="191154"/>
                      </a:cubicBezTo>
                      <a:cubicBezTo>
                        <a:pt x="1298265" y="191867"/>
                        <a:pt x="1304696" y="200426"/>
                        <a:pt x="1303267" y="208985"/>
                      </a:cubicBezTo>
                      <a:cubicBezTo>
                        <a:pt x="1302552" y="213978"/>
                        <a:pt x="1299694" y="218971"/>
                        <a:pt x="1295407" y="221111"/>
                      </a:cubicBezTo>
                      <a:cubicBezTo>
                        <a:pt x="1292548" y="222537"/>
                        <a:pt x="1289690" y="223251"/>
                        <a:pt x="1286117" y="223251"/>
                      </a:cubicBezTo>
                      <a:cubicBezTo>
                        <a:pt x="1286117" y="223251"/>
                        <a:pt x="1286117" y="223251"/>
                        <a:pt x="1285402" y="223251"/>
                      </a:cubicBezTo>
                      <a:cubicBezTo>
                        <a:pt x="1264679" y="220398"/>
                        <a:pt x="1232522" y="210412"/>
                        <a:pt x="1203939" y="197573"/>
                      </a:cubicBezTo>
                      <a:cubicBezTo>
                        <a:pt x="1203939" y="197573"/>
                        <a:pt x="1203939" y="197573"/>
                        <a:pt x="1198937" y="195434"/>
                      </a:cubicBezTo>
                      <a:cubicBezTo>
                        <a:pt x="1198937" y="195434"/>
                        <a:pt x="1198937" y="195434"/>
                        <a:pt x="1194649" y="199000"/>
                      </a:cubicBezTo>
                      <a:cubicBezTo>
                        <a:pt x="1179643" y="211839"/>
                        <a:pt x="1164636" y="221111"/>
                        <a:pt x="1153203" y="227530"/>
                      </a:cubicBezTo>
                      <a:cubicBezTo>
                        <a:pt x="1161063" y="238229"/>
                        <a:pt x="1168924" y="248215"/>
                        <a:pt x="1172497" y="255347"/>
                      </a:cubicBezTo>
                      <a:cubicBezTo>
                        <a:pt x="1178214" y="265333"/>
                        <a:pt x="1203224" y="312408"/>
                        <a:pt x="1215372" y="378741"/>
                      </a:cubicBezTo>
                      <a:cubicBezTo>
                        <a:pt x="1233237" y="476458"/>
                        <a:pt x="1215372" y="568469"/>
                        <a:pt x="1162493" y="644074"/>
                      </a:cubicBezTo>
                      <a:cubicBezTo>
                        <a:pt x="1162493" y="644074"/>
                        <a:pt x="1162493" y="644074"/>
                        <a:pt x="1161778" y="644788"/>
                      </a:cubicBezTo>
                      <a:cubicBezTo>
                        <a:pt x="1161778" y="644788"/>
                        <a:pt x="1161778" y="644788"/>
                        <a:pt x="1161063" y="645501"/>
                      </a:cubicBezTo>
                      <a:cubicBezTo>
                        <a:pt x="1139626" y="674745"/>
                        <a:pt x="1105325" y="724673"/>
                        <a:pt x="1095321" y="746784"/>
                      </a:cubicBezTo>
                      <a:cubicBezTo>
                        <a:pt x="1092463" y="758196"/>
                        <a:pt x="1081744" y="804558"/>
                        <a:pt x="1084602" y="838795"/>
                      </a:cubicBezTo>
                      <a:cubicBezTo>
                        <a:pt x="1086746" y="853060"/>
                        <a:pt x="1081744" y="868038"/>
                        <a:pt x="1071025" y="879450"/>
                      </a:cubicBezTo>
                      <a:cubicBezTo>
                        <a:pt x="1059591" y="891576"/>
                        <a:pt x="1044585" y="898708"/>
                        <a:pt x="1014572" y="903701"/>
                      </a:cubicBezTo>
                      <a:cubicBezTo>
                        <a:pt x="995993" y="906554"/>
                        <a:pt x="975270" y="908694"/>
                        <a:pt x="957405" y="908694"/>
                      </a:cubicBezTo>
                      <a:cubicBezTo>
                        <a:pt x="887375" y="908694"/>
                        <a:pt x="868796" y="876597"/>
                        <a:pt x="865223" y="850920"/>
                      </a:cubicBezTo>
                      <a:cubicBezTo>
                        <a:pt x="865223" y="850920"/>
                        <a:pt x="865223" y="850920"/>
                        <a:pt x="864508" y="845927"/>
                      </a:cubicBezTo>
                      <a:cubicBezTo>
                        <a:pt x="861650" y="828809"/>
                        <a:pt x="859506" y="812404"/>
                        <a:pt x="860220" y="791719"/>
                      </a:cubicBezTo>
                      <a:cubicBezTo>
                        <a:pt x="813057" y="804558"/>
                        <a:pt x="750888" y="815970"/>
                        <a:pt x="678000" y="815970"/>
                      </a:cubicBezTo>
                      <a:cubicBezTo>
                        <a:pt x="649416" y="815970"/>
                        <a:pt x="619403" y="813830"/>
                        <a:pt x="590105" y="810264"/>
                      </a:cubicBezTo>
                      <a:cubicBezTo>
                        <a:pt x="587247" y="824529"/>
                        <a:pt x="585817" y="840221"/>
                        <a:pt x="584388" y="853773"/>
                      </a:cubicBezTo>
                      <a:cubicBezTo>
                        <a:pt x="582244" y="876597"/>
                        <a:pt x="567238" y="914400"/>
                        <a:pt x="485775" y="914400"/>
                      </a:cubicBezTo>
                      <a:cubicBezTo>
                        <a:pt x="461479" y="914400"/>
                        <a:pt x="417174" y="910834"/>
                        <a:pt x="391449" y="886583"/>
                      </a:cubicBezTo>
                      <a:cubicBezTo>
                        <a:pt x="391449" y="886583"/>
                        <a:pt x="391449" y="886583"/>
                        <a:pt x="380730" y="876597"/>
                      </a:cubicBezTo>
                      <a:cubicBezTo>
                        <a:pt x="380730" y="876597"/>
                        <a:pt x="380730" y="876597"/>
                        <a:pt x="377157" y="862332"/>
                      </a:cubicBezTo>
                      <a:cubicBezTo>
                        <a:pt x="376442" y="858053"/>
                        <a:pt x="365723" y="815257"/>
                        <a:pt x="369296" y="761049"/>
                      </a:cubicBezTo>
                      <a:cubicBezTo>
                        <a:pt x="326421" y="741078"/>
                        <a:pt x="263537" y="709694"/>
                        <a:pt x="217088" y="676171"/>
                      </a:cubicBezTo>
                      <a:cubicBezTo>
                        <a:pt x="206369" y="669039"/>
                        <a:pt x="136339" y="626243"/>
                        <a:pt x="55591" y="596999"/>
                      </a:cubicBezTo>
                      <a:cubicBezTo>
                        <a:pt x="55591" y="596999"/>
                        <a:pt x="55591" y="596999"/>
                        <a:pt x="37011" y="589867"/>
                      </a:cubicBezTo>
                      <a:cubicBezTo>
                        <a:pt x="37011" y="589867"/>
                        <a:pt x="37011" y="589867"/>
                        <a:pt x="27722" y="572748"/>
                      </a:cubicBezTo>
                      <a:cubicBezTo>
                        <a:pt x="24149" y="565616"/>
                        <a:pt x="-6579" y="472892"/>
                        <a:pt x="1282" y="363050"/>
                      </a:cubicBezTo>
                      <a:cubicBezTo>
                        <a:pt x="1996" y="349498"/>
                        <a:pt x="6284" y="343078"/>
                        <a:pt x="49159" y="328813"/>
                      </a:cubicBezTo>
                      <a:cubicBezTo>
                        <a:pt x="62737" y="324534"/>
                        <a:pt x="78458" y="322394"/>
                        <a:pt x="94179" y="320254"/>
                      </a:cubicBezTo>
                      <a:cubicBezTo>
                        <a:pt x="104183" y="319541"/>
                        <a:pt x="116331" y="318114"/>
                        <a:pt x="125621" y="315975"/>
                      </a:cubicBezTo>
                      <a:cubicBezTo>
                        <a:pt x="134196" y="310268"/>
                        <a:pt x="163494" y="286731"/>
                        <a:pt x="211372" y="218971"/>
                      </a:cubicBezTo>
                      <a:cubicBezTo>
                        <a:pt x="212801" y="216831"/>
                        <a:pt x="213515" y="214692"/>
                        <a:pt x="212801" y="213265"/>
                      </a:cubicBezTo>
                      <a:cubicBezTo>
                        <a:pt x="209228" y="198287"/>
                        <a:pt x="193507" y="163337"/>
                        <a:pt x="132767" y="97004"/>
                      </a:cubicBezTo>
                      <a:cubicBezTo>
                        <a:pt x="132767" y="97004"/>
                        <a:pt x="113473" y="77746"/>
                        <a:pt x="113473" y="63480"/>
                      </a:cubicBezTo>
                      <a:cubicBezTo>
                        <a:pt x="113473" y="49215"/>
                        <a:pt x="131337" y="28531"/>
                        <a:pt x="131337" y="28531"/>
                      </a:cubicBezTo>
                      <a:cubicBezTo>
                        <a:pt x="137054" y="22111"/>
                        <a:pt x="159206" y="0"/>
                        <a:pt x="204940" y="0"/>
                      </a:cubicBezTo>
                      <a:close/>
                    </a:path>
                  </a:pathLst>
                </a:custGeom>
                <a:solidFill>
                  <a:srgbClr val="FFFF00"/>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5" name="Freeform 63"/>
                <p:cNvSpPr>
                  <a:spLocks noChangeArrowheads="1"/>
                </p:cNvSpPr>
                <p:nvPr/>
              </p:nvSpPr>
              <p:spPr bwMode="auto">
                <a:xfrm>
                  <a:off x="5500150" y="2800351"/>
                  <a:ext cx="1098253" cy="1136650"/>
                </a:xfrm>
                <a:custGeom>
                  <a:avLst/>
                  <a:gdLst>
                    <a:gd name="connsiteX0" fmla="*/ 275175 w 1098253"/>
                    <a:gd name="connsiteY0" fmla="*/ 608012 h 1136650"/>
                    <a:gd name="connsiteX1" fmla="*/ 237075 w 1098253"/>
                    <a:gd name="connsiteY1" fmla="*/ 646112 h 1136650"/>
                    <a:gd name="connsiteX2" fmla="*/ 275175 w 1098253"/>
                    <a:gd name="connsiteY2" fmla="*/ 684212 h 1136650"/>
                    <a:gd name="connsiteX3" fmla="*/ 313275 w 1098253"/>
                    <a:gd name="connsiteY3" fmla="*/ 646112 h 1136650"/>
                    <a:gd name="connsiteX4" fmla="*/ 275175 w 1098253"/>
                    <a:gd name="connsiteY4" fmla="*/ 608012 h 1136650"/>
                    <a:gd name="connsiteX5" fmla="*/ 621706 w 1098253"/>
                    <a:gd name="connsiteY5" fmla="*/ 471423 h 1136650"/>
                    <a:gd name="connsiteX6" fmla="*/ 479521 w 1098253"/>
                    <a:gd name="connsiteY6" fmla="*/ 504452 h 1136650"/>
                    <a:gd name="connsiteX7" fmla="*/ 472407 w 1098253"/>
                    <a:gd name="connsiteY7" fmla="*/ 525867 h 1136650"/>
                    <a:gd name="connsiteX8" fmla="*/ 493750 w 1098253"/>
                    <a:gd name="connsiteY8" fmla="*/ 532292 h 1136650"/>
                    <a:gd name="connsiteX9" fmla="*/ 787562 w 1098253"/>
                    <a:gd name="connsiteY9" fmla="*/ 535147 h 1136650"/>
                    <a:gd name="connsiteX10" fmla="*/ 793965 w 1098253"/>
                    <a:gd name="connsiteY10" fmla="*/ 536575 h 1136650"/>
                    <a:gd name="connsiteX11" fmla="*/ 808193 w 1098253"/>
                    <a:gd name="connsiteY11" fmla="*/ 526581 h 1136650"/>
                    <a:gd name="connsiteX12" fmla="*/ 799656 w 1098253"/>
                    <a:gd name="connsiteY12" fmla="*/ 505880 h 1136650"/>
                    <a:gd name="connsiteX13" fmla="*/ 621706 w 1098253"/>
                    <a:gd name="connsiteY13" fmla="*/ 471423 h 1136650"/>
                    <a:gd name="connsiteX14" fmla="*/ 144227 w 1098253"/>
                    <a:gd name="connsiteY14" fmla="*/ 346075 h 1136650"/>
                    <a:gd name="connsiteX15" fmla="*/ 144941 w 1098253"/>
                    <a:gd name="connsiteY15" fmla="*/ 346075 h 1136650"/>
                    <a:gd name="connsiteX16" fmla="*/ 296962 w 1098253"/>
                    <a:gd name="connsiteY16" fmla="*/ 418270 h 1136650"/>
                    <a:gd name="connsiteX17" fmla="*/ 325510 w 1098253"/>
                    <a:gd name="connsiteY17" fmla="*/ 439715 h 1136650"/>
                    <a:gd name="connsiteX18" fmla="*/ 358341 w 1098253"/>
                    <a:gd name="connsiteY18" fmla="*/ 426133 h 1136650"/>
                    <a:gd name="connsiteX19" fmla="*/ 623842 w 1098253"/>
                    <a:gd name="connsiteY19" fmla="*/ 373238 h 1136650"/>
                    <a:gd name="connsiteX20" fmla="*/ 1011388 w 1098253"/>
                    <a:gd name="connsiteY20" fmla="*/ 514054 h 1136650"/>
                    <a:gd name="connsiteX21" fmla="*/ 1027089 w 1098253"/>
                    <a:gd name="connsiteY21" fmla="*/ 530495 h 1136650"/>
                    <a:gd name="connsiteX22" fmla="*/ 1030658 w 1098253"/>
                    <a:gd name="connsiteY22" fmla="*/ 534069 h 1136650"/>
                    <a:gd name="connsiteX23" fmla="*/ 1042077 w 1098253"/>
                    <a:gd name="connsiteY23" fmla="*/ 549080 h 1136650"/>
                    <a:gd name="connsiteX24" fmla="*/ 1054924 w 1098253"/>
                    <a:gd name="connsiteY24" fmla="*/ 567665 h 1136650"/>
                    <a:gd name="connsiteX25" fmla="*/ 1055638 w 1098253"/>
                    <a:gd name="connsiteY25" fmla="*/ 568380 h 1136650"/>
                    <a:gd name="connsiteX26" fmla="*/ 1056352 w 1098253"/>
                    <a:gd name="connsiteY26" fmla="*/ 569809 h 1136650"/>
                    <a:gd name="connsiteX27" fmla="*/ 1092751 w 1098253"/>
                    <a:gd name="connsiteY27" fmla="*/ 674171 h 1136650"/>
                    <a:gd name="connsiteX28" fmla="*/ 1052783 w 1098253"/>
                    <a:gd name="connsiteY28" fmla="*/ 887898 h 1136650"/>
                    <a:gd name="connsiteX29" fmla="*/ 1049214 w 1098253"/>
                    <a:gd name="connsiteY29" fmla="*/ 892187 h 1136650"/>
                    <a:gd name="connsiteX30" fmla="*/ 1046360 w 1098253"/>
                    <a:gd name="connsiteY30" fmla="*/ 897190 h 1136650"/>
                    <a:gd name="connsiteX31" fmla="*/ 977130 w 1098253"/>
                    <a:gd name="connsiteY31" fmla="*/ 1005841 h 1136650"/>
                    <a:gd name="connsiteX32" fmla="*/ 974988 w 1098253"/>
                    <a:gd name="connsiteY32" fmla="*/ 1010130 h 1136650"/>
                    <a:gd name="connsiteX33" fmla="*/ 973561 w 1098253"/>
                    <a:gd name="connsiteY33" fmla="*/ 1015133 h 1136650"/>
                    <a:gd name="connsiteX34" fmla="*/ 960714 w 1098253"/>
                    <a:gd name="connsiteY34" fmla="*/ 1122354 h 1136650"/>
                    <a:gd name="connsiteX35" fmla="*/ 942871 w 1098253"/>
                    <a:gd name="connsiteY35" fmla="*/ 1126643 h 1136650"/>
                    <a:gd name="connsiteX36" fmla="*/ 896480 w 1098253"/>
                    <a:gd name="connsiteY36" fmla="*/ 1130217 h 1136650"/>
                    <a:gd name="connsiteX37" fmla="*/ 866504 w 1098253"/>
                    <a:gd name="connsiteY37" fmla="*/ 1125928 h 1136650"/>
                    <a:gd name="connsiteX38" fmla="*/ 865790 w 1098253"/>
                    <a:gd name="connsiteY38" fmla="*/ 1121639 h 1136650"/>
                    <a:gd name="connsiteX39" fmla="*/ 862222 w 1098253"/>
                    <a:gd name="connsiteY39" fmla="*/ 1078751 h 1136650"/>
                    <a:gd name="connsiteX40" fmla="*/ 864363 w 1098253"/>
                    <a:gd name="connsiteY40" fmla="*/ 992974 h 1136650"/>
                    <a:gd name="connsiteX41" fmla="*/ 782286 w 1098253"/>
                    <a:gd name="connsiteY41" fmla="*/ 1015848 h 1136650"/>
                    <a:gd name="connsiteX42" fmla="*/ 617419 w 1098253"/>
                    <a:gd name="connsiteY42" fmla="*/ 1038007 h 1136650"/>
                    <a:gd name="connsiteX43" fmla="*/ 537483 w 1098253"/>
                    <a:gd name="connsiteY43" fmla="*/ 1033003 h 1136650"/>
                    <a:gd name="connsiteX44" fmla="*/ 478245 w 1098253"/>
                    <a:gd name="connsiteY44" fmla="*/ 1025140 h 1136650"/>
                    <a:gd name="connsiteX45" fmla="*/ 467539 w 1098253"/>
                    <a:gd name="connsiteY45" fmla="*/ 1084469 h 1136650"/>
                    <a:gd name="connsiteX46" fmla="*/ 461829 w 1098253"/>
                    <a:gd name="connsiteY46" fmla="*/ 1131647 h 1136650"/>
                    <a:gd name="connsiteX47" fmla="*/ 425430 w 1098253"/>
                    <a:gd name="connsiteY47" fmla="*/ 1136650 h 1136650"/>
                    <a:gd name="connsiteX48" fmla="*/ 376898 w 1098253"/>
                    <a:gd name="connsiteY48" fmla="*/ 1128072 h 1136650"/>
                    <a:gd name="connsiteX49" fmla="*/ 371188 w 1098253"/>
                    <a:gd name="connsiteY49" fmla="*/ 1049444 h 1136650"/>
                    <a:gd name="connsiteX50" fmla="*/ 374043 w 1098253"/>
                    <a:gd name="connsiteY50" fmla="*/ 1007270 h 1136650"/>
                    <a:gd name="connsiteX51" fmla="*/ 335502 w 1098253"/>
                    <a:gd name="connsiteY51" fmla="*/ 989400 h 1136650"/>
                    <a:gd name="connsiteX52" fmla="*/ 194187 w 1098253"/>
                    <a:gd name="connsiteY52" fmla="*/ 910057 h 1136650"/>
                    <a:gd name="connsiteX53" fmla="*/ 192760 w 1098253"/>
                    <a:gd name="connsiteY53" fmla="*/ 909342 h 1136650"/>
                    <a:gd name="connsiteX54" fmla="*/ 191332 w 1098253"/>
                    <a:gd name="connsiteY54" fmla="*/ 907912 h 1136650"/>
                    <a:gd name="connsiteX55" fmla="*/ 22183 w 1098253"/>
                    <a:gd name="connsiteY55" fmla="*/ 824280 h 1136650"/>
                    <a:gd name="connsiteX56" fmla="*/ 771 w 1098253"/>
                    <a:gd name="connsiteY56" fmla="*/ 678460 h 1136650"/>
                    <a:gd name="connsiteX57" fmla="*/ 8622 w 1098253"/>
                    <a:gd name="connsiteY57" fmla="*/ 672026 h 1136650"/>
                    <a:gd name="connsiteX58" fmla="*/ 41453 w 1098253"/>
                    <a:gd name="connsiteY58" fmla="*/ 667023 h 1136650"/>
                    <a:gd name="connsiteX59" fmla="*/ 57155 w 1098253"/>
                    <a:gd name="connsiteY59" fmla="*/ 664878 h 1136650"/>
                    <a:gd name="connsiteX60" fmla="*/ 77852 w 1098253"/>
                    <a:gd name="connsiteY60" fmla="*/ 662019 h 1136650"/>
                    <a:gd name="connsiteX61" fmla="*/ 91413 w 1098253"/>
                    <a:gd name="connsiteY61" fmla="*/ 659160 h 1136650"/>
                    <a:gd name="connsiteX62" fmla="*/ 102118 w 1098253"/>
                    <a:gd name="connsiteY62" fmla="*/ 651297 h 1136650"/>
                    <a:gd name="connsiteX63" fmla="*/ 202038 w 1098253"/>
                    <a:gd name="connsiteY63" fmla="*/ 539787 h 1136650"/>
                    <a:gd name="connsiteX64" fmla="*/ 203466 w 1098253"/>
                    <a:gd name="connsiteY64" fmla="*/ 537643 h 1136650"/>
                    <a:gd name="connsiteX65" fmla="*/ 215599 w 1098253"/>
                    <a:gd name="connsiteY65" fmla="*/ 490466 h 1136650"/>
                    <a:gd name="connsiteX66" fmla="*/ 138518 w 1098253"/>
                    <a:gd name="connsiteY66" fmla="*/ 359656 h 1136650"/>
                    <a:gd name="connsiteX67" fmla="*/ 144227 w 1098253"/>
                    <a:gd name="connsiteY67" fmla="*/ 346075 h 1136650"/>
                    <a:gd name="connsiteX68" fmla="*/ 629768 w 1098253"/>
                    <a:gd name="connsiteY68" fmla="*/ 47625 h 1136650"/>
                    <a:gd name="connsiteX69" fmla="*/ 629768 w 1098253"/>
                    <a:gd name="connsiteY69" fmla="*/ 62657 h 1136650"/>
                    <a:gd name="connsiteX70" fmla="*/ 610810 w 1098253"/>
                    <a:gd name="connsiteY70" fmla="*/ 74825 h 1136650"/>
                    <a:gd name="connsiteX71" fmla="*/ 603788 w 1098253"/>
                    <a:gd name="connsiteY71" fmla="*/ 94868 h 1136650"/>
                    <a:gd name="connsiteX72" fmla="*/ 606597 w 1098253"/>
                    <a:gd name="connsiteY72" fmla="*/ 109183 h 1136650"/>
                    <a:gd name="connsiteX73" fmla="*/ 613619 w 1098253"/>
                    <a:gd name="connsiteY73" fmla="*/ 119920 h 1136650"/>
                    <a:gd name="connsiteX74" fmla="*/ 632577 w 1098253"/>
                    <a:gd name="connsiteY74" fmla="*/ 131373 h 1136650"/>
                    <a:gd name="connsiteX75" fmla="*/ 650833 w 1098253"/>
                    <a:gd name="connsiteY75" fmla="*/ 144257 h 1136650"/>
                    <a:gd name="connsiteX76" fmla="*/ 655748 w 1098253"/>
                    <a:gd name="connsiteY76" fmla="*/ 157142 h 1136650"/>
                    <a:gd name="connsiteX77" fmla="*/ 636088 w 1098253"/>
                    <a:gd name="connsiteY77" fmla="*/ 170742 h 1136650"/>
                    <a:gd name="connsiteX78" fmla="*/ 611512 w 1098253"/>
                    <a:gd name="connsiteY78" fmla="*/ 161436 h 1136650"/>
                    <a:gd name="connsiteX79" fmla="*/ 603788 w 1098253"/>
                    <a:gd name="connsiteY79" fmla="*/ 181479 h 1136650"/>
                    <a:gd name="connsiteX80" fmla="*/ 629768 w 1098253"/>
                    <a:gd name="connsiteY80" fmla="*/ 190068 h 1136650"/>
                    <a:gd name="connsiteX81" fmla="*/ 629768 w 1098253"/>
                    <a:gd name="connsiteY81" fmla="*/ 207963 h 1136650"/>
                    <a:gd name="connsiteX82" fmla="*/ 648727 w 1098253"/>
                    <a:gd name="connsiteY82" fmla="*/ 207963 h 1136650"/>
                    <a:gd name="connsiteX83" fmla="*/ 648727 w 1098253"/>
                    <a:gd name="connsiteY83" fmla="*/ 187921 h 1136650"/>
                    <a:gd name="connsiteX84" fmla="*/ 669089 w 1098253"/>
                    <a:gd name="connsiteY84" fmla="*/ 176468 h 1136650"/>
                    <a:gd name="connsiteX85" fmla="*/ 676813 w 1098253"/>
                    <a:gd name="connsiteY85" fmla="*/ 155710 h 1136650"/>
                    <a:gd name="connsiteX86" fmla="*/ 674005 w 1098253"/>
                    <a:gd name="connsiteY86" fmla="*/ 140678 h 1136650"/>
                    <a:gd name="connsiteX87" fmla="*/ 665579 w 1098253"/>
                    <a:gd name="connsiteY87" fmla="*/ 128510 h 1136650"/>
                    <a:gd name="connsiteX88" fmla="*/ 648727 w 1098253"/>
                    <a:gd name="connsiteY88" fmla="*/ 117057 h 1136650"/>
                    <a:gd name="connsiteX89" fmla="*/ 625555 w 1098253"/>
                    <a:gd name="connsiteY89" fmla="*/ 94868 h 1136650"/>
                    <a:gd name="connsiteX90" fmla="*/ 629768 w 1098253"/>
                    <a:gd name="connsiteY90" fmla="*/ 84846 h 1136650"/>
                    <a:gd name="connsiteX91" fmla="*/ 641003 w 1098253"/>
                    <a:gd name="connsiteY91" fmla="*/ 80552 h 1136650"/>
                    <a:gd name="connsiteX92" fmla="*/ 664876 w 1098253"/>
                    <a:gd name="connsiteY92" fmla="*/ 89141 h 1136650"/>
                    <a:gd name="connsiteX93" fmla="*/ 671196 w 1098253"/>
                    <a:gd name="connsiteY93" fmla="*/ 69815 h 1136650"/>
                    <a:gd name="connsiteX94" fmla="*/ 648727 w 1098253"/>
                    <a:gd name="connsiteY94" fmla="*/ 61941 h 1136650"/>
                    <a:gd name="connsiteX95" fmla="*/ 648727 w 1098253"/>
                    <a:gd name="connsiteY95" fmla="*/ 47625 h 1136650"/>
                    <a:gd name="connsiteX96" fmla="*/ 629768 w 1098253"/>
                    <a:gd name="connsiteY96" fmla="*/ 47625 h 1136650"/>
                    <a:gd name="connsiteX97" fmla="*/ 640300 w 1098253"/>
                    <a:gd name="connsiteY97" fmla="*/ 0 h 1136650"/>
                    <a:gd name="connsiteX98" fmla="*/ 767300 w 1098253"/>
                    <a:gd name="connsiteY98" fmla="*/ 127794 h 1136650"/>
                    <a:gd name="connsiteX99" fmla="*/ 640300 w 1098253"/>
                    <a:gd name="connsiteY99" fmla="*/ 255588 h 1136650"/>
                    <a:gd name="connsiteX100" fmla="*/ 513300 w 1098253"/>
                    <a:gd name="connsiteY100" fmla="*/ 127794 h 1136650"/>
                    <a:gd name="connsiteX101" fmla="*/ 640300 w 1098253"/>
                    <a:gd name="connsiteY101" fmla="*/ 0 h 113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098253" h="1136650">
                      <a:moveTo>
                        <a:pt x="275175" y="608012"/>
                      </a:moveTo>
                      <a:cubicBezTo>
                        <a:pt x="254133" y="608012"/>
                        <a:pt x="237075" y="625070"/>
                        <a:pt x="237075" y="646112"/>
                      </a:cubicBezTo>
                      <a:cubicBezTo>
                        <a:pt x="237075" y="667154"/>
                        <a:pt x="254133" y="684212"/>
                        <a:pt x="275175" y="684212"/>
                      </a:cubicBezTo>
                      <a:cubicBezTo>
                        <a:pt x="296217" y="684212"/>
                        <a:pt x="313275" y="667154"/>
                        <a:pt x="313275" y="646112"/>
                      </a:cubicBezTo>
                      <a:cubicBezTo>
                        <a:pt x="313275" y="625070"/>
                        <a:pt x="296217" y="608012"/>
                        <a:pt x="275175" y="608012"/>
                      </a:cubicBezTo>
                      <a:close/>
                      <a:moveTo>
                        <a:pt x="621706" y="471423"/>
                      </a:moveTo>
                      <a:cubicBezTo>
                        <a:pt x="537768" y="474114"/>
                        <a:pt x="483078" y="502667"/>
                        <a:pt x="479521" y="504452"/>
                      </a:cubicBezTo>
                      <a:cubicBezTo>
                        <a:pt x="471696" y="508735"/>
                        <a:pt x="468850" y="518015"/>
                        <a:pt x="472407" y="525867"/>
                      </a:cubicBezTo>
                      <a:cubicBezTo>
                        <a:pt x="476676" y="533006"/>
                        <a:pt x="485924" y="535861"/>
                        <a:pt x="493750" y="532292"/>
                      </a:cubicBezTo>
                      <a:cubicBezTo>
                        <a:pt x="495172" y="531578"/>
                        <a:pt x="623226" y="465191"/>
                        <a:pt x="787562" y="535147"/>
                      </a:cubicBezTo>
                      <a:cubicBezTo>
                        <a:pt x="789696" y="535861"/>
                        <a:pt x="791831" y="536575"/>
                        <a:pt x="793965" y="536575"/>
                      </a:cubicBezTo>
                      <a:cubicBezTo>
                        <a:pt x="799656" y="536575"/>
                        <a:pt x="806059" y="533006"/>
                        <a:pt x="808193" y="526581"/>
                      </a:cubicBezTo>
                      <a:cubicBezTo>
                        <a:pt x="811750" y="518729"/>
                        <a:pt x="808193" y="509449"/>
                        <a:pt x="799656" y="505880"/>
                      </a:cubicBezTo>
                      <a:cubicBezTo>
                        <a:pt x="732962" y="477504"/>
                        <a:pt x="672069" y="469808"/>
                        <a:pt x="621706" y="471423"/>
                      </a:cubicBezTo>
                      <a:close/>
                      <a:moveTo>
                        <a:pt x="144227" y="346075"/>
                      </a:moveTo>
                      <a:cubicBezTo>
                        <a:pt x="144227" y="346075"/>
                        <a:pt x="144227" y="346075"/>
                        <a:pt x="144941" y="346075"/>
                      </a:cubicBezTo>
                      <a:cubicBezTo>
                        <a:pt x="169921" y="346075"/>
                        <a:pt x="216312" y="358227"/>
                        <a:pt x="296962" y="418270"/>
                      </a:cubicBezTo>
                      <a:cubicBezTo>
                        <a:pt x="296962" y="418270"/>
                        <a:pt x="296962" y="418270"/>
                        <a:pt x="325510" y="439715"/>
                      </a:cubicBezTo>
                      <a:cubicBezTo>
                        <a:pt x="325510" y="439715"/>
                        <a:pt x="325510" y="439715"/>
                        <a:pt x="358341" y="426133"/>
                      </a:cubicBezTo>
                      <a:cubicBezTo>
                        <a:pt x="405446" y="406119"/>
                        <a:pt x="502511" y="373238"/>
                        <a:pt x="623842" y="373238"/>
                      </a:cubicBezTo>
                      <a:cubicBezTo>
                        <a:pt x="768726" y="373238"/>
                        <a:pt x="899335" y="420415"/>
                        <a:pt x="1011388" y="514054"/>
                      </a:cubicBezTo>
                      <a:cubicBezTo>
                        <a:pt x="1016384" y="519058"/>
                        <a:pt x="1021380" y="524777"/>
                        <a:pt x="1027089" y="530495"/>
                      </a:cubicBezTo>
                      <a:cubicBezTo>
                        <a:pt x="1027089" y="530495"/>
                        <a:pt x="1027089" y="530495"/>
                        <a:pt x="1030658" y="534069"/>
                      </a:cubicBezTo>
                      <a:cubicBezTo>
                        <a:pt x="1030658" y="534069"/>
                        <a:pt x="1030658" y="534069"/>
                        <a:pt x="1042077" y="549080"/>
                      </a:cubicBezTo>
                      <a:cubicBezTo>
                        <a:pt x="1044932" y="552654"/>
                        <a:pt x="1053497" y="564091"/>
                        <a:pt x="1054924" y="567665"/>
                      </a:cubicBezTo>
                      <a:cubicBezTo>
                        <a:pt x="1054924" y="567665"/>
                        <a:pt x="1054924" y="567665"/>
                        <a:pt x="1055638" y="568380"/>
                      </a:cubicBezTo>
                      <a:cubicBezTo>
                        <a:pt x="1055638" y="568380"/>
                        <a:pt x="1055638" y="568380"/>
                        <a:pt x="1056352" y="569809"/>
                      </a:cubicBezTo>
                      <a:cubicBezTo>
                        <a:pt x="1057779" y="571954"/>
                        <a:pt x="1081332" y="614127"/>
                        <a:pt x="1092751" y="674171"/>
                      </a:cubicBezTo>
                      <a:cubicBezTo>
                        <a:pt x="1107025" y="753514"/>
                        <a:pt x="1093465" y="827139"/>
                        <a:pt x="1052783" y="887898"/>
                      </a:cubicBezTo>
                      <a:cubicBezTo>
                        <a:pt x="1052783" y="887898"/>
                        <a:pt x="1052783" y="887898"/>
                        <a:pt x="1049214" y="892187"/>
                      </a:cubicBezTo>
                      <a:cubicBezTo>
                        <a:pt x="1049214" y="892187"/>
                        <a:pt x="1049214" y="892187"/>
                        <a:pt x="1046360" y="897190"/>
                      </a:cubicBezTo>
                      <a:cubicBezTo>
                        <a:pt x="1036368" y="911486"/>
                        <a:pt x="991404" y="972245"/>
                        <a:pt x="977130" y="1005841"/>
                      </a:cubicBezTo>
                      <a:cubicBezTo>
                        <a:pt x="977130" y="1005841"/>
                        <a:pt x="977130" y="1005841"/>
                        <a:pt x="974988" y="1010130"/>
                      </a:cubicBezTo>
                      <a:cubicBezTo>
                        <a:pt x="974988" y="1010130"/>
                        <a:pt x="974988" y="1010130"/>
                        <a:pt x="973561" y="1015133"/>
                      </a:cubicBezTo>
                      <a:cubicBezTo>
                        <a:pt x="973561" y="1015848"/>
                        <a:pt x="957859" y="1072318"/>
                        <a:pt x="960714" y="1122354"/>
                      </a:cubicBezTo>
                      <a:cubicBezTo>
                        <a:pt x="957146" y="1123784"/>
                        <a:pt x="952150" y="1125213"/>
                        <a:pt x="942871" y="1126643"/>
                      </a:cubicBezTo>
                      <a:cubicBezTo>
                        <a:pt x="927170" y="1128787"/>
                        <a:pt x="910754" y="1130217"/>
                        <a:pt x="896480" y="1130217"/>
                      </a:cubicBezTo>
                      <a:cubicBezTo>
                        <a:pt x="877210" y="1130217"/>
                        <a:pt x="869359" y="1127358"/>
                        <a:pt x="866504" y="1125928"/>
                      </a:cubicBezTo>
                      <a:cubicBezTo>
                        <a:pt x="866504" y="1125928"/>
                        <a:pt x="866504" y="1125928"/>
                        <a:pt x="865790" y="1121639"/>
                      </a:cubicBezTo>
                      <a:cubicBezTo>
                        <a:pt x="863649" y="1106628"/>
                        <a:pt x="861508" y="1093047"/>
                        <a:pt x="862222" y="1078751"/>
                      </a:cubicBezTo>
                      <a:cubicBezTo>
                        <a:pt x="862222" y="1078751"/>
                        <a:pt x="862222" y="1078751"/>
                        <a:pt x="864363" y="992974"/>
                      </a:cubicBezTo>
                      <a:cubicBezTo>
                        <a:pt x="864363" y="992974"/>
                        <a:pt x="864363" y="992974"/>
                        <a:pt x="782286" y="1015848"/>
                      </a:cubicBezTo>
                      <a:cubicBezTo>
                        <a:pt x="746601" y="1025855"/>
                        <a:pt x="688790" y="1038007"/>
                        <a:pt x="617419" y="1038007"/>
                      </a:cubicBezTo>
                      <a:cubicBezTo>
                        <a:pt x="591011" y="1038007"/>
                        <a:pt x="563890" y="1035863"/>
                        <a:pt x="537483" y="1033003"/>
                      </a:cubicBezTo>
                      <a:cubicBezTo>
                        <a:pt x="537483" y="1033003"/>
                        <a:pt x="537483" y="1033003"/>
                        <a:pt x="478245" y="1025140"/>
                      </a:cubicBezTo>
                      <a:cubicBezTo>
                        <a:pt x="478245" y="1025140"/>
                        <a:pt x="478245" y="1025140"/>
                        <a:pt x="467539" y="1084469"/>
                      </a:cubicBezTo>
                      <a:cubicBezTo>
                        <a:pt x="464684" y="1102339"/>
                        <a:pt x="462543" y="1119495"/>
                        <a:pt x="461829" y="1131647"/>
                      </a:cubicBezTo>
                      <a:cubicBezTo>
                        <a:pt x="457547" y="1133076"/>
                        <a:pt x="446841" y="1136650"/>
                        <a:pt x="425430" y="1136650"/>
                      </a:cubicBezTo>
                      <a:cubicBezTo>
                        <a:pt x="399023" y="1136650"/>
                        <a:pt x="383321" y="1131647"/>
                        <a:pt x="376898" y="1128072"/>
                      </a:cubicBezTo>
                      <a:cubicBezTo>
                        <a:pt x="374756" y="1115206"/>
                        <a:pt x="369760" y="1085184"/>
                        <a:pt x="371188" y="1049444"/>
                      </a:cubicBezTo>
                      <a:cubicBezTo>
                        <a:pt x="371188" y="1049444"/>
                        <a:pt x="371188" y="1049444"/>
                        <a:pt x="374043" y="1007270"/>
                      </a:cubicBezTo>
                      <a:cubicBezTo>
                        <a:pt x="374043" y="1007270"/>
                        <a:pt x="374043" y="1007270"/>
                        <a:pt x="335502" y="989400"/>
                      </a:cubicBezTo>
                      <a:cubicBezTo>
                        <a:pt x="274123" y="960093"/>
                        <a:pt x="226304" y="933645"/>
                        <a:pt x="194187" y="910057"/>
                      </a:cubicBezTo>
                      <a:cubicBezTo>
                        <a:pt x="194187" y="910057"/>
                        <a:pt x="194187" y="910057"/>
                        <a:pt x="192760" y="909342"/>
                      </a:cubicBezTo>
                      <a:cubicBezTo>
                        <a:pt x="192760" y="909342"/>
                        <a:pt x="192760" y="909342"/>
                        <a:pt x="191332" y="907912"/>
                      </a:cubicBezTo>
                      <a:cubicBezTo>
                        <a:pt x="190619" y="907198"/>
                        <a:pt x="113538" y="858591"/>
                        <a:pt x="22183" y="824280"/>
                      </a:cubicBezTo>
                      <a:cubicBezTo>
                        <a:pt x="16473" y="810699"/>
                        <a:pt x="-4225" y="758518"/>
                        <a:pt x="771" y="678460"/>
                      </a:cubicBezTo>
                      <a:cubicBezTo>
                        <a:pt x="1485" y="676315"/>
                        <a:pt x="1485" y="674886"/>
                        <a:pt x="8622" y="672026"/>
                      </a:cubicBezTo>
                      <a:cubicBezTo>
                        <a:pt x="16473" y="669882"/>
                        <a:pt x="28606" y="668452"/>
                        <a:pt x="41453" y="667023"/>
                      </a:cubicBezTo>
                      <a:cubicBezTo>
                        <a:pt x="41453" y="667023"/>
                        <a:pt x="41453" y="667023"/>
                        <a:pt x="57155" y="664878"/>
                      </a:cubicBezTo>
                      <a:cubicBezTo>
                        <a:pt x="64292" y="664164"/>
                        <a:pt x="71429" y="663449"/>
                        <a:pt x="77852" y="662019"/>
                      </a:cubicBezTo>
                      <a:cubicBezTo>
                        <a:pt x="77852" y="662019"/>
                        <a:pt x="77852" y="662019"/>
                        <a:pt x="91413" y="659160"/>
                      </a:cubicBezTo>
                      <a:cubicBezTo>
                        <a:pt x="91413" y="659160"/>
                        <a:pt x="91413" y="659160"/>
                        <a:pt x="102118" y="651297"/>
                      </a:cubicBezTo>
                      <a:cubicBezTo>
                        <a:pt x="121389" y="637716"/>
                        <a:pt x="154933" y="606979"/>
                        <a:pt x="202038" y="539787"/>
                      </a:cubicBezTo>
                      <a:cubicBezTo>
                        <a:pt x="202038" y="539787"/>
                        <a:pt x="202038" y="539787"/>
                        <a:pt x="203466" y="537643"/>
                      </a:cubicBezTo>
                      <a:cubicBezTo>
                        <a:pt x="214171" y="524062"/>
                        <a:pt x="218453" y="506906"/>
                        <a:pt x="215599" y="490466"/>
                      </a:cubicBezTo>
                      <a:cubicBezTo>
                        <a:pt x="209889" y="456870"/>
                        <a:pt x="184195" y="412552"/>
                        <a:pt x="138518" y="359656"/>
                      </a:cubicBezTo>
                      <a:cubicBezTo>
                        <a:pt x="133522" y="353938"/>
                        <a:pt x="137090" y="346075"/>
                        <a:pt x="144227" y="346075"/>
                      </a:cubicBezTo>
                      <a:close/>
                      <a:moveTo>
                        <a:pt x="629768" y="47625"/>
                      </a:moveTo>
                      <a:cubicBezTo>
                        <a:pt x="629768" y="47625"/>
                        <a:pt x="629768" y="47625"/>
                        <a:pt x="629768" y="62657"/>
                      </a:cubicBezTo>
                      <a:cubicBezTo>
                        <a:pt x="622044" y="64804"/>
                        <a:pt x="615725" y="69099"/>
                        <a:pt x="610810" y="74825"/>
                      </a:cubicBezTo>
                      <a:cubicBezTo>
                        <a:pt x="605895" y="80552"/>
                        <a:pt x="603788" y="86994"/>
                        <a:pt x="603788" y="94868"/>
                      </a:cubicBezTo>
                      <a:cubicBezTo>
                        <a:pt x="603788" y="99878"/>
                        <a:pt x="604490" y="104889"/>
                        <a:pt x="606597" y="109183"/>
                      </a:cubicBezTo>
                      <a:cubicBezTo>
                        <a:pt x="608001" y="113478"/>
                        <a:pt x="610108" y="117057"/>
                        <a:pt x="613619" y="119920"/>
                      </a:cubicBezTo>
                      <a:cubicBezTo>
                        <a:pt x="617129" y="123499"/>
                        <a:pt x="623449" y="127078"/>
                        <a:pt x="632577" y="131373"/>
                      </a:cubicBezTo>
                      <a:cubicBezTo>
                        <a:pt x="641003" y="136384"/>
                        <a:pt x="647322" y="140678"/>
                        <a:pt x="650833" y="144257"/>
                      </a:cubicBezTo>
                      <a:cubicBezTo>
                        <a:pt x="653642" y="148552"/>
                        <a:pt x="655748" y="152847"/>
                        <a:pt x="655748" y="157142"/>
                      </a:cubicBezTo>
                      <a:cubicBezTo>
                        <a:pt x="655748" y="165731"/>
                        <a:pt x="649429" y="170742"/>
                        <a:pt x="636088" y="170742"/>
                      </a:cubicBezTo>
                      <a:cubicBezTo>
                        <a:pt x="628364" y="170742"/>
                        <a:pt x="619938" y="167879"/>
                        <a:pt x="611512" y="161436"/>
                      </a:cubicBezTo>
                      <a:cubicBezTo>
                        <a:pt x="611512" y="161436"/>
                        <a:pt x="611512" y="161436"/>
                        <a:pt x="603788" y="181479"/>
                      </a:cubicBezTo>
                      <a:cubicBezTo>
                        <a:pt x="611512" y="186489"/>
                        <a:pt x="619938" y="189352"/>
                        <a:pt x="629768" y="190068"/>
                      </a:cubicBezTo>
                      <a:cubicBezTo>
                        <a:pt x="629768" y="190068"/>
                        <a:pt x="629768" y="190068"/>
                        <a:pt x="629768" y="207963"/>
                      </a:cubicBezTo>
                      <a:cubicBezTo>
                        <a:pt x="629768" y="207963"/>
                        <a:pt x="629768" y="207963"/>
                        <a:pt x="648727" y="207963"/>
                      </a:cubicBezTo>
                      <a:cubicBezTo>
                        <a:pt x="648727" y="207963"/>
                        <a:pt x="648727" y="207963"/>
                        <a:pt x="648727" y="187921"/>
                      </a:cubicBezTo>
                      <a:cubicBezTo>
                        <a:pt x="657855" y="185773"/>
                        <a:pt x="664876" y="182195"/>
                        <a:pt x="669089" y="176468"/>
                      </a:cubicBezTo>
                      <a:cubicBezTo>
                        <a:pt x="674707" y="170026"/>
                        <a:pt x="676813" y="163584"/>
                        <a:pt x="676813" y="155710"/>
                      </a:cubicBezTo>
                      <a:cubicBezTo>
                        <a:pt x="676813" y="149984"/>
                        <a:pt x="676111" y="144973"/>
                        <a:pt x="674005" y="140678"/>
                      </a:cubicBezTo>
                      <a:cubicBezTo>
                        <a:pt x="672600" y="135668"/>
                        <a:pt x="669089" y="131373"/>
                        <a:pt x="665579" y="128510"/>
                      </a:cubicBezTo>
                      <a:cubicBezTo>
                        <a:pt x="662770" y="124931"/>
                        <a:pt x="656451" y="121352"/>
                        <a:pt x="648727" y="117057"/>
                      </a:cubicBezTo>
                      <a:cubicBezTo>
                        <a:pt x="633279" y="109183"/>
                        <a:pt x="625555" y="102026"/>
                        <a:pt x="625555" y="94868"/>
                      </a:cubicBezTo>
                      <a:cubicBezTo>
                        <a:pt x="625555" y="90573"/>
                        <a:pt x="626257" y="86994"/>
                        <a:pt x="629768" y="84846"/>
                      </a:cubicBezTo>
                      <a:cubicBezTo>
                        <a:pt x="631875" y="81983"/>
                        <a:pt x="636088" y="80552"/>
                        <a:pt x="641003" y="80552"/>
                      </a:cubicBezTo>
                      <a:cubicBezTo>
                        <a:pt x="649429" y="80552"/>
                        <a:pt x="657153" y="82699"/>
                        <a:pt x="664876" y="89141"/>
                      </a:cubicBezTo>
                      <a:cubicBezTo>
                        <a:pt x="664876" y="89141"/>
                        <a:pt x="664876" y="89141"/>
                        <a:pt x="671196" y="69815"/>
                      </a:cubicBezTo>
                      <a:cubicBezTo>
                        <a:pt x="666281" y="65520"/>
                        <a:pt x="659259" y="63373"/>
                        <a:pt x="648727" y="61941"/>
                      </a:cubicBezTo>
                      <a:cubicBezTo>
                        <a:pt x="648727" y="61941"/>
                        <a:pt x="648727" y="61941"/>
                        <a:pt x="648727" y="47625"/>
                      </a:cubicBezTo>
                      <a:cubicBezTo>
                        <a:pt x="648727" y="47625"/>
                        <a:pt x="648727" y="47625"/>
                        <a:pt x="629768" y="47625"/>
                      </a:cubicBezTo>
                      <a:close/>
                      <a:moveTo>
                        <a:pt x="640300" y="0"/>
                      </a:moveTo>
                      <a:cubicBezTo>
                        <a:pt x="710440" y="0"/>
                        <a:pt x="767300" y="57215"/>
                        <a:pt x="767300" y="127794"/>
                      </a:cubicBezTo>
                      <a:cubicBezTo>
                        <a:pt x="767300" y="198373"/>
                        <a:pt x="710440" y="255588"/>
                        <a:pt x="640300" y="255588"/>
                      </a:cubicBezTo>
                      <a:cubicBezTo>
                        <a:pt x="570160" y="255588"/>
                        <a:pt x="513300" y="198373"/>
                        <a:pt x="513300" y="127794"/>
                      </a:cubicBezTo>
                      <a:cubicBezTo>
                        <a:pt x="513300" y="57215"/>
                        <a:pt x="570160" y="0"/>
                        <a:pt x="640300" y="0"/>
                      </a:cubicBezTo>
                      <a:close/>
                    </a:path>
                  </a:pathLst>
                </a:custGeom>
                <a:solidFill>
                  <a:srgbClr val="FFFF00"/>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71" name="TextBox 47"/>
            <p:cNvSpPr txBox="1"/>
            <p:nvPr/>
          </p:nvSpPr>
          <p:spPr>
            <a:xfrm>
              <a:off x="962474" y="3518345"/>
              <a:ext cx="1572222" cy="589583"/>
            </a:xfrm>
            <a:prstGeom prst="rect">
              <a:avLst/>
            </a:prstGeom>
            <a:solidFill>
              <a:srgbClr val="005478"/>
            </a:solidFill>
            <a:ln w="9525" cap="rnd">
              <a:noFill/>
              <a:prstDash val="solid"/>
              <a:roun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20000"/>
                </a:lnSpc>
              </a:pPr>
              <a:r>
                <a:rPr lang="ru-RU" sz="1400" b="1" dirty="0" smtClean="0">
                  <a:solidFill>
                    <a:schemeClr val="bg1"/>
                  </a:solidFill>
                </a:rPr>
                <a:t>СНИЖЕНИЕ НАЛОГОВ</a:t>
              </a:r>
              <a:r>
                <a:rPr lang="en-US" sz="1400" b="1" dirty="0" smtClean="0">
                  <a:solidFill>
                    <a:schemeClr val="bg1"/>
                  </a:solidFill>
                </a:rPr>
                <a:t>*</a:t>
              </a:r>
              <a:endParaRPr lang="en-US" sz="1400" dirty="0">
                <a:solidFill>
                  <a:schemeClr val="bg1"/>
                </a:solidFill>
              </a:endParaRPr>
            </a:p>
          </p:txBody>
        </p:sp>
      </p:grpSp>
      <p:grpSp>
        <p:nvGrpSpPr>
          <p:cNvPr id="76" name="Group 65"/>
          <p:cNvGrpSpPr/>
          <p:nvPr/>
        </p:nvGrpSpPr>
        <p:grpSpPr>
          <a:xfrm>
            <a:off x="7687097" y="3591910"/>
            <a:ext cx="1440000" cy="1454381"/>
            <a:chOff x="6320804" y="2278610"/>
            <a:chExt cx="1962244" cy="1981840"/>
          </a:xfrm>
        </p:grpSpPr>
        <p:sp>
          <p:nvSpPr>
            <p:cNvPr id="77" name="TextBox 66"/>
            <p:cNvSpPr txBox="1"/>
            <p:nvPr/>
          </p:nvSpPr>
          <p:spPr>
            <a:xfrm>
              <a:off x="6320804" y="3524609"/>
              <a:ext cx="1962244" cy="735841"/>
            </a:xfrm>
            <a:prstGeom prst="rect">
              <a:avLst/>
            </a:prstGeom>
            <a:solidFill>
              <a:srgbClr val="005478"/>
            </a:solidFill>
            <a:ln w="9525" cap="rnd">
              <a:noFill/>
              <a:prstDash val="solid"/>
              <a:roun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20000"/>
                </a:lnSpc>
              </a:pPr>
              <a:r>
                <a:rPr lang="ru-RU" sz="1400" b="1" dirty="0" smtClean="0">
                  <a:solidFill>
                    <a:schemeClr val="bg1"/>
                  </a:solidFill>
                </a:rPr>
                <a:t>ПРОЩЕ</a:t>
              </a:r>
              <a:endParaRPr lang="en-US" sz="1400" dirty="0">
                <a:solidFill>
                  <a:schemeClr val="bg1"/>
                </a:solidFill>
              </a:endParaRPr>
            </a:p>
          </p:txBody>
        </p:sp>
        <p:grpSp>
          <p:nvGrpSpPr>
            <p:cNvPr id="78" name="Group 67"/>
            <p:cNvGrpSpPr>
              <a:grpSpLocks noChangeAspect="1"/>
            </p:cNvGrpSpPr>
            <p:nvPr/>
          </p:nvGrpSpPr>
          <p:grpSpPr>
            <a:xfrm>
              <a:off x="6664859" y="2278610"/>
              <a:ext cx="1245999" cy="1245999"/>
              <a:chOff x="5245894" y="2610009"/>
              <a:chExt cx="1644650" cy="1644650"/>
            </a:xfrm>
          </p:grpSpPr>
          <p:sp>
            <p:nvSpPr>
              <p:cNvPr id="79" name="AutoShape 3"/>
              <p:cNvSpPr>
                <a:spLocks noChangeAspect="1" noChangeArrowheads="1" noTextEdit="1"/>
              </p:cNvSpPr>
              <p:nvPr/>
            </p:nvSpPr>
            <p:spPr bwMode="auto">
              <a:xfrm>
                <a:off x="5245894" y="2610009"/>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nvGrpSpPr>
              <p:cNvPr id="80" name="Group 69"/>
              <p:cNvGrpSpPr/>
              <p:nvPr/>
            </p:nvGrpSpPr>
            <p:grpSpPr>
              <a:xfrm>
                <a:off x="5394325" y="2863215"/>
                <a:ext cx="1347788" cy="1138238"/>
                <a:chOff x="5219700" y="2868613"/>
                <a:chExt cx="1347788" cy="1138238"/>
              </a:xfrm>
            </p:grpSpPr>
            <p:sp>
              <p:nvSpPr>
                <p:cNvPr id="81" name="Freeform 70"/>
                <p:cNvSpPr>
                  <a:spLocks/>
                </p:cNvSpPr>
                <p:nvPr/>
              </p:nvSpPr>
              <p:spPr bwMode="auto">
                <a:xfrm>
                  <a:off x="5270500" y="3598863"/>
                  <a:ext cx="1276350" cy="344488"/>
                </a:xfrm>
                <a:custGeom>
                  <a:avLst/>
                  <a:gdLst>
                    <a:gd name="T0" fmla="*/ 1526 w 1788"/>
                    <a:gd name="T1" fmla="*/ 119 h 484"/>
                    <a:gd name="T2" fmla="*/ 1566 w 1788"/>
                    <a:gd name="T3" fmla="*/ 191 h 484"/>
                    <a:gd name="T4" fmla="*/ 1534 w 1788"/>
                    <a:gd name="T5" fmla="*/ 279 h 484"/>
                    <a:gd name="T6" fmla="*/ 1506 w 1788"/>
                    <a:gd name="T7" fmla="*/ 285 h 484"/>
                    <a:gd name="T8" fmla="*/ 1446 w 1788"/>
                    <a:gd name="T9" fmla="*/ 246 h 484"/>
                    <a:gd name="T10" fmla="*/ 1331 w 1788"/>
                    <a:gd name="T11" fmla="*/ 118 h 484"/>
                    <a:gd name="T12" fmla="*/ 1268 w 1788"/>
                    <a:gd name="T13" fmla="*/ 106 h 484"/>
                    <a:gd name="T14" fmla="*/ 1185 w 1788"/>
                    <a:gd name="T15" fmla="*/ 116 h 484"/>
                    <a:gd name="T16" fmla="*/ 1088 w 1788"/>
                    <a:gd name="T17" fmla="*/ 128 h 484"/>
                    <a:gd name="T18" fmla="*/ 1048 w 1788"/>
                    <a:gd name="T19" fmla="*/ 125 h 484"/>
                    <a:gd name="T20" fmla="*/ 942 w 1788"/>
                    <a:gd name="T21" fmla="*/ 260 h 484"/>
                    <a:gd name="T22" fmla="*/ 890 w 1788"/>
                    <a:gd name="T23" fmla="*/ 285 h 484"/>
                    <a:gd name="T24" fmla="*/ 849 w 1788"/>
                    <a:gd name="T25" fmla="*/ 271 h 484"/>
                    <a:gd name="T26" fmla="*/ 825 w 1788"/>
                    <a:gd name="T27" fmla="*/ 227 h 484"/>
                    <a:gd name="T28" fmla="*/ 838 w 1788"/>
                    <a:gd name="T29" fmla="*/ 178 h 484"/>
                    <a:gd name="T30" fmla="*/ 929 w 1788"/>
                    <a:gd name="T31" fmla="*/ 62 h 484"/>
                    <a:gd name="T32" fmla="*/ 886 w 1788"/>
                    <a:gd name="T33" fmla="*/ 0 h 484"/>
                    <a:gd name="T34" fmla="*/ 715 w 1788"/>
                    <a:gd name="T35" fmla="*/ 12 h 484"/>
                    <a:gd name="T36" fmla="*/ 759 w 1788"/>
                    <a:gd name="T37" fmla="*/ 189 h 484"/>
                    <a:gd name="T38" fmla="*/ 656 w 1788"/>
                    <a:gd name="T39" fmla="*/ 263 h 484"/>
                    <a:gd name="T40" fmla="*/ 599 w 1788"/>
                    <a:gd name="T41" fmla="*/ 241 h 484"/>
                    <a:gd name="T42" fmla="*/ 524 w 1788"/>
                    <a:gd name="T43" fmla="*/ 48 h 484"/>
                    <a:gd name="T44" fmla="*/ 0 w 1788"/>
                    <a:gd name="T45" fmla="*/ 480 h 484"/>
                    <a:gd name="T46" fmla="*/ 510 w 1788"/>
                    <a:gd name="T47" fmla="*/ 321 h 484"/>
                    <a:gd name="T48" fmla="*/ 536 w 1788"/>
                    <a:gd name="T49" fmla="*/ 321 h 484"/>
                    <a:gd name="T50" fmla="*/ 860 w 1788"/>
                    <a:gd name="T51" fmla="*/ 404 h 484"/>
                    <a:gd name="T52" fmla="*/ 1094 w 1788"/>
                    <a:gd name="T53" fmla="*/ 477 h 484"/>
                    <a:gd name="T54" fmla="*/ 1200 w 1788"/>
                    <a:gd name="T55" fmla="*/ 484 h 484"/>
                    <a:gd name="T56" fmla="*/ 1754 w 1788"/>
                    <a:gd name="T57" fmla="*/ 330 h 484"/>
                    <a:gd name="T58" fmla="*/ 1788 w 1788"/>
                    <a:gd name="T59" fmla="*/ 321 h 484"/>
                    <a:gd name="T60" fmla="*/ 1526 w 1788"/>
                    <a:gd name="T61" fmla="*/ 119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88" h="484">
                      <a:moveTo>
                        <a:pt x="1526" y="119"/>
                      </a:moveTo>
                      <a:cubicBezTo>
                        <a:pt x="1541" y="141"/>
                        <a:pt x="1554" y="165"/>
                        <a:pt x="1566" y="191"/>
                      </a:cubicBezTo>
                      <a:cubicBezTo>
                        <a:pt x="1581" y="224"/>
                        <a:pt x="1567" y="264"/>
                        <a:pt x="1534" y="279"/>
                      </a:cubicBezTo>
                      <a:cubicBezTo>
                        <a:pt x="1525" y="283"/>
                        <a:pt x="1516" y="285"/>
                        <a:pt x="1506" y="285"/>
                      </a:cubicBezTo>
                      <a:cubicBezTo>
                        <a:pt x="1480" y="285"/>
                        <a:pt x="1457" y="270"/>
                        <a:pt x="1446" y="246"/>
                      </a:cubicBezTo>
                      <a:cubicBezTo>
                        <a:pt x="1416" y="180"/>
                        <a:pt x="1377" y="137"/>
                        <a:pt x="1331" y="118"/>
                      </a:cubicBezTo>
                      <a:cubicBezTo>
                        <a:pt x="1311" y="110"/>
                        <a:pt x="1292" y="106"/>
                        <a:pt x="1268" y="106"/>
                      </a:cubicBezTo>
                      <a:cubicBezTo>
                        <a:pt x="1241" y="106"/>
                        <a:pt x="1214" y="111"/>
                        <a:pt x="1185" y="116"/>
                      </a:cubicBezTo>
                      <a:cubicBezTo>
                        <a:pt x="1154" y="122"/>
                        <a:pt x="1122" y="128"/>
                        <a:pt x="1088" y="128"/>
                      </a:cubicBezTo>
                      <a:cubicBezTo>
                        <a:pt x="1074" y="128"/>
                        <a:pt x="1061" y="127"/>
                        <a:pt x="1048" y="125"/>
                      </a:cubicBezTo>
                      <a:cubicBezTo>
                        <a:pt x="942" y="260"/>
                        <a:pt x="942" y="260"/>
                        <a:pt x="942" y="260"/>
                      </a:cubicBezTo>
                      <a:cubicBezTo>
                        <a:pt x="929" y="276"/>
                        <a:pt x="910" y="285"/>
                        <a:pt x="890" y="285"/>
                      </a:cubicBezTo>
                      <a:cubicBezTo>
                        <a:pt x="875" y="285"/>
                        <a:pt x="861" y="280"/>
                        <a:pt x="849" y="271"/>
                      </a:cubicBezTo>
                      <a:cubicBezTo>
                        <a:pt x="835" y="260"/>
                        <a:pt x="827" y="244"/>
                        <a:pt x="825" y="227"/>
                      </a:cubicBezTo>
                      <a:cubicBezTo>
                        <a:pt x="822" y="209"/>
                        <a:pt x="827" y="192"/>
                        <a:pt x="838" y="178"/>
                      </a:cubicBezTo>
                      <a:cubicBezTo>
                        <a:pt x="929" y="62"/>
                        <a:pt x="929" y="62"/>
                        <a:pt x="929" y="62"/>
                      </a:cubicBezTo>
                      <a:cubicBezTo>
                        <a:pt x="913" y="44"/>
                        <a:pt x="898" y="24"/>
                        <a:pt x="886" y="0"/>
                      </a:cubicBezTo>
                      <a:cubicBezTo>
                        <a:pt x="827" y="1"/>
                        <a:pt x="770" y="5"/>
                        <a:pt x="715" y="12"/>
                      </a:cubicBezTo>
                      <a:cubicBezTo>
                        <a:pt x="764" y="144"/>
                        <a:pt x="767" y="166"/>
                        <a:pt x="759" y="189"/>
                      </a:cubicBezTo>
                      <a:cubicBezTo>
                        <a:pt x="749" y="220"/>
                        <a:pt x="707" y="263"/>
                        <a:pt x="656" y="263"/>
                      </a:cubicBezTo>
                      <a:cubicBezTo>
                        <a:pt x="635" y="263"/>
                        <a:pt x="615" y="255"/>
                        <a:pt x="599" y="241"/>
                      </a:cubicBezTo>
                      <a:cubicBezTo>
                        <a:pt x="582" y="227"/>
                        <a:pt x="566" y="190"/>
                        <a:pt x="524" y="48"/>
                      </a:cubicBezTo>
                      <a:cubicBezTo>
                        <a:pt x="221" y="126"/>
                        <a:pt x="10" y="289"/>
                        <a:pt x="0" y="480"/>
                      </a:cubicBezTo>
                      <a:cubicBezTo>
                        <a:pt x="170" y="374"/>
                        <a:pt x="341" y="321"/>
                        <a:pt x="510" y="321"/>
                      </a:cubicBezTo>
                      <a:cubicBezTo>
                        <a:pt x="518" y="321"/>
                        <a:pt x="527" y="321"/>
                        <a:pt x="536" y="321"/>
                      </a:cubicBezTo>
                      <a:cubicBezTo>
                        <a:pt x="675" y="326"/>
                        <a:pt x="773" y="367"/>
                        <a:pt x="860" y="404"/>
                      </a:cubicBezTo>
                      <a:cubicBezTo>
                        <a:pt x="932" y="434"/>
                        <a:pt x="999" y="463"/>
                        <a:pt x="1094" y="477"/>
                      </a:cubicBezTo>
                      <a:cubicBezTo>
                        <a:pt x="1128" y="482"/>
                        <a:pt x="1164" y="484"/>
                        <a:pt x="1200" y="484"/>
                      </a:cubicBezTo>
                      <a:cubicBezTo>
                        <a:pt x="1366" y="484"/>
                        <a:pt x="1552" y="432"/>
                        <a:pt x="1754" y="330"/>
                      </a:cubicBezTo>
                      <a:cubicBezTo>
                        <a:pt x="1764" y="325"/>
                        <a:pt x="1776" y="322"/>
                        <a:pt x="1788" y="321"/>
                      </a:cubicBezTo>
                      <a:cubicBezTo>
                        <a:pt x="1734" y="243"/>
                        <a:pt x="1643" y="173"/>
                        <a:pt x="1526" y="119"/>
                      </a:cubicBez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82" name="Freeform 71"/>
                <p:cNvSpPr>
                  <a:spLocks noEditPoints="1"/>
                </p:cNvSpPr>
                <p:nvPr/>
              </p:nvSpPr>
              <p:spPr bwMode="auto">
                <a:xfrm>
                  <a:off x="5219700" y="2868613"/>
                  <a:ext cx="1347788" cy="1138238"/>
                </a:xfrm>
                <a:custGeom>
                  <a:avLst/>
                  <a:gdLst>
                    <a:gd name="T0" fmla="*/ 1559 w 1889"/>
                    <a:gd name="T1" fmla="*/ 1250 h 1594"/>
                    <a:gd name="T2" fmla="*/ 1250 w 1889"/>
                    <a:gd name="T3" fmla="*/ 1095 h 1594"/>
                    <a:gd name="T4" fmla="*/ 980 w 1889"/>
                    <a:gd name="T5" fmla="*/ 1254 h 1594"/>
                    <a:gd name="T6" fmla="*/ 946 w 1889"/>
                    <a:gd name="T7" fmla="*/ 1227 h 1594"/>
                    <a:gd name="T8" fmla="*/ 951 w 1889"/>
                    <a:gd name="T9" fmla="*/ 829 h 1594"/>
                    <a:gd name="T10" fmla="*/ 995 w 1889"/>
                    <a:gd name="T11" fmla="*/ 824 h 1594"/>
                    <a:gd name="T12" fmla="*/ 1242 w 1889"/>
                    <a:gd name="T13" fmla="*/ 1052 h 1594"/>
                    <a:gd name="T14" fmla="*/ 1599 w 1889"/>
                    <a:gd name="T15" fmla="*/ 1232 h 1594"/>
                    <a:gd name="T16" fmla="*/ 1579 w 1889"/>
                    <a:gd name="T17" fmla="*/ 1263 h 1594"/>
                    <a:gd name="T18" fmla="*/ 1883 w 1889"/>
                    <a:gd name="T19" fmla="*/ 1399 h 1594"/>
                    <a:gd name="T20" fmla="*/ 1158 w 1889"/>
                    <a:gd name="T21" fmla="*/ 1542 h 1594"/>
                    <a:gd name="T22" fmla="*/ 607 w 1889"/>
                    <a:gd name="T23" fmla="*/ 1387 h 1594"/>
                    <a:gd name="T24" fmla="*/ 84 w 1889"/>
                    <a:gd name="T25" fmla="*/ 1576 h 1594"/>
                    <a:gd name="T26" fmla="*/ 605 w 1889"/>
                    <a:gd name="T27" fmla="*/ 1431 h 1594"/>
                    <a:gd name="T28" fmla="*/ 1152 w 1889"/>
                    <a:gd name="T29" fmla="*/ 1586 h 1594"/>
                    <a:gd name="T30" fmla="*/ 1874 w 1889"/>
                    <a:gd name="T31" fmla="*/ 1429 h 1594"/>
                    <a:gd name="T32" fmla="*/ 221 w 1889"/>
                    <a:gd name="T33" fmla="*/ 348 h 1594"/>
                    <a:gd name="T34" fmla="*/ 246 w 1889"/>
                    <a:gd name="T35" fmla="*/ 669 h 1594"/>
                    <a:gd name="T36" fmla="*/ 288 w 1889"/>
                    <a:gd name="T37" fmla="*/ 653 h 1594"/>
                    <a:gd name="T38" fmla="*/ 367 w 1889"/>
                    <a:gd name="T39" fmla="*/ 389 h 1594"/>
                    <a:gd name="T40" fmla="*/ 427 w 1889"/>
                    <a:gd name="T41" fmla="*/ 339 h 1594"/>
                    <a:gd name="T42" fmla="*/ 790 w 1889"/>
                    <a:gd name="T43" fmla="*/ 1197 h 1594"/>
                    <a:gd name="T44" fmla="*/ 484 w 1889"/>
                    <a:gd name="T45" fmla="*/ 329 h 1594"/>
                    <a:gd name="T46" fmla="*/ 671 w 1889"/>
                    <a:gd name="T47" fmla="*/ 384 h 1594"/>
                    <a:gd name="T48" fmla="*/ 742 w 1889"/>
                    <a:gd name="T49" fmla="*/ 470 h 1594"/>
                    <a:gd name="T50" fmla="*/ 785 w 1889"/>
                    <a:gd name="T51" fmla="*/ 461 h 1594"/>
                    <a:gd name="T52" fmla="*/ 658 w 1889"/>
                    <a:gd name="T53" fmla="*/ 176 h 1594"/>
                    <a:gd name="T54" fmla="*/ 640 w 1889"/>
                    <a:gd name="T55" fmla="*/ 155 h 1594"/>
                    <a:gd name="T56" fmla="*/ 749 w 1889"/>
                    <a:gd name="T57" fmla="*/ 136 h 1594"/>
                    <a:gd name="T58" fmla="*/ 765 w 1889"/>
                    <a:gd name="T59" fmla="*/ 83 h 1594"/>
                    <a:gd name="T60" fmla="*/ 447 w 1889"/>
                    <a:gd name="T61" fmla="*/ 128 h 1594"/>
                    <a:gd name="T62" fmla="*/ 418 w 1889"/>
                    <a:gd name="T63" fmla="*/ 106 h 1594"/>
                    <a:gd name="T64" fmla="*/ 120 w 1889"/>
                    <a:gd name="T65" fmla="*/ 73 h 1594"/>
                    <a:gd name="T66" fmla="*/ 135 w 1889"/>
                    <a:gd name="T67" fmla="*/ 131 h 1594"/>
                    <a:gd name="T68" fmla="*/ 233 w 1889"/>
                    <a:gd name="T69" fmla="*/ 159 h 1594"/>
                    <a:gd name="T70" fmla="*/ 232 w 1889"/>
                    <a:gd name="T71" fmla="*/ 169 h 1594"/>
                    <a:gd name="T72" fmla="*/ 9 w 1889"/>
                    <a:gd name="T73" fmla="*/ 425 h 1594"/>
                    <a:gd name="T74" fmla="*/ 59 w 1889"/>
                    <a:gd name="T75" fmla="*/ 444 h 1594"/>
                    <a:gd name="T76" fmla="*/ 210 w 1889"/>
                    <a:gd name="T77" fmla="*/ 335 h 1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9" h="1594">
                      <a:moveTo>
                        <a:pt x="1579" y="1263"/>
                      </a:moveTo>
                      <a:cubicBezTo>
                        <a:pt x="1571" y="1263"/>
                        <a:pt x="1563" y="1258"/>
                        <a:pt x="1559" y="1250"/>
                      </a:cubicBezTo>
                      <a:cubicBezTo>
                        <a:pt x="1524" y="1174"/>
                        <a:pt x="1478" y="1123"/>
                        <a:pt x="1421" y="1099"/>
                      </a:cubicBezTo>
                      <a:cubicBezTo>
                        <a:pt x="1361" y="1074"/>
                        <a:pt x="1305" y="1085"/>
                        <a:pt x="1250" y="1095"/>
                      </a:cubicBezTo>
                      <a:cubicBezTo>
                        <a:pt x="1202" y="1104"/>
                        <a:pt x="1152" y="1114"/>
                        <a:pt x="1103" y="1098"/>
                      </a:cubicBezTo>
                      <a:cubicBezTo>
                        <a:pt x="980" y="1254"/>
                        <a:pt x="980" y="1254"/>
                        <a:pt x="980" y="1254"/>
                      </a:cubicBezTo>
                      <a:cubicBezTo>
                        <a:pt x="973" y="1264"/>
                        <a:pt x="959" y="1266"/>
                        <a:pt x="949" y="1258"/>
                      </a:cubicBezTo>
                      <a:cubicBezTo>
                        <a:pt x="940" y="1251"/>
                        <a:pt x="938" y="1237"/>
                        <a:pt x="946" y="1227"/>
                      </a:cubicBezTo>
                      <a:cubicBezTo>
                        <a:pt x="1063" y="1078"/>
                        <a:pt x="1063" y="1078"/>
                        <a:pt x="1063" y="1078"/>
                      </a:cubicBezTo>
                      <a:cubicBezTo>
                        <a:pt x="1002" y="1037"/>
                        <a:pt x="965" y="953"/>
                        <a:pt x="951" y="829"/>
                      </a:cubicBezTo>
                      <a:cubicBezTo>
                        <a:pt x="950" y="817"/>
                        <a:pt x="959" y="806"/>
                        <a:pt x="971" y="805"/>
                      </a:cubicBezTo>
                      <a:cubicBezTo>
                        <a:pt x="983" y="804"/>
                        <a:pt x="994" y="812"/>
                        <a:pt x="995" y="824"/>
                      </a:cubicBezTo>
                      <a:cubicBezTo>
                        <a:pt x="1008" y="943"/>
                        <a:pt x="1043" y="1018"/>
                        <a:pt x="1098" y="1047"/>
                      </a:cubicBezTo>
                      <a:cubicBezTo>
                        <a:pt x="1141" y="1071"/>
                        <a:pt x="1188" y="1062"/>
                        <a:pt x="1242" y="1052"/>
                      </a:cubicBezTo>
                      <a:cubicBezTo>
                        <a:pt x="1300" y="1041"/>
                        <a:pt x="1366" y="1029"/>
                        <a:pt x="1438" y="1059"/>
                      </a:cubicBezTo>
                      <a:cubicBezTo>
                        <a:pt x="1505" y="1087"/>
                        <a:pt x="1559" y="1145"/>
                        <a:pt x="1599" y="1232"/>
                      </a:cubicBezTo>
                      <a:cubicBezTo>
                        <a:pt x="1604" y="1243"/>
                        <a:pt x="1599" y="1256"/>
                        <a:pt x="1588" y="1261"/>
                      </a:cubicBezTo>
                      <a:cubicBezTo>
                        <a:pt x="1585" y="1262"/>
                        <a:pt x="1582" y="1263"/>
                        <a:pt x="1579" y="1263"/>
                      </a:cubicBezTo>
                      <a:close/>
                      <a:moveTo>
                        <a:pt x="1874" y="1429"/>
                      </a:moveTo>
                      <a:cubicBezTo>
                        <a:pt x="1884" y="1423"/>
                        <a:pt x="1889" y="1410"/>
                        <a:pt x="1883" y="1399"/>
                      </a:cubicBezTo>
                      <a:cubicBezTo>
                        <a:pt x="1878" y="1388"/>
                        <a:pt x="1865" y="1384"/>
                        <a:pt x="1854" y="1390"/>
                      </a:cubicBezTo>
                      <a:cubicBezTo>
                        <a:pt x="1596" y="1520"/>
                        <a:pt x="1362" y="1572"/>
                        <a:pt x="1158" y="1542"/>
                      </a:cubicBezTo>
                      <a:cubicBezTo>
                        <a:pt x="1056" y="1527"/>
                        <a:pt x="982" y="1496"/>
                        <a:pt x="909" y="1465"/>
                      </a:cubicBezTo>
                      <a:cubicBezTo>
                        <a:pt x="820" y="1427"/>
                        <a:pt x="735" y="1391"/>
                        <a:pt x="607" y="1387"/>
                      </a:cubicBezTo>
                      <a:cubicBezTo>
                        <a:pt x="437" y="1382"/>
                        <a:pt x="264" y="1435"/>
                        <a:pt x="91" y="1545"/>
                      </a:cubicBezTo>
                      <a:cubicBezTo>
                        <a:pt x="81" y="1552"/>
                        <a:pt x="78" y="1565"/>
                        <a:pt x="84" y="1576"/>
                      </a:cubicBezTo>
                      <a:cubicBezTo>
                        <a:pt x="91" y="1586"/>
                        <a:pt x="104" y="1589"/>
                        <a:pt x="115" y="1582"/>
                      </a:cubicBezTo>
                      <a:cubicBezTo>
                        <a:pt x="280" y="1477"/>
                        <a:pt x="445" y="1426"/>
                        <a:pt x="605" y="1431"/>
                      </a:cubicBezTo>
                      <a:cubicBezTo>
                        <a:pt x="725" y="1435"/>
                        <a:pt x="806" y="1469"/>
                        <a:pt x="892" y="1506"/>
                      </a:cubicBezTo>
                      <a:cubicBezTo>
                        <a:pt x="967" y="1537"/>
                        <a:pt x="1044" y="1570"/>
                        <a:pt x="1152" y="1586"/>
                      </a:cubicBezTo>
                      <a:cubicBezTo>
                        <a:pt x="1191" y="1591"/>
                        <a:pt x="1231" y="1594"/>
                        <a:pt x="1273" y="1594"/>
                      </a:cubicBezTo>
                      <a:cubicBezTo>
                        <a:pt x="1455" y="1594"/>
                        <a:pt x="1657" y="1539"/>
                        <a:pt x="1874" y="1429"/>
                      </a:cubicBezTo>
                      <a:close/>
                      <a:moveTo>
                        <a:pt x="211" y="335"/>
                      </a:moveTo>
                      <a:cubicBezTo>
                        <a:pt x="219" y="332"/>
                        <a:pt x="225" y="341"/>
                        <a:pt x="221" y="348"/>
                      </a:cubicBezTo>
                      <a:cubicBezTo>
                        <a:pt x="193" y="387"/>
                        <a:pt x="176" y="427"/>
                        <a:pt x="170" y="472"/>
                      </a:cubicBezTo>
                      <a:cubicBezTo>
                        <a:pt x="160" y="552"/>
                        <a:pt x="189" y="616"/>
                        <a:pt x="246" y="669"/>
                      </a:cubicBezTo>
                      <a:cubicBezTo>
                        <a:pt x="246" y="669"/>
                        <a:pt x="246" y="669"/>
                        <a:pt x="246" y="669"/>
                      </a:cubicBezTo>
                      <a:cubicBezTo>
                        <a:pt x="262" y="684"/>
                        <a:pt x="287" y="674"/>
                        <a:pt x="288" y="653"/>
                      </a:cubicBezTo>
                      <a:cubicBezTo>
                        <a:pt x="288" y="651"/>
                        <a:pt x="288" y="649"/>
                        <a:pt x="288" y="647"/>
                      </a:cubicBezTo>
                      <a:cubicBezTo>
                        <a:pt x="298" y="537"/>
                        <a:pt x="308" y="465"/>
                        <a:pt x="367" y="389"/>
                      </a:cubicBezTo>
                      <a:cubicBezTo>
                        <a:pt x="380" y="372"/>
                        <a:pt x="396" y="356"/>
                        <a:pt x="412" y="337"/>
                      </a:cubicBezTo>
                      <a:cubicBezTo>
                        <a:pt x="417" y="332"/>
                        <a:pt x="424" y="333"/>
                        <a:pt x="427" y="339"/>
                      </a:cubicBezTo>
                      <a:cubicBezTo>
                        <a:pt x="487" y="474"/>
                        <a:pt x="664" y="1199"/>
                        <a:pt x="700" y="1229"/>
                      </a:cubicBezTo>
                      <a:cubicBezTo>
                        <a:pt x="737" y="1261"/>
                        <a:pt x="783" y="1219"/>
                        <a:pt x="790" y="1197"/>
                      </a:cubicBezTo>
                      <a:cubicBezTo>
                        <a:pt x="798" y="1175"/>
                        <a:pt x="753" y="1064"/>
                        <a:pt x="588" y="634"/>
                      </a:cubicBezTo>
                      <a:cubicBezTo>
                        <a:pt x="512" y="438"/>
                        <a:pt x="499" y="415"/>
                        <a:pt x="484" y="329"/>
                      </a:cubicBezTo>
                      <a:cubicBezTo>
                        <a:pt x="484" y="323"/>
                        <a:pt x="487" y="319"/>
                        <a:pt x="493" y="318"/>
                      </a:cubicBezTo>
                      <a:cubicBezTo>
                        <a:pt x="558" y="316"/>
                        <a:pt x="622" y="331"/>
                        <a:pt x="671" y="384"/>
                      </a:cubicBezTo>
                      <a:cubicBezTo>
                        <a:pt x="695" y="409"/>
                        <a:pt x="716" y="438"/>
                        <a:pt x="738" y="465"/>
                      </a:cubicBezTo>
                      <a:cubicBezTo>
                        <a:pt x="739" y="466"/>
                        <a:pt x="740" y="468"/>
                        <a:pt x="742" y="470"/>
                      </a:cubicBezTo>
                      <a:cubicBezTo>
                        <a:pt x="754" y="486"/>
                        <a:pt x="780" y="481"/>
                        <a:pt x="785" y="461"/>
                      </a:cubicBezTo>
                      <a:cubicBezTo>
                        <a:pt x="785" y="461"/>
                        <a:pt x="785" y="461"/>
                        <a:pt x="785" y="461"/>
                      </a:cubicBezTo>
                      <a:cubicBezTo>
                        <a:pt x="798" y="407"/>
                        <a:pt x="800" y="353"/>
                        <a:pt x="782" y="299"/>
                      </a:cubicBezTo>
                      <a:cubicBezTo>
                        <a:pt x="762" y="237"/>
                        <a:pt x="720" y="197"/>
                        <a:pt x="658" y="176"/>
                      </a:cubicBezTo>
                      <a:cubicBezTo>
                        <a:pt x="653" y="175"/>
                        <a:pt x="649" y="174"/>
                        <a:pt x="640" y="172"/>
                      </a:cubicBezTo>
                      <a:cubicBezTo>
                        <a:pt x="632" y="170"/>
                        <a:pt x="631" y="158"/>
                        <a:pt x="640" y="155"/>
                      </a:cubicBezTo>
                      <a:cubicBezTo>
                        <a:pt x="674" y="145"/>
                        <a:pt x="699" y="141"/>
                        <a:pt x="749" y="136"/>
                      </a:cubicBezTo>
                      <a:cubicBezTo>
                        <a:pt x="749" y="136"/>
                        <a:pt x="749" y="136"/>
                        <a:pt x="749" y="136"/>
                      </a:cubicBezTo>
                      <a:cubicBezTo>
                        <a:pt x="775" y="134"/>
                        <a:pt x="786" y="101"/>
                        <a:pt x="767" y="84"/>
                      </a:cubicBezTo>
                      <a:cubicBezTo>
                        <a:pt x="766" y="84"/>
                        <a:pt x="766" y="83"/>
                        <a:pt x="765" y="83"/>
                      </a:cubicBezTo>
                      <a:cubicBezTo>
                        <a:pt x="672" y="3"/>
                        <a:pt x="533" y="20"/>
                        <a:pt x="453" y="119"/>
                      </a:cubicBezTo>
                      <a:cubicBezTo>
                        <a:pt x="451" y="122"/>
                        <a:pt x="449" y="124"/>
                        <a:pt x="447" y="128"/>
                      </a:cubicBezTo>
                      <a:cubicBezTo>
                        <a:pt x="443" y="132"/>
                        <a:pt x="436" y="132"/>
                        <a:pt x="433" y="127"/>
                      </a:cubicBezTo>
                      <a:cubicBezTo>
                        <a:pt x="428" y="120"/>
                        <a:pt x="424" y="113"/>
                        <a:pt x="418" y="106"/>
                      </a:cubicBezTo>
                      <a:cubicBezTo>
                        <a:pt x="339" y="15"/>
                        <a:pt x="217" y="0"/>
                        <a:pt x="120" y="72"/>
                      </a:cubicBezTo>
                      <a:cubicBezTo>
                        <a:pt x="120" y="73"/>
                        <a:pt x="120" y="73"/>
                        <a:pt x="120" y="73"/>
                      </a:cubicBezTo>
                      <a:cubicBezTo>
                        <a:pt x="119" y="73"/>
                        <a:pt x="119" y="73"/>
                        <a:pt x="119" y="74"/>
                      </a:cubicBezTo>
                      <a:cubicBezTo>
                        <a:pt x="98" y="92"/>
                        <a:pt x="107" y="127"/>
                        <a:pt x="135" y="131"/>
                      </a:cubicBezTo>
                      <a:cubicBezTo>
                        <a:pt x="135" y="132"/>
                        <a:pt x="135" y="132"/>
                        <a:pt x="135" y="132"/>
                      </a:cubicBezTo>
                      <a:cubicBezTo>
                        <a:pt x="163" y="137"/>
                        <a:pt x="210" y="151"/>
                        <a:pt x="233" y="159"/>
                      </a:cubicBezTo>
                      <a:cubicBezTo>
                        <a:pt x="239" y="161"/>
                        <a:pt x="238" y="168"/>
                        <a:pt x="232" y="169"/>
                      </a:cubicBezTo>
                      <a:cubicBezTo>
                        <a:pt x="232" y="169"/>
                        <a:pt x="232" y="169"/>
                        <a:pt x="232" y="169"/>
                      </a:cubicBezTo>
                      <a:cubicBezTo>
                        <a:pt x="96" y="179"/>
                        <a:pt x="0" y="288"/>
                        <a:pt x="9" y="424"/>
                      </a:cubicBezTo>
                      <a:cubicBezTo>
                        <a:pt x="9" y="424"/>
                        <a:pt x="9" y="425"/>
                        <a:pt x="9" y="425"/>
                      </a:cubicBezTo>
                      <a:cubicBezTo>
                        <a:pt x="10" y="427"/>
                        <a:pt x="10" y="429"/>
                        <a:pt x="10" y="431"/>
                      </a:cubicBezTo>
                      <a:cubicBezTo>
                        <a:pt x="14" y="454"/>
                        <a:pt x="44" y="462"/>
                        <a:pt x="59" y="444"/>
                      </a:cubicBezTo>
                      <a:cubicBezTo>
                        <a:pt x="59" y="443"/>
                        <a:pt x="59" y="443"/>
                        <a:pt x="59" y="443"/>
                      </a:cubicBezTo>
                      <a:cubicBezTo>
                        <a:pt x="99" y="394"/>
                        <a:pt x="150" y="357"/>
                        <a:pt x="210" y="335"/>
                      </a:cubicBezTo>
                      <a:lnTo>
                        <a:pt x="211" y="335"/>
                      </a:ln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US" sz="1400" dirty="0"/>
                </a:p>
              </p:txBody>
            </p:sp>
          </p:grpSp>
        </p:grpSp>
      </p:grpSp>
      <p:sp>
        <p:nvSpPr>
          <p:cNvPr id="83" name="TextBox 87"/>
          <p:cNvSpPr txBox="1"/>
          <p:nvPr/>
        </p:nvSpPr>
        <p:spPr>
          <a:xfrm>
            <a:off x="3244538" y="1908000"/>
            <a:ext cx="2381839" cy="7038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400" b="1" dirty="0" smtClean="0">
                <a:solidFill>
                  <a:schemeClr val="bg1"/>
                </a:solidFill>
              </a:rPr>
              <a:t>ЭКОНОМИТ </a:t>
            </a:r>
          </a:p>
          <a:p>
            <a:pPr algn="ctr"/>
            <a:r>
              <a:rPr lang="ru-RU" sz="1400" b="1" dirty="0" smtClean="0">
                <a:solidFill>
                  <a:schemeClr val="bg1"/>
                </a:solidFill>
              </a:rPr>
              <a:t>ВРЕМЯ И ДЕНЬГИ</a:t>
            </a:r>
            <a:endParaRPr lang="en-US" sz="1400" b="1" dirty="0" smtClean="0">
              <a:solidFill>
                <a:schemeClr val="bg1"/>
              </a:solidFill>
            </a:endParaRPr>
          </a:p>
        </p:txBody>
      </p:sp>
      <p:grpSp>
        <p:nvGrpSpPr>
          <p:cNvPr id="85" name="Group 73"/>
          <p:cNvGrpSpPr/>
          <p:nvPr/>
        </p:nvGrpSpPr>
        <p:grpSpPr>
          <a:xfrm>
            <a:off x="9793224" y="2546989"/>
            <a:ext cx="1686455" cy="1538877"/>
            <a:chOff x="3671337" y="2255438"/>
            <a:chExt cx="1716306" cy="1834158"/>
          </a:xfrm>
        </p:grpSpPr>
        <p:sp>
          <p:nvSpPr>
            <p:cNvPr id="86" name="TextBox 74"/>
            <p:cNvSpPr txBox="1"/>
            <p:nvPr/>
          </p:nvSpPr>
          <p:spPr>
            <a:xfrm>
              <a:off x="3671337" y="3445982"/>
              <a:ext cx="1716306" cy="643614"/>
            </a:xfrm>
            <a:prstGeom prst="rect">
              <a:avLst/>
            </a:prstGeom>
            <a:solidFill>
              <a:srgbClr val="005478"/>
            </a:solidFill>
            <a:ln w="9525" cap="rnd">
              <a:noFill/>
              <a:prstDash val="solid"/>
              <a:roun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20000"/>
                </a:lnSpc>
              </a:pPr>
              <a:r>
                <a:rPr lang="ru-RU" sz="1400" b="1" dirty="0" smtClean="0">
                  <a:solidFill>
                    <a:schemeClr val="bg1"/>
                  </a:solidFill>
                </a:rPr>
                <a:t>ЛИЧНАЯ МОБИЛЬНОСТЬ</a:t>
              </a:r>
              <a:endParaRPr lang="en-US" sz="1400" dirty="0">
                <a:solidFill>
                  <a:schemeClr val="bg1"/>
                </a:solidFill>
              </a:endParaRPr>
            </a:p>
          </p:txBody>
        </p:sp>
        <p:grpSp>
          <p:nvGrpSpPr>
            <p:cNvPr id="87" name="Group 75"/>
            <p:cNvGrpSpPr>
              <a:grpSpLocks noChangeAspect="1"/>
            </p:cNvGrpSpPr>
            <p:nvPr/>
          </p:nvGrpSpPr>
          <p:grpSpPr>
            <a:xfrm>
              <a:off x="3875033" y="2255438"/>
              <a:ext cx="1308915" cy="1308915"/>
              <a:chOff x="5273040" y="2606040"/>
              <a:chExt cx="1645920" cy="1645920"/>
            </a:xfrm>
          </p:grpSpPr>
          <p:sp>
            <p:nvSpPr>
              <p:cNvPr id="88" name="AutoShape 3"/>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nvGrpSpPr>
              <p:cNvPr id="89" name="Group 77"/>
              <p:cNvGrpSpPr/>
              <p:nvPr/>
            </p:nvGrpSpPr>
            <p:grpSpPr>
              <a:xfrm>
                <a:off x="5546027" y="2892361"/>
                <a:ext cx="1099947" cy="1073277"/>
                <a:chOff x="5546027" y="2892361"/>
                <a:chExt cx="1099947" cy="1073277"/>
              </a:xfrm>
            </p:grpSpPr>
            <p:sp>
              <p:nvSpPr>
                <p:cNvPr id="90" name="Freeform 78"/>
                <p:cNvSpPr>
                  <a:spLocks/>
                </p:cNvSpPr>
                <p:nvPr/>
              </p:nvSpPr>
              <p:spPr bwMode="auto">
                <a:xfrm>
                  <a:off x="5546027" y="2892361"/>
                  <a:ext cx="1099947" cy="1073277"/>
                </a:xfrm>
                <a:custGeom>
                  <a:avLst/>
                  <a:gdLst>
                    <a:gd name="connsiteX0" fmla="*/ 548831 w 1099947"/>
                    <a:gd name="connsiteY0" fmla="*/ 587502 h 1073277"/>
                    <a:gd name="connsiteX1" fmla="*/ 321945 w 1099947"/>
                    <a:gd name="connsiteY1" fmla="*/ 814578 h 1073277"/>
                    <a:gd name="connsiteX2" fmla="*/ 548831 w 1099947"/>
                    <a:gd name="connsiteY2" fmla="*/ 1041654 h 1073277"/>
                    <a:gd name="connsiteX3" fmla="*/ 775716 w 1099947"/>
                    <a:gd name="connsiteY3" fmla="*/ 814578 h 1073277"/>
                    <a:gd name="connsiteX4" fmla="*/ 548831 w 1099947"/>
                    <a:gd name="connsiteY4" fmla="*/ 587502 h 1073277"/>
                    <a:gd name="connsiteX5" fmla="*/ 173614 w 1099947"/>
                    <a:gd name="connsiteY5" fmla="*/ 184404 h 1073277"/>
                    <a:gd name="connsiteX6" fmla="*/ 183616 w 1099947"/>
                    <a:gd name="connsiteY6" fmla="*/ 187977 h 1073277"/>
                    <a:gd name="connsiteX7" fmla="*/ 254348 w 1099947"/>
                    <a:gd name="connsiteY7" fmla="*/ 246568 h 1073277"/>
                    <a:gd name="connsiteX8" fmla="*/ 255062 w 1099947"/>
                    <a:gd name="connsiteY8" fmla="*/ 247283 h 1073277"/>
                    <a:gd name="connsiteX9" fmla="*/ 255777 w 1099947"/>
                    <a:gd name="connsiteY9" fmla="*/ 247283 h 1073277"/>
                    <a:gd name="connsiteX10" fmla="*/ 256491 w 1099947"/>
                    <a:gd name="connsiteY10" fmla="*/ 248712 h 1073277"/>
                    <a:gd name="connsiteX11" fmla="*/ 258635 w 1099947"/>
                    <a:gd name="connsiteY11" fmla="*/ 251570 h 1073277"/>
                    <a:gd name="connsiteX12" fmla="*/ 259349 w 1099947"/>
                    <a:gd name="connsiteY12" fmla="*/ 253713 h 1073277"/>
                    <a:gd name="connsiteX13" fmla="*/ 259349 w 1099947"/>
                    <a:gd name="connsiteY13" fmla="*/ 255142 h 1073277"/>
                    <a:gd name="connsiteX14" fmla="*/ 259349 w 1099947"/>
                    <a:gd name="connsiteY14" fmla="*/ 260859 h 1073277"/>
                    <a:gd name="connsiteX15" fmla="*/ 259349 w 1099947"/>
                    <a:gd name="connsiteY15" fmla="*/ 261573 h 1073277"/>
                    <a:gd name="connsiteX16" fmla="*/ 259349 w 1099947"/>
                    <a:gd name="connsiteY16" fmla="*/ 262288 h 1073277"/>
                    <a:gd name="connsiteX17" fmla="*/ 259349 w 1099947"/>
                    <a:gd name="connsiteY17" fmla="*/ 263717 h 1073277"/>
                    <a:gd name="connsiteX18" fmla="*/ 258635 w 1099947"/>
                    <a:gd name="connsiteY18" fmla="*/ 265146 h 1073277"/>
                    <a:gd name="connsiteX19" fmla="*/ 257920 w 1099947"/>
                    <a:gd name="connsiteY19" fmla="*/ 265860 h 1073277"/>
                    <a:gd name="connsiteX20" fmla="*/ 256491 w 1099947"/>
                    <a:gd name="connsiteY20" fmla="*/ 268004 h 1073277"/>
                    <a:gd name="connsiteX21" fmla="*/ 256491 w 1099947"/>
                    <a:gd name="connsiteY21" fmla="*/ 268719 h 1073277"/>
                    <a:gd name="connsiteX22" fmla="*/ 255777 w 1099947"/>
                    <a:gd name="connsiteY22" fmla="*/ 268719 h 1073277"/>
                    <a:gd name="connsiteX23" fmla="*/ 194333 w 1099947"/>
                    <a:gd name="connsiteY23" fmla="*/ 341600 h 1073277"/>
                    <a:gd name="connsiteX24" fmla="*/ 172185 w 1099947"/>
                    <a:gd name="connsiteY24" fmla="*/ 343744 h 1073277"/>
                    <a:gd name="connsiteX25" fmla="*/ 170042 w 1099947"/>
                    <a:gd name="connsiteY25" fmla="*/ 321594 h 1073277"/>
                    <a:gd name="connsiteX26" fmla="*/ 207193 w 1099947"/>
                    <a:gd name="connsiteY26" fmla="*/ 278007 h 1073277"/>
                    <a:gd name="connsiteX27" fmla="*/ 115743 w 1099947"/>
                    <a:gd name="connsiteY27" fmla="*/ 329453 h 1073277"/>
                    <a:gd name="connsiteX28" fmla="*/ 31436 w 1099947"/>
                    <a:gd name="connsiteY28" fmla="*/ 536666 h 1073277"/>
                    <a:gd name="connsiteX29" fmla="*/ 291500 w 1099947"/>
                    <a:gd name="connsiteY29" fmla="*/ 798184 h 1073277"/>
                    <a:gd name="connsiteX30" fmla="*/ 549419 w 1099947"/>
                    <a:gd name="connsiteY30" fmla="*/ 555959 h 1073277"/>
                    <a:gd name="connsiteX31" fmla="*/ 807339 w 1099947"/>
                    <a:gd name="connsiteY31" fmla="*/ 813903 h 1073277"/>
                    <a:gd name="connsiteX32" fmla="*/ 549419 w 1099947"/>
                    <a:gd name="connsiteY32" fmla="*/ 1073277 h 1073277"/>
                    <a:gd name="connsiteX33" fmla="*/ 291500 w 1099947"/>
                    <a:gd name="connsiteY33" fmla="*/ 829623 h 1073277"/>
                    <a:gd name="connsiteX34" fmla="*/ 0 w 1099947"/>
                    <a:gd name="connsiteY34" fmla="*/ 536666 h 1073277"/>
                    <a:gd name="connsiteX35" fmla="*/ 93594 w 1099947"/>
                    <a:gd name="connsiteY35" fmla="*/ 307303 h 1073277"/>
                    <a:gd name="connsiteX36" fmla="*/ 205764 w 1099947"/>
                    <a:gd name="connsiteY36" fmla="*/ 246568 h 1073277"/>
                    <a:gd name="connsiteX37" fmla="*/ 163612 w 1099947"/>
                    <a:gd name="connsiteY37" fmla="*/ 212271 h 1073277"/>
                    <a:gd name="connsiteX38" fmla="*/ 161468 w 1099947"/>
                    <a:gd name="connsiteY38" fmla="*/ 190120 h 1073277"/>
                    <a:gd name="connsiteX39" fmla="*/ 173614 w 1099947"/>
                    <a:gd name="connsiteY39" fmla="*/ 184404 h 1073277"/>
                    <a:gd name="connsiteX40" fmla="*/ 549212 w 1099947"/>
                    <a:gd name="connsiteY40" fmla="*/ 31623 h 1073277"/>
                    <a:gd name="connsiteX41" fmla="*/ 321945 w 1099947"/>
                    <a:gd name="connsiteY41" fmla="*/ 258699 h 1073277"/>
                    <a:gd name="connsiteX42" fmla="*/ 549212 w 1099947"/>
                    <a:gd name="connsiteY42" fmla="*/ 485775 h 1073277"/>
                    <a:gd name="connsiteX43" fmla="*/ 776478 w 1099947"/>
                    <a:gd name="connsiteY43" fmla="*/ 258699 h 1073277"/>
                    <a:gd name="connsiteX44" fmla="*/ 549212 w 1099947"/>
                    <a:gd name="connsiteY44" fmla="*/ 31623 h 1073277"/>
                    <a:gd name="connsiteX45" fmla="*/ 549261 w 1099947"/>
                    <a:gd name="connsiteY45" fmla="*/ 0 h 1073277"/>
                    <a:gd name="connsiteX46" fmla="*/ 807819 w 1099947"/>
                    <a:gd name="connsiteY46" fmla="*/ 242940 h 1073277"/>
                    <a:gd name="connsiteX47" fmla="*/ 1099947 w 1099947"/>
                    <a:gd name="connsiteY47" fmla="*/ 536611 h 1073277"/>
                    <a:gd name="connsiteX48" fmla="*/ 1005666 w 1099947"/>
                    <a:gd name="connsiteY48" fmla="*/ 765260 h 1073277"/>
                    <a:gd name="connsiteX49" fmla="*/ 893529 w 1099947"/>
                    <a:gd name="connsiteY49" fmla="*/ 825995 h 1073277"/>
                    <a:gd name="connsiteX50" fmla="*/ 935670 w 1099947"/>
                    <a:gd name="connsiteY50" fmla="*/ 860292 h 1073277"/>
                    <a:gd name="connsiteX51" fmla="*/ 937813 w 1099947"/>
                    <a:gd name="connsiteY51" fmla="*/ 883157 h 1073277"/>
                    <a:gd name="connsiteX52" fmla="*/ 925670 w 1099947"/>
                    <a:gd name="connsiteY52" fmla="*/ 888873 h 1073277"/>
                    <a:gd name="connsiteX53" fmla="*/ 915671 w 1099947"/>
                    <a:gd name="connsiteY53" fmla="*/ 885301 h 1073277"/>
                    <a:gd name="connsiteX54" fmla="*/ 844960 w 1099947"/>
                    <a:gd name="connsiteY54" fmla="*/ 825995 h 1073277"/>
                    <a:gd name="connsiteX55" fmla="*/ 843532 w 1099947"/>
                    <a:gd name="connsiteY55" fmla="*/ 825280 h 1073277"/>
                    <a:gd name="connsiteX56" fmla="*/ 842103 w 1099947"/>
                    <a:gd name="connsiteY56" fmla="*/ 823851 h 1073277"/>
                    <a:gd name="connsiteX57" fmla="*/ 840675 w 1099947"/>
                    <a:gd name="connsiteY57" fmla="*/ 820993 h 1073277"/>
                    <a:gd name="connsiteX58" fmla="*/ 839961 w 1099947"/>
                    <a:gd name="connsiteY58" fmla="*/ 818849 h 1073277"/>
                    <a:gd name="connsiteX59" fmla="*/ 839246 w 1099947"/>
                    <a:gd name="connsiteY59" fmla="*/ 817420 h 1073277"/>
                    <a:gd name="connsiteX60" fmla="*/ 839246 w 1099947"/>
                    <a:gd name="connsiteY60" fmla="*/ 811704 h 1073277"/>
                    <a:gd name="connsiteX61" fmla="*/ 839246 w 1099947"/>
                    <a:gd name="connsiteY61" fmla="*/ 810990 h 1073277"/>
                    <a:gd name="connsiteX62" fmla="*/ 839246 w 1099947"/>
                    <a:gd name="connsiteY62" fmla="*/ 810275 h 1073277"/>
                    <a:gd name="connsiteX63" fmla="*/ 839961 w 1099947"/>
                    <a:gd name="connsiteY63" fmla="*/ 808846 h 1073277"/>
                    <a:gd name="connsiteX64" fmla="*/ 840675 w 1099947"/>
                    <a:gd name="connsiteY64" fmla="*/ 807417 h 1073277"/>
                    <a:gd name="connsiteX65" fmla="*/ 840675 w 1099947"/>
                    <a:gd name="connsiteY65" fmla="*/ 806702 h 1073277"/>
                    <a:gd name="connsiteX66" fmla="*/ 842818 w 1099947"/>
                    <a:gd name="connsiteY66" fmla="*/ 804559 h 1073277"/>
                    <a:gd name="connsiteX67" fmla="*/ 842818 w 1099947"/>
                    <a:gd name="connsiteY67" fmla="*/ 803844 h 1073277"/>
                    <a:gd name="connsiteX68" fmla="*/ 905672 w 1099947"/>
                    <a:gd name="connsiteY68" fmla="*/ 730963 h 1073277"/>
                    <a:gd name="connsiteX69" fmla="*/ 927813 w 1099947"/>
                    <a:gd name="connsiteY69" fmla="*/ 728819 h 1073277"/>
                    <a:gd name="connsiteX70" fmla="*/ 929242 w 1099947"/>
                    <a:gd name="connsiteY70" fmla="*/ 750969 h 1073277"/>
                    <a:gd name="connsiteX71" fmla="*/ 892101 w 1099947"/>
                    <a:gd name="connsiteY71" fmla="*/ 794556 h 1073277"/>
                    <a:gd name="connsiteX72" fmla="*/ 983525 w 1099947"/>
                    <a:gd name="connsiteY72" fmla="*/ 743109 h 1073277"/>
                    <a:gd name="connsiteX73" fmla="*/ 1068520 w 1099947"/>
                    <a:gd name="connsiteY73" fmla="*/ 536611 h 1073277"/>
                    <a:gd name="connsiteX74" fmla="*/ 807819 w 1099947"/>
                    <a:gd name="connsiteY74" fmla="*/ 274379 h 1073277"/>
                    <a:gd name="connsiteX75" fmla="*/ 549261 w 1099947"/>
                    <a:gd name="connsiteY75" fmla="*/ 517319 h 1073277"/>
                    <a:gd name="connsiteX76" fmla="*/ 290703 w 1099947"/>
                    <a:gd name="connsiteY76" fmla="*/ 258659 h 1073277"/>
                    <a:gd name="connsiteX77" fmla="*/ 549261 w 1099947"/>
                    <a:gd name="connsiteY77" fmla="*/ 0 h 1073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099947" h="1073277">
                      <a:moveTo>
                        <a:pt x="548831" y="587502"/>
                      </a:moveTo>
                      <a:cubicBezTo>
                        <a:pt x="423525" y="587502"/>
                        <a:pt x="321945" y="689168"/>
                        <a:pt x="321945" y="814578"/>
                      </a:cubicBezTo>
                      <a:cubicBezTo>
                        <a:pt x="321945" y="939989"/>
                        <a:pt x="423525" y="1041654"/>
                        <a:pt x="548831" y="1041654"/>
                      </a:cubicBezTo>
                      <a:cubicBezTo>
                        <a:pt x="674136" y="1041654"/>
                        <a:pt x="775716" y="939989"/>
                        <a:pt x="775716" y="814578"/>
                      </a:cubicBezTo>
                      <a:cubicBezTo>
                        <a:pt x="775716" y="689168"/>
                        <a:pt x="674136" y="587502"/>
                        <a:pt x="548831" y="587502"/>
                      </a:cubicBezTo>
                      <a:close/>
                      <a:moveTo>
                        <a:pt x="173614" y="184404"/>
                      </a:moveTo>
                      <a:cubicBezTo>
                        <a:pt x="177186" y="184404"/>
                        <a:pt x="180759" y="185833"/>
                        <a:pt x="183616" y="187977"/>
                      </a:cubicBezTo>
                      <a:cubicBezTo>
                        <a:pt x="183616" y="187977"/>
                        <a:pt x="183616" y="187977"/>
                        <a:pt x="254348" y="246568"/>
                      </a:cubicBezTo>
                      <a:cubicBezTo>
                        <a:pt x="254348" y="246568"/>
                        <a:pt x="255062" y="246568"/>
                        <a:pt x="255062" y="247283"/>
                      </a:cubicBezTo>
                      <a:cubicBezTo>
                        <a:pt x="255062" y="247283"/>
                        <a:pt x="255062" y="247283"/>
                        <a:pt x="255777" y="247283"/>
                      </a:cubicBezTo>
                      <a:cubicBezTo>
                        <a:pt x="255777" y="247997"/>
                        <a:pt x="256491" y="248712"/>
                        <a:pt x="256491" y="248712"/>
                      </a:cubicBezTo>
                      <a:cubicBezTo>
                        <a:pt x="257206" y="249426"/>
                        <a:pt x="257920" y="250855"/>
                        <a:pt x="258635" y="251570"/>
                      </a:cubicBezTo>
                      <a:cubicBezTo>
                        <a:pt x="258635" y="252284"/>
                        <a:pt x="258635" y="252999"/>
                        <a:pt x="259349" y="253713"/>
                      </a:cubicBezTo>
                      <a:cubicBezTo>
                        <a:pt x="259349" y="253713"/>
                        <a:pt x="259349" y="254428"/>
                        <a:pt x="259349" y="255142"/>
                      </a:cubicBezTo>
                      <a:cubicBezTo>
                        <a:pt x="260063" y="257286"/>
                        <a:pt x="260063" y="258715"/>
                        <a:pt x="259349" y="260859"/>
                      </a:cubicBezTo>
                      <a:cubicBezTo>
                        <a:pt x="259349" y="261573"/>
                        <a:pt x="259349" y="261573"/>
                        <a:pt x="259349" y="261573"/>
                      </a:cubicBezTo>
                      <a:cubicBezTo>
                        <a:pt x="259349" y="262288"/>
                        <a:pt x="259349" y="262288"/>
                        <a:pt x="259349" y="262288"/>
                      </a:cubicBezTo>
                      <a:cubicBezTo>
                        <a:pt x="259349" y="263002"/>
                        <a:pt x="259349" y="263002"/>
                        <a:pt x="259349" y="263717"/>
                      </a:cubicBezTo>
                      <a:cubicBezTo>
                        <a:pt x="258635" y="263717"/>
                        <a:pt x="258635" y="264431"/>
                        <a:pt x="258635" y="265146"/>
                      </a:cubicBezTo>
                      <a:cubicBezTo>
                        <a:pt x="258635" y="265146"/>
                        <a:pt x="257920" y="265146"/>
                        <a:pt x="257920" y="265860"/>
                      </a:cubicBezTo>
                      <a:cubicBezTo>
                        <a:pt x="257920" y="266575"/>
                        <a:pt x="257206" y="267289"/>
                        <a:pt x="256491" y="268004"/>
                      </a:cubicBezTo>
                      <a:cubicBezTo>
                        <a:pt x="256491" y="268719"/>
                        <a:pt x="256491" y="268719"/>
                        <a:pt x="256491" y="268719"/>
                      </a:cubicBezTo>
                      <a:cubicBezTo>
                        <a:pt x="256491" y="268719"/>
                        <a:pt x="256491" y="268719"/>
                        <a:pt x="255777" y="268719"/>
                      </a:cubicBezTo>
                      <a:cubicBezTo>
                        <a:pt x="255777" y="268719"/>
                        <a:pt x="255777" y="268719"/>
                        <a:pt x="194333" y="341600"/>
                      </a:cubicBezTo>
                      <a:cubicBezTo>
                        <a:pt x="188618" y="348031"/>
                        <a:pt x="178615" y="348746"/>
                        <a:pt x="172185" y="343744"/>
                      </a:cubicBezTo>
                      <a:cubicBezTo>
                        <a:pt x="165040" y="338028"/>
                        <a:pt x="164326" y="328024"/>
                        <a:pt x="170042" y="321594"/>
                      </a:cubicBezTo>
                      <a:cubicBezTo>
                        <a:pt x="170042" y="321594"/>
                        <a:pt x="170042" y="321594"/>
                        <a:pt x="207193" y="278007"/>
                      </a:cubicBezTo>
                      <a:cubicBezTo>
                        <a:pt x="173614" y="285153"/>
                        <a:pt x="142892" y="302301"/>
                        <a:pt x="115743" y="329453"/>
                      </a:cubicBezTo>
                      <a:cubicBezTo>
                        <a:pt x="57157" y="388045"/>
                        <a:pt x="31436" y="475932"/>
                        <a:pt x="31436" y="536666"/>
                      </a:cubicBezTo>
                      <a:cubicBezTo>
                        <a:pt x="31436" y="681001"/>
                        <a:pt x="147893" y="798184"/>
                        <a:pt x="291500" y="798184"/>
                      </a:cubicBezTo>
                      <a:cubicBezTo>
                        <a:pt x="299359" y="663138"/>
                        <a:pt x="412243" y="555959"/>
                        <a:pt x="549419" y="555959"/>
                      </a:cubicBezTo>
                      <a:cubicBezTo>
                        <a:pt x="691597" y="555959"/>
                        <a:pt x="807339" y="671712"/>
                        <a:pt x="807339" y="813903"/>
                      </a:cubicBezTo>
                      <a:cubicBezTo>
                        <a:pt x="807339" y="956809"/>
                        <a:pt x="691597" y="1073277"/>
                        <a:pt x="549419" y="1073277"/>
                      </a:cubicBezTo>
                      <a:cubicBezTo>
                        <a:pt x="412243" y="1073277"/>
                        <a:pt x="299359" y="965383"/>
                        <a:pt x="291500" y="829623"/>
                      </a:cubicBezTo>
                      <a:cubicBezTo>
                        <a:pt x="130746" y="829623"/>
                        <a:pt x="0" y="698150"/>
                        <a:pt x="0" y="536666"/>
                      </a:cubicBezTo>
                      <a:cubicBezTo>
                        <a:pt x="0" y="455210"/>
                        <a:pt x="37152" y="363751"/>
                        <a:pt x="93594" y="307303"/>
                      </a:cubicBezTo>
                      <a:cubicBezTo>
                        <a:pt x="126460" y="275149"/>
                        <a:pt x="164326" y="254428"/>
                        <a:pt x="205764" y="246568"/>
                      </a:cubicBezTo>
                      <a:cubicBezTo>
                        <a:pt x="205764" y="246568"/>
                        <a:pt x="205764" y="246568"/>
                        <a:pt x="163612" y="212271"/>
                      </a:cubicBezTo>
                      <a:cubicBezTo>
                        <a:pt x="157181" y="206554"/>
                        <a:pt x="155753" y="196551"/>
                        <a:pt x="161468" y="190120"/>
                      </a:cubicBezTo>
                      <a:cubicBezTo>
                        <a:pt x="164326" y="186548"/>
                        <a:pt x="169327" y="184404"/>
                        <a:pt x="173614" y="184404"/>
                      </a:cubicBezTo>
                      <a:close/>
                      <a:moveTo>
                        <a:pt x="549212" y="31623"/>
                      </a:moveTo>
                      <a:cubicBezTo>
                        <a:pt x="423696" y="31623"/>
                        <a:pt x="321945" y="133288"/>
                        <a:pt x="321945" y="258699"/>
                      </a:cubicBezTo>
                      <a:cubicBezTo>
                        <a:pt x="321945" y="384110"/>
                        <a:pt x="423696" y="485775"/>
                        <a:pt x="549212" y="485775"/>
                      </a:cubicBezTo>
                      <a:cubicBezTo>
                        <a:pt x="674728" y="485775"/>
                        <a:pt x="776478" y="384110"/>
                        <a:pt x="776478" y="258699"/>
                      </a:cubicBezTo>
                      <a:cubicBezTo>
                        <a:pt x="776478" y="133288"/>
                        <a:pt x="674728" y="31623"/>
                        <a:pt x="549212" y="31623"/>
                      </a:cubicBezTo>
                      <a:close/>
                      <a:moveTo>
                        <a:pt x="549261" y="0"/>
                      </a:moveTo>
                      <a:cubicBezTo>
                        <a:pt x="686397" y="0"/>
                        <a:pt x="799249" y="107179"/>
                        <a:pt x="807819" y="242940"/>
                      </a:cubicBezTo>
                      <a:cubicBezTo>
                        <a:pt x="968525" y="242940"/>
                        <a:pt x="1099947" y="375128"/>
                        <a:pt x="1099947" y="536611"/>
                      </a:cubicBezTo>
                      <a:cubicBezTo>
                        <a:pt x="1099947" y="617353"/>
                        <a:pt x="1062092" y="708812"/>
                        <a:pt x="1005666" y="765260"/>
                      </a:cubicBezTo>
                      <a:cubicBezTo>
                        <a:pt x="973525" y="797413"/>
                        <a:pt x="934956" y="818135"/>
                        <a:pt x="893529" y="825995"/>
                      </a:cubicBezTo>
                      <a:cubicBezTo>
                        <a:pt x="893529" y="825995"/>
                        <a:pt x="893529" y="825995"/>
                        <a:pt x="935670" y="860292"/>
                      </a:cubicBezTo>
                      <a:cubicBezTo>
                        <a:pt x="942812" y="866008"/>
                        <a:pt x="943527" y="876726"/>
                        <a:pt x="937813" y="883157"/>
                      </a:cubicBezTo>
                      <a:cubicBezTo>
                        <a:pt x="934956" y="886730"/>
                        <a:pt x="930670" y="888873"/>
                        <a:pt x="925670" y="888873"/>
                      </a:cubicBezTo>
                      <a:cubicBezTo>
                        <a:pt x="922099" y="888873"/>
                        <a:pt x="918528" y="887444"/>
                        <a:pt x="915671" y="885301"/>
                      </a:cubicBezTo>
                      <a:cubicBezTo>
                        <a:pt x="915671" y="885301"/>
                        <a:pt x="915671" y="885301"/>
                        <a:pt x="844960" y="825995"/>
                      </a:cubicBezTo>
                      <a:cubicBezTo>
                        <a:pt x="844246" y="825995"/>
                        <a:pt x="844246" y="825995"/>
                        <a:pt x="843532" y="825280"/>
                      </a:cubicBezTo>
                      <a:cubicBezTo>
                        <a:pt x="842818" y="824566"/>
                        <a:pt x="842818" y="823851"/>
                        <a:pt x="842103" y="823851"/>
                      </a:cubicBezTo>
                      <a:cubicBezTo>
                        <a:pt x="841389" y="823137"/>
                        <a:pt x="840675" y="821707"/>
                        <a:pt x="840675" y="820993"/>
                      </a:cubicBezTo>
                      <a:cubicBezTo>
                        <a:pt x="839961" y="820279"/>
                        <a:pt x="839961" y="819564"/>
                        <a:pt x="839961" y="818849"/>
                      </a:cubicBezTo>
                      <a:cubicBezTo>
                        <a:pt x="839246" y="818849"/>
                        <a:pt x="839246" y="818135"/>
                        <a:pt x="839246" y="817420"/>
                      </a:cubicBezTo>
                      <a:cubicBezTo>
                        <a:pt x="839246" y="815277"/>
                        <a:pt x="838532" y="813848"/>
                        <a:pt x="839246" y="811704"/>
                      </a:cubicBezTo>
                      <a:cubicBezTo>
                        <a:pt x="839246" y="810990"/>
                        <a:pt x="839246" y="810990"/>
                        <a:pt x="839246" y="810990"/>
                      </a:cubicBezTo>
                      <a:cubicBezTo>
                        <a:pt x="839246" y="810275"/>
                        <a:pt x="839246" y="810275"/>
                        <a:pt x="839246" y="810275"/>
                      </a:cubicBezTo>
                      <a:cubicBezTo>
                        <a:pt x="839961" y="809561"/>
                        <a:pt x="839961" y="809561"/>
                        <a:pt x="839961" y="808846"/>
                      </a:cubicBezTo>
                      <a:cubicBezTo>
                        <a:pt x="839961" y="808846"/>
                        <a:pt x="839961" y="808131"/>
                        <a:pt x="840675" y="807417"/>
                      </a:cubicBezTo>
                      <a:cubicBezTo>
                        <a:pt x="840675" y="807417"/>
                        <a:pt x="840675" y="807417"/>
                        <a:pt x="840675" y="806702"/>
                      </a:cubicBezTo>
                      <a:cubicBezTo>
                        <a:pt x="841389" y="805988"/>
                        <a:pt x="842103" y="805273"/>
                        <a:pt x="842818" y="804559"/>
                      </a:cubicBezTo>
                      <a:cubicBezTo>
                        <a:pt x="842818" y="803844"/>
                        <a:pt x="842818" y="803844"/>
                        <a:pt x="842818" y="803844"/>
                      </a:cubicBezTo>
                      <a:cubicBezTo>
                        <a:pt x="842818" y="803844"/>
                        <a:pt x="842818" y="803844"/>
                        <a:pt x="905672" y="730963"/>
                      </a:cubicBezTo>
                      <a:cubicBezTo>
                        <a:pt x="911385" y="724532"/>
                        <a:pt x="921385" y="723817"/>
                        <a:pt x="927813" y="728819"/>
                      </a:cubicBezTo>
                      <a:cubicBezTo>
                        <a:pt x="934242" y="734535"/>
                        <a:pt x="934956" y="744539"/>
                        <a:pt x="929242" y="750969"/>
                      </a:cubicBezTo>
                      <a:cubicBezTo>
                        <a:pt x="929242" y="750969"/>
                        <a:pt x="929242" y="750969"/>
                        <a:pt x="892101" y="794556"/>
                      </a:cubicBezTo>
                      <a:cubicBezTo>
                        <a:pt x="925670" y="787410"/>
                        <a:pt x="956383" y="770262"/>
                        <a:pt x="983525" y="743109"/>
                      </a:cubicBezTo>
                      <a:cubicBezTo>
                        <a:pt x="1042093" y="684518"/>
                        <a:pt x="1068520" y="597346"/>
                        <a:pt x="1068520" y="536611"/>
                      </a:cubicBezTo>
                      <a:cubicBezTo>
                        <a:pt x="1068520" y="392276"/>
                        <a:pt x="951383" y="274379"/>
                        <a:pt x="807819" y="274379"/>
                      </a:cubicBezTo>
                      <a:cubicBezTo>
                        <a:pt x="799249" y="410139"/>
                        <a:pt x="686397" y="517319"/>
                        <a:pt x="549261" y="517319"/>
                      </a:cubicBezTo>
                      <a:cubicBezTo>
                        <a:pt x="406412" y="517319"/>
                        <a:pt x="290703" y="401565"/>
                        <a:pt x="290703" y="258659"/>
                      </a:cubicBezTo>
                      <a:cubicBezTo>
                        <a:pt x="290703" y="115754"/>
                        <a:pt x="406412" y="0"/>
                        <a:pt x="549261" y="0"/>
                      </a:cubicBezTo>
                      <a:close/>
                    </a:path>
                  </a:pathLst>
                </a:custGeom>
                <a:solidFill>
                  <a:srgbClr val="FFFF00"/>
                </a:solidFill>
                <a:ln>
                  <a:noFill/>
                </a:ln>
              </p:spPr>
              <p:txBody>
                <a:bodyPr vert="horz" wrap="square" lIns="91440" tIns="45720" rIns="91440" bIns="45720" numCol="1" anchor="t" anchorCtr="0" compatLnSpc="1">
                  <a:prstTxWarp prst="textNoShape">
                    <a:avLst/>
                  </a:prstTxWarp>
                  <a:noAutofit/>
                </a:bodyPr>
                <a:lstStyle/>
                <a:p>
                  <a:endParaRPr lang="en-US" sz="1400" dirty="0"/>
                </a:p>
              </p:txBody>
            </p:sp>
            <p:sp>
              <p:nvSpPr>
                <p:cNvPr id="91" name="Freeform 9"/>
                <p:cNvSpPr>
                  <a:spLocks noEditPoints="1"/>
                </p:cNvSpPr>
                <p:nvPr/>
              </p:nvSpPr>
              <p:spPr bwMode="auto">
                <a:xfrm>
                  <a:off x="5891594" y="2947606"/>
                  <a:ext cx="408813" cy="962787"/>
                </a:xfrm>
                <a:custGeom>
                  <a:avLst/>
                  <a:gdLst>
                    <a:gd name="T0" fmla="*/ 286 w 572"/>
                    <a:gd name="T1" fmla="*/ 777 h 1348"/>
                    <a:gd name="T2" fmla="*/ 572 w 572"/>
                    <a:gd name="T3" fmla="*/ 1062 h 1348"/>
                    <a:gd name="T4" fmla="*/ 286 w 572"/>
                    <a:gd name="T5" fmla="*/ 1348 h 1348"/>
                    <a:gd name="T6" fmla="*/ 0 w 572"/>
                    <a:gd name="T7" fmla="*/ 1062 h 1348"/>
                    <a:gd name="T8" fmla="*/ 286 w 572"/>
                    <a:gd name="T9" fmla="*/ 777 h 1348"/>
                    <a:gd name="T10" fmla="*/ 286 w 572"/>
                    <a:gd name="T11" fmla="*/ 0 h 1348"/>
                    <a:gd name="T12" fmla="*/ 572 w 572"/>
                    <a:gd name="T13" fmla="*/ 286 h 1348"/>
                    <a:gd name="T14" fmla="*/ 286 w 572"/>
                    <a:gd name="T15" fmla="*/ 573 h 1348"/>
                    <a:gd name="T16" fmla="*/ 0 w 572"/>
                    <a:gd name="T17" fmla="*/ 286 h 1348"/>
                    <a:gd name="T18" fmla="*/ 286 w 572"/>
                    <a:gd name="T19" fmla="*/ 0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2" h="1348">
                      <a:moveTo>
                        <a:pt x="286" y="777"/>
                      </a:moveTo>
                      <a:cubicBezTo>
                        <a:pt x="444" y="777"/>
                        <a:pt x="572" y="905"/>
                        <a:pt x="572" y="1062"/>
                      </a:cubicBezTo>
                      <a:cubicBezTo>
                        <a:pt x="572" y="1220"/>
                        <a:pt x="444" y="1348"/>
                        <a:pt x="286" y="1348"/>
                      </a:cubicBezTo>
                      <a:cubicBezTo>
                        <a:pt x="128" y="1348"/>
                        <a:pt x="0" y="1220"/>
                        <a:pt x="0" y="1062"/>
                      </a:cubicBezTo>
                      <a:cubicBezTo>
                        <a:pt x="0" y="905"/>
                        <a:pt x="128" y="777"/>
                        <a:pt x="286" y="777"/>
                      </a:cubicBezTo>
                      <a:close/>
                      <a:moveTo>
                        <a:pt x="286" y="0"/>
                      </a:moveTo>
                      <a:cubicBezTo>
                        <a:pt x="444" y="0"/>
                        <a:pt x="572" y="128"/>
                        <a:pt x="572" y="286"/>
                      </a:cubicBezTo>
                      <a:cubicBezTo>
                        <a:pt x="572" y="444"/>
                        <a:pt x="444" y="573"/>
                        <a:pt x="286" y="573"/>
                      </a:cubicBezTo>
                      <a:cubicBezTo>
                        <a:pt x="128" y="573"/>
                        <a:pt x="0" y="444"/>
                        <a:pt x="0" y="286"/>
                      </a:cubicBezTo>
                      <a:cubicBezTo>
                        <a:pt x="0" y="128"/>
                        <a:pt x="128" y="0"/>
                        <a:pt x="286" y="0"/>
                      </a:cubicBez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US" sz="1400" dirty="0"/>
                </a:p>
              </p:txBody>
            </p:sp>
          </p:grpSp>
        </p:grpSp>
      </p:grpSp>
      <p:grpSp>
        <p:nvGrpSpPr>
          <p:cNvPr id="92" name="Group 80"/>
          <p:cNvGrpSpPr/>
          <p:nvPr/>
        </p:nvGrpSpPr>
        <p:grpSpPr>
          <a:xfrm>
            <a:off x="10190945" y="4234449"/>
            <a:ext cx="1548000" cy="1596319"/>
            <a:chOff x="9039069" y="2180494"/>
            <a:chExt cx="2014317" cy="2077190"/>
          </a:xfrm>
        </p:grpSpPr>
        <p:sp>
          <p:nvSpPr>
            <p:cNvPr id="93" name="TextBox 81"/>
            <p:cNvSpPr txBox="1"/>
            <p:nvPr/>
          </p:nvSpPr>
          <p:spPr>
            <a:xfrm>
              <a:off x="9039069" y="3555016"/>
              <a:ext cx="2014317" cy="702668"/>
            </a:xfrm>
            <a:prstGeom prst="rect">
              <a:avLst/>
            </a:prstGeom>
            <a:solidFill>
              <a:srgbClr val="005478"/>
            </a:solidFill>
            <a:ln w="9525" cap="rnd">
              <a:noFill/>
              <a:prstDash val="solid"/>
              <a:roun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20000"/>
                </a:lnSpc>
              </a:pPr>
              <a:r>
                <a:rPr lang="ru-RU" sz="1400" b="1" dirty="0" smtClean="0">
                  <a:solidFill>
                    <a:schemeClr val="bg1"/>
                  </a:solidFill>
                </a:rPr>
                <a:t>ЭКОЛОГИЧНО</a:t>
              </a:r>
              <a:endParaRPr lang="en-US" sz="1400" dirty="0">
                <a:solidFill>
                  <a:schemeClr val="bg1"/>
                </a:solidFill>
              </a:endParaRPr>
            </a:p>
          </p:txBody>
        </p:sp>
        <p:grpSp>
          <p:nvGrpSpPr>
            <p:cNvPr id="94" name="Group 82"/>
            <p:cNvGrpSpPr>
              <a:grpSpLocks noChangeAspect="1"/>
            </p:cNvGrpSpPr>
            <p:nvPr/>
          </p:nvGrpSpPr>
          <p:grpSpPr>
            <a:xfrm>
              <a:off x="9376436" y="2180494"/>
              <a:ext cx="1339585" cy="1338293"/>
              <a:chOff x="6464300" y="2606675"/>
              <a:chExt cx="1646238" cy="1644650"/>
            </a:xfrm>
          </p:grpSpPr>
          <p:sp>
            <p:nvSpPr>
              <p:cNvPr id="95"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nvGrpSpPr>
              <p:cNvPr id="96" name="Group 84"/>
              <p:cNvGrpSpPr/>
              <p:nvPr/>
            </p:nvGrpSpPr>
            <p:grpSpPr>
              <a:xfrm>
                <a:off x="6729413" y="2881313"/>
                <a:ext cx="1123838" cy="1125538"/>
                <a:chOff x="6729413" y="2881313"/>
                <a:chExt cx="1123838" cy="1125538"/>
              </a:xfrm>
            </p:grpSpPr>
            <p:sp>
              <p:nvSpPr>
                <p:cNvPr id="97" name="Freeform 85"/>
                <p:cNvSpPr>
                  <a:spLocks/>
                </p:cNvSpPr>
                <p:nvPr/>
              </p:nvSpPr>
              <p:spPr bwMode="auto">
                <a:xfrm>
                  <a:off x="7073900" y="2881313"/>
                  <a:ext cx="709613" cy="574675"/>
                </a:xfrm>
                <a:custGeom>
                  <a:avLst/>
                  <a:gdLst>
                    <a:gd name="T0" fmla="*/ 992 w 993"/>
                    <a:gd name="T1" fmla="*/ 8 h 805"/>
                    <a:gd name="T2" fmla="*/ 983 w 993"/>
                    <a:gd name="T3" fmla="*/ 0 h 805"/>
                    <a:gd name="T4" fmla="*/ 486 w 993"/>
                    <a:gd name="T5" fmla="*/ 429 h 805"/>
                    <a:gd name="T6" fmla="*/ 469 w 993"/>
                    <a:gd name="T7" fmla="*/ 433 h 805"/>
                    <a:gd name="T8" fmla="*/ 9 w 993"/>
                    <a:gd name="T9" fmla="*/ 255 h 805"/>
                    <a:gd name="T10" fmla="*/ 0 w 993"/>
                    <a:gd name="T11" fmla="*/ 264 h 805"/>
                    <a:gd name="T12" fmla="*/ 385 w 993"/>
                    <a:gd name="T13" fmla="*/ 649 h 805"/>
                    <a:gd name="T14" fmla="*/ 393 w 993"/>
                    <a:gd name="T15" fmla="*/ 641 h 805"/>
                    <a:gd name="T16" fmla="*/ 284 w 993"/>
                    <a:gd name="T17" fmla="*/ 426 h 805"/>
                    <a:gd name="T18" fmla="*/ 294 w 993"/>
                    <a:gd name="T19" fmla="*/ 412 h 805"/>
                    <a:gd name="T20" fmla="*/ 461 w 993"/>
                    <a:gd name="T21" fmla="*/ 766 h 805"/>
                    <a:gd name="T22" fmla="*/ 461 w 993"/>
                    <a:gd name="T23" fmla="*/ 794 h 805"/>
                    <a:gd name="T24" fmla="*/ 521 w 993"/>
                    <a:gd name="T25" fmla="*/ 797 h 805"/>
                    <a:gd name="T26" fmla="*/ 562 w 993"/>
                    <a:gd name="T27" fmla="*/ 805 h 805"/>
                    <a:gd name="T28" fmla="*/ 554 w 993"/>
                    <a:gd name="T29" fmla="*/ 681 h 805"/>
                    <a:gd name="T30" fmla="*/ 555 w 993"/>
                    <a:gd name="T31" fmla="*/ 524 h 805"/>
                    <a:gd name="T32" fmla="*/ 578 w 993"/>
                    <a:gd name="T33" fmla="*/ 391 h 805"/>
                    <a:gd name="T34" fmla="*/ 679 w 993"/>
                    <a:gd name="T35" fmla="*/ 227 h 805"/>
                    <a:gd name="T36" fmla="*/ 745 w 993"/>
                    <a:gd name="T37" fmla="*/ 180 h 805"/>
                    <a:gd name="T38" fmla="*/ 755 w 993"/>
                    <a:gd name="T39" fmla="*/ 194 h 805"/>
                    <a:gd name="T40" fmla="*/ 623 w 993"/>
                    <a:gd name="T41" fmla="*/ 477 h 805"/>
                    <a:gd name="T42" fmla="*/ 632 w 993"/>
                    <a:gd name="T43" fmla="*/ 487 h 805"/>
                    <a:gd name="T44" fmla="*/ 992 w 993"/>
                    <a:gd name="T45" fmla="*/ 8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3" h="805">
                      <a:moveTo>
                        <a:pt x="992" y="8"/>
                      </a:moveTo>
                      <a:cubicBezTo>
                        <a:pt x="992" y="3"/>
                        <a:pt x="988" y="0"/>
                        <a:pt x="983" y="0"/>
                      </a:cubicBezTo>
                      <a:cubicBezTo>
                        <a:pt x="559" y="3"/>
                        <a:pt x="495" y="259"/>
                        <a:pt x="486" y="429"/>
                      </a:cubicBezTo>
                      <a:cubicBezTo>
                        <a:pt x="486" y="438"/>
                        <a:pt x="474" y="441"/>
                        <a:pt x="469" y="433"/>
                      </a:cubicBezTo>
                      <a:cubicBezTo>
                        <a:pt x="417" y="327"/>
                        <a:pt x="293" y="242"/>
                        <a:pt x="9" y="255"/>
                      </a:cubicBezTo>
                      <a:cubicBezTo>
                        <a:pt x="4" y="255"/>
                        <a:pt x="0" y="259"/>
                        <a:pt x="0" y="264"/>
                      </a:cubicBezTo>
                      <a:cubicBezTo>
                        <a:pt x="3" y="321"/>
                        <a:pt x="35" y="645"/>
                        <a:pt x="385" y="649"/>
                      </a:cubicBezTo>
                      <a:cubicBezTo>
                        <a:pt x="389" y="649"/>
                        <a:pt x="393" y="645"/>
                        <a:pt x="393" y="641"/>
                      </a:cubicBezTo>
                      <a:cubicBezTo>
                        <a:pt x="395" y="614"/>
                        <a:pt x="392" y="523"/>
                        <a:pt x="284" y="426"/>
                      </a:cubicBezTo>
                      <a:cubicBezTo>
                        <a:pt x="276" y="420"/>
                        <a:pt x="284" y="408"/>
                        <a:pt x="294" y="412"/>
                      </a:cubicBezTo>
                      <a:cubicBezTo>
                        <a:pt x="427" y="475"/>
                        <a:pt x="467" y="630"/>
                        <a:pt x="461" y="766"/>
                      </a:cubicBezTo>
                      <a:cubicBezTo>
                        <a:pt x="460" y="772"/>
                        <a:pt x="460" y="782"/>
                        <a:pt x="461" y="794"/>
                      </a:cubicBezTo>
                      <a:cubicBezTo>
                        <a:pt x="521" y="797"/>
                        <a:pt x="521" y="797"/>
                        <a:pt x="521" y="797"/>
                      </a:cubicBezTo>
                      <a:cubicBezTo>
                        <a:pt x="535" y="798"/>
                        <a:pt x="549" y="801"/>
                        <a:pt x="562" y="805"/>
                      </a:cubicBezTo>
                      <a:cubicBezTo>
                        <a:pt x="565" y="763"/>
                        <a:pt x="557" y="710"/>
                        <a:pt x="554" y="681"/>
                      </a:cubicBezTo>
                      <a:cubicBezTo>
                        <a:pt x="551" y="628"/>
                        <a:pt x="552" y="576"/>
                        <a:pt x="555" y="524"/>
                      </a:cubicBezTo>
                      <a:cubicBezTo>
                        <a:pt x="557" y="479"/>
                        <a:pt x="564" y="434"/>
                        <a:pt x="578" y="391"/>
                      </a:cubicBezTo>
                      <a:cubicBezTo>
                        <a:pt x="597" y="329"/>
                        <a:pt x="632" y="272"/>
                        <a:pt x="679" y="227"/>
                      </a:cubicBezTo>
                      <a:cubicBezTo>
                        <a:pt x="699" y="209"/>
                        <a:pt x="721" y="193"/>
                        <a:pt x="745" y="180"/>
                      </a:cubicBezTo>
                      <a:cubicBezTo>
                        <a:pt x="753" y="175"/>
                        <a:pt x="761" y="186"/>
                        <a:pt x="755" y="194"/>
                      </a:cubicBezTo>
                      <a:cubicBezTo>
                        <a:pt x="643" y="322"/>
                        <a:pt x="626" y="444"/>
                        <a:pt x="623" y="477"/>
                      </a:cubicBezTo>
                      <a:cubicBezTo>
                        <a:pt x="623" y="482"/>
                        <a:pt x="627" y="487"/>
                        <a:pt x="632" y="487"/>
                      </a:cubicBezTo>
                      <a:cubicBezTo>
                        <a:pt x="984" y="480"/>
                        <a:pt x="993" y="73"/>
                        <a:pt x="992" y="8"/>
                      </a:cubicBez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98" name="Freeform 86"/>
                <p:cNvSpPr>
                  <a:spLocks/>
                </p:cNvSpPr>
                <p:nvPr/>
              </p:nvSpPr>
              <p:spPr bwMode="auto">
                <a:xfrm>
                  <a:off x="6729413" y="3465513"/>
                  <a:ext cx="1123838" cy="541338"/>
                </a:xfrm>
                <a:custGeom>
                  <a:avLst/>
                  <a:gdLst>
                    <a:gd name="connsiteX0" fmla="*/ 409739 w 1123838"/>
                    <a:gd name="connsiteY0" fmla="*/ 31591 h 541338"/>
                    <a:gd name="connsiteX1" fmla="*/ 326138 w 1123838"/>
                    <a:gd name="connsiteY1" fmla="*/ 51601 h 541338"/>
                    <a:gd name="connsiteX2" fmla="*/ 31750 w 1123838"/>
                    <a:gd name="connsiteY2" fmla="*/ 218820 h 541338"/>
                    <a:gd name="connsiteX3" fmla="*/ 31750 w 1123838"/>
                    <a:gd name="connsiteY3" fmla="*/ 503237 h 541338"/>
                    <a:gd name="connsiteX4" fmla="*/ 368296 w 1123838"/>
                    <a:gd name="connsiteY4" fmla="*/ 373177 h 541338"/>
                    <a:gd name="connsiteX5" fmla="*/ 419028 w 1123838"/>
                    <a:gd name="connsiteY5" fmla="*/ 365316 h 541338"/>
                    <a:gd name="connsiteX6" fmla="*/ 568366 w 1123838"/>
                    <a:gd name="connsiteY6" fmla="*/ 376036 h 541338"/>
                    <a:gd name="connsiteX7" fmla="*/ 797017 w 1123838"/>
                    <a:gd name="connsiteY7" fmla="*/ 349595 h 541338"/>
                    <a:gd name="connsiteX8" fmla="*/ 1047818 w 1123838"/>
                    <a:gd name="connsiteY8" fmla="*/ 183090 h 541338"/>
                    <a:gd name="connsiteX9" fmla="*/ 1079972 w 1123838"/>
                    <a:gd name="connsiteY9" fmla="*/ 145930 h 541338"/>
                    <a:gd name="connsiteX10" fmla="*/ 1074971 w 1123838"/>
                    <a:gd name="connsiteY10" fmla="*/ 71610 h 541338"/>
                    <a:gd name="connsiteX11" fmla="*/ 1036386 w 1123838"/>
                    <a:gd name="connsiteY11" fmla="*/ 58032 h 541338"/>
                    <a:gd name="connsiteX12" fmla="*/ 999230 w 1123838"/>
                    <a:gd name="connsiteY12" fmla="*/ 75897 h 541338"/>
                    <a:gd name="connsiteX13" fmla="*/ 951356 w 1123838"/>
                    <a:gd name="connsiteY13" fmla="*/ 129494 h 541338"/>
                    <a:gd name="connsiteX14" fmla="*/ 805591 w 1123838"/>
                    <a:gd name="connsiteY14" fmla="*/ 220964 h 541338"/>
                    <a:gd name="connsiteX15" fmla="*/ 608380 w 1123838"/>
                    <a:gd name="connsiteY15" fmla="*/ 210245 h 541338"/>
                    <a:gd name="connsiteX16" fmla="*/ 553360 w 1123838"/>
                    <a:gd name="connsiteY16" fmla="*/ 188092 h 541338"/>
                    <a:gd name="connsiteX17" fmla="*/ 544071 w 1123838"/>
                    <a:gd name="connsiteY17" fmla="*/ 171656 h 541338"/>
                    <a:gd name="connsiteX18" fmla="*/ 557648 w 1123838"/>
                    <a:gd name="connsiteY18" fmla="*/ 158078 h 541338"/>
                    <a:gd name="connsiteX19" fmla="*/ 715560 w 1123838"/>
                    <a:gd name="connsiteY19" fmla="*/ 142357 h 541338"/>
                    <a:gd name="connsiteX20" fmla="*/ 759146 w 1123838"/>
                    <a:gd name="connsiteY20" fmla="*/ 95192 h 541338"/>
                    <a:gd name="connsiteX21" fmla="*/ 713416 w 1123838"/>
                    <a:gd name="connsiteY21" fmla="*/ 47313 h 541338"/>
                    <a:gd name="connsiteX22" fmla="*/ 409739 w 1123838"/>
                    <a:gd name="connsiteY22" fmla="*/ 31591 h 541338"/>
                    <a:gd name="connsiteX23" fmla="*/ 390213 w 1123838"/>
                    <a:gd name="connsiteY23" fmla="*/ 0 h 541338"/>
                    <a:gd name="connsiteX24" fmla="*/ 393786 w 1123838"/>
                    <a:gd name="connsiteY24" fmla="*/ 0 h 541338"/>
                    <a:gd name="connsiteX25" fmla="*/ 396645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5423 w 1123838"/>
                    <a:gd name="connsiteY50" fmla="*/ 195682 h 541338"/>
                    <a:gd name="connsiteX51" fmla="*/ 785428 w 1123838"/>
                    <a:gd name="connsiteY51" fmla="*/ 193539 h 541338"/>
                    <a:gd name="connsiteX52" fmla="*/ 786858 w 1123838"/>
                    <a:gd name="connsiteY52" fmla="*/ 192825 h 541338"/>
                    <a:gd name="connsiteX53" fmla="*/ 796863 w 1123838"/>
                    <a:gd name="connsiteY53" fmla="*/ 190683 h 541338"/>
                    <a:gd name="connsiteX54" fmla="*/ 826880 w 1123838"/>
                    <a:gd name="connsiteY54" fmla="*/ 179970 h 541338"/>
                    <a:gd name="connsiteX55" fmla="*/ 909782 w 1123838"/>
                    <a:gd name="connsiteY55" fmla="*/ 127122 h 541338"/>
                    <a:gd name="connsiteX56" fmla="*/ 928363 w 1123838"/>
                    <a:gd name="connsiteY56" fmla="*/ 108553 h 541338"/>
                    <a:gd name="connsiteX57" fmla="*/ 975532 w 1123838"/>
                    <a:gd name="connsiteY57" fmla="*/ 54991 h 541338"/>
                    <a:gd name="connsiteX58" fmla="*/ 978391 w 1123838"/>
                    <a:gd name="connsiteY58" fmla="*/ 51420 h 541338"/>
                    <a:gd name="connsiteX59" fmla="*/ 979105 w 1123838"/>
                    <a:gd name="connsiteY59" fmla="*/ 51420 h 541338"/>
                    <a:gd name="connsiteX60" fmla="*/ 1034135 w 1123838"/>
                    <a:gd name="connsiteY60" fmla="*/ 26424 h 541338"/>
                    <a:gd name="connsiteX61" fmla="*/ 1034850 w 1123838"/>
                    <a:gd name="connsiteY61" fmla="*/ 26424 h 541338"/>
                    <a:gd name="connsiteX62" fmla="*/ 1039138 w 1123838"/>
                    <a:gd name="connsiteY62" fmla="*/ 26424 h 541338"/>
                    <a:gd name="connsiteX63" fmla="*/ 1040567 w 1123838"/>
                    <a:gd name="connsiteY63" fmla="*/ 26424 h 541338"/>
                    <a:gd name="connsiteX64" fmla="*/ 1079875 w 1123838"/>
                    <a:gd name="connsiteY64" fmla="*/ 37137 h 541338"/>
                    <a:gd name="connsiteX65" fmla="*/ 1083448 w 1123838"/>
                    <a:gd name="connsiteY65" fmla="*/ 39279 h 541338"/>
                    <a:gd name="connsiteX66" fmla="*/ 1086307 w 1123838"/>
                    <a:gd name="connsiteY66" fmla="*/ 40708 h 541338"/>
                    <a:gd name="connsiteX67" fmla="*/ 1087021 w 1123838"/>
                    <a:gd name="connsiteY67" fmla="*/ 41422 h 541338"/>
                    <a:gd name="connsiteX68" fmla="*/ 1089880 w 1123838"/>
                    <a:gd name="connsiteY68" fmla="*/ 43564 h 541338"/>
                    <a:gd name="connsiteX69" fmla="*/ 1090595 w 1123838"/>
                    <a:gd name="connsiteY69" fmla="*/ 44278 h 541338"/>
                    <a:gd name="connsiteX70" fmla="*/ 1092739 w 1123838"/>
                    <a:gd name="connsiteY70" fmla="*/ 45707 h 541338"/>
                    <a:gd name="connsiteX71" fmla="*/ 1095597 w 1123838"/>
                    <a:gd name="connsiteY71" fmla="*/ 47849 h 541338"/>
                    <a:gd name="connsiteX72" fmla="*/ 1095597 w 1123838"/>
                    <a:gd name="connsiteY72" fmla="*/ 48563 h 541338"/>
                    <a:gd name="connsiteX73" fmla="*/ 1103459 w 1123838"/>
                    <a:gd name="connsiteY73" fmla="*/ 165687 h 541338"/>
                    <a:gd name="connsiteX74" fmla="*/ 1072013 w 1123838"/>
                    <a:gd name="connsiteY74" fmla="*/ 203538 h 541338"/>
                    <a:gd name="connsiteX75" fmla="*/ 966241 w 1123838"/>
                    <a:gd name="connsiteY75" fmla="*/ 299950 h 541338"/>
                    <a:gd name="connsiteX76" fmla="*/ 956950 w 1123838"/>
                    <a:gd name="connsiteY76" fmla="*/ 306377 h 541338"/>
                    <a:gd name="connsiteX77" fmla="*/ 948374 w 1123838"/>
                    <a:gd name="connsiteY77" fmla="*/ 312091 h 541338"/>
                    <a:gd name="connsiteX78" fmla="*/ 806154 w 1123838"/>
                    <a:gd name="connsiteY78" fmla="*/ 379222 h 541338"/>
                    <a:gd name="connsiteX79" fmla="*/ 792575 w 1123838"/>
                    <a:gd name="connsiteY79" fmla="*/ 383507 h 541338"/>
                    <a:gd name="connsiteX80" fmla="*/ 788287 w 1123838"/>
                    <a:gd name="connsiteY80" fmla="*/ 384222 h 541338"/>
                    <a:gd name="connsiteX81" fmla="*/ 779711 w 1123838"/>
                    <a:gd name="connsiteY81" fmla="*/ 387078 h 541338"/>
                    <a:gd name="connsiteX82" fmla="*/ 773994 w 1123838"/>
                    <a:gd name="connsiteY82" fmla="*/ 388507 h 541338"/>
                    <a:gd name="connsiteX83" fmla="*/ 766132 w 1123838"/>
                    <a:gd name="connsiteY83" fmla="*/ 389935 h 541338"/>
                    <a:gd name="connsiteX84" fmla="*/ 759700 w 1123838"/>
                    <a:gd name="connsiteY84" fmla="*/ 392077 h 541338"/>
                    <a:gd name="connsiteX85" fmla="*/ 753983 w 1123838"/>
                    <a:gd name="connsiteY85" fmla="*/ 392792 h 541338"/>
                    <a:gd name="connsiteX86" fmla="*/ 724681 w 1123838"/>
                    <a:gd name="connsiteY86" fmla="*/ 399219 h 541338"/>
                    <a:gd name="connsiteX87" fmla="*/ 721822 w 1123838"/>
                    <a:gd name="connsiteY87" fmla="*/ 399219 h 541338"/>
                    <a:gd name="connsiteX88" fmla="*/ 711102 w 1123838"/>
                    <a:gd name="connsiteY88" fmla="*/ 401362 h 541338"/>
                    <a:gd name="connsiteX89" fmla="*/ 709673 w 1123838"/>
                    <a:gd name="connsiteY89" fmla="*/ 401362 h 541338"/>
                    <a:gd name="connsiteX90" fmla="*/ 650355 w 1123838"/>
                    <a:gd name="connsiteY90" fmla="*/ 407789 h 541338"/>
                    <a:gd name="connsiteX91" fmla="*/ 648211 w 1123838"/>
                    <a:gd name="connsiteY91" fmla="*/ 407789 h 541338"/>
                    <a:gd name="connsiteX92" fmla="*/ 637491 w 1123838"/>
                    <a:gd name="connsiteY92" fmla="*/ 408503 h 541338"/>
                    <a:gd name="connsiteX93" fmla="*/ 635347 w 1123838"/>
                    <a:gd name="connsiteY93" fmla="*/ 408503 h 541338"/>
                    <a:gd name="connsiteX94" fmla="*/ 621053 w 1123838"/>
                    <a:gd name="connsiteY94" fmla="*/ 408503 h 541338"/>
                    <a:gd name="connsiteX95" fmla="*/ 620338 w 1123838"/>
                    <a:gd name="connsiteY95" fmla="*/ 408503 h 541338"/>
                    <a:gd name="connsiteX96" fmla="*/ 612477 w 1123838"/>
                    <a:gd name="connsiteY96" fmla="*/ 408503 h 541338"/>
                    <a:gd name="connsiteX97" fmla="*/ 606045 w 1123838"/>
                    <a:gd name="connsiteY97" fmla="*/ 408503 h 541338"/>
                    <a:gd name="connsiteX98" fmla="*/ 598898 w 1123838"/>
                    <a:gd name="connsiteY98" fmla="*/ 408503 h 541338"/>
                    <a:gd name="connsiteX99" fmla="*/ 592466 w 1123838"/>
                    <a:gd name="connsiteY99" fmla="*/ 408503 h 541338"/>
                    <a:gd name="connsiteX100" fmla="*/ 584605 w 1123838"/>
                    <a:gd name="connsiteY100" fmla="*/ 407789 h 541338"/>
                    <a:gd name="connsiteX101" fmla="*/ 578887 w 1123838"/>
                    <a:gd name="connsiteY101" fmla="*/ 407789 h 541338"/>
                    <a:gd name="connsiteX102" fmla="*/ 566738 w 1123838"/>
                    <a:gd name="connsiteY102" fmla="*/ 407075 h 541338"/>
                    <a:gd name="connsiteX103" fmla="*/ 566023 w 1123838"/>
                    <a:gd name="connsiteY103" fmla="*/ 407075 h 541338"/>
                    <a:gd name="connsiteX104" fmla="*/ 485265 w 1123838"/>
                    <a:gd name="connsiteY104" fmla="*/ 401362 h 541338"/>
                    <a:gd name="connsiteX105" fmla="*/ 416656 w 1123838"/>
                    <a:gd name="connsiteY105" fmla="*/ 396362 h 541338"/>
                    <a:gd name="connsiteX106" fmla="*/ 410939 w 1123838"/>
                    <a:gd name="connsiteY106" fmla="*/ 396362 h 541338"/>
                    <a:gd name="connsiteX107" fmla="*/ 407365 w 1123838"/>
                    <a:gd name="connsiteY107" fmla="*/ 396362 h 541338"/>
                    <a:gd name="connsiteX108" fmla="*/ 393072 w 1123838"/>
                    <a:gd name="connsiteY108" fmla="*/ 397791 h 541338"/>
                    <a:gd name="connsiteX109" fmla="*/ 388784 w 1123838"/>
                    <a:gd name="connsiteY109" fmla="*/ 398505 h 541338"/>
                    <a:gd name="connsiteX110" fmla="*/ 388784 w 1123838"/>
                    <a:gd name="connsiteY110" fmla="*/ 399219 h 541338"/>
                    <a:gd name="connsiteX111" fmla="*/ 384496 w 1123838"/>
                    <a:gd name="connsiteY111" fmla="*/ 399933 h 541338"/>
                    <a:gd name="connsiteX112" fmla="*/ 383781 w 1123838"/>
                    <a:gd name="connsiteY112" fmla="*/ 400647 h 541338"/>
                    <a:gd name="connsiteX113" fmla="*/ 379493 w 1123838"/>
                    <a:gd name="connsiteY113" fmla="*/ 402076 h 541338"/>
                    <a:gd name="connsiteX114" fmla="*/ 21441 w 1123838"/>
                    <a:gd name="connsiteY114" fmla="*/ 540624 h 541338"/>
                    <a:gd name="connsiteX115" fmla="*/ 15723 w 1123838"/>
                    <a:gd name="connsiteY115" fmla="*/ 541338 h 541338"/>
                    <a:gd name="connsiteX116" fmla="*/ 7147 w 1123838"/>
                    <a:gd name="connsiteY116" fmla="*/ 538481 h 541338"/>
                    <a:gd name="connsiteX117" fmla="*/ 0 w 1123838"/>
                    <a:gd name="connsiteY117" fmla="*/ 525626 h 541338"/>
                    <a:gd name="connsiteX118" fmla="*/ 0 w 1123838"/>
                    <a:gd name="connsiteY118" fmla="*/ 209251 h 541338"/>
                    <a:gd name="connsiteX119" fmla="*/ 7862 w 1123838"/>
                    <a:gd name="connsiteY119" fmla="*/ 195682 h 541338"/>
                    <a:gd name="connsiteX120" fmla="*/ 310169 w 1123838"/>
                    <a:gd name="connsiteY120" fmla="*/ 24282 h 541338"/>
                    <a:gd name="connsiteX121" fmla="*/ 315887 w 1123838"/>
                    <a:gd name="connsiteY121" fmla="*/ 21425 h 541338"/>
                    <a:gd name="connsiteX122" fmla="*/ 318031 w 1123838"/>
                    <a:gd name="connsiteY122" fmla="*/ 19997 h 541338"/>
                    <a:gd name="connsiteX123" fmla="*/ 320889 w 1123838"/>
                    <a:gd name="connsiteY123" fmla="*/ 18568 h 541338"/>
                    <a:gd name="connsiteX124" fmla="*/ 324463 w 1123838"/>
                    <a:gd name="connsiteY124" fmla="*/ 17140 h 541338"/>
                    <a:gd name="connsiteX125" fmla="*/ 326607 w 1123838"/>
                    <a:gd name="connsiteY125" fmla="*/ 15712 h 541338"/>
                    <a:gd name="connsiteX126" fmla="*/ 330180 w 1123838"/>
                    <a:gd name="connsiteY126" fmla="*/ 14283 h 541338"/>
                    <a:gd name="connsiteX127" fmla="*/ 332324 w 1123838"/>
                    <a:gd name="connsiteY127" fmla="*/ 13569 h 541338"/>
                    <a:gd name="connsiteX128" fmla="*/ 336612 w 1123838"/>
                    <a:gd name="connsiteY128" fmla="*/ 12141 h 541338"/>
                    <a:gd name="connsiteX129" fmla="*/ 338042 w 1123838"/>
                    <a:gd name="connsiteY129" fmla="*/ 11427 h 541338"/>
                    <a:gd name="connsiteX130" fmla="*/ 342330 w 1123838"/>
                    <a:gd name="connsiteY130" fmla="*/ 9998 h 541338"/>
                    <a:gd name="connsiteX131" fmla="*/ 343044 w 1123838"/>
                    <a:gd name="connsiteY131" fmla="*/ 9284 h 541338"/>
                    <a:gd name="connsiteX132" fmla="*/ 348047 w 1123838"/>
                    <a:gd name="connsiteY132" fmla="*/ 7856 h 541338"/>
                    <a:gd name="connsiteX133" fmla="*/ 348762 w 1123838"/>
                    <a:gd name="connsiteY133" fmla="*/ 7856 h 541338"/>
                    <a:gd name="connsiteX134" fmla="*/ 382352 w 1123838"/>
                    <a:gd name="connsiteY134" fmla="*/ 714 h 541338"/>
                    <a:gd name="connsiteX135" fmla="*/ 383781 w 1123838"/>
                    <a:gd name="connsiteY135" fmla="*/ 714 h 541338"/>
                    <a:gd name="connsiteX136" fmla="*/ 387354 w 1123838"/>
                    <a:gd name="connsiteY136" fmla="*/ 714 h 541338"/>
                    <a:gd name="connsiteX137" fmla="*/ 390213 w 1123838"/>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3838" h="541338">
                      <a:moveTo>
                        <a:pt x="409739" y="31591"/>
                      </a:moveTo>
                      <a:cubicBezTo>
                        <a:pt x="380443" y="30162"/>
                        <a:pt x="351147" y="37308"/>
                        <a:pt x="326138" y="51601"/>
                      </a:cubicBezTo>
                      <a:cubicBezTo>
                        <a:pt x="326138" y="51601"/>
                        <a:pt x="326138" y="51601"/>
                        <a:pt x="31750" y="218820"/>
                      </a:cubicBezTo>
                      <a:cubicBezTo>
                        <a:pt x="31750" y="218820"/>
                        <a:pt x="31750" y="218820"/>
                        <a:pt x="31750" y="503237"/>
                      </a:cubicBezTo>
                      <a:cubicBezTo>
                        <a:pt x="31750" y="503237"/>
                        <a:pt x="31750" y="503237"/>
                        <a:pt x="368296" y="373177"/>
                      </a:cubicBezTo>
                      <a:cubicBezTo>
                        <a:pt x="384730" y="366746"/>
                        <a:pt x="401879" y="363887"/>
                        <a:pt x="419028" y="365316"/>
                      </a:cubicBezTo>
                      <a:cubicBezTo>
                        <a:pt x="419028" y="365316"/>
                        <a:pt x="419028" y="365316"/>
                        <a:pt x="568366" y="376036"/>
                      </a:cubicBezTo>
                      <a:cubicBezTo>
                        <a:pt x="645535" y="381753"/>
                        <a:pt x="722705" y="372463"/>
                        <a:pt x="797017" y="349595"/>
                      </a:cubicBezTo>
                      <a:cubicBezTo>
                        <a:pt x="894908" y="318867"/>
                        <a:pt x="981367" y="261697"/>
                        <a:pt x="1047818" y="183090"/>
                      </a:cubicBezTo>
                      <a:cubicBezTo>
                        <a:pt x="1047818" y="183090"/>
                        <a:pt x="1047818" y="183090"/>
                        <a:pt x="1079972" y="145930"/>
                      </a:cubicBezTo>
                      <a:cubicBezTo>
                        <a:pt x="1098550" y="123777"/>
                        <a:pt x="1096407" y="90904"/>
                        <a:pt x="1074971" y="71610"/>
                      </a:cubicBezTo>
                      <a:cubicBezTo>
                        <a:pt x="1064253" y="62320"/>
                        <a:pt x="1050676" y="57317"/>
                        <a:pt x="1036386" y="58032"/>
                      </a:cubicBezTo>
                      <a:cubicBezTo>
                        <a:pt x="1022095" y="58747"/>
                        <a:pt x="1008519" y="65178"/>
                        <a:pt x="999230" y="75897"/>
                      </a:cubicBezTo>
                      <a:cubicBezTo>
                        <a:pt x="999230" y="75897"/>
                        <a:pt x="999230" y="75897"/>
                        <a:pt x="951356" y="129494"/>
                      </a:cubicBezTo>
                      <a:cubicBezTo>
                        <a:pt x="912771" y="173800"/>
                        <a:pt x="862039" y="205243"/>
                        <a:pt x="805591" y="220964"/>
                      </a:cubicBezTo>
                      <a:cubicBezTo>
                        <a:pt x="740568" y="239544"/>
                        <a:pt x="670544" y="235257"/>
                        <a:pt x="608380" y="210245"/>
                      </a:cubicBezTo>
                      <a:cubicBezTo>
                        <a:pt x="608380" y="210245"/>
                        <a:pt x="608380" y="210245"/>
                        <a:pt x="553360" y="188092"/>
                      </a:cubicBezTo>
                      <a:cubicBezTo>
                        <a:pt x="546930" y="185234"/>
                        <a:pt x="542642" y="178802"/>
                        <a:pt x="544071" y="171656"/>
                      </a:cubicBezTo>
                      <a:cubicBezTo>
                        <a:pt x="544786" y="164510"/>
                        <a:pt x="550502" y="158793"/>
                        <a:pt x="557648" y="158078"/>
                      </a:cubicBezTo>
                      <a:cubicBezTo>
                        <a:pt x="557648" y="158078"/>
                        <a:pt x="557648" y="158078"/>
                        <a:pt x="715560" y="142357"/>
                      </a:cubicBezTo>
                      <a:cubicBezTo>
                        <a:pt x="740568" y="140213"/>
                        <a:pt x="759146" y="119489"/>
                        <a:pt x="759146" y="95192"/>
                      </a:cubicBezTo>
                      <a:cubicBezTo>
                        <a:pt x="759146" y="69466"/>
                        <a:pt x="739139" y="48742"/>
                        <a:pt x="713416" y="47313"/>
                      </a:cubicBezTo>
                      <a:cubicBezTo>
                        <a:pt x="713416" y="47313"/>
                        <a:pt x="713416" y="47313"/>
                        <a:pt x="409739" y="31591"/>
                      </a:cubicBezTo>
                      <a:close/>
                      <a:moveTo>
                        <a:pt x="390213" y="0"/>
                      </a:moveTo>
                      <a:cubicBezTo>
                        <a:pt x="391642" y="0"/>
                        <a:pt x="392357" y="0"/>
                        <a:pt x="393786" y="0"/>
                      </a:cubicBezTo>
                      <a:cubicBezTo>
                        <a:pt x="394501" y="0"/>
                        <a:pt x="395930" y="0"/>
                        <a:pt x="396645" y="0"/>
                      </a:cubicBezTo>
                      <a:cubicBezTo>
                        <a:pt x="398074" y="0"/>
                        <a:pt x="398789" y="0"/>
                        <a:pt x="399504" y="0"/>
                      </a:cubicBezTo>
                      <a:cubicBezTo>
                        <a:pt x="400933" y="0"/>
                        <a:pt x="401648" y="0"/>
                        <a:pt x="403077" y="0"/>
                      </a:cubicBezTo>
                      <a:cubicBezTo>
                        <a:pt x="405221" y="0"/>
                        <a:pt x="408080"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4681"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0344" y="408503"/>
                        <a:pt x="626056" y="408503"/>
                        <a:pt x="621053" y="408503"/>
                      </a:cubicBezTo>
                      <a:cubicBezTo>
                        <a:pt x="621053" y="408503"/>
                        <a:pt x="620338" y="408503"/>
                        <a:pt x="620338"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9466"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3044" y="9284"/>
                        <a:pt x="343044" y="9284"/>
                        <a:pt x="343044" y="9284"/>
                      </a:cubicBezTo>
                      <a:cubicBezTo>
                        <a:pt x="345188" y="8570"/>
                        <a:pt x="346618" y="8570"/>
                        <a:pt x="348047" y="7856"/>
                      </a:cubicBezTo>
                      <a:cubicBezTo>
                        <a:pt x="348762" y="7856"/>
                        <a:pt x="348762" y="7856"/>
                        <a:pt x="348762" y="7856"/>
                      </a:cubicBezTo>
                      <a:cubicBezTo>
                        <a:pt x="360197" y="4285"/>
                        <a:pt x="370917" y="2143"/>
                        <a:pt x="382352" y="714"/>
                      </a:cubicBezTo>
                      <a:cubicBezTo>
                        <a:pt x="383066" y="714"/>
                        <a:pt x="383781" y="714"/>
                        <a:pt x="383781" y="714"/>
                      </a:cubicBezTo>
                      <a:cubicBezTo>
                        <a:pt x="385210" y="714"/>
                        <a:pt x="386640" y="714"/>
                        <a:pt x="387354" y="714"/>
                      </a:cubicBezTo>
                      <a:cubicBezTo>
                        <a:pt x="388784" y="714"/>
                        <a:pt x="389498" y="714"/>
                        <a:pt x="390213" y="0"/>
                      </a:cubicBezTo>
                      <a:close/>
                    </a:path>
                  </a:pathLst>
                </a:custGeom>
                <a:solidFill>
                  <a:srgbClr val="FFFF00"/>
                </a:solidFill>
                <a:ln>
                  <a:noFill/>
                </a:ln>
              </p:spPr>
              <p:txBody>
                <a:bodyPr vert="horz" wrap="square" lIns="91440" tIns="45720" rIns="91440" bIns="45720" numCol="1" anchor="t" anchorCtr="0" compatLnSpc="1">
                  <a:prstTxWarp prst="textNoShape">
                    <a:avLst/>
                  </a:prstTxWarp>
                  <a:noAutofit/>
                </a:bodyPr>
                <a:lstStyle/>
                <a:p>
                  <a:endParaRPr lang="en-US" sz="1400" dirty="0"/>
                </a:p>
              </p:txBody>
            </p:sp>
          </p:grpSp>
        </p:grpSp>
      </p:grpSp>
      <p:sp>
        <p:nvSpPr>
          <p:cNvPr id="99" name="TextBox 88"/>
          <p:cNvSpPr txBox="1"/>
          <p:nvPr/>
        </p:nvSpPr>
        <p:spPr>
          <a:xfrm>
            <a:off x="10244779" y="1908000"/>
            <a:ext cx="2381839" cy="7038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400" b="1" dirty="0" smtClean="0">
                <a:solidFill>
                  <a:schemeClr val="bg1"/>
                </a:solidFill>
              </a:rPr>
              <a:t>ГИБКОСТЬ</a:t>
            </a:r>
            <a:endParaRPr lang="en-US" sz="1400" b="1" dirty="0" smtClean="0">
              <a:solidFill>
                <a:schemeClr val="bg1"/>
              </a:solidFill>
            </a:endParaRPr>
          </a:p>
        </p:txBody>
      </p:sp>
      <p:sp>
        <p:nvSpPr>
          <p:cNvPr id="105" name="Textfeld 104"/>
          <p:cNvSpPr txBox="1"/>
          <p:nvPr/>
        </p:nvSpPr>
        <p:spPr bwMode="auto">
          <a:xfrm>
            <a:off x="5109381" y="6606297"/>
            <a:ext cx="5858270" cy="138499"/>
          </a:xfrm>
          <a:prstGeom prst="rect">
            <a:avLst/>
          </a:prstGeom>
          <a:noFill/>
          <a:ln w="9525">
            <a:noFill/>
            <a:miter lim="800000"/>
            <a:headEnd/>
            <a:tailEnd/>
          </a:ln>
        </p:spPr>
        <p:txBody>
          <a:bodyPr wrap="square" lIns="0" tIns="0" rIns="0" bIns="0" rtlCol="0" anchor="t" anchorCtr="0">
            <a:spAutoFit/>
          </a:bodyPr>
          <a:lstStyle/>
          <a:p>
            <a:pPr algn="r" defTabSz="913943" fontAlgn="base">
              <a:spcBef>
                <a:spcPct val="0"/>
              </a:spcBef>
              <a:spcAft>
                <a:spcPct val="0"/>
              </a:spcAft>
            </a:pPr>
            <a:r>
              <a:rPr lang="en-US" sz="900" b="1" dirty="0" smtClean="0">
                <a:solidFill>
                  <a:schemeClr val="bg1">
                    <a:alpha val="61000"/>
                  </a:schemeClr>
                </a:solidFill>
                <a:latin typeface="CorpoS"/>
                <a:cs typeface="Daimler CS"/>
              </a:rPr>
              <a:t>*IN GERMANY </a:t>
            </a:r>
            <a:endParaRPr lang="en-US" sz="900" b="1" dirty="0">
              <a:solidFill>
                <a:schemeClr val="bg1">
                  <a:alpha val="61000"/>
                </a:schemeClr>
              </a:solidFill>
              <a:latin typeface="CorpoS"/>
              <a:cs typeface="Daimler CS"/>
            </a:endParaRPr>
          </a:p>
        </p:txBody>
      </p:sp>
    </p:spTree>
    <p:extLst>
      <p:ext uri="{BB962C8B-B14F-4D97-AF65-F5344CB8AC3E}">
        <p14:creationId xmlns:p14="http://schemas.microsoft.com/office/powerpoint/2010/main" val="1354416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337693">
            <a:alpha val="80000"/>
          </a:srgbClr>
        </a:solidFill>
        <a:effectLst/>
      </p:bgPr>
    </p:bg>
    <p:spTree>
      <p:nvGrpSpPr>
        <p:cNvPr id="1" name=""/>
        <p:cNvGrpSpPr/>
        <p:nvPr/>
      </p:nvGrpSpPr>
      <p:grpSpPr>
        <a:xfrm>
          <a:off x="0" y="0"/>
          <a:ext cx="0" cy="0"/>
          <a:chOff x="0" y="0"/>
          <a:chExt cx="0" cy="0"/>
        </a:xfrm>
      </p:grpSpPr>
      <p:sp>
        <p:nvSpPr>
          <p:cNvPr id="508" name="Shape 1968"/>
          <p:cNvSpPr/>
          <p:nvPr/>
        </p:nvSpPr>
        <p:spPr>
          <a:xfrm>
            <a:off x="5276799" y="3625525"/>
            <a:ext cx="363309" cy="270062"/>
          </a:xfrm>
          <a:custGeom>
            <a:avLst/>
            <a:gdLst/>
            <a:ahLst/>
            <a:cxnLst/>
            <a:rect l="0" t="0" r="0" b="0"/>
            <a:pathLst>
              <a:path w="120000" h="120000" extrusionOk="0">
                <a:moveTo>
                  <a:pt x="3272" y="21818"/>
                </a:moveTo>
                <a:cubicBezTo>
                  <a:pt x="2181" y="16363"/>
                  <a:pt x="3272" y="15000"/>
                  <a:pt x="2181" y="15000"/>
                </a:cubicBezTo>
                <a:cubicBezTo>
                  <a:pt x="0" y="12272"/>
                  <a:pt x="3272" y="8181"/>
                  <a:pt x="8727" y="8181"/>
                </a:cubicBezTo>
                <a:cubicBezTo>
                  <a:pt x="12000" y="8181"/>
                  <a:pt x="8727" y="4090"/>
                  <a:pt x="12000" y="2727"/>
                </a:cubicBezTo>
                <a:cubicBezTo>
                  <a:pt x="17454" y="0"/>
                  <a:pt x="17454" y="4090"/>
                  <a:pt x="24000" y="4090"/>
                </a:cubicBezTo>
                <a:cubicBezTo>
                  <a:pt x="30545" y="4090"/>
                  <a:pt x="30545" y="2727"/>
                  <a:pt x="34909" y="4090"/>
                </a:cubicBezTo>
                <a:cubicBezTo>
                  <a:pt x="43636" y="8181"/>
                  <a:pt x="46909" y="4090"/>
                  <a:pt x="53454" y="6818"/>
                </a:cubicBezTo>
                <a:cubicBezTo>
                  <a:pt x="58909" y="8181"/>
                  <a:pt x="56727" y="4090"/>
                  <a:pt x="62181" y="6818"/>
                </a:cubicBezTo>
                <a:cubicBezTo>
                  <a:pt x="63272" y="8181"/>
                  <a:pt x="65454" y="6818"/>
                  <a:pt x="66545" y="6818"/>
                </a:cubicBezTo>
                <a:cubicBezTo>
                  <a:pt x="68727" y="8181"/>
                  <a:pt x="69818" y="6818"/>
                  <a:pt x="69818" y="10909"/>
                </a:cubicBezTo>
                <a:cubicBezTo>
                  <a:pt x="69818" y="12272"/>
                  <a:pt x="75272" y="10909"/>
                  <a:pt x="77454" y="15000"/>
                </a:cubicBezTo>
                <a:cubicBezTo>
                  <a:pt x="77454" y="16363"/>
                  <a:pt x="80727" y="15000"/>
                  <a:pt x="81818" y="16363"/>
                </a:cubicBezTo>
                <a:cubicBezTo>
                  <a:pt x="84000" y="19090"/>
                  <a:pt x="84000" y="15000"/>
                  <a:pt x="87272" y="16363"/>
                </a:cubicBezTo>
                <a:cubicBezTo>
                  <a:pt x="90545" y="16363"/>
                  <a:pt x="85090" y="10909"/>
                  <a:pt x="94909" y="19090"/>
                </a:cubicBezTo>
                <a:cubicBezTo>
                  <a:pt x="94909" y="21818"/>
                  <a:pt x="97090" y="21818"/>
                  <a:pt x="97090" y="21818"/>
                </a:cubicBezTo>
                <a:cubicBezTo>
                  <a:pt x="101454" y="23181"/>
                  <a:pt x="101454" y="21818"/>
                  <a:pt x="103636" y="21818"/>
                </a:cubicBezTo>
                <a:cubicBezTo>
                  <a:pt x="106909" y="23181"/>
                  <a:pt x="105818" y="21818"/>
                  <a:pt x="109090" y="21818"/>
                </a:cubicBezTo>
                <a:cubicBezTo>
                  <a:pt x="113454" y="25909"/>
                  <a:pt x="109090" y="23181"/>
                  <a:pt x="110181" y="27272"/>
                </a:cubicBezTo>
                <a:cubicBezTo>
                  <a:pt x="112363" y="31363"/>
                  <a:pt x="101454" y="34090"/>
                  <a:pt x="101454" y="38181"/>
                </a:cubicBezTo>
                <a:cubicBezTo>
                  <a:pt x="100363" y="40909"/>
                  <a:pt x="90545" y="40909"/>
                  <a:pt x="88363" y="45000"/>
                </a:cubicBezTo>
                <a:cubicBezTo>
                  <a:pt x="88363" y="49090"/>
                  <a:pt x="93818" y="46363"/>
                  <a:pt x="88363" y="50454"/>
                </a:cubicBezTo>
                <a:cubicBezTo>
                  <a:pt x="85090" y="50454"/>
                  <a:pt x="78545" y="64090"/>
                  <a:pt x="80727" y="70909"/>
                </a:cubicBezTo>
                <a:cubicBezTo>
                  <a:pt x="80727" y="76363"/>
                  <a:pt x="84000" y="76363"/>
                  <a:pt x="84000" y="79090"/>
                </a:cubicBezTo>
                <a:cubicBezTo>
                  <a:pt x="84000" y="79090"/>
                  <a:pt x="74181" y="84545"/>
                  <a:pt x="75272" y="94090"/>
                </a:cubicBezTo>
                <a:cubicBezTo>
                  <a:pt x="75272" y="95454"/>
                  <a:pt x="75272" y="95454"/>
                  <a:pt x="72000" y="95454"/>
                </a:cubicBezTo>
                <a:cubicBezTo>
                  <a:pt x="65454" y="95454"/>
                  <a:pt x="65454" y="110454"/>
                  <a:pt x="62181" y="106363"/>
                </a:cubicBezTo>
                <a:cubicBezTo>
                  <a:pt x="60000" y="105000"/>
                  <a:pt x="55636" y="110454"/>
                  <a:pt x="50181" y="109090"/>
                </a:cubicBezTo>
                <a:cubicBezTo>
                  <a:pt x="46909" y="106363"/>
                  <a:pt x="43636" y="109090"/>
                  <a:pt x="43636" y="110454"/>
                </a:cubicBezTo>
                <a:cubicBezTo>
                  <a:pt x="41454" y="113181"/>
                  <a:pt x="38181" y="110454"/>
                  <a:pt x="37090" y="113181"/>
                </a:cubicBezTo>
                <a:cubicBezTo>
                  <a:pt x="34909" y="117272"/>
                  <a:pt x="34909" y="117272"/>
                  <a:pt x="33818" y="117272"/>
                </a:cubicBezTo>
                <a:cubicBezTo>
                  <a:pt x="33818" y="120000"/>
                  <a:pt x="33818" y="120000"/>
                  <a:pt x="30545" y="117272"/>
                </a:cubicBezTo>
                <a:cubicBezTo>
                  <a:pt x="27272" y="113181"/>
                  <a:pt x="25090" y="110454"/>
                  <a:pt x="25090" y="106363"/>
                </a:cubicBezTo>
                <a:cubicBezTo>
                  <a:pt x="25090" y="105000"/>
                  <a:pt x="21818" y="98181"/>
                  <a:pt x="17454" y="99545"/>
                </a:cubicBezTo>
                <a:cubicBezTo>
                  <a:pt x="17454" y="98181"/>
                  <a:pt x="17454" y="91363"/>
                  <a:pt x="20727" y="90000"/>
                </a:cubicBezTo>
                <a:cubicBezTo>
                  <a:pt x="24000" y="84545"/>
                  <a:pt x="21818" y="84545"/>
                  <a:pt x="20727" y="84545"/>
                </a:cubicBezTo>
                <a:cubicBezTo>
                  <a:pt x="18545" y="84545"/>
                  <a:pt x="17454" y="83181"/>
                  <a:pt x="20727" y="76363"/>
                </a:cubicBezTo>
                <a:cubicBezTo>
                  <a:pt x="24000" y="70909"/>
                  <a:pt x="20727" y="75000"/>
                  <a:pt x="18545" y="70909"/>
                </a:cubicBezTo>
                <a:cubicBezTo>
                  <a:pt x="18545" y="64090"/>
                  <a:pt x="15272" y="64090"/>
                  <a:pt x="18545" y="64090"/>
                </a:cubicBezTo>
                <a:cubicBezTo>
                  <a:pt x="21818" y="64090"/>
                  <a:pt x="21818" y="61363"/>
                  <a:pt x="21818" y="57272"/>
                </a:cubicBezTo>
                <a:cubicBezTo>
                  <a:pt x="20727" y="55909"/>
                  <a:pt x="24000" y="55909"/>
                  <a:pt x="21818" y="45000"/>
                </a:cubicBezTo>
                <a:cubicBezTo>
                  <a:pt x="21818" y="42272"/>
                  <a:pt x="31636" y="34090"/>
                  <a:pt x="27272" y="34090"/>
                </a:cubicBezTo>
                <a:cubicBezTo>
                  <a:pt x="24000" y="31363"/>
                  <a:pt x="27272" y="30000"/>
                  <a:pt x="21818" y="27272"/>
                </a:cubicBezTo>
                <a:cubicBezTo>
                  <a:pt x="17454" y="27272"/>
                  <a:pt x="20727" y="31363"/>
                  <a:pt x="15272" y="30000"/>
                </a:cubicBezTo>
                <a:cubicBezTo>
                  <a:pt x="12000" y="27272"/>
                  <a:pt x="12000" y="31363"/>
                  <a:pt x="10909" y="30000"/>
                </a:cubicBezTo>
                <a:cubicBezTo>
                  <a:pt x="8727" y="30000"/>
                  <a:pt x="14181" y="27272"/>
                  <a:pt x="12000" y="25909"/>
                </a:cubicBezTo>
                <a:cubicBezTo>
                  <a:pt x="10909" y="25909"/>
                  <a:pt x="10909" y="25909"/>
                  <a:pt x="5454" y="30000"/>
                </a:cubicBezTo>
                <a:cubicBezTo>
                  <a:pt x="3272" y="27272"/>
                  <a:pt x="5454" y="23181"/>
                  <a:pt x="3272" y="21818"/>
                </a:cubicBezTo>
                <a:close/>
                <a:moveTo>
                  <a:pt x="105818" y="65454"/>
                </a:moveTo>
                <a:cubicBezTo>
                  <a:pt x="106909" y="65454"/>
                  <a:pt x="105818" y="68181"/>
                  <a:pt x="106909" y="70909"/>
                </a:cubicBezTo>
                <a:cubicBezTo>
                  <a:pt x="110181" y="70909"/>
                  <a:pt x="110181" y="65454"/>
                  <a:pt x="112363" y="64090"/>
                </a:cubicBezTo>
                <a:cubicBezTo>
                  <a:pt x="113454" y="60000"/>
                  <a:pt x="110181" y="64090"/>
                  <a:pt x="110181" y="61363"/>
                </a:cubicBezTo>
                <a:cubicBezTo>
                  <a:pt x="109090" y="57272"/>
                  <a:pt x="101454" y="64090"/>
                  <a:pt x="103636" y="65454"/>
                </a:cubicBezTo>
                <a:cubicBezTo>
                  <a:pt x="103636" y="65454"/>
                  <a:pt x="101454" y="65454"/>
                  <a:pt x="105818" y="65454"/>
                </a:cubicBezTo>
                <a:close/>
                <a:moveTo>
                  <a:pt x="118909" y="60000"/>
                </a:moveTo>
                <a:cubicBezTo>
                  <a:pt x="118909" y="61363"/>
                  <a:pt x="120000" y="61363"/>
                  <a:pt x="118909" y="60000"/>
                </a:cubicBezTo>
                <a:cubicBezTo>
                  <a:pt x="118909" y="57272"/>
                  <a:pt x="115636" y="57272"/>
                  <a:pt x="115636" y="60000"/>
                </a:cubicBezTo>
                <a:cubicBezTo>
                  <a:pt x="115636" y="60000"/>
                  <a:pt x="116727" y="60000"/>
                  <a:pt x="118909" y="60000"/>
                </a:cubicBezTo>
                <a:close/>
                <a:moveTo>
                  <a:pt x="94909" y="72272"/>
                </a:moveTo>
                <a:cubicBezTo>
                  <a:pt x="97090" y="75000"/>
                  <a:pt x="93818" y="76363"/>
                  <a:pt x="91636" y="76363"/>
                </a:cubicBezTo>
                <a:cubicBezTo>
                  <a:pt x="91636" y="75000"/>
                  <a:pt x="93818" y="70909"/>
                  <a:pt x="94909" y="72272"/>
                </a:cubicBezTo>
                <a:close/>
              </a:path>
            </a:pathLst>
          </a:custGeom>
          <a:solidFill>
            <a:schemeClr val="accent2"/>
          </a:solidFill>
          <a:ln w="3175" cap="flat" cmpd="sng" algn="ctr">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33" name="Shape 1993"/>
          <p:cNvSpPr/>
          <p:nvPr/>
        </p:nvSpPr>
        <p:spPr>
          <a:xfrm>
            <a:off x="5776561" y="2016277"/>
            <a:ext cx="4496160" cy="1704564"/>
          </a:xfrm>
          <a:custGeom>
            <a:avLst/>
            <a:gdLst/>
            <a:ahLst/>
            <a:cxnLst/>
            <a:rect l="0" t="0" r="0" b="0"/>
            <a:pathLst>
              <a:path w="120000" h="120000" extrusionOk="0">
                <a:moveTo>
                  <a:pt x="27726" y="41012"/>
                </a:moveTo>
                <a:cubicBezTo>
                  <a:pt x="27726" y="41012"/>
                  <a:pt x="28167" y="41012"/>
                  <a:pt x="27991" y="41663"/>
                </a:cubicBezTo>
                <a:cubicBezTo>
                  <a:pt x="27991" y="42097"/>
                  <a:pt x="28697" y="41663"/>
                  <a:pt x="28697" y="41446"/>
                </a:cubicBezTo>
                <a:cubicBezTo>
                  <a:pt x="28785" y="41012"/>
                  <a:pt x="28256" y="40795"/>
                  <a:pt x="27902" y="39710"/>
                </a:cubicBezTo>
                <a:cubicBezTo>
                  <a:pt x="27637" y="39059"/>
                  <a:pt x="27637" y="39493"/>
                  <a:pt x="27461" y="39710"/>
                </a:cubicBezTo>
                <a:cubicBezTo>
                  <a:pt x="27196" y="39710"/>
                  <a:pt x="27637" y="40361"/>
                  <a:pt x="27284" y="40144"/>
                </a:cubicBezTo>
                <a:cubicBezTo>
                  <a:pt x="27196" y="40144"/>
                  <a:pt x="27196" y="40361"/>
                  <a:pt x="27461" y="41012"/>
                </a:cubicBezTo>
                <a:cubicBezTo>
                  <a:pt x="27637" y="41446"/>
                  <a:pt x="27726" y="41446"/>
                  <a:pt x="27726" y="41012"/>
                </a:cubicBezTo>
                <a:close/>
                <a:moveTo>
                  <a:pt x="35673" y="29511"/>
                </a:moveTo>
                <a:cubicBezTo>
                  <a:pt x="35143" y="29945"/>
                  <a:pt x="34966" y="31247"/>
                  <a:pt x="36114" y="31030"/>
                </a:cubicBezTo>
                <a:cubicBezTo>
                  <a:pt x="36997" y="30596"/>
                  <a:pt x="36203" y="28860"/>
                  <a:pt x="35673" y="29511"/>
                </a:cubicBezTo>
                <a:close/>
                <a:moveTo>
                  <a:pt x="25607" y="36455"/>
                </a:moveTo>
                <a:cubicBezTo>
                  <a:pt x="25342" y="35370"/>
                  <a:pt x="24900" y="35587"/>
                  <a:pt x="25165" y="33417"/>
                </a:cubicBezTo>
                <a:cubicBezTo>
                  <a:pt x="25342" y="31247"/>
                  <a:pt x="26225" y="31247"/>
                  <a:pt x="25607" y="30162"/>
                </a:cubicBezTo>
                <a:cubicBezTo>
                  <a:pt x="24900" y="29511"/>
                  <a:pt x="25430" y="29945"/>
                  <a:pt x="24194" y="30162"/>
                </a:cubicBezTo>
                <a:cubicBezTo>
                  <a:pt x="23046" y="30596"/>
                  <a:pt x="23929" y="31030"/>
                  <a:pt x="23311" y="31681"/>
                </a:cubicBezTo>
                <a:cubicBezTo>
                  <a:pt x="22781" y="32332"/>
                  <a:pt x="23399" y="31898"/>
                  <a:pt x="23134" y="33417"/>
                </a:cubicBezTo>
                <a:cubicBezTo>
                  <a:pt x="22869" y="34719"/>
                  <a:pt x="22604" y="32983"/>
                  <a:pt x="22516" y="34285"/>
                </a:cubicBezTo>
                <a:cubicBezTo>
                  <a:pt x="22251" y="35587"/>
                  <a:pt x="22251" y="36021"/>
                  <a:pt x="22869" y="36021"/>
                </a:cubicBezTo>
                <a:cubicBezTo>
                  <a:pt x="23664" y="36021"/>
                  <a:pt x="22516" y="36455"/>
                  <a:pt x="23311" y="37323"/>
                </a:cubicBezTo>
                <a:cubicBezTo>
                  <a:pt x="23929" y="38408"/>
                  <a:pt x="23399" y="35370"/>
                  <a:pt x="23841" y="36672"/>
                </a:cubicBezTo>
                <a:cubicBezTo>
                  <a:pt x="24194" y="37974"/>
                  <a:pt x="23134" y="37974"/>
                  <a:pt x="24105" y="38408"/>
                </a:cubicBezTo>
                <a:cubicBezTo>
                  <a:pt x="24900" y="38625"/>
                  <a:pt x="24370" y="39059"/>
                  <a:pt x="25165" y="39059"/>
                </a:cubicBezTo>
                <a:cubicBezTo>
                  <a:pt x="25871" y="39059"/>
                  <a:pt x="25960" y="39710"/>
                  <a:pt x="26666" y="38625"/>
                </a:cubicBezTo>
                <a:cubicBezTo>
                  <a:pt x="26931" y="38408"/>
                  <a:pt x="25695" y="37757"/>
                  <a:pt x="25607" y="36455"/>
                </a:cubicBezTo>
                <a:close/>
                <a:moveTo>
                  <a:pt x="26401" y="29511"/>
                </a:moveTo>
                <a:cubicBezTo>
                  <a:pt x="26401" y="28860"/>
                  <a:pt x="26754" y="29511"/>
                  <a:pt x="26931" y="28209"/>
                </a:cubicBezTo>
                <a:cubicBezTo>
                  <a:pt x="27019" y="27341"/>
                  <a:pt x="27461" y="27558"/>
                  <a:pt x="27461" y="26907"/>
                </a:cubicBezTo>
                <a:cubicBezTo>
                  <a:pt x="27461" y="26256"/>
                  <a:pt x="27461" y="26256"/>
                  <a:pt x="28432" y="25605"/>
                </a:cubicBezTo>
                <a:cubicBezTo>
                  <a:pt x="29227" y="24954"/>
                  <a:pt x="28256" y="24954"/>
                  <a:pt x="29580" y="23218"/>
                </a:cubicBezTo>
                <a:cubicBezTo>
                  <a:pt x="30993" y="21916"/>
                  <a:pt x="33200" y="21265"/>
                  <a:pt x="34348" y="19746"/>
                </a:cubicBezTo>
                <a:cubicBezTo>
                  <a:pt x="35408" y="18444"/>
                  <a:pt x="34172" y="17142"/>
                  <a:pt x="33112" y="18227"/>
                </a:cubicBezTo>
                <a:cubicBezTo>
                  <a:pt x="32052" y="18878"/>
                  <a:pt x="32671" y="18878"/>
                  <a:pt x="31876" y="19529"/>
                </a:cubicBezTo>
                <a:cubicBezTo>
                  <a:pt x="31081" y="20180"/>
                  <a:pt x="31611" y="19095"/>
                  <a:pt x="30728" y="20180"/>
                </a:cubicBezTo>
                <a:cubicBezTo>
                  <a:pt x="29757" y="21265"/>
                  <a:pt x="30286" y="19746"/>
                  <a:pt x="29315" y="20180"/>
                </a:cubicBezTo>
                <a:cubicBezTo>
                  <a:pt x="28520" y="20180"/>
                  <a:pt x="29315" y="20831"/>
                  <a:pt x="28785" y="20831"/>
                </a:cubicBezTo>
                <a:cubicBezTo>
                  <a:pt x="28256" y="20831"/>
                  <a:pt x="27019" y="21916"/>
                  <a:pt x="26754" y="23218"/>
                </a:cubicBezTo>
                <a:cubicBezTo>
                  <a:pt x="26401" y="24303"/>
                  <a:pt x="26490" y="22784"/>
                  <a:pt x="26136" y="23652"/>
                </a:cubicBezTo>
                <a:cubicBezTo>
                  <a:pt x="25695" y="24520"/>
                  <a:pt x="25871" y="23218"/>
                  <a:pt x="25607" y="23869"/>
                </a:cubicBezTo>
                <a:cubicBezTo>
                  <a:pt x="25165" y="24520"/>
                  <a:pt x="25871" y="24520"/>
                  <a:pt x="25607" y="24954"/>
                </a:cubicBezTo>
                <a:cubicBezTo>
                  <a:pt x="25165" y="25171"/>
                  <a:pt x="25960" y="25605"/>
                  <a:pt x="25430" y="25605"/>
                </a:cubicBezTo>
                <a:cubicBezTo>
                  <a:pt x="24900" y="25822"/>
                  <a:pt x="25165" y="27341"/>
                  <a:pt x="24547" y="27992"/>
                </a:cubicBezTo>
                <a:cubicBezTo>
                  <a:pt x="23841" y="28643"/>
                  <a:pt x="23664" y="29294"/>
                  <a:pt x="24194" y="29294"/>
                </a:cubicBezTo>
                <a:cubicBezTo>
                  <a:pt x="24812" y="28860"/>
                  <a:pt x="23841" y="30162"/>
                  <a:pt x="24547" y="29945"/>
                </a:cubicBezTo>
                <a:cubicBezTo>
                  <a:pt x="25165" y="29294"/>
                  <a:pt x="25165" y="29294"/>
                  <a:pt x="25695" y="30162"/>
                </a:cubicBezTo>
                <a:cubicBezTo>
                  <a:pt x="25871" y="30596"/>
                  <a:pt x="26401" y="30596"/>
                  <a:pt x="26401" y="29511"/>
                </a:cubicBezTo>
                <a:close/>
                <a:moveTo>
                  <a:pt x="18278" y="4990"/>
                </a:moveTo>
                <a:cubicBezTo>
                  <a:pt x="18631" y="4990"/>
                  <a:pt x="18631" y="5641"/>
                  <a:pt x="18984" y="5424"/>
                </a:cubicBezTo>
                <a:cubicBezTo>
                  <a:pt x="19514" y="4556"/>
                  <a:pt x="19514" y="4339"/>
                  <a:pt x="20044" y="4556"/>
                </a:cubicBezTo>
                <a:cubicBezTo>
                  <a:pt x="20485" y="4990"/>
                  <a:pt x="20750" y="4556"/>
                  <a:pt x="19955" y="3905"/>
                </a:cubicBezTo>
                <a:cubicBezTo>
                  <a:pt x="18984" y="3688"/>
                  <a:pt x="19690" y="4339"/>
                  <a:pt x="18984" y="4339"/>
                </a:cubicBezTo>
                <a:cubicBezTo>
                  <a:pt x="18189" y="4556"/>
                  <a:pt x="17483" y="4990"/>
                  <a:pt x="18013" y="5424"/>
                </a:cubicBezTo>
                <a:cubicBezTo>
                  <a:pt x="18278" y="5424"/>
                  <a:pt x="18189" y="5424"/>
                  <a:pt x="18278" y="4990"/>
                </a:cubicBezTo>
                <a:close/>
                <a:moveTo>
                  <a:pt x="19690" y="6292"/>
                </a:moveTo>
                <a:cubicBezTo>
                  <a:pt x="20044" y="6075"/>
                  <a:pt x="19514" y="6943"/>
                  <a:pt x="20044" y="6726"/>
                </a:cubicBezTo>
                <a:cubicBezTo>
                  <a:pt x="20573" y="6292"/>
                  <a:pt x="20485" y="6943"/>
                  <a:pt x="20750" y="6292"/>
                </a:cubicBezTo>
                <a:cubicBezTo>
                  <a:pt x="20838" y="6075"/>
                  <a:pt x="20309" y="6292"/>
                  <a:pt x="20485" y="6075"/>
                </a:cubicBezTo>
                <a:cubicBezTo>
                  <a:pt x="20750" y="5641"/>
                  <a:pt x="21015" y="6075"/>
                  <a:pt x="21103" y="5424"/>
                </a:cubicBezTo>
                <a:cubicBezTo>
                  <a:pt x="21368" y="4990"/>
                  <a:pt x="21545" y="5424"/>
                  <a:pt x="22251" y="4990"/>
                </a:cubicBezTo>
                <a:cubicBezTo>
                  <a:pt x="22869" y="4556"/>
                  <a:pt x="22516" y="3905"/>
                  <a:pt x="21986" y="4339"/>
                </a:cubicBezTo>
                <a:cubicBezTo>
                  <a:pt x="21368" y="4556"/>
                  <a:pt x="22251" y="3905"/>
                  <a:pt x="21721" y="3905"/>
                </a:cubicBezTo>
                <a:cubicBezTo>
                  <a:pt x="21103" y="3688"/>
                  <a:pt x="20573" y="4339"/>
                  <a:pt x="20750" y="4339"/>
                </a:cubicBezTo>
                <a:cubicBezTo>
                  <a:pt x="21015" y="4556"/>
                  <a:pt x="21103" y="5424"/>
                  <a:pt x="20309" y="5424"/>
                </a:cubicBezTo>
                <a:cubicBezTo>
                  <a:pt x="19690" y="5424"/>
                  <a:pt x="19426" y="5424"/>
                  <a:pt x="19690" y="5641"/>
                </a:cubicBezTo>
                <a:cubicBezTo>
                  <a:pt x="20044" y="6075"/>
                  <a:pt x="19690" y="6075"/>
                  <a:pt x="19426" y="6075"/>
                </a:cubicBezTo>
                <a:cubicBezTo>
                  <a:pt x="19161" y="5641"/>
                  <a:pt x="18719" y="5641"/>
                  <a:pt x="19161" y="6292"/>
                </a:cubicBezTo>
                <a:cubicBezTo>
                  <a:pt x="19426" y="6726"/>
                  <a:pt x="19426" y="6292"/>
                  <a:pt x="19690" y="6292"/>
                </a:cubicBezTo>
                <a:close/>
                <a:moveTo>
                  <a:pt x="23929" y="6075"/>
                </a:moveTo>
                <a:cubicBezTo>
                  <a:pt x="23664" y="5424"/>
                  <a:pt x="23576" y="5424"/>
                  <a:pt x="23046" y="6075"/>
                </a:cubicBezTo>
                <a:cubicBezTo>
                  <a:pt x="22604" y="6292"/>
                  <a:pt x="24370" y="6943"/>
                  <a:pt x="23929" y="6075"/>
                </a:cubicBezTo>
                <a:close/>
                <a:moveTo>
                  <a:pt x="21721" y="3037"/>
                </a:moveTo>
                <a:cubicBezTo>
                  <a:pt x="21986" y="2386"/>
                  <a:pt x="22339" y="2603"/>
                  <a:pt x="21986" y="3037"/>
                </a:cubicBezTo>
                <a:cubicBezTo>
                  <a:pt x="21721" y="3254"/>
                  <a:pt x="21280" y="3688"/>
                  <a:pt x="21721" y="3037"/>
                </a:cubicBezTo>
                <a:close/>
                <a:moveTo>
                  <a:pt x="31081" y="4339"/>
                </a:moveTo>
                <a:cubicBezTo>
                  <a:pt x="31788" y="3905"/>
                  <a:pt x="32141" y="4339"/>
                  <a:pt x="32141" y="3254"/>
                </a:cubicBezTo>
                <a:cubicBezTo>
                  <a:pt x="32141" y="2603"/>
                  <a:pt x="31523" y="2386"/>
                  <a:pt x="31258" y="3037"/>
                </a:cubicBezTo>
                <a:cubicBezTo>
                  <a:pt x="31081" y="3688"/>
                  <a:pt x="30816" y="3037"/>
                  <a:pt x="30286" y="3905"/>
                </a:cubicBezTo>
                <a:cubicBezTo>
                  <a:pt x="29845" y="4339"/>
                  <a:pt x="30375" y="4556"/>
                  <a:pt x="31081" y="4339"/>
                </a:cubicBezTo>
                <a:close/>
                <a:moveTo>
                  <a:pt x="29845" y="867"/>
                </a:moveTo>
                <a:cubicBezTo>
                  <a:pt x="30286" y="650"/>
                  <a:pt x="31258" y="650"/>
                  <a:pt x="31081" y="867"/>
                </a:cubicBezTo>
                <a:cubicBezTo>
                  <a:pt x="30816" y="1518"/>
                  <a:pt x="29757" y="867"/>
                  <a:pt x="29845" y="867"/>
                </a:cubicBezTo>
                <a:close/>
                <a:moveTo>
                  <a:pt x="26931" y="650"/>
                </a:moveTo>
                <a:cubicBezTo>
                  <a:pt x="27019" y="0"/>
                  <a:pt x="27991" y="0"/>
                  <a:pt x="27991" y="650"/>
                </a:cubicBezTo>
                <a:cubicBezTo>
                  <a:pt x="27902" y="867"/>
                  <a:pt x="26754" y="1301"/>
                  <a:pt x="26931" y="650"/>
                </a:cubicBezTo>
                <a:close/>
                <a:moveTo>
                  <a:pt x="29050" y="3688"/>
                </a:moveTo>
                <a:cubicBezTo>
                  <a:pt x="29492" y="3688"/>
                  <a:pt x="30110" y="2386"/>
                  <a:pt x="28962" y="3037"/>
                </a:cubicBezTo>
                <a:cubicBezTo>
                  <a:pt x="27991" y="3688"/>
                  <a:pt x="28697" y="3905"/>
                  <a:pt x="29050" y="3688"/>
                </a:cubicBezTo>
                <a:close/>
                <a:moveTo>
                  <a:pt x="28962" y="5424"/>
                </a:moveTo>
                <a:cubicBezTo>
                  <a:pt x="29492" y="5641"/>
                  <a:pt x="29315" y="4990"/>
                  <a:pt x="29757" y="4990"/>
                </a:cubicBezTo>
                <a:cubicBezTo>
                  <a:pt x="30110" y="4990"/>
                  <a:pt x="30022" y="3037"/>
                  <a:pt x="29227" y="3905"/>
                </a:cubicBezTo>
                <a:cubicBezTo>
                  <a:pt x="28432" y="4556"/>
                  <a:pt x="28167" y="3037"/>
                  <a:pt x="27902" y="4556"/>
                </a:cubicBezTo>
                <a:cubicBezTo>
                  <a:pt x="27637" y="6292"/>
                  <a:pt x="28432" y="4990"/>
                  <a:pt x="28962" y="5424"/>
                </a:cubicBezTo>
                <a:close/>
                <a:moveTo>
                  <a:pt x="21280" y="6292"/>
                </a:moveTo>
                <a:cubicBezTo>
                  <a:pt x="21721" y="6075"/>
                  <a:pt x="21721" y="6292"/>
                  <a:pt x="21368" y="6726"/>
                </a:cubicBezTo>
                <a:cubicBezTo>
                  <a:pt x="21103" y="7377"/>
                  <a:pt x="20838" y="6292"/>
                  <a:pt x="21280" y="6292"/>
                </a:cubicBezTo>
                <a:close/>
                <a:moveTo>
                  <a:pt x="21721" y="6943"/>
                </a:moveTo>
                <a:cubicBezTo>
                  <a:pt x="22075" y="6292"/>
                  <a:pt x="22781" y="7377"/>
                  <a:pt x="22251" y="7377"/>
                </a:cubicBezTo>
                <a:cubicBezTo>
                  <a:pt x="21721" y="7377"/>
                  <a:pt x="21103" y="7377"/>
                  <a:pt x="21721" y="6943"/>
                </a:cubicBezTo>
                <a:close/>
                <a:moveTo>
                  <a:pt x="26225" y="6943"/>
                </a:moveTo>
                <a:cubicBezTo>
                  <a:pt x="26666" y="6943"/>
                  <a:pt x="26401" y="5641"/>
                  <a:pt x="26136" y="6075"/>
                </a:cubicBezTo>
                <a:cubicBezTo>
                  <a:pt x="25871" y="6075"/>
                  <a:pt x="25430" y="5641"/>
                  <a:pt x="25430" y="6292"/>
                </a:cubicBezTo>
                <a:cubicBezTo>
                  <a:pt x="25342" y="7377"/>
                  <a:pt x="25695" y="6726"/>
                  <a:pt x="26225" y="6943"/>
                </a:cubicBezTo>
                <a:close/>
                <a:moveTo>
                  <a:pt x="26931" y="6726"/>
                </a:moveTo>
                <a:cubicBezTo>
                  <a:pt x="27284" y="6943"/>
                  <a:pt x="26754" y="6075"/>
                  <a:pt x="27461" y="6075"/>
                </a:cubicBezTo>
                <a:cubicBezTo>
                  <a:pt x="27991" y="6075"/>
                  <a:pt x="27991" y="5641"/>
                  <a:pt x="27284" y="5424"/>
                </a:cubicBezTo>
                <a:cubicBezTo>
                  <a:pt x="26754" y="5424"/>
                  <a:pt x="26136" y="5424"/>
                  <a:pt x="26401" y="6075"/>
                </a:cubicBezTo>
                <a:cubicBezTo>
                  <a:pt x="26490" y="6292"/>
                  <a:pt x="26490" y="6292"/>
                  <a:pt x="26931" y="6726"/>
                </a:cubicBezTo>
                <a:close/>
                <a:moveTo>
                  <a:pt x="27637" y="6726"/>
                </a:moveTo>
                <a:cubicBezTo>
                  <a:pt x="27196" y="7377"/>
                  <a:pt x="27726" y="7377"/>
                  <a:pt x="28167" y="7377"/>
                </a:cubicBezTo>
                <a:cubicBezTo>
                  <a:pt x="28697" y="6943"/>
                  <a:pt x="28167" y="6726"/>
                  <a:pt x="27726" y="6726"/>
                </a:cubicBezTo>
                <a:cubicBezTo>
                  <a:pt x="27637" y="6726"/>
                  <a:pt x="27637" y="6726"/>
                  <a:pt x="27637" y="6726"/>
                </a:cubicBezTo>
                <a:close/>
                <a:moveTo>
                  <a:pt x="26401" y="1952"/>
                </a:moveTo>
                <a:cubicBezTo>
                  <a:pt x="26666" y="1952"/>
                  <a:pt x="26754" y="1952"/>
                  <a:pt x="27196" y="1952"/>
                </a:cubicBezTo>
                <a:cubicBezTo>
                  <a:pt x="27637" y="1952"/>
                  <a:pt x="27284" y="1952"/>
                  <a:pt x="26931" y="1518"/>
                </a:cubicBezTo>
                <a:cubicBezTo>
                  <a:pt x="26490" y="1301"/>
                  <a:pt x="26666" y="1301"/>
                  <a:pt x="26225" y="1518"/>
                </a:cubicBezTo>
                <a:cubicBezTo>
                  <a:pt x="25960" y="1952"/>
                  <a:pt x="25960" y="1952"/>
                  <a:pt x="26401" y="1952"/>
                </a:cubicBezTo>
                <a:close/>
                <a:moveTo>
                  <a:pt x="25871" y="2603"/>
                </a:moveTo>
                <a:cubicBezTo>
                  <a:pt x="25960" y="3037"/>
                  <a:pt x="26136" y="2603"/>
                  <a:pt x="26754" y="2386"/>
                </a:cubicBezTo>
                <a:cubicBezTo>
                  <a:pt x="27019" y="2386"/>
                  <a:pt x="26401" y="1952"/>
                  <a:pt x="25960" y="1952"/>
                </a:cubicBezTo>
                <a:cubicBezTo>
                  <a:pt x="25430" y="1952"/>
                  <a:pt x="26136" y="2603"/>
                  <a:pt x="25695" y="2386"/>
                </a:cubicBezTo>
                <a:cubicBezTo>
                  <a:pt x="25430" y="2386"/>
                  <a:pt x="25077" y="2386"/>
                  <a:pt x="25165" y="2603"/>
                </a:cubicBezTo>
                <a:cubicBezTo>
                  <a:pt x="25430" y="3037"/>
                  <a:pt x="25430" y="2386"/>
                  <a:pt x="25871" y="2603"/>
                </a:cubicBezTo>
                <a:close/>
                <a:moveTo>
                  <a:pt x="26931" y="3037"/>
                </a:moveTo>
                <a:cubicBezTo>
                  <a:pt x="27019" y="3037"/>
                  <a:pt x="27637" y="3254"/>
                  <a:pt x="27461" y="3688"/>
                </a:cubicBezTo>
                <a:cubicBezTo>
                  <a:pt x="27196" y="3688"/>
                  <a:pt x="26754" y="3254"/>
                  <a:pt x="26931" y="3037"/>
                </a:cubicBezTo>
                <a:close/>
                <a:moveTo>
                  <a:pt x="27637" y="4339"/>
                </a:moveTo>
                <a:cubicBezTo>
                  <a:pt x="27726" y="4339"/>
                  <a:pt x="27902" y="3688"/>
                  <a:pt x="27196" y="3905"/>
                </a:cubicBezTo>
                <a:cubicBezTo>
                  <a:pt x="26490" y="4339"/>
                  <a:pt x="27284" y="4339"/>
                  <a:pt x="27637" y="4339"/>
                </a:cubicBezTo>
                <a:close/>
                <a:moveTo>
                  <a:pt x="26136" y="3688"/>
                </a:moveTo>
                <a:cubicBezTo>
                  <a:pt x="26401" y="3688"/>
                  <a:pt x="26401" y="3905"/>
                  <a:pt x="26931" y="3905"/>
                </a:cubicBezTo>
                <a:cubicBezTo>
                  <a:pt x="27461" y="3688"/>
                  <a:pt x="27019" y="3688"/>
                  <a:pt x="26754" y="3254"/>
                </a:cubicBezTo>
                <a:cubicBezTo>
                  <a:pt x="26401" y="3254"/>
                  <a:pt x="25871" y="3037"/>
                  <a:pt x="25695" y="3037"/>
                </a:cubicBezTo>
                <a:cubicBezTo>
                  <a:pt x="25607" y="3254"/>
                  <a:pt x="25960" y="3254"/>
                  <a:pt x="26136" y="3688"/>
                </a:cubicBezTo>
                <a:close/>
                <a:moveTo>
                  <a:pt x="25077" y="3688"/>
                </a:moveTo>
                <a:cubicBezTo>
                  <a:pt x="25342" y="3688"/>
                  <a:pt x="24900" y="3688"/>
                  <a:pt x="25607" y="3905"/>
                </a:cubicBezTo>
                <a:cubicBezTo>
                  <a:pt x="26401" y="4339"/>
                  <a:pt x="26225" y="4556"/>
                  <a:pt x="26666" y="4339"/>
                </a:cubicBezTo>
                <a:cubicBezTo>
                  <a:pt x="26931" y="3905"/>
                  <a:pt x="26666" y="4339"/>
                  <a:pt x="26401" y="3905"/>
                </a:cubicBezTo>
                <a:cubicBezTo>
                  <a:pt x="25960" y="3688"/>
                  <a:pt x="25695" y="3254"/>
                  <a:pt x="25342" y="3254"/>
                </a:cubicBezTo>
                <a:cubicBezTo>
                  <a:pt x="25077" y="3688"/>
                  <a:pt x="24812" y="2603"/>
                  <a:pt x="24547" y="3254"/>
                </a:cubicBezTo>
                <a:cubicBezTo>
                  <a:pt x="24370" y="3688"/>
                  <a:pt x="24812" y="3254"/>
                  <a:pt x="25077" y="3688"/>
                </a:cubicBezTo>
                <a:close/>
                <a:moveTo>
                  <a:pt x="24547" y="4339"/>
                </a:moveTo>
                <a:cubicBezTo>
                  <a:pt x="24812" y="4339"/>
                  <a:pt x="24635" y="4556"/>
                  <a:pt x="24900" y="4339"/>
                </a:cubicBezTo>
                <a:cubicBezTo>
                  <a:pt x="25165" y="4339"/>
                  <a:pt x="25607" y="4339"/>
                  <a:pt x="25430" y="4339"/>
                </a:cubicBezTo>
                <a:cubicBezTo>
                  <a:pt x="25342" y="4339"/>
                  <a:pt x="24900" y="3688"/>
                  <a:pt x="24812" y="3905"/>
                </a:cubicBezTo>
                <a:cubicBezTo>
                  <a:pt x="24635" y="4339"/>
                  <a:pt x="24370" y="3688"/>
                  <a:pt x="24105" y="3905"/>
                </a:cubicBezTo>
                <a:cubicBezTo>
                  <a:pt x="24105" y="4339"/>
                  <a:pt x="24194" y="4339"/>
                  <a:pt x="24547" y="4339"/>
                </a:cubicBezTo>
                <a:close/>
                <a:moveTo>
                  <a:pt x="26136" y="4556"/>
                </a:moveTo>
                <a:cubicBezTo>
                  <a:pt x="26401" y="4556"/>
                  <a:pt x="25960" y="4339"/>
                  <a:pt x="25695" y="4339"/>
                </a:cubicBezTo>
                <a:cubicBezTo>
                  <a:pt x="25342" y="4339"/>
                  <a:pt x="25165" y="4556"/>
                  <a:pt x="25342" y="4556"/>
                </a:cubicBezTo>
                <a:cubicBezTo>
                  <a:pt x="25430" y="4990"/>
                  <a:pt x="25871" y="4556"/>
                  <a:pt x="26136" y="4556"/>
                </a:cubicBezTo>
                <a:close/>
                <a:moveTo>
                  <a:pt x="26666" y="4990"/>
                </a:moveTo>
                <a:cubicBezTo>
                  <a:pt x="26225" y="4990"/>
                  <a:pt x="26666" y="4556"/>
                  <a:pt x="26931" y="4556"/>
                </a:cubicBezTo>
                <a:cubicBezTo>
                  <a:pt x="27019" y="4556"/>
                  <a:pt x="27019" y="5424"/>
                  <a:pt x="26666" y="4990"/>
                </a:cubicBezTo>
                <a:close/>
                <a:moveTo>
                  <a:pt x="24370" y="4990"/>
                </a:moveTo>
                <a:cubicBezTo>
                  <a:pt x="24194" y="4556"/>
                  <a:pt x="23929" y="4990"/>
                  <a:pt x="24105" y="4990"/>
                </a:cubicBezTo>
                <a:cubicBezTo>
                  <a:pt x="24194" y="5424"/>
                  <a:pt x="23841" y="5641"/>
                  <a:pt x="24370" y="5424"/>
                </a:cubicBezTo>
                <a:cubicBezTo>
                  <a:pt x="24635" y="5424"/>
                  <a:pt x="24547" y="5424"/>
                  <a:pt x="24370" y="4990"/>
                </a:cubicBezTo>
                <a:close/>
                <a:moveTo>
                  <a:pt x="112406" y="55551"/>
                </a:moveTo>
                <a:cubicBezTo>
                  <a:pt x="112406" y="55551"/>
                  <a:pt x="112406" y="55551"/>
                  <a:pt x="112406" y="55551"/>
                </a:cubicBezTo>
                <a:cubicBezTo>
                  <a:pt x="112847" y="54683"/>
                  <a:pt x="112847" y="54683"/>
                  <a:pt x="112582" y="53598"/>
                </a:cubicBezTo>
                <a:cubicBezTo>
                  <a:pt x="112141" y="52513"/>
                  <a:pt x="113024" y="52296"/>
                  <a:pt x="113289" y="54249"/>
                </a:cubicBezTo>
                <a:cubicBezTo>
                  <a:pt x="113642" y="56202"/>
                  <a:pt x="114878" y="52947"/>
                  <a:pt x="115231" y="55551"/>
                </a:cubicBezTo>
                <a:cubicBezTo>
                  <a:pt x="115761" y="58372"/>
                  <a:pt x="116203" y="56636"/>
                  <a:pt x="116644" y="57938"/>
                </a:cubicBezTo>
                <a:cubicBezTo>
                  <a:pt x="116909" y="59240"/>
                  <a:pt x="117792" y="57938"/>
                  <a:pt x="117792" y="55985"/>
                </a:cubicBezTo>
                <a:cubicBezTo>
                  <a:pt x="117792" y="53598"/>
                  <a:pt x="118587" y="55334"/>
                  <a:pt x="119293" y="53598"/>
                </a:cubicBezTo>
                <a:cubicBezTo>
                  <a:pt x="120000" y="51428"/>
                  <a:pt x="119028" y="53164"/>
                  <a:pt x="118498" y="51211"/>
                </a:cubicBezTo>
                <a:cubicBezTo>
                  <a:pt x="118057" y="49909"/>
                  <a:pt x="117439" y="49909"/>
                  <a:pt x="116644" y="49909"/>
                </a:cubicBezTo>
                <a:cubicBezTo>
                  <a:pt x="115673" y="49909"/>
                  <a:pt x="117439" y="53598"/>
                  <a:pt x="116379" y="51862"/>
                </a:cubicBezTo>
                <a:cubicBezTo>
                  <a:pt x="115231" y="50560"/>
                  <a:pt x="116909" y="49475"/>
                  <a:pt x="115143" y="47522"/>
                </a:cubicBezTo>
                <a:cubicBezTo>
                  <a:pt x="114172" y="46220"/>
                  <a:pt x="113289" y="45135"/>
                  <a:pt x="112406" y="44050"/>
                </a:cubicBezTo>
                <a:cubicBezTo>
                  <a:pt x="112406" y="44050"/>
                  <a:pt x="112406" y="44050"/>
                  <a:pt x="112406" y="44050"/>
                </a:cubicBezTo>
                <a:cubicBezTo>
                  <a:pt x="111788" y="43182"/>
                  <a:pt x="111081" y="42531"/>
                  <a:pt x="110286" y="42097"/>
                </a:cubicBezTo>
                <a:cubicBezTo>
                  <a:pt x="108785" y="41012"/>
                  <a:pt x="109845" y="41446"/>
                  <a:pt x="107902" y="41012"/>
                </a:cubicBezTo>
                <a:cubicBezTo>
                  <a:pt x="105695" y="40795"/>
                  <a:pt x="106225" y="38625"/>
                  <a:pt x="105695" y="41012"/>
                </a:cubicBezTo>
                <a:cubicBezTo>
                  <a:pt x="105077" y="43399"/>
                  <a:pt x="106754" y="42097"/>
                  <a:pt x="105871" y="44050"/>
                </a:cubicBezTo>
                <a:cubicBezTo>
                  <a:pt x="104900" y="46220"/>
                  <a:pt x="105342" y="43399"/>
                  <a:pt x="104547" y="43399"/>
                </a:cubicBezTo>
                <a:cubicBezTo>
                  <a:pt x="103664" y="43399"/>
                  <a:pt x="104812" y="41012"/>
                  <a:pt x="103399" y="42097"/>
                </a:cubicBezTo>
                <a:cubicBezTo>
                  <a:pt x="102075" y="43399"/>
                  <a:pt x="101810" y="40795"/>
                  <a:pt x="100044" y="41663"/>
                </a:cubicBezTo>
                <a:cubicBezTo>
                  <a:pt x="98366" y="42748"/>
                  <a:pt x="98189" y="41446"/>
                  <a:pt x="98454" y="40361"/>
                </a:cubicBezTo>
                <a:cubicBezTo>
                  <a:pt x="98719" y="39059"/>
                  <a:pt x="97395" y="36455"/>
                  <a:pt x="94569" y="37757"/>
                </a:cubicBezTo>
                <a:cubicBezTo>
                  <a:pt x="91832" y="39059"/>
                  <a:pt x="92008" y="34936"/>
                  <a:pt x="91037" y="34068"/>
                </a:cubicBezTo>
                <a:cubicBezTo>
                  <a:pt x="90154" y="32983"/>
                  <a:pt x="90154" y="34068"/>
                  <a:pt x="88476" y="32983"/>
                </a:cubicBezTo>
                <a:cubicBezTo>
                  <a:pt x="86887" y="31898"/>
                  <a:pt x="86622" y="32549"/>
                  <a:pt x="85386" y="31898"/>
                </a:cubicBezTo>
                <a:cubicBezTo>
                  <a:pt x="84238" y="31030"/>
                  <a:pt x="85562" y="32983"/>
                  <a:pt x="84238" y="32983"/>
                </a:cubicBezTo>
                <a:cubicBezTo>
                  <a:pt x="82825" y="32983"/>
                  <a:pt x="85298" y="37106"/>
                  <a:pt x="83973" y="36021"/>
                </a:cubicBezTo>
                <a:cubicBezTo>
                  <a:pt x="82472" y="34936"/>
                  <a:pt x="83002" y="36672"/>
                  <a:pt x="81942" y="35587"/>
                </a:cubicBezTo>
                <a:cubicBezTo>
                  <a:pt x="80706" y="34936"/>
                  <a:pt x="80706" y="37757"/>
                  <a:pt x="79646" y="35587"/>
                </a:cubicBezTo>
                <a:cubicBezTo>
                  <a:pt x="78587" y="33634"/>
                  <a:pt x="78852" y="40361"/>
                  <a:pt x="77615" y="37757"/>
                </a:cubicBezTo>
                <a:cubicBezTo>
                  <a:pt x="76379" y="34936"/>
                  <a:pt x="76291" y="34068"/>
                  <a:pt x="75584" y="33417"/>
                </a:cubicBezTo>
                <a:cubicBezTo>
                  <a:pt x="74790" y="32549"/>
                  <a:pt x="76026" y="36021"/>
                  <a:pt x="75231" y="34285"/>
                </a:cubicBezTo>
                <a:cubicBezTo>
                  <a:pt x="74525" y="32983"/>
                  <a:pt x="73024" y="31681"/>
                  <a:pt x="70905" y="31247"/>
                </a:cubicBezTo>
                <a:cubicBezTo>
                  <a:pt x="67637" y="30596"/>
                  <a:pt x="70375" y="29511"/>
                  <a:pt x="69315" y="29294"/>
                </a:cubicBezTo>
                <a:cubicBezTo>
                  <a:pt x="68167" y="28860"/>
                  <a:pt x="67284" y="28860"/>
                  <a:pt x="66313" y="29294"/>
                </a:cubicBezTo>
                <a:cubicBezTo>
                  <a:pt x="65342" y="29511"/>
                  <a:pt x="65960" y="27341"/>
                  <a:pt x="65253" y="28209"/>
                </a:cubicBezTo>
                <a:cubicBezTo>
                  <a:pt x="64547" y="29294"/>
                  <a:pt x="64724" y="27558"/>
                  <a:pt x="63752" y="27992"/>
                </a:cubicBezTo>
                <a:cubicBezTo>
                  <a:pt x="62869" y="28643"/>
                  <a:pt x="63929" y="29511"/>
                  <a:pt x="62163" y="30162"/>
                </a:cubicBezTo>
                <a:cubicBezTo>
                  <a:pt x="60573" y="31030"/>
                  <a:pt x="60573" y="30162"/>
                  <a:pt x="62163" y="28643"/>
                </a:cubicBezTo>
                <a:cubicBezTo>
                  <a:pt x="63752" y="26907"/>
                  <a:pt x="63399" y="26256"/>
                  <a:pt x="64812" y="25171"/>
                </a:cubicBezTo>
                <a:cubicBezTo>
                  <a:pt x="66225" y="24303"/>
                  <a:pt x="66225" y="22133"/>
                  <a:pt x="65960" y="20831"/>
                </a:cubicBezTo>
                <a:cubicBezTo>
                  <a:pt x="65607" y="19746"/>
                  <a:pt x="65253" y="20397"/>
                  <a:pt x="64547" y="19095"/>
                </a:cubicBezTo>
                <a:cubicBezTo>
                  <a:pt x="64017" y="17793"/>
                  <a:pt x="63487" y="19095"/>
                  <a:pt x="62693" y="18444"/>
                </a:cubicBezTo>
                <a:cubicBezTo>
                  <a:pt x="61898" y="18227"/>
                  <a:pt x="62251" y="19095"/>
                  <a:pt x="61368" y="19529"/>
                </a:cubicBezTo>
                <a:cubicBezTo>
                  <a:pt x="59867" y="19746"/>
                  <a:pt x="62516" y="17793"/>
                  <a:pt x="60838" y="17793"/>
                </a:cubicBezTo>
                <a:cubicBezTo>
                  <a:pt x="59161" y="17576"/>
                  <a:pt x="59690" y="17142"/>
                  <a:pt x="60573" y="16491"/>
                </a:cubicBezTo>
                <a:cubicBezTo>
                  <a:pt x="61192" y="16057"/>
                  <a:pt x="59690" y="14321"/>
                  <a:pt x="58366" y="15840"/>
                </a:cubicBezTo>
                <a:cubicBezTo>
                  <a:pt x="56247" y="18227"/>
                  <a:pt x="57483" y="19095"/>
                  <a:pt x="56512" y="19095"/>
                </a:cubicBezTo>
                <a:cubicBezTo>
                  <a:pt x="54481" y="19529"/>
                  <a:pt x="56777" y="19529"/>
                  <a:pt x="54922" y="20397"/>
                </a:cubicBezTo>
                <a:cubicBezTo>
                  <a:pt x="52980" y="21482"/>
                  <a:pt x="55187" y="19529"/>
                  <a:pt x="52626" y="20397"/>
                </a:cubicBezTo>
                <a:cubicBezTo>
                  <a:pt x="50154" y="21265"/>
                  <a:pt x="52891" y="21916"/>
                  <a:pt x="50331" y="22567"/>
                </a:cubicBezTo>
                <a:cubicBezTo>
                  <a:pt x="47593" y="22784"/>
                  <a:pt x="48830" y="23869"/>
                  <a:pt x="47505" y="23869"/>
                </a:cubicBezTo>
                <a:cubicBezTo>
                  <a:pt x="46269" y="24303"/>
                  <a:pt x="46181" y="26907"/>
                  <a:pt x="46975" y="27341"/>
                </a:cubicBezTo>
                <a:cubicBezTo>
                  <a:pt x="47593" y="27341"/>
                  <a:pt x="47240" y="27992"/>
                  <a:pt x="46269" y="28643"/>
                </a:cubicBezTo>
                <a:cubicBezTo>
                  <a:pt x="44856" y="29294"/>
                  <a:pt x="43090" y="28209"/>
                  <a:pt x="42649" y="29945"/>
                </a:cubicBezTo>
                <a:cubicBezTo>
                  <a:pt x="42119" y="31247"/>
                  <a:pt x="43355" y="29945"/>
                  <a:pt x="42913" y="31898"/>
                </a:cubicBezTo>
                <a:cubicBezTo>
                  <a:pt x="42384" y="33634"/>
                  <a:pt x="43885" y="32549"/>
                  <a:pt x="43885" y="34068"/>
                </a:cubicBezTo>
                <a:cubicBezTo>
                  <a:pt x="43973" y="35587"/>
                  <a:pt x="45209" y="34068"/>
                  <a:pt x="44856" y="36021"/>
                </a:cubicBezTo>
                <a:cubicBezTo>
                  <a:pt x="44238" y="38408"/>
                  <a:pt x="45651" y="37974"/>
                  <a:pt x="44856" y="39710"/>
                </a:cubicBezTo>
                <a:cubicBezTo>
                  <a:pt x="43885" y="41663"/>
                  <a:pt x="45209" y="37106"/>
                  <a:pt x="44238" y="37757"/>
                </a:cubicBezTo>
                <a:cubicBezTo>
                  <a:pt x="43355" y="38625"/>
                  <a:pt x="45209" y="35370"/>
                  <a:pt x="43973" y="35370"/>
                </a:cubicBezTo>
                <a:cubicBezTo>
                  <a:pt x="42913" y="35370"/>
                  <a:pt x="43355" y="33634"/>
                  <a:pt x="41854" y="33417"/>
                </a:cubicBezTo>
                <a:cubicBezTo>
                  <a:pt x="40264" y="32549"/>
                  <a:pt x="40794" y="34936"/>
                  <a:pt x="40353" y="34719"/>
                </a:cubicBezTo>
                <a:cubicBezTo>
                  <a:pt x="39735" y="34068"/>
                  <a:pt x="39028" y="35370"/>
                  <a:pt x="40088" y="36021"/>
                </a:cubicBezTo>
                <a:cubicBezTo>
                  <a:pt x="41147" y="37106"/>
                  <a:pt x="40529" y="37323"/>
                  <a:pt x="39558" y="37106"/>
                </a:cubicBezTo>
                <a:cubicBezTo>
                  <a:pt x="38498" y="36672"/>
                  <a:pt x="39558" y="34068"/>
                  <a:pt x="39293" y="32549"/>
                </a:cubicBezTo>
                <a:cubicBezTo>
                  <a:pt x="38940" y="31247"/>
                  <a:pt x="38587" y="31030"/>
                  <a:pt x="38763" y="32983"/>
                </a:cubicBezTo>
                <a:cubicBezTo>
                  <a:pt x="39205" y="35587"/>
                  <a:pt x="36997" y="34285"/>
                  <a:pt x="37792" y="36672"/>
                </a:cubicBezTo>
                <a:cubicBezTo>
                  <a:pt x="38322" y="38625"/>
                  <a:pt x="38587" y="38625"/>
                  <a:pt x="38057" y="40361"/>
                </a:cubicBezTo>
                <a:cubicBezTo>
                  <a:pt x="37439" y="42097"/>
                  <a:pt x="38057" y="42097"/>
                  <a:pt x="38057" y="43399"/>
                </a:cubicBezTo>
                <a:cubicBezTo>
                  <a:pt x="37969" y="44701"/>
                  <a:pt x="39293" y="42531"/>
                  <a:pt x="40264" y="43833"/>
                </a:cubicBezTo>
                <a:cubicBezTo>
                  <a:pt x="41324" y="45352"/>
                  <a:pt x="40883" y="45786"/>
                  <a:pt x="40794" y="46437"/>
                </a:cubicBezTo>
                <a:cubicBezTo>
                  <a:pt x="40618" y="47088"/>
                  <a:pt x="40264" y="48824"/>
                  <a:pt x="40353" y="47088"/>
                </a:cubicBezTo>
                <a:cubicBezTo>
                  <a:pt x="40618" y="45352"/>
                  <a:pt x="40353" y="43399"/>
                  <a:pt x="39028" y="44484"/>
                </a:cubicBezTo>
                <a:cubicBezTo>
                  <a:pt x="37792" y="45352"/>
                  <a:pt x="39205" y="47522"/>
                  <a:pt x="38498" y="48173"/>
                </a:cubicBezTo>
                <a:cubicBezTo>
                  <a:pt x="37792" y="49258"/>
                  <a:pt x="38322" y="50126"/>
                  <a:pt x="37527" y="50777"/>
                </a:cubicBezTo>
                <a:cubicBezTo>
                  <a:pt x="36732" y="51862"/>
                  <a:pt x="37527" y="52947"/>
                  <a:pt x="35938" y="52296"/>
                </a:cubicBezTo>
                <a:cubicBezTo>
                  <a:pt x="34172" y="51428"/>
                  <a:pt x="36467" y="52296"/>
                  <a:pt x="36909" y="49909"/>
                </a:cubicBezTo>
                <a:cubicBezTo>
                  <a:pt x="37439" y="47522"/>
                  <a:pt x="37704" y="48824"/>
                  <a:pt x="37704" y="46871"/>
                </a:cubicBezTo>
                <a:cubicBezTo>
                  <a:pt x="37792" y="44701"/>
                  <a:pt x="36997" y="44701"/>
                  <a:pt x="37174" y="42531"/>
                </a:cubicBezTo>
                <a:cubicBezTo>
                  <a:pt x="37262" y="39710"/>
                  <a:pt x="37527" y="38408"/>
                  <a:pt x="36909" y="36672"/>
                </a:cubicBezTo>
                <a:cubicBezTo>
                  <a:pt x="36114" y="35370"/>
                  <a:pt x="37439" y="35587"/>
                  <a:pt x="37439" y="33417"/>
                </a:cubicBezTo>
                <a:cubicBezTo>
                  <a:pt x="37439" y="30596"/>
                  <a:pt x="35849" y="31898"/>
                  <a:pt x="35143" y="31681"/>
                </a:cubicBezTo>
                <a:cubicBezTo>
                  <a:pt x="34348" y="31030"/>
                  <a:pt x="34613" y="35587"/>
                  <a:pt x="33642" y="36672"/>
                </a:cubicBezTo>
                <a:cubicBezTo>
                  <a:pt x="32141" y="37974"/>
                  <a:pt x="33907" y="37974"/>
                  <a:pt x="33200" y="40361"/>
                </a:cubicBezTo>
                <a:cubicBezTo>
                  <a:pt x="32582" y="43182"/>
                  <a:pt x="35143" y="43182"/>
                  <a:pt x="34613" y="45352"/>
                </a:cubicBezTo>
                <a:cubicBezTo>
                  <a:pt x="33907" y="47522"/>
                  <a:pt x="34348" y="45352"/>
                  <a:pt x="31876" y="43182"/>
                </a:cubicBezTo>
                <a:cubicBezTo>
                  <a:pt x="29315" y="40361"/>
                  <a:pt x="28167" y="41663"/>
                  <a:pt x="28785" y="43399"/>
                </a:cubicBezTo>
                <a:cubicBezTo>
                  <a:pt x="29227" y="44484"/>
                  <a:pt x="27902" y="46871"/>
                  <a:pt x="27902" y="45135"/>
                </a:cubicBezTo>
                <a:cubicBezTo>
                  <a:pt x="27902" y="43182"/>
                  <a:pt x="27461" y="43833"/>
                  <a:pt x="26666" y="45135"/>
                </a:cubicBezTo>
                <a:cubicBezTo>
                  <a:pt x="25871" y="46437"/>
                  <a:pt x="25960" y="43833"/>
                  <a:pt x="24900" y="45786"/>
                </a:cubicBezTo>
                <a:cubicBezTo>
                  <a:pt x="23841" y="47522"/>
                  <a:pt x="23841" y="45135"/>
                  <a:pt x="24370" y="44050"/>
                </a:cubicBezTo>
                <a:cubicBezTo>
                  <a:pt x="24812" y="43399"/>
                  <a:pt x="23841" y="43833"/>
                  <a:pt x="22075" y="46220"/>
                </a:cubicBezTo>
                <a:cubicBezTo>
                  <a:pt x="20309" y="48173"/>
                  <a:pt x="20044" y="46437"/>
                  <a:pt x="19779" y="49258"/>
                </a:cubicBezTo>
                <a:cubicBezTo>
                  <a:pt x="19514" y="51862"/>
                  <a:pt x="19426" y="49909"/>
                  <a:pt x="18896" y="50560"/>
                </a:cubicBezTo>
                <a:cubicBezTo>
                  <a:pt x="18189" y="51428"/>
                  <a:pt x="18631" y="50126"/>
                  <a:pt x="18013" y="49475"/>
                </a:cubicBezTo>
                <a:cubicBezTo>
                  <a:pt x="17395" y="48824"/>
                  <a:pt x="18189" y="47739"/>
                  <a:pt x="18719" y="47739"/>
                </a:cubicBezTo>
                <a:cubicBezTo>
                  <a:pt x="19249" y="47739"/>
                  <a:pt x="18719" y="45135"/>
                  <a:pt x="17924" y="45352"/>
                </a:cubicBezTo>
                <a:cubicBezTo>
                  <a:pt x="17130" y="45352"/>
                  <a:pt x="16335" y="44050"/>
                  <a:pt x="16953" y="45786"/>
                </a:cubicBezTo>
                <a:cubicBezTo>
                  <a:pt x="17660" y="47088"/>
                  <a:pt x="16423" y="48607"/>
                  <a:pt x="17218" y="49909"/>
                </a:cubicBezTo>
                <a:cubicBezTo>
                  <a:pt x="17924" y="50777"/>
                  <a:pt x="17130" y="51211"/>
                  <a:pt x="17218" y="53164"/>
                </a:cubicBezTo>
                <a:cubicBezTo>
                  <a:pt x="17395" y="54900"/>
                  <a:pt x="16688" y="50126"/>
                  <a:pt x="15540" y="52296"/>
                </a:cubicBezTo>
                <a:cubicBezTo>
                  <a:pt x="14304" y="54249"/>
                  <a:pt x="13774" y="53815"/>
                  <a:pt x="14392" y="55985"/>
                </a:cubicBezTo>
                <a:cubicBezTo>
                  <a:pt x="15187" y="57938"/>
                  <a:pt x="14304" y="58372"/>
                  <a:pt x="13068" y="56636"/>
                </a:cubicBezTo>
                <a:cubicBezTo>
                  <a:pt x="11743" y="55334"/>
                  <a:pt x="11479" y="56202"/>
                  <a:pt x="12008" y="57287"/>
                </a:cubicBezTo>
                <a:cubicBezTo>
                  <a:pt x="12538" y="58589"/>
                  <a:pt x="13509" y="58372"/>
                  <a:pt x="12715" y="59674"/>
                </a:cubicBezTo>
                <a:cubicBezTo>
                  <a:pt x="12008" y="60542"/>
                  <a:pt x="12097" y="58372"/>
                  <a:pt x="11302" y="57938"/>
                </a:cubicBezTo>
                <a:cubicBezTo>
                  <a:pt x="10419" y="57504"/>
                  <a:pt x="11037" y="56636"/>
                  <a:pt x="10684" y="55551"/>
                </a:cubicBezTo>
                <a:cubicBezTo>
                  <a:pt x="10154" y="54683"/>
                  <a:pt x="11214" y="54249"/>
                  <a:pt x="10507" y="52947"/>
                </a:cubicBezTo>
                <a:cubicBezTo>
                  <a:pt x="9889" y="51428"/>
                  <a:pt x="9183" y="51211"/>
                  <a:pt x="9006" y="49909"/>
                </a:cubicBezTo>
                <a:cubicBezTo>
                  <a:pt x="8918" y="48607"/>
                  <a:pt x="9006" y="50777"/>
                  <a:pt x="10419" y="51428"/>
                </a:cubicBezTo>
                <a:cubicBezTo>
                  <a:pt x="11743" y="51862"/>
                  <a:pt x="13068" y="54249"/>
                  <a:pt x="14304" y="52513"/>
                </a:cubicBezTo>
                <a:cubicBezTo>
                  <a:pt x="15540" y="50777"/>
                  <a:pt x="15894" y="49475"/>
                  <a:pt x="14569" y="47522"/>
                </a:cubicBezTo>
                <a:cubicBezTo>
                  <a:pt x="13333" y="45352"/>
                  <a:pt x="13509" y="46437"/>
                  <a:pt x="12097" y="44050"/>
                </a:cubicBezTo>
                <a:cubicBezTo>
                  <a:pt x="10772" y="42097"/>
                  <a:pt x="11214" y="43833"/>
                  <a:pt x="9977" y="43182"/>
                </a:cubicBezTo>
                <a:cubicBezTo>
                  <a:pt x="8918" y="42097"/>
                  <a:pt x="9977" y="42097"/>
                  <a:pt x="9183" y="41446"/>
                </a:cubicBezTo>
                <a:cubicBezTo>
                  <a:pt x="8388" y="40361"/>
                  <a:pt x="9006" y="42531"/>
                  <a:pt x="7947" y="41446"/>
                </a:cubicBezTo>
                <a:cubicBezTo>
                  <a:pt x="7947" y="41663"/>
                  <a:pt x="7947" y="41663"/>
                  <a:pt x="7947" y="41663"/>
                </a:cubicBezTo>
                <a:cubicBezTo>
                  <a:pt x="8123" y="42531"/>
                  <a:pt x="7858" y="42531"/>
                  <a:pt x="7682" y="42097"/>
                </a:cubicBezTo>
                <a:cubicBezTo>
                  <a:pt x="7417" y="42097"/>
                  <a:pt x="7593" y="42097"/>
                  <a:pt x="7417" y="42531"/>
                </a:cubicBezTo>
                <a:cubicBezTo>
                  <a:pt x="7328" y="42748"/>
                  <a:pt x="6887" y="42748"/>
                  <a:pt x="6887" y="43182"/>
                </a:cubicBezTo>
                <a:cubicBezTo>
                  <a:pt x="6799" y="43833"/>
                  <a:pt x="6799" y="44050"/>
                  <a:pt x="6622" y="43833"/>
                </a:cubicBezTo>
                <a:cubicBezTo>
                  <a:pt x="5916" y="44701"/>
                  <a:pt x="6534" y="44050"/>
                  <a:pt x="6534" y="44484"/>
                </a:cubicBezTo>
                <a:cubicBezTo>
                  <a:pt x="6622" y="45135"/>
                  <a:pt x="6181" y="44701"/>
                  <a:pt x="6357" y="45786"/>
                </a:cubicBezTo>
                <a:cubicBezTo>
                  <a:pt x="6534" y="47522"/>
                  <a:pt x="6799" y="46220"/>
                  <a:pt x="7064" y="47088"/>
                </a:cubicBezTo>
                <a:cubicBezTo>
                  <a:pt x="7328" y="48173"/>
                  <a:pt x="7593" y="47739"/>
                  <a:pt x="7328" y="48607"/>
                </a:cubicBezTo>
                <a:cubicBezTo>
                  <a:pt x="7064" y="49258"/>
                  <a:pt x="6534" y="50126"/>
                  <a:pt x="6799" y="50777"/>
                </a:cubicBezTo>
                <a:cubicBezTo>
                  <a:pt x="7064" y="51211"/>
                  <a:pt x="7593" y="54249"/>
                  <a:pt x="7417" y="54249"/>
                </a:cubicBezTo>
                <a:cubicBezTo>
                  <a:pt x="7152" y="54249"/>
                  <a:pt x="7152" y="54249"/>
                  <a:pt x="7152" y="54683"/>
                </a:cubicBezTo>
                <a:cubicBezTo>
                  <a:pt x="7328" y="54683"/>
                  <a:pt x="7152" y="54683"/>
                  <a:pt x="7152" y="54900"/>
                </a:cubicBezTo>
                <a:cubicBezTo>
                  <a:pt x="7152" y="55551"/>
                  <a:pt x="7064" y="55334"/>
                  <a:pt x="7152" y="55551"/>
                </a:cubicBezTo>
                <a:cubicBezTo>
                  <a:pt x="7417" y="55985"/>
                  <a:pt x="7064" y="55985"/>
                  <a:pt x="7064" y="56202"/>
                </a:cubicBezTo>
                <a:cubicBezTo>
                  <a:pt x="7152" y="56853"/>
                  <a:pt x="7682" y="56853"/>
                  <a:pt x="7417" y="57287"/>
                </a:cubicBezTo>
                <a:cubicBezTo>
                  <a:pt x="7328" y="57504"/>
                  <a:pt x="7417" y="57504"/>
                  <a:pt x="7417" y="57938"/>
                </a:cubicBezTo>
                <a:cubicBezTo>
                  <a:pt x="7328" y="58372"/>
                  <a:pt x="7858" y="58372"/>
                  <a:pt x="7858" y="59023"/>
                </a:cubicBezTo>
                <a:cubicBezTo>
                  <a:pt x="7682" y="59674"/>
                  <a:pt x="7152" y="59674"/>
                  <a:pt x="7417" y="60325"/>
                </a:cubicBezTo>
                <a:cubicBezTo>
                  <a:pt x="7682" y="60542"/>
                  <a:pt x="8123" y="60976"/>
                  <a:pt x="8211" y="61627"/>
                </a:cubicBezTo>
                <a:cubicBezTo>
                  <a:pt x="8388" y="62278"/>
                  <a:pt x="8476" y="62061"/>
                  <a:pt x="8388" y="62712"/>
                </a:cubicBezTo>
                <a:cubicBezTo>
                  <a:pt x="8211" y="63363"/>
                  <a:pt x="7858" y="64665"/>
                  <a:pt x="7064" y="66401"/>
                </a:cubicBezTo>
                <a:cubicBezTo>
                  <a:pt x="6357" y="68137"/>
                  <a:pt x="6092" y="68354"/>
                  <a:pt x="5827" y="69005"/>
                </a:cubicBezTo>
                <a:cubicBezTo>
                  <a:pt x="6092" y="69439"/>
                  <a:pt x="6357" y="68354"/>
                  <a:pt x="6534" y="68788"/>
                </a:cubicBezTo>
                <a:cubicBezTo>
                  <a:pt x="6534" y="68788"/>
                  <a:pt x="6357" y="68788"/>
                  <a:pt x="6357" y="69005"/>
                </a:cubicBezTo>
                <a:cubicBezTo>
                  <a:pt x="6534" y="69656"/>
                  <a:pt x="6092" y="68788"/>
                  <a:pt x="6357" y="69439"/>
                </a:cubicBezTo>
                <a:cubicBezTo>
                  <a:pt x="6534" y="70090"/>
                  <a:pt x="6534" y="69439"/>
                  <a:pt x="6622" y="70090"/>
                </a:cubicBezTo>
                <a:cubicBezTo>
                  <a:pt x="6799" y="70524"/>
                  <a:pt x="7152" y="69656"/>
                  <a:pt x="7328" y="70524"/>
                </a:cubicBezTo>
                <a:cubicBezTo>
                  <a:pt x="7328" y="70741"/>
                  <a:pt x="7593" y="70524"/>
                  <a:pt x="7593" y="70741"/>
                </a:cubicBezTo>
                <a:cubicBezTo>
                  <a:pt x="7417" y="71175"/>
                  <a:pt x="7417" y="71175"/>
                  <a:pt x="7064" y="70741"/>
                </a:cubicBezTo>
                <a:cubicBezTo>
                  <a:pt x="6534" y="70524"/>
                  <a:pt x="6799" y="71826"/>
                  <a:pt x="6534" y="71175"/>
                </a:cubicBezTo>
                <a:cubicBezTo>
                  <a:pt x="6092" y="70741"/>
                  <a:pt x="6357" y="72043"/>
                  <a:pt x="6092" y="71392"/>
                </a:cubicBezTo>
                <a:cubicBezTo>
                  <a:pt x="5827" y="71175"/>
                  <a:pt x="6092" y="71826"/>
                  <a:pt x="5916" y="72043"/>
                </a:cubicBezTo>
                <a:cubicBezTo>
                  <a:pt x="6181" y="72694"/>
                  <a:pt x="5827" y="72477"/>
                  <a:pt x="5827" y="73128"/>
                </a:cubicBezTo>
                <a:cubicBezTo>
                  <a:pt x="5827" y="74213"/>
                  <a:pt x="5386" y="73345"/>
                  <a:pt x="5562" y="74864"/>
                </a:cubicBezTo>
                <a:cubicBezTo>
                  <a:pt x="5827" y="75732"/>
                  <a:pt x="5386" y="75081"/>
                  <a:pt x="5651" y="76166"/>
                </a:cubicBezTo>
                <a:cubicBezTo>
                  <a:pt x="5916" y="77251"/>
                  <a:pt x="5651" y="76383"/>
                  <a:pt x="5562" y="77468"/>
                </a:cubicBezTo>
                <a:cubicBezTo>
                  <a:pt x="5651" y="78119"/>
                  <a:pt x="5916" y="78119"/>
                  <a:pt x="5827" y="78553"/>
                </a:cubicBezTo>
                <a:cubicBezTo>
                  <a:pt x="5827" y="78770"/>
                  <a:pt x="5651" y="79421"/>
                  <a:pt x="5827" y="79421"/>
                </a:cubicBezTo>
                <a:cubicBezTo>
                  <a:pt x="5916" y="79421"/>
                  <a:pt x="5827" y="79421"/>
                  <a:pt x="5916" y="80289"/>
                </a:cubicBezTo>
                <a:cubicBezTo>
                  <a:pt x="6181" y="80940"/>
                  <a:pt x="6092" y="81591"/>
                  <a:pt x="6092" y="81591"/>
                </a:cubicBezTo>
                <a:cubicBezTo>
                  <a:pt x="6534" y="81157"/>
                  <a:pt x="6181" y="81808"/>
                  <a:pt x="6622" y="81808"/>
                </a:cubicBezTo>
                <a:cubicBezTo>
                  <a:pt x="7152" y="81591"/>
                  <a:pt x="6799" y="82893"/>
                  <a:pt x="7152" y="82459"/>
                </a:cubicBezTo>
                <a:cubicBezTo>
                  <a:pt x="7417" y="81808"/>
                  <a:pt x="7682" y="82242"/>
                  <a:pt x="7682" y="82459"/>
                </a:cubicBezTo>
                <a:cubicBezTo>
                  <a:pt x="7858" y="82893"/>
                  <a:pt x="8123" y="82459"/>
                  <a:pt x="7947" y="83327"/>
                </a:cubicBezTo>
                <a:cubicBezTo>
                  <a:pt x="7858" y="84195"/>
                  <a:pt x="8211" y="84195"/>
                  <a:pt x="7947" y="84629"/>
                </a:cubicBezTo>
                <a:cubicBezTo>
                  <a:pt x="7682" y="85280"/>
                  <a:pt x="8123" y="84846"/>
                  <a:pt x="8123" y="85931"/>
                </a:cubicBezTo>
                <a:cubicBezTo>
                  <a:pt x="8211" y="87233"/>
                  <a:pt x="8741" y="87016"/>
                  <a:pt x="8653" y="87233"/>
                </a:cubicBezTo>
                <a:cubicBezTo>
                  <a:pt x="8388" y="88318"/>
                  <a:pt x="9006" y="87233"/>
                  <a:pt x="9006" y="88318"/>
                </a:cubicBezTo>
                <a:cubicBezTo>
                  <a:pt x="9006" y="88535"/>
                  <a:pt x="9448" y="88535"/>
                  <a:pt x="9183" y="88969"/>
                </a:cubicBezTo>
                <a:cubicBezTo>
                  <a:pt x="8918" y="89403"/>
                  <a:pt x="8918" y="90054"/>
                  <a:pt x="8476" y="89403"/>
                </a:cubicBezTo>
                <a:cubicBezTo>
                  <a:pt x="8388" y="88969"/>
                  <a:pt x="8211" y="89620"/>
                  <a:pt x="8388" y="90054"/>
                </a:cubicBezTo>
                <a:cubicBezTo>
                  <a:pt x="8653" y="90922"/>
                  <a:pt x="8211" y="90922"/>
                  <a:pt x="8476" y="92007"/>
                </a:cubicBezTo>
                <a:cubicBezTo>
                  <a:pt x="8653" y="92224"/>
                  <a:pt x="8918" y="92658"/>
                  <a:pt x="9006" y="92007"/>
                </a:cubicBezTo>
                <a:cubicBezTo>
                  <a:pt x="9006" y="91356"/>
                  <a:pt x="9271" y="92007"/>
                  <a:pt x="9624" y="91573"/>
                </a:cubicBezTo>
                <a:cubicBezTo>
                  <a:pt x="9889" y="90922"/>
                  <a:pt x="9713" y="92007"/>
                  <a:pt x="9977" y="91573"/>
                </a:cubicBezTo>
                <a:cubicBezTo>
                  <a:pt x="10242" y="90922"/>
                  <a:pt x="9977" y="92224"/>
                  <a:pt x="10419" y="92658"/>
                </a:cubicBezTo>
                <a:cubicBezTo>
                  <a:pt x="10684" y="93092"/>
                  <a:pt x="10154" y="93309"/>
                  <a:pt x="10242" y="93743"/>
                </a:cubicBezTo>
                <a:cubicBezTo>
                  <a:pt x="10507" y="94394"/>
                  <a:pt x="10242" y="94394"/>
                  <a:pt x="10507" y="94394"/>
                </a:cubicBezTo>
                <a:cubicBezTo>
                  <a:pt x="10772" y="94611"/>
                  <a:pt x="10772" y="93960"/>
                  <a:pt x="11037" y="95045"/>
                </a:cubicBezTo>
                <a:cubicBezTo>
                  <a:pt x="11302" y="95696"/>
                  <a:pt x="11037" y="96998"/>
                  <a:pt x="11302" y="96781"/>
                </a:cubicBezTo>
                <a:cubicBezTo>
                  <a:pt x="11743" y="96347"/>
                  <a:pt x="11743" y="97432"/>
                  <a:pt x="12273" y="96781"/>
                </a:cubicBezTo>
                <a:cubicBezTo>
                  <a:pt x="12715" y="96130"/>
                  <a:pt x="12538" y="96998"/>
                  <a:pt x="12803" y="97432"/>
                </a:cubicBezTo>
                <a:cubicBezTo>
                  <a:pt x="13068" y="98083"/>
                  <a:pt x="13245" y="96998"/>
                  <a:pt x="13509" y="98083"/>
                </a:cubicBezTo>
                <a:cubicBezTo>
                  <a:pt x="13598" y="98300"/>
                  <a:pt x="13863" y="97649"/>
                  <a:pt x="14039" y="98300"/>
                </a:cubicBezTo>
                <a:cubicBezTo>
                  <a:pt x="14128" y="99168"/>
                  <a:pt x="14392" y="98300"/>
                  <a:pt x="14392" y="98734"/>
                </a:cubicBezTo>
                <a:cubicBezTo>
                  <a:pt x="14392" y="99385"/>
                  <a:pt x="14569" y="99385"/>
                  <a:pt x="14392" y="99819"/>
                </a:cubicBezTo>
                <a:cubicBezTo>
                  <a:pt x="14128" y="100036"/>
                  <a:pt x="14128" y="100470"/>
                  <a:pt x="14304" y="100470"/>
                </a:cubicBezTo>
                <a:cubicBezTo>
                  <a:pt x="14392" y="100470"/>
                  <a:pt x="14569" y="100687"/>
                  <a:pt x="14304" y="100687"/>
                </a:cubicBezTo>
                <a:cubicBezTo>
                  <a:pt x="14128" y="100687"/>
                  <a:pt x="14039" y="101121"/>
                  <a:pt x="14128" y="101555"/>
                </a:cubicBezTo>
                <a:cubicBezTo>
                  <a:pt x="14304" y="101772"/>
                  <a:pt x="14392" y="102423"/>
                  <a:pt x="14304" y="102857"/>
                </a:cubicBezTo>
                <a:cubicBezTo>
                  <a:pt x="14128" y="103508"/>
                  <a:pt x="13598" y="102857"/>
                  <a:pt x="13509" y="103508"/>
                </a:cubicBezTo>
                <a:cubicBezTo>
                  <a:pt x="13509" y="104159"/>
                  <a:pt x="12980" y="103074"/>
                  <a:pt x="13068" y="105244"/>
                </a:cubicBezTo>
                <a:cubicBezTo>
                  <a:pt x="13509" y="104376"/>
                  <a:pt x="13245" y="105461"/>
                  <a:pt x="13598" y="104810"/>
                </a:cubicBezTo>
                <a:cubicBezTo>
                  <a:pt x="13863" y="104376"/>
                  <a:pt x="13863" y="105244"/>
                  <a:pt x="13598" y="105461"/>
                </a:cubicBezTo>
                <a:cubicBezTo>
                  <a:pt x="13068" y="105895"/>
                  <a:pt x="13333" y="106112"/>
                  <a:pt x="12803" y="106112"/>
                </a:cubicBezTo>
                <a:cubicBezTo>
                  <a:pt x="12715" y="106112"/>
                  <a:pt x="12803" y="107197"/>
                  <a:pt x="13068" y="106763"/>
                </a:cubicBezTo>
                <a:cubicBezTo>
                  <a:pt x="13245" y="106763"/>
                  <a:pt x="13509" y="107848"/>
                  <a:pt x="13245" y="107848"/>
                </a:cubicBezTo>
                <a:cubicBezTo>
                  <a:pt x="13068" y="107631"/>
                  <a:pt x="12980" y="107631"/>
                  <a:pt x="12803" y="108282"/>
                </a:cubicBezTo>
                <a:cubicBezTo>
                  <a:pt x="12803" y="108933"/>
                  <a:pt x="12715" y="108933"/>
                  <a:pt x="12715" y="109150"/>
                </a:cubicBezTo>
                <a:cubicBezTo>
                  <a:pt x="12803" y="110235"/>
                  <a:pt x="12715" y="109584"/>
                  <a:pt x="12362" y="109584"/>
                </a:cubicBezTo>
                <a:cubicBezTo>
                  <a:pt x="12273" y="109584"/>
                  <a:pt x="12008" y="108933"/>
                  <a:pt x="12097" y="109584"/>
                </a:cubicBezTo>
                <a:cubicBezTo>
                  <a:pt x="12097" y="109801"/>
                  <a:pt x="11743" y="109801"/>
                  <a:pt x="12273" y="110235"/>
                </a:cubicBezTo>
                <a:cubicBezTo>
                  <a:pt x="12715" y="110886"/>
                  <a:pt x="12362" y="111320"/>
                  <a:pt x="12803" y="111320"/>
                </a:cubicBezTo>
                <a:cubicBezTo>
                  <a:pt x="13245" y="111537"/>
                  <a:pt x="12803" y="111537"/>
                  <a:pt x="13333" y="112188"/>
                </a:cubicBezTo>
                <a:cubicBezTo>
                  <a:pt x="13863" y="112622"/>
                  <a:pt x="13333" y="111971"/>
                  <a:pt x="14304" y="114358"/>
                </a:cubicBezTo>
                <a:cubicBezTo>
                  <a:pt x="14392" y="113924"/>
                  <a:pt x="14657" y="113924"/>
                  <a:pt x="14834" y="113924"/>
                </a:cubicBezTo>
                <a:cubicBezTo>
                  <a:pt x="14922" y="113924"/>
                  <a:pt x="14922" y="114575"/>
                  <a:pt x="15187" y="114575"/>
                </a:cubicBezTo>
                <a:cubicBezTo>
                  <a:pt x="15540" y="114575"/>
                  <a:pt x="15364" y="115226"/>
                  <a:pt x="15805" y="114575"/>
                </a:cubicBezTo>
                <a:cubicBezTo>
                  <a:pt x="16070" y="114358"/>
                  <a:pt x="16158" y="115009"/>
                  <a:pt x="16335" y="115009"/>
                </a:cubicBezTo>
                <a:cubicBezTo>
                  <a:pt x="16423" y="115009"/>
                  <a:pt x="16423" y="115226"/>
                  <a:pt x="16865" y="115660"/>
                </a:cubicBezTo>
                <a:cubicBezTo>
                  <a:pt x="17218" y="115877"/>
                  <a:pt x="16865" y="115877"/>
                  <a:pt x="16953" y="116311"/>
                </a:cubicBezTo>
                <a:cubicBezTo>
                  <a:pt x="17218" y="116528"/>
                  <a:pt x="17395" y="115660"/>
                  <a:pt x="17483" y="115877"/>
                </a:cubicBezTo>
                <a:cubicBezTo>
                  <a:pt x="17748" y="116311"/>
                  <a:pt x="17748" y="115660"/>
                  <a:pt x="17924" y="115877"/>
                </a:cubicBezTo>
                <a:cubicBezTo>
                  <a:pt x="18013" y="115877"/>
                  <a:pt x="18013" y="116311"/>
                  <a:pt x="18278" y="116311"/>
                </a:cubicBezTo>
                <a:cubicBezTo>
                  <a:pt x="18631" y="116311"/>
                  <a:pt x="18189" y="116962"/>
                  <a:pt x="18278" y="117396"/>
                </a:cubicBezTo>
                <a:cubicBezTo>
                  <a:pt x="18454" y="117613"/>
                  <a:pt x="18454" y="117613"/>
                  <a:pt x="18896" y="118047"/>
                </a:cubicBezTo>
                <a:cubicBezTo>
                  <a:pt x="18984" y="118698"/>
                  <a:pt x="19161" y="117613"/>
                  <a:pt x="19161" y="118264"/>
                </a:cubicBezTo>
                <a:cubicBezTo>
                  <a:pt x="19249" y="118915"/>
                  <a:pt x="19426" y="118264"/>
                  <a:pt x="19426" y="118915"/>
                </a:cubicBezTo>
                <a:cubicBezTo>
                  <a:pt x="19514" y="120000"/>
                  <a:pt x="19955" y="119566"/>
                  <a:pt x="19955" y="119349"/>
                </a:cubicBezTo>
                <a:cubicBezTo>
                  <a:pt x="20044" y="118915"/>
                  <a:pt x="20220" y="118698"/>
                  <a:pt x="20309" y="118264"/>
                </a:cubicBezTo>
                <a:cubicBezTo>
                  <a:pt x="19955" y="115877"/>
                  <a:pt x="19514" y="116311"/>
                  <a:pt x="19690" y="114358"/>
                </a:cubicBezTo>
                <a:cubicBezTo>
                  <a:pt x="19779" y="111971"/>
                  <a:pt x="19514" y="114358"/>
                  <a:pt x="19514" y="112839"/>
                </a:cubicBezTo>
                <a:cubicBezTo>
                  <a:pt x="19514" y="111537"/>
                  <a:pt x="18719" y="111971"/>
                  <a:pt x="19161" y="111320"/>
                </a:cubicBezTo>
                <a:cubicBezTo>
                  <a:pt x="19426" y="110452"/>
                  <a:pt x="19514" y="109584"/>
                  <a:pt x="19955" y="108499"/>
                </a:cubicBezTo>
                <a:cubicBezTo>
                  <a:pt x="20309" y="107631"/>
                  <a:pt x="20485" y="108499"/>
                  <a:pt x="20485" y="107848"/>
                </a:cubicBezTo>
                <a:cubicBezTo>
                  <a:pt x="20485" y="107631"/>
                  <a:pt x="20485" y="107848"/>
                  <a:pt x="20573" y="106763"/>
                </a:cubicBezTo>
                <a:cubicBezTo>
                  <a:pt x="19955" y="105895"/>
                  <a:pt x="21015" y="106546"/>
                  <a:pt x="20309" y="104810"/>
                </a:cubicBezTo>
                <a:cubicBezTo>
                  <a:pt x="19779" y="103074"/>
                  <a:pt x="19779" y="103074"/>
                  <a:pt x="19514" y="103508"/>
                </a:cubicBezTo>
                <a:cubicBezTo>
                  <a:pt x="19249" y="103508"/>
                  <a:pt x="19514" y="102423"/>
                  <a:pt x="19161" y="101772"/>
                </a:cubicBezTo>
                <a:cubicBezTo>
                  <a:pt x="18631" y="101555"/>
                  <a:pt x="19426" y="100036"/>
                  <a:pt x="19161" y="99168"/>
                </a:cubicBezTo>
                <a:cubicBezTo>
                  <a:pt x="18896" y="98300"/>
                  <a:pt x="19514" y="96130"/>
                  <a:pt x="19779" y="96781"/>
                </a:cubicBezTo>
                <a:cubicBezTo>
                  <a:pt x="20309" y="98734"/>
                  <a:pt x="20485" y="98083"/>
                  <a:pt x="20485" y="96781"/>
                </a:cubicBezTo>
                <a:cubicBezTo>
                  <a:pt x="20485" y="95479"/>
                  <a:pt x="21368" y="94611"/>
                  <a:pt x="21810" y="93743"/>
                </a:cubicBezTo>
                <a:cubicBezTo>
                  <a:pt x="22075" y="92224"/>
                  <a:pt x="22251" y="94394"/>
                  <a:pt x="22604" y="93309"/>
                </a:cubicBezTo>
                <a:cubicBezTo>
                  <a:pt x="23134" y="92658"/>
                  <a:pt x="23046" y="93743"/>
                  <a:pt x="23664" y="93960"/>
                </a:cubicBezTo>
                <a:cubicBezTo>
                  <a:pt x="24370" y="93960"/>
                  <a:pt x="25077" y="96998"/>
                  <a:pt x="25607" y="96130"/>
                </a:cubicBezTo>
                <a:cubicBezTo>
                  <a:pt x="25871" y="95045"/>
                  <a:pt x="25960" y="94394"/>
                  <a:pt x="26401" y="95045"/>
                </a:cubicBezTo>
                <a:cubicBezTo>
                  <a:pt x="26754" y="95696"/>
                  <a:pt x="26754" y="93960"/>
                  <a:pt x="27637" y="95696"/>
                </a:cubicBezTo>
                <a:cubicBezTo>
                  <a:pt x="28432" y="96998"/>
                  <a:pt x="27991" y="94611"/>
                  <a:pt x="28520" y="95696"/>
                </a:cubicBezTo>
                <a:cubicBezTo>
                  <a:pt x="29227" y="96781"/>
                  <a:pt x="29845" y="94394"/>
                  <a:pt x="29050" y="93743"/>
                </a:cubicBezTo>
                <a:cubicBezTo>
                  <a:pt x="27637" y="92007"/>
                  <a:pt x="29492" y="92224"/>
                  <a:pt x="28962" y="90922"/>
                </a:cubicBezTo>
                <a:cubicBezTo>
                  <a:pt x="28432" y="90054"/>
                  <a:pt x="30286" y="90054"/>
                  <a:pt x="29580" y="89403"/>
                </a:cubicBezTo>
                <a:cubicBezTo>
                  <a:pt x="28962" y="88535"/>
                  <a:pt x="28697" y="87016"/>
                  <a:pt x="29492" y="87016"/>
                </a:cubicBezTo>
                <a:cubicBezTo>
                  <a:pt x="30286" y="87016"/>
                  <a:pt x="32935" y="85497"/>
                  <a:pt x="33642" y="84629"/>
                </a:cubicBezTo>
                <a:cubicBezTo>
                  <a:pt x="34437" y="83978"/>
                  <a:pt x="34613" y="82459"/>
                  <a:pt x="35143" y="83544"/>
                </a:cubicBezTo>
                <a:cubicBezTo>
                  <a:pt x="35496" y="84195"/>
                  <a:pt x="35849" y="82459"/>
                  <a:pt x="36114" y="84846"/>
                </a:cubicBezTo>
                <a:cubicBezTo>
                  <a:pt x="36291" y="87667"/>
                  <a:pt x="36732" y="85931"/>
                  <a:pt x="37262" y="86582"/>
                </a:cubicBezTo>
                <a:cubicBezTo>
                  <a:pt x="37792" y="87233"/>
                  <a:pt x="38233" y="86582"/>
                  <a:pt x="37792" y="87667"/>
                </a:cubicBezTo>
                <a:cubicBezTo>
                  <a:pt x="37439" y="88535"/>
                  <a:pt x="38233" y="88535"/>
                  <a:pt x="39293" y="87016"/>
                </a:cubicBezTo>
                <a:cubicBezTo>
                  <a:pt x="40353" y="84846"/>
                  <a:pt x="40264" y="86365"/>
                  <a:pt x="40000" y="87016"/>
                </a:cubicBezTo>
                <a:cubicBezTo>
                  <a:pt x="39735" y="87667"/>
                  <a:pt x="40794" y="87884"/>
                  <a:pt x="41677" y="92224"/>
                </a:cubicBezTo>
                <a:cubicBezTo>
                  <a:pt x="42913" y="98734"/>
                  <a:pt x="42384" y="93092"/>
                  <a:pt x="43178" y="94611"/>
                </a:cubicBezTo>
                <a:cubicBezTo>
                  <a:pt x="44150" y="96781"/>
                  <a:pt x="44503" y="93960"/>
                  <a:pt x="45386" y="96130"/>
                </a:cubicBezTo>
                <a:cubicBezTo>
                  <a:pt x="46004" y="98300"/>
                  <a:pt x="46269" y="99819"/>
                  <a:pt x="46799" y="98300"/>
                </a:cubicBezTo>
                <a:cubicBezTo>
                  <a:pt x="47505" y="97432"/>
                  <a:pt x="46799" y="98734"/>
                  <a:pt x="47505" y="100036"/>
                </a:cubicBezTo>
                <a:cubicBezTo>
                  <a:pt x="47505" y="100036"/>
                  <a:pt x="47505" y="100036"/>
                  <a:pt x="47947" y="99819"/>
                </a:cubicBezTo>
                <a:cubicBezTo>
                  <a:pt x="48300" y="98300"/>
                  <a:pt x="48211" y="99385"/>
                  <a:pt x="48830" y="98734"/>
                </a:cubicBezTo>
                <a:cubicBezTo>
                  <a:pt x="49359" y="98300"/>
                  <a:pt x="48830" y="98083"/>
                  <a:pt x="49624" y="96998"/>
                </a:cubicBezTo>
                <a:cubicBezTo>
                  <a:pt x="50419" y="96130"/>
                  <a:pt x="51037" y="95479"/>
                  <a:pt x="51390" y="96130"/>
                </a:cubicBezTo>
                <a:cubicBezTo>
                  <a:pt x="51832" y="96781"/>
                  <a:pt x="52362" y="95479"/>
                  <a:pt x="52450" y="96781"/>
                </a:cubicBezTo>
                <a:cubicBezTo>
                  <a:pt x="52626" y="97649"/>
                  <a:pt x="54922" y="98734"/>
                  <a:pt x="55187" y="96998"/>
                </a:cubicBezTo>
                <a:cubicBezTo>
                  <a:pt x="55275" y="95696"/>
                  <a:pt x="54481" y="95696"/>
                  <a:pt x="55011" y="93960"/>
                </a:cubicBezTo>
                <a:cubicBezTo>
                  <a:pt x="55540" y="92007"/>
                  <a:pt x="55275" y="92007"/>
                  <a:pt x="56512" y="93092"/>
                </a:cubicBezTo>
                <a:cubicBezTo>
                  <a:pt x="57571" y="94394"/>
                  <a:pt x="58013" y="93092"/>
                  <a:pt x="58013" y="94611"/>
                </a:cubicBezTo>
                <a:cubicBezTo>
                  <a:pt x="58013" y="96347"/>
                  <a:pt x="58631" y="97649"/>
                  <a:pt x="59337" y="96998"/>
                </a:cubicBezTo>
                <a:cubicBezTo>
                  <a:pt x="60132" y="96347"/>
                  <a:pt x="60309" y="96347"/>
                  <a:pt x="61192" y="97432"/>
                </a:cubicBezTo>
                <a:cubicBezTo>
                  <a:pt x="62163" y="98083"/>
                  <a:pt x="61633" y="98734"/>
                  <a:pt x="62869" y="99385"/>
                </a:cubicBezTo>
                <a:cubicBezTo>
                  <a:pt x="64547" y="100470"/>
                  <a:pt x="63929" y="98734"/>
                  <a:pt x="64988" y="99168"/>
                </a:cubicBezTo>
                <a:cubicBezTo>
                  <a:pt x="66048" y="99168"/>
                  <a:pt x="65783" y="95696"/>
                  <a:pt x="66754" y="96998"/>
                </a:cubicBezTo>
                <a:cubicBezTo>
                  <a:pt x="67549" y="98300"/>
                  <a:pt x="67549" y="96998"/>
                  <a:pt x="68079" y="98083"/>
                </a:cubicBezTo>
                <a:cubicBezTo>
                  <a:pt x="68785" y="99168"/>
                  <a:pt x="69050" y="99168"/>
                  <a:pt x="69580" y="97649"/>
                </a:cubicBezTo>
                <a:cubicBezTo>
                  <a:pt x="70110" y="96347"/>
                  <a:pt x="69933" y="95479"/>
                  <a:pt x="70640" y="93309"/>
                </a:cubicBezTo>
                <a:cubicBezTo>
                  <a:pt x="71169" y="91573"/>
                  <a:pt x="70905" y="90922"/>
                  <a:pt x="70463" y="90922"/>
                </a:cubicBezTo>
                <a:cubicBezTo>
                  <a:pt x="70110" y="90922"/>
                  <a:pt x="70640" y="88969"/>
                  <a:pt x="71964" y="88535"/>
                </a:cubicBezTo>
                <a:cubicBezTo>
                  <a:pt x="73200" y="88318"/>
                  <a:pt x="73554" y="89403"/>
                  <a:pt x="73995" y="89403"/>
                </a:cubicBezTo>
                <a:cubicBezTo>
                  <a:pt x="74348" y="89403"/>
                  <a:pt x="75231" y="92007"/>
                  <a:pt x="75496" y="95479"/>
                </a:cubicBezTo>
                <a:cubicBezTo>
                  <a:pt x="75584" y="99168"/>
                  <a:pt x="75849" y="98734"/>
                  <a:pt x="76644" y="99168"/>
                </a:cubicBezTo>
                <a:cubicBezTo>
                  <a:pt x="77439" y="99385"/>
                  <a:pt x="77174" y="100470"/>
                  <a:pt x="77615" y="100470"/>
                </a:cubicBezTo>
                <a:cubicBezTo>
                  <a:pt x="78057" y="100687"/>
                  <a:pt x="77615" y="101555"/>
                  <a:pt x="77880" y="101772"/>
                </a:cubicBezTo>
                <a:cubicBezTo>
                  <a:pt x="78145" y="102206"/>
                  <a:pt x="77615" y="102423"/>
                  <a:pt x="78057" y="103074"/>
                </a:cubicBezTo>
                <a:cubicBezTo>
                  <a:pt x="78410" y="104159"/>
                  <a:pt x="78940" y="103725"/>
                  <a:pt x="79381" y="102857"/>
                </a:cubicBezTo>
                <a:cubicBezTo>
                  <a:pt x="79735" y="102206"/>
                  <a:pt x="79735" y="103074"/>
                  <a:pt x="80176" y="102206"/>
                </a:cubicBezTo>
                <a:cubicBezTo>
                  <a:pt x="80529" y="101121"/>
                  <a:pt x="80971" y="102857"/>
                  <a:pt x="80529" y="104159"/>
                </a:cubicBezTo>
                <a:cubicBezTo>
                  <a:pt x="80176" y="105895"/>
                  <a:pt x="79911" y="110886"/>
                  <a:pt x="79381" y="110235"/>
                </a:cubicBezTo>
                <a:cubicBezTo>
                  <a:pt x="78852" y="109584"/>
                  <a:pt x="78675" y="109150"/>
                  <a:pt x="78587" y="109801"/>
                </a:cubicBezTo>
                <a:cubicBezTo>
                  <a:pt x="78410" y="110886"/>
                  <a:pt x="77880" y="109801"/>
                  <a:pt x="78145" y="111320"/>
                </a:cubicBezTo>
                <a:cubicBezTo>
                  <a:pt x="78322" y="112622"/>
                  <a:pt x="78410" y="113924"/>
                  <a:pt x="78145" y="115009"/>
                </a:cubicBezTo>
                <a:cubicBezTo>
                  <a:pt x="78057" y="116311"/>
                  <a:pt x="77880" y="115009"/>
                  <a:pt x="77792" y="116311"/>
                </a:cubicBezTo>
                <a:cubicBezTo>
                  <a:pt x="77792" y="116311"/>
                  <a:pt x="77792" y="116311"/>
                  <a:pt x="77880" y="116962"/>
                </a:cubicBezTo>
                <a:cubicBezTo>
                  <a:pt x="78145" y="116311"/>
                  <a:pt x="77880" y="115877"/>
                  <a:pt x="78057" y="116311"/>
                </a:cubicBezTo>
                <a:cubicBezTo>
                  <a:pt x="78322" y="116311"/>
                  <a:pt x="78322" y="116311"/>
                  <a:pt x="78410" y="115660"/>
                </a:cubicBezTo>
                <a:cubicBezTo>
                  <a:pt x="78587" y="115009"/>
                  <a:pt x="78410" y="114575"/>
                  <a:pt x="78675" y="114575"/>
                </a:cubicBezTo>
                <a:cubicBezTo>
                  <a:pt x="78852" y="114575"/>
                  <a:pt x="78587" y="115660"/>
                  <a:pt x="78852" y="115009"/>
                </a:cubicBezTo>
                <a:cubicBezTo>
                  <a:pt x="79116" y="114575"/>
                  <a:pt x="78852" y="115660"/>
                  <a:pt x="79116" y="115660"/>
                </a:cubicBezTo>
                <a:cubicBezTo>
                  <a:pt x="79205" y="115660"/>
                  <a:pt x="79381" y="115877"/>
                  <a:pt x="79470" y="115877"/>
                </a:cubicBezTo>
                <a:cubicBezTo>
                  <a:pt x="79646" y="116311"/>
                  <a:pt x="79646" y="115877"/>
                  <a:pt x="80000" y="115660"/>
                </a:cubicBezTo>
                <a:cubicBezTo>
                  <a:pt x="80264" y="115660"/>
                  <a:pt x="80176" y="115226"/>
                  <a:pt x="80706" y="114575"/>
                </a:cubicBezTo>
                <a:cubicBezTo>
                  <a:pt x="81147" y="113924"/>
                  <a:pt x="81412" y="111971"/>
                  <a:pt x="82472" y="109584"/>
                </a:cubicBezTo>
                <a:cubicBezTo>
                  <a:pt x="83355" y="106763"/>
                  <a:pt x="83090" y="105461"/>
                  <a:pt x="83532" y="104810"/>
                </a:cubicBezTo>
                <a:cubicBezTo>
                  <a:pt x="84061" y="103725"/>
                  <a:pt x="83620" y="103725"/>
                  <a:pt x="84238" y="102423"/>
                </a:cubicBezTo>
                <a:cubicBezTo>
                  <a:pt x="84856" y="101121"/>
                  <a:pt x="84856" y="97432"/>
                  <a:pt x="84768" y="96347"/>
                </a:cubicBezTo>
                <a:cubicBezTo>
                  <a:pt x="84591" y="95479"/>
                  <a:pt x="84856" y="95479"/>
                  <a:pt x="85033" y="94394"/>
                </a:cubicBezTo>
                <a:cubicBezTo>
                  <a:pt x="85121" y="93092"/>
                  <a:pt x="85651" y="92658"/>
                  <a:pt x="85298" y="91573"/>
                </a:cubicBezTo>
                <a:cubicBezTo>
                  <a:pt x="85033" y="90922"/>
                  <a:pt x="85386" y="90922"/>
                  <a:pt x="85121" y="90271"/>
                </a:cubicBezTo>
                <a:cubicBezTo>
                  <a:pt x="85033" y="89403"/>
                  <a:pt x="85651" y="89620"/>
                  <a:pt x="85298" y="88535"/>
                </a:cubicBezTo>
                <a:cubicBezTo>
                  <a:pt x="84768" y="87884"/>
                  <a:pt x="84591" y="87233"/>
                  <a:pt x="84503" y="87016"/>
                </a:cubicBezTo>
                <a:cubicBezTo>
                  <a:pt x="84238" y="86365"/>
                  <a:pt x="83973" y="87016"/>
                  <a:pt x="83620" y="86582"/>
                </a:cubicBezTo>
                <a:cubicBezTo>
                  <a:pt x="83355" y="86365"/>
                  <a:pt x="83620" y="87884"/>
                  <a:pt x="83002" y="88318"/>
                </a:cubicBezTo>
                <a:cubicBezTo>
                  <a:pt x="82030" y="88969"/>
                  <a:pt x="83267" y="85931"/>
                  <a:pt x="82560" y="86582"/>
                </a:cubicBezTo>
                <a:cubicBezTo>
                  <a:pt x="82030" y="87016"/>
                  <a:pt x="82737" y="87667"/>
                  <a:pt x="82207" y="87667"/>
                </a:cubicBezTo>
                <a:cubicBezTo>
                  <a:pt x="81677" y="87667"/>
                  <a:pt x="82737" y="85497"/>
                  <a:pt x="81766" y="85497"/>
                </a:cubicBezTo>
                <a:cubicBezTo>
                  <a:pt x="80971" y="85497"/>
                  <a:pt x="80529" y="85280"/>
                  <a:pt x="81677" y="83544"/>
                </a:cubicBezTo>
                <a:cubicBezTo>
                  <a:pt x="82825" y="81591"/>
                  <a:pt x="83002" y="81591"/>
                  <a:pt x="83267" y="79855"/>
                </a:cubicBezTo>
                <a:cubicBezTo>
                  <a:pt x="83532" y="78119"/>
                  <a:pt x="84503" y="78119"/>
                  <a:pt x="84768" y="76166"/>
                </a:cubicBezTo>
                <a:cubicBezTo>
                  <a:pt x="85121" y="74213"/>
                  <a:pt x="86445" y="72043"/>
                  <a:pt x="87152" y="72477"/>
                </a:cubicBezTo>
                <a:cubicBezTo>
                  <a:pt x="87858" y="73128"/>
                  <a:pt x="88123" y="72043"/>
                  <a:pt x="88476" y="72694"/>
                </a:cubicBezTo>
                <a:cubicBezTo>
                  <a:pt x="88918" y="73345"/>
                  <a:pt x="88476" y="72043"/>
                  <a:pt x="89448" y="72477"/>
                </a:cubicBezTo>
                <a:cubicBezTo>
                  <a:pt x="90507" y="72694"/>
                  <a:pt x="90507" y="73345"/>
                  <a:pt x="90772" y="71826"/>
                </a:cubicBezTo>
                <a:cubicBezTo>
                  <a:pt x="90772" y="71392"/>
                  <a:pt x="93245" y="71392"/>
                  <a:pt x="92450" y="73128"/>
                </a:cubicBezTo>
                <a:cubicBezTo>
                  <a:pt x="91743" y="74430"/>
                  <a:pt x="93509" y="73345"/>
                  <a:pt x="93598" y="73128"/>
                </a:cubicBezTo>
                <a:cubicBezTo>
                  <a:pt x="93863" y="72043"/>
                  <a:pt x="94128" y="74430"/>
                  <a:pt x="94834" y="73128"/>
                </a:cubicBezTo>
                <a:cubicBezTo>
                  <a:pt x="95540" y="72043"/>
                  <a:pt x="93509" y="72043"/>
                  <a:pt x="94922" y="69439"/>
                </a:cubicBezTo>
                <a:cubicBezTo>
                  <a:pt x="96423" y="67052"/>
                  <a:pt x="95805" y="65967"/>
                  <a:pt x="97483" y="65750"/>
                </a:cubicBezTo>
                <a:cubicBezTo>
                  <a:pt x="98984" y="65099"/>
                  <a:pt x="97748" y="70090"/>
                  <a:pt x="98896" y="68788"/>
                </a:cubicBezTo>
                <a:cubicBezTo>
                  <a:pt x="99955" y="67269"/>
                  <a:pt x="99690" y="65750"/>
                  <a:pt x="100309" y="66401"/>
                </a:cubicBezTo>
                <a:cubicBezTo>
                  <a:pt x="101015" y="66618"/>
                  <a:pt x="99955" y="62929"/>
                  <a:pt x="101192" y="62929"/>
                </a:cubicBezTo>
                <a:cubicBezTo>
                  <a:pt x="102339" y="63363"/>
                  <a:pt x="101280" y="62929"/>
                  <a:pt x="101192" y="65967"/>
                </a:cubicBezTo>
                <a:cubicBezTo>
                  <a:pt x="100838" y="69005"/>
                  <a:pt x="100044" y="68137"/>
                  <a:pt x="98984" y="71392"/>
                </a:cubicBezTo>
                <a:cubicBezTo>
                  <a:pt x="97924" y="74864"/>
                  <a:pt x="97395" y="76166"/>
                  <a:pt x="96688" y="76383"/>
                </a:cubicBezTo>
                <a:cubicBezTo>
                  <a:pt x="95894" y="77251"/>
                  <a:pt x="96600" y="77902"/>
                  <a:pt x="95894" y="79204"/>
                </a:cubicBezTo>
                <a:cubicBezTo>
                  <a:pt x="95099" y="80506"/>
                  <a:pt x="95364" y="86365"/>
                  <a:pt x="95805" y="91356"/>
                </a:cubicBezTo>
                <a:cubicBezTo>
                  <a:pt x="95894" y="93309"/>
                  <a:pt x="95805" y="97432"/>
                  <a:pt x="96953" y="93092"/>
                </a:cubicBezTo>
                <a:cubicBezTo>
                  <a:pt x="97748" y="90271"/>
                  <a:pt x="96953" y="89403"/>
                  <a:pt x="98101" y="89403"/>
                </a:cubicBezTo>
                <a:cubicBezTo>
                  <a:pt x="98896" y="89403"/>
                  <a:pt x="97924" y="85931"/>
                  <a:pt x="98984" y="85931"/>
                </a:cubicBezTo>
                <a:cubicBezTo>
                  <a:pt x="100573" y="85497"/>
                  <a:pt x="99249" y="83978"/>
                  <a:pt x="99690" y="82242"/>
                </a:cubicBezTo>
                <a:cubicBezTo>
                  <a:pt x="100044" y="80289"/>
                  <a:pt x="100573" y="82893"/>
                  <a:pt x="100750" y="81157"/>
                </a:cubicBezTo>
                <a:cubicBezTo>
                  <a:pt x="100838" y="79204"/>
                  <a:pt x="99779" y="79855"/>
                  <a:pt x="100309" y="78119"/>
                </a:cubicBezTo>
                <a:cubicBezTo>
                  <a:pt x="101280" y="75515"/>
                  <a:pt x="98984" y="76817"/>
                  <a:pt x="100044" y="74864"/>
                </a:cubicBezTo>
                <a:cubicBezTo>
                  <a:pt x="101192" y="72477"/>
                  <a:pt x="100485" y="71392"/>
                  <a:pt x="101192" y="70741"/>
                </a:cubicBezTo>
                <a:cubicBezTo>
                  <a:pt x="101986" y="70090"/>
                  <a:pt x="101280" y="71826"/>
                  <a:pt x="102251" y="70090"/>
                </a:cubicBezTo>
                <a:cubicBezTo>
                  <a:pt x="103399" y="67703"/>
                  <a:pt x="101986" y="73128"/>
                  <a:pt x="103046" y="70741"/>
                </a:cubicBezTo>
                <a:cubicBezTo>
                  <a:pt x="104282" y="68137"/>
                  <a:pt x="104900" y="69005"/>
                  <a:pt x="105430" y="70741"/>
                </a:cubicBezTo>
                <a:cubicBezTo>
                  <a:pt x="105960" y="72043"/>
                  <a:pt x="105077" y="70524"/>
                  <a:pt x="107108" y="67703"/>
                </a:cubicBezTo>
                <a:cubicBezTo>
                  <a:pt x="107902" y="66618"/>
                  <a:pt x="108520" y="64665"/>
                  <a:pt x="109580" y="64014"/>
                </a:cubicBezTo>
                <a:cubicBezTo>
                  <a:pt x="111523" y="62278"/>
                  <a:pt x="111523" y="64665"/>
                  <a:pt x="111876" y="63580"/>
                </a:cubicBezTo>
                <a:cubicBezTo>
                  <a:pt x="112406" y="62278"/>
                  <a:pt x="111788" y="62061"/>
                  <a:pt x="111523" y="59674"/>
                </a:cubicBezTo>
                <a:cubicBezTo>
                  <a:pt x="111081" y="56853"/>
                  <a:pt x="110816" y="59674"/>
                  <a:pt x="110551" y="57504"/>
                </a:cubicBezTo>
                <a:cubicBezTo>
                  <a:pt x="110463" y="56202"/>
                  <a:pt x="111611" y="58372"/>
                  <a:pt x="112141" y="56202"/>
                </a:cubicBezTo>
                <a:cubicBezTo>
                  <a:pt x="112317" y="55985"/>
                  <a:pt x="112406" y="55985"/>
                  <a:pt x="112406" y="55551"/>
                </a:cubicBezTo>
                <a:cubicBezTo>
                  <a:pt x="112406" y="55551"/>
                  <a:pt x="112406" y="55551"/>
                  <a:pt x="112406" y="55551"/>
                </a:cubicBezTo>
                <a:close/>
                <a:moveTo>
                  <a:pt x="85562" y="91356"/>
                </a:moveTo>
                <a:cubicBezTo>
                  <a:pt x="85386" y="92007"/>
                  <a:pt x="85651" y="91573"/>
                  <a:pt x="85562" y="92224"/>
                </a:cubicBezTo>
                <a:cubicBezTo>
                  <a:pt x="85386" y="93092"/>
                  <a:pt x="85651" y="93092"/>
                  <a:pt x="85651" y="93309"/>
                </a:cubicBezTo>
                <a:cubicBezTo>
                  <a:pt x="85562" y="93309"/>
                  <a:pt x="85827" y="93309"/>
                  <a:pt x="85916" y="94394"/>
                </a:cubicBezTo>
                <a:cubicBezTo>
                  <a:pt x="86092" y="95045"/>
                  <a:pt x="85651" y="95696"/>
                  <a:pt x="85827" y="96347"/>
                </a:cubicBezTo>
                <a:cubicBezTo>
                  <a:pt x="85916" y="97432"/>
                  <a:pt x="85827" y="100036"/>
                  <a:pt x="85651" y="100687"/>
                </a:cubicBezTo>
                <a:cubicBezTo>
                  <a:pt x="85562" y="101555"/>
                  <a:pt x="86092" y="101555"/>
                  <a:pt x="85827" y="103508"/>
                </a:cubicBezTo>
                <a:cubicBezTo>
                  <a:pt x="85562" y="104376"/>
                  <a:pt x="85916" y="105244"/>
                  <a:pt x="85827" y="105895"/>
                </a:cubicBezTo>
                <a:cubicBezTo>
                  <a:pt x="85562" y="106546"/>
                  <a:pt x="85651" y="106763"/>
                  <a:pt x="85651" y="107631"/>
                </a:cubicBezTo>
                <a:cubicBezTo>
                  <a:pt x="85827" y="108499"/>
                  <a:pt x="85916" y="108282"/>
                  <a:pt x="85916" y="107197"/>
                </a:cubicBezTo>
                <a:cubicBezTo>
                  <a:pt x="86092" y="106112"/>
                  <a:pt x="86269" y="105895"/>
                  <a:pt x="86357" y="106112"/>
                </a:cubicBezTo>
                <a:cubicBezTo>
                  <a:pt x="86357" y="106546"/>
                  <a:pt x="86445" y="106112"/>
                  <a:pt x="86622" y="106546"/>
                </a:cubicBezTo>
                <a:cubicBezTo>
                  <a:pt x="86799" y="106546"/>
                  <a:pt x="86799" y="107848"/>
                  <a:pt x="86799" y="107631"/>
                </a:cubicBezTo>
                <a:cubicBezTo>
                  <a:pt x="87064" y="106546"/>
                  <a:pt x="86887" y="106763"/>
                  <a:pt x="86887" y="106112"/>
                </a:cubicBezTo>
                <a:cubicBezTo>
                  <a:pt x="86887" y="105461"/>
                  <a:pt x="86887" y="105895"/>
                  <a:pt x="86622" y="105895"/>
                </a:cubicBezTo>
                <a:cubicBezTo>
                  <a:pt x="86445" y="105461"/>
                  <a:pt x="86445" y="104810"/>
                  <a:pt x="86357" y="104159"/>
                </a:cubicBezTo>
                <a:cubicBezTo>
                  <a:pt x="85916" y="103508"/>
                  <a:pt x="86269" y="101555"/>
                  <a:pt x="86357" y="100687"/>
                </a:cubicBezTo>
                <a:cubicBezTo>
                  <a:pt x="86622" y="100470"/>
                  <a:pt x="86357" y="99819"/>
                  <a:pt x="86622" y="99385"/>
                </a:cubicBezTo>
                <a:cubicBezTo>
                  <a:pt x="86887" y="99385"/>
                  <a:pt x="87152" y="99385"/>
                  <a:pt x="87417" y="100036"/>
                </a:cubicBezTo>
                <a:cubicBezTo>
                  <a:pt x="87593" y="100687"/>
                  <a:pt x="87682" y="101555"/>
                  <a:pt x="87682" y="100687"/>
                </a:cubicBezTo>
                <a:cubicBezTo>
                  <a:pt x="87682" y="100470"/>
                  <a:pt x="87417" y="99819"/>
                  <a:pt x="87328" y="99168"/>
                </a:cubicBezTo>
                <a:cubicBezTo>
                  <a:pt x="87328" y="98083"/>
                  <a:pt x="87064" y="96781"/>
                  <a:pt x="86887" y="95696"/>
                </a:cubicBezTo>
                <a:cubicBezTo>
                  <a:pt x="86887" y="94611"/>
                  <a:pt x="86799" y="94394"/>
                  <a:pt x="86799" y="93743"/>
                </a:cubicBezTo>
                <a:cubicBezTo>
                  <a:pt x="86799" y="93092"/>
                  <a:pt x="86622" y="93960"/>
                  <a:pt x="86622" y="93309"/>
                </a:cubicBezTo>
                <a:cubicBezTo>
                  <a:pt x="86799" y="92224"/>
                  <a:pt x="86622" y="93309"/>
                  <a:pt x="86622" y="92658"/>
                </a:cubicBezTo>
                <a:cubicBezTo>
                  <a:pt x="86445" y="91573"/>
                  <a:pt x="86887" y="91573"/>
                  <a:pt x="86799" y="89620"/>
                </a:cubicBezTo>
                <a:cubicBezTo>
                  <a:pt x="86622" y="88318"/>
                  <a:pt x="86445" y="88969"/>
                  <a:pt x="86622" y="88535"/>
                </a:cubicBezTo>
                <a:cubicBezTo>
                  <a:pt x="86622" y="88318"/>
                  <a:pt x="86445" y="88535"/>
                  <a:pt x="86445" y="88318"/>
                </a:cubicBezTo>
                <a:cubicBezTo>
                  <a:pt x="86445" y="87667"/>
                  <a:pt x="86357" y="87667"/>
                  <a:pt x="86445" y="87233"/>
                </a:cubicBezTo>
                <a:cubicBezTo>
                  <a:pt x="86622" y="87016"/>
                  <a:pt x="86445" y="86582"/>
                  <a:pt x="86357" y="86365"/>
                </a:cubicBezTo>
                <a:cubicBezTo>
                  <a:pt x="86269" y="85497"/>
                  <a:pt x="86357" y="86365"/>
                  <a:pt x="86092" y="86365"/>
                </a:cubicBezTo>
                <a:cubicBezTo>
                  <a:pt x="85827" y="86582"/>
                  <a:pt x="86357" y="87016"/>
                  <a:pt x="86269" y="87667"/>
                </a:cubicBezTo>
                <a:cubicBezTo>
                  <a:pt x="86269" y="88318"/>
                  <a:pt x="86092" y="87884"/>
                  <a:pt x="86092" y="88318"/>
                </a:cubicBezTo>
                <a:cubicBezTo>
                  <a:pt x="86092" y="88535"/>
                  <a:pt x="86357" y="88318"/>
                  <a:pt x="86092" y="88535"/>
                </a:cubicBezTo>
                <a:cubicBezTo>
                  <a:pt x="85916" y="89403"/>
                  <a:pt x="86092" y="88318"/>
                  <a:pt x="85827" y="88535"/>
                </a:cubicBezTo>
                <a:cubicBezTo>
                  <a:pt x="85651" y="88535"/>
                  <a:pt x="85562" y="88535"/>
                  <a:pt x="85651" y="89403"/>
                </a:cubicBezTo>
                <a:cubicBezTo>
                  <a:pt x="85651" y="89620"/>
                  <a:pt x="85651" y="90271"/>
                  <a:pt x="85562" y="91356"/>
                </a:cubicBezTo>
                <a:close/>
                <a:moveTo>
                  <a:pt x="88918" y="112188"/>
                </a:moveTo>
                <a:cubicBezTo>
                  <a:pt x="89183" y="111971"/>
                  <a:pt x="88653" y="111537"/>
                  <a:pt x="88653" y="111971"/>
                </a:cubicBezTo>
                <a:cubicBezTo>
                  <a:pt x="88476" y="112622"/>
                  <a:pt x="88123" y="112839"/>
                  <a:pt x="88211" y="113490"/>
                </a:cubicBezTo>
                <a:cubicBezTo>
                  <a:pt x="88388" y="113924"/>
                  <a:pt x="88388" y="112622"/>
                  <a:pt x="88918" y="112188"/>
                </a:cubicBezTo>
                <a:close/>
                <a:moveTo>
                  <a:pt x="89624" y="110886"/>
                </a:moveTo>
                <a:cubicBezTo>
                  <a:pt x="89889" y="110235"/>
                  <a:pt x="89889" y="110452"/>
                  <a:pt x="90154" y="109801"/>
                </a:cubicBezTo>
                <a:cubicBezTo>
                  <a:pt x="90419" y="109584"/>
                  <a:pt x="90772" y="109801"/>
                  <a:pt x="90507" y="109150"/>
                </a:cubicBezTo>
                <a:cubicBezTo>
                  <a:pt x="90419" y="108933"/>
                  <a:pt x="90242" y="109801"/>
                  <a:pt x="89977" y="109584"/>
                </a:cubicBezTo>
                <a:cubicBezTo>
                  <a:pt x="89889" y="109150"/>
                  <a:pt x="90154" y="109801"/>
                  <a:pt x="89889" y="109801"/>
                </a:cubicBezTo>
                <a:cubicBezTo>
                  <a:pt x="89624" y="110235"/>
                  <a:pt x="89359" y="110452"/>
                  <a:pt x="89183" y="111537"/>
                </a:cubicBezTo>
                <a:cubicBezTo>
                  <a:pt x="89183" y="111971"/>
                  <a:pt x="89448" y="111971"/>
                  <a:pt x="89624" y="110886"/>
                </a:cubicBezTo>
                <a:close/>
                <a:moveTo>
                  <a:pt x="91037" y="108499"/>
                </a:moveTo>
                <a:cubicBezTo>
                  <a:pt x="91214" y="107848"/>
                  <a:pt x="91567" y="107197"/>
                  <a:pt x="91743" y="107197"/>
                </a:cubicBezTo>
                <a:cubicBezTo>
                  <a:pt x="91832" y="107631"/>
                  <a:pt x="90949" y="109584"/>
                  <a:pt x="91037" y="108499"/>
                </a:cubicBezTo>
                <a:close/>
                <a:moveTo>
                  <a:pt x="94569" y="100036"/>
                </a:moveTo>
                <a:cubicBezTo>
                  <a:pt x="94569" y="99819"/>
                  <a:pt x="94657" y="98300"/>
                  <a:pt x="94834" y="98734"/>
                </a:cubicBezTo>
                <a:cubicBezTo>
                  <a:pt x="94922" y="99168"/>
                  <a:pt x="94569" y="100036"/>
                  <a:pt x="94569" y="100036"/>
                </a:cubicBezTo>
                <a:close/>
                <a:moveTo>
                  <a:pt x="94128" y="100687"/>
                </a:moveTo>
                <a:cubicBezTo>
                  <a:pt x="94304" y="100687"/>
                  <a:pt x="94392" y="100470"/>
                  <a:pt x="94392" y="100470"/>
                </a:cubicBezTo>
                <a:cubicBezTo>
                  <a:pt x="94392" y="100687"/>
                  <a:pt x="94128" y="101121"/>
                  <a:pt x="94128" y="100687"/>
                </a:cubicBezTo>
                <a:close/>
                <a:moveTo>
                  <a:pt x="93598" y="103508"/>
                </a:moveTo>
                <a:cubicBezTo>
                  <a:pt x="93509" y="103508"/>
                  <a:pt x="93509" y="103074"/>
                  <a:pt x="93598" y="103074"/>
                </a:cubicBezTo>
                <a:cubicBezTo>
                  <a:pt x="93598" y="103508"/>
                  <a:pt x="93598" y="103725"/>
                  <a:pt x="93598" y="103508"/>
                </a:cubicBezTo>
                <a:close/>
                <a:moveTo>
                  <a:pt x="93068" y="104376"/>
                </a:moveTo>
                <a:cubicBezTo>
                  <a:pt x="93068" y="104376"/>
                  <a:pt x="93245" y="104159"/>
                  <a:pt x="93245" y="104376"/>
                </a:cubicBezTo>
                <a:cubicBezTo>
                  <a:pt x="93245" y="104376"/>
                  <a:pt x="93245" y="104810"/>
                  <a:pt x="93068" y="104376"/>
                </a:cubicBezTo>
                <a:close/>
                <a:moveTo>
                  <a:pt x="95540" y="96998"/>
                </a:moveTo>
                <a:cubicBezTo>
                  <a:pt x="95805" y="96998"/>
                  <a:pt x="95805" y="95696"/>
                  <a:pt x="95629" y="95696"/>
                </a:cubicBezTo>
                <a:cubicBezTo>
                  <a:pt x="95540" y="95696"/>
                  <a:pt x="95540" y="96347"/>
                  <a:pt x="95364" y="96781"/>
                </a:cubicBezTo>
                <a:cubicBezTo>
                  <a:pt x="95099" y="96781"/>
                  <a:pt x="94922" y="96998"/>
                  <a:pt x="95099" y="97432"/>
                </a:cubicBezTo>
                <a:cubicBezTo>
                  <a:pt x="95275" y="98083"/>
                  <a:pt x="95275" y="97432"/>
                  <a:pt x="95540" y="96998"/>
                </a:cubicBezTo>
                <a:close/>
                <a:moveTo>
                  <a:pt x="95805" y="96130"/>
                </a:moveTo>
                <a:cubicBezTo>
                  <a:pt x="95629" y="95696"/>
                  <a:pt x="95894" y="95479"/>
                  <a:pt x="96070" y="95479"/>
                </a:cubicBezTo>
                <a:cubicBezTo>
                  <a:pt x="96070" y="95696"/>
                  <a:pt x="95894" y="96130"/>
                  <a:pt x="95805" y="96130"/>
                </a:cubicBezTo>
                <a:close/>
                <a:moveTo>
                  <a:pt x="102604" y="83544"/>
                </a:moveTo>
                <a:cubicBezTo>
                  <a:pt x="102869" y="83327"/>
                  <a:pt x="103311" y="85931"/>
                  <a:pt x="103046" y="85280"/>
                </a:cubicBezTo>
                <a:cubicBezTo>
                  <a:pt x="102781" y="84629"/>
                  <a:pt x="102516" y="83978"/>
                  <a:pt x="102604" y="83544"/>
                </a:cubicBezTo>
                <a:close/>
                <a:moveTo>
                  <a:pt x="0" y="85931"/>
                </a:moveTo>
                <a:cubicBezTo>
                  <a:pt x="971" y="86365"/>
                  <a:pt x="1766" y="86582"/>
                  <a:pt x="2295" y="86365"/>
                </a:cubicBezTo>
                <a:cubicBezTo>
                  <a:pt x="2207" y="85280"/>
                  <a:pt x="2472" y="84846"/>
                  <a:pt x="2207" y="84629"/>
                </a:cubicBezTo>
                <a:cubicBezTo>
                  <a:pt x="1942" y="83978"/>
                  <a:pt x="2207" y="84846"/>
                  <a:pt x="1236" y="83978"/>
                </a:cubicBezTo>
                <a:cubicBezTo>
                  <a:pt x="1236" y="84195"/>
                  <a:pt x="1147" y="83978"/>
                  <a:pt x="1236" y="84195"/>
                </a:cubicBezTo>
                <a:cubicBezTo>
                  <a:pt x="1236" y="84846"/>
                  <a:pt x="971" y="84846"/>
                  <a:pt x="883" y="84846"/>
                </a:cubicBezTo>
                <a:cubicBezTo>
                  <a:pt x="706" y="84629"/>
                  <a:pt x="971" y="84195"/>
                  <a:pt x="971" y="83978"/>
                </a:cubicBezTo>
                <a:cubicBezTo>
                  <a:pt x="1147" y="83544"/>
                  <a:pt x="971" y="83544"/>
                  <a:pt x="883" y="84195"/>
                </a:cubicBezTo>
                <a:cubicBezTo>
                  <a:pt x="618" y="84846"/>
                  <a:pt x="706" y="84629"/>
                  <a:pt x="441" y="84629"/>
                </a:cubicBezTo>
                <a:cubicBezTo>
                  <a:pt x="176" y="84629"/>
                  <a:pt x="441" y="85280"/>
                  <a:pt x="0" y="85931"/>
                </a:cubicBezTo>
                <a:close/>
                <a:moveTo>
                  <a:pt x="100838" y="74213"/>
                </a:moveTo>
                <a:cubicBezTo>
                  <a:pt x="101280" y="73128"/>
                  <a:pt x="101721" y="72477"/>
                  <a:pt x="101721" y="73128"/>
                </a:cubicBezTo>
                <a:cubicBezTo>
                  <a:pt x="101721" y="73779"/>
                  <a:pt x="100750" y="74864"/>
                  <a:pt x="100838" y="74213"/>
                </a:cubicBezTo>
                <a:close/>
                <a:moveTo>
                  <a:pt x="82737" y="85280"/>
                </a:moveTo>
                <a:cubicBezTo>
                  <a:pt x="82472" y="84629"/>
                  <a:pt x="82560" y="83978"/>
                  <a:pt x="82825" y="84195"/>
                </a:cubicBezTo>
                <a:cubicBezTo>
                  <a:pt x="83267" y="84195"/>
                  <a:pt x="83002" y="85497"/>
                  <a:pt x="82737" y="85280"/>
                </a:cubicBezTo>
                <a:close/>
                <a:moveTo>
                  <a:pt x="112494" y="37974"/>
                </a:moveTo>
                <a:cubicBezTo>
                  <a:pt x="112494" y="37974"/>
                  <a:pt x="112494" y="37974"/>
                  <a:pt x="112494" y="37974"/>
                </a:cubicBezTo>
                <a:cubicBezTo>
                  <a:pt x="112847" y="37974"/>
                  <a:pt x="113377" y="37757"/>
                  <a:pt x="113818" y="37323"/>
                </a:cubicBezTo>
                <a:cubicBezTo>
                  <a:pt x="114878" y="37106"/>
                  <a:pt x="113642" y="35370"/>
                  <a:pt x="112847" y="35587"/>
                </a:cubicBezTo>
                <a:cubicBezTo>
                  <a:pt x="112759" y="35587"/>
                  <a:pt x="112582" y="35587"/>
                  <a:pt x="112494" y="35587"/>
                </a:cubicBezTo>
                <a:cubicBezTo>
                  <a:pt x="112406" y="35587"/>
                  <a:pt x="112406" y="35587"/>
                  <a:pt x="112406" y="35587"/>
                </a:cubicBezTo>
                <a:cubicBezTo>
                  <a:pt x="111876" y="36021"/>
                  <a:pt x="111523" y="37106"/>
                  <a:pt x="111346" y="37757"/>
                </a:cubicBezTo>
                <a:cubicBezTo>
                  <a:pt x="111346" y="38408"/>
                  <a:pt x="111876" y="38408"/>
                  <a:pt x="112406" y="37974"/>
                </a:cubicBezTo>
                <a:lnTo>
                  <a:pt x="112494" y="37974"/>
                </a:lnTo>
                <a:close/>
                <a:moveTo>
                  <a:pt x="104900" y="41663"/>
                </a:moveTo>
                <a:cubicBezTo>
                  <a:pt x="104635" y="42531"/>
                  <a:pt x="103664" y="41446"/>
                  <a:pt x="103841" y="41012"/>
                </a:cubicBezTo>
                <a:cubicBezTo>
                  <a:pt x="104105" y="40795"/>
                  <a:pt x="105165" y="41012"/>
                  <a:pt x="104900" y="41663"/>
                </a:cubicBezTo>
                <a:close/>
                <a:moveTo>
                  <a:pt x="86357" y="28643"/>
                </a:moveTo>
                <a:cubicBezTo>
                  <a:pt x="85562" y="27558"/>
                  <a:pt x="85121" y="28643"/>
                  <a:pt x="84503" y="29511"/>
                </a:cubicBezTo>
                <a:cubicBezTo>
                  <a:pt x="83973" y="30596"/>
                  <a:pt x="84591" y="29511"/>
                  <a:pt x="85651" y="30162"/>
                </a:cubicBezTo>
                <a:cubicBezTo>
                  <a:pt x="87417" y="31030"/>
                  <a:pt x="87152" y="29511"/>
                  <a:pt x="86357" y="28643"/>
                </a:cubicBezTo>
                <a:close/>
                <a:moveTo>
                  <a:pt x="91302" y="25171"/>
                </a:moveTo>
                <a:cubicBezTo>
                  <a:pt x="92008" y="25171"/>
                  <a:pt x="92185" y="23869"/>
                  <a:pt x="91743" y="24303"/>
                </a:cubicBezTo>
                <a:cubicBezTo>
                  <a:pt x="91479" y="24303"/>
                  <a:pt x="91479" y="22784"/>
                  <a:pt x="90772" y="23652"/>
                </a:cubicBezTo>
                <a:cubicBezTo>
                  <a:pt x="90154" y="24303"/>
                  <a:pt x="90949" y="22784"/>
                  <a:pt x="89889" y="23218"/>
                </a:cubicBezTo>
                <a:cubicBezTo>
                  <a:pt x="88741" y="23652"/>
                  <a:pt x="89094" y="22133"/>
                  <a:pt x="88918" y="22784"/>
                </a:cubicBezTo>
                <a:cubicBezTo>
                  <a:pt x="88653" y="23218"/>
                  <a:pt x="88211" y="24303"/>
                  <a:pt x="89713" y="24954"/>
                </a:cubicBezTo>
                <a:cubicBezTo>
                  <a:pt x="90507" y="25605"/>
                  <a:pt x="90684" y="25171"/>
                  <a:pt x="91302" y="25171"/>
                </a:cubicBezTo>
                <a:close/>
                <a:moveTo>
                  <a:pt x="87947" y="22784"/>
                </a:moveTo>
                <a:cubicBezTo>
                  <a:pt x="88476" y="22784"/>
                  <a:pt x="87328" y="21482"/>
                  <a:pt x="86622" y="21916"/>
                </a:cubicBezTo>
                <a:cubicBezTo>
                  <a:pt x="86092" y="22133"/>
                  <a:pt x="85651" y="20180"/>
                  <a:pt x="85121" y="20831"/>
                </a:cubicBezTo>
                <a:cubicBezTo>
                  <a:pt x="84591" y="21482"/>
                  <a:pt x="85298" y="22133"/>
                  <a:pt x="85033" y="22567"/>
                </a:cubicBezTo>
                <a:cubicBezTo>
                  <a:pt x="84768" y="22567"/>
                  <a:pt x="84061" y="21265"/>
                  <a:pt x="83620" y="20397"/>
                </a:cubicBezTo>
                <a:cubicBezTo>
                  <a:pt x="83267" y="20180"/>
                  <a:pt x="83090" y="20397"/>
                  <a:pt x="82560" y="21482"/>
                </a:cubicBezTo>
                <a:cubicBezTo>
                  <a:pt x="82030" y="22133"/>
                  <a:pt x="82737" y="22784"/>
                  <a:pt x="82472" y="23218"/>
                </a:cubicBezTo>
                <a:cubicBezTo>
                  <a:pt x="82030" y="23652"/>
                  <a:pt x="82560" y="24520"/>
                  <a:pt x="83532" y="25605"/>
                </a:cubicBezTo>
                <a:cubicBezTo>
                  <a:pt x="84326" y="26256"/>
                  <a:pt x="83796" y="24520"/>
                  <a:pt x="84503" y="24954"/>
                </a:cubicBezTo>
                <a:cubicBezTo>
                  <a:pt x="85121" y="25605"/>
                  <a:pt x="85386" y="23869"/>
                  <a:pt x="85827" y="24954"/>
                </a:cubicBezTo>
                <a:cubicBezTo>
                  <a:pt x="86269" y="25605"/>
                  <a:pt x="86799" y="24520"/>
                  <a:pt x="87593" y="24303"/>
                </a:cubicBezTo>
                <a:cubicBezTo>
                  <a:pt x="88211" y="23652"/>
                  <a:pt x="87328" y="22784"/>
                  <a:pt x="87947" y="22784"/>
                </a:cubicBezTo>
                <a:close/>
                <a:moveTo>
                  <a:pt x="81501" y="23218"/>
                </a:moveTo>
                <a:cubicBezTo>
                  <a:pt x="80971" y="23869"/>
                  <a:pt x="81236" y="21265"/>
                  <a:pt x="81501" y="21916"/>
                </a:cubicBezTo>
                <a:cubicBezTo>
                  <a:pt x="81766" y="22567"/>
                  <a:pt x="81766" y="22784"/>
                  <a:pt x="81501" y="23218"/>
                </a:cubicBezTo>
                <a:close/>
                <a:moveTo>
                  <a:pt x="75055" y="32549"/>
                </a:moveTo>
                <a:cubicBezTo>
                  <a:pt x="75320" y="32549"/>
                  <a:pt x="75231" y="32549"/>
                  <a:pt x="75761" y="32983"/>
                </a:cubicBezTo>
                <a:cubicBezTo>
                  <a:pt x="76379" y="33634"/>
                  <a:pt x="76821" y="34719"/>
                  <a:pt x="77086" y="33634"/>
                </a:cubicBezTo>
                <a:cubicBezTo>
                  <a:pt x="77174" y="32549"/>
                  <a:pt x="76114" y="32549"/>
                  <a:pt x="76821" y="32332"/>
                </a:cubicBezTo>
                <a:cubicBezTo>
                  <a:pt x="77350" y="31898"/>
                  <a:pt x="76026" y="31681"/>
                  <a:pt x="76644" y="31247"/>
                </a:cubicBezTo>
                <a:cubicBezTo>
                  <a:pt x="77350" y="31030"/>
                  <a:pt x="76291" y="29945"/>
                  <a:pt x="75761" y="29511"/>
                </a:cubicBezTo>
                <a:cubicBezTo>
                  <a:pt x="75231" y="28860"/>
                  <a:pt x="75055" y="31030"/>
                  <a:pt x="74966" y="29945"/>
                </a:cubicBezTo>
                <a:cubicBezTo>
                  <a:pt x="74790" y="28860"/>
                  <a:pt x="74348" y="29511"/>
                  <a:pt x="73818" y="28860"/>
                </a:cubicBezTo>
                <a:cubicBezTo>
                  <a:pt x="73289" y="28209"/>
                  <a:pt x="72406" y="29294"/>
                  <a:pt x="72759" y="29945"/>
                </a:cubicBezTo>
                <a:cubicBezTo>
                  <a:pt x="73200" y="31030"/>
                  <a:pt x="71964" y="31247"/>
                  <a:pt x="72759" y="31681"/>
                </a:cubicBezTo>
                <a:cubicBezTo>
                  <a:pt x="73465" y="31898"/>
                  <a:pt x="73730" y="31898"/>
                  <a:pt x="74613" y="33417"/>
                </a:cubicBezTo>
                <a:cubicBezTo>
                  <a:pt x="75231" y="33634"/>
                  <a:pt x="74613" y="32549"/>
                  <a:pt x="75055" y="32549"/>
                </a:cubicBezTo>
                <a:close/>
                <a:moveTo>
                  <a:pt x="65253" y="26256"/>
                </a:moveTo>
                <a:cubicBezTo>
                  <a:pt x="64547" y="25822"/>
                  <a:pt x="64194" y="26473"/>
                  <a:pt x="64812" y="27341"/>
                </a:cubicBezTo>
                <a:cubicBezTo>
                  <a:pt x="65607" y="28209"/>
                  <a:pt x="66048" y="26256"/>
                  <a:pt x="65253" y="26256"/>
                </a:cubicBezTo>
                <a:close/>
                <a:moveTo>
                  <a:pt x="56512" y="14104"/>
                </a:moveTo>
                <a:cubicBezTo>
                  <a:pt x="57218" y="13670"/>
                  <a:pt x="57748" y="13453"/>
                  <a:pt x="58896" y="13453"/>
                </a:cubicBezTo>
                <a:cubicBezTo>
                  <a:pt x="60309" y="13019"/>
                  <a:pt x="60397" y="12368"/>
                  <a:pt x="59690" y="11500"/>
                </a:cubicBezTo>
                <a:cubicBezTo>
                  <a:pt x="59072" y="9981"/>
                  <a:pt x="59161" y="9764"/>
                  <a:pt x="58278" y="11066"/>
                </a:cubicBezTo>
                <a:cubicBezTo>
                  <a:pt x="57483" y="12802"/>
                  <a:pt x="58896" y="9764"/>
                  <a:pt x="58543" y="9330"/>
                </a:cubicBezTo>
                <a:cubicBezTo>
                  <a:pt x="58101" y="9113"/>
                  <a:pt x="57571" y="8462"/>
                  <a:pt x="57218" y="10415"/>
                </a:cubicBezTo>
                <a:cubicBezTo>
                  <a:pt x="56600" y="12368"/>
                  <a:pt x="56600" y="10632"/>
                  <a:pt x="56070" y="13670"/>
                </a:cubicBezTo>
                <a:cubicBezTo>
                  <a:pt x="55805" y="14321"/>
                  <a:pt x="55982" y="14755"/>
                  <a:pt x="56512" y="14104"/>
                </a:cubicBezTo>
                <a:close/>
                <a:moveTo>
                  <a:pt x="54481" y="11066"/>
                </a:moveTo>
                <a:cubicBezTo>
                  <a:pt x="55452" y="12151"/>
                  <a:pt x="56600" y="11066"/>
                  <a:pt x="56247" y="10415"/>
                </a:cubicBezTo>
                <a:cubicBezTo>
                  <a:pt x="55805" y="9764"/>
                  <a:pt x="56777" y="8028"/>
                  <a:pt x="56335" y="7594"/>
                </a:cubicBezTo>
                <a:cubicBezTo>
                  <a:pt x="55805" y="6943"/>
                  <a:pt x="56070" y="6292"/>
                  <a:pt x="55275" y="7377"/>
                </a:cubicBezTo>
                <a:cubicBezTo>
                  <a:pt x="54392" y="8028"/>
                  <a:pt x="55187" y="6726"/>
                  <a:pt x="54746" y="6726"/>
                </a:cubicBezTo>
                <a:cubicBezTo>
                  <a:pt x="54392" y="6726"/>
                  <a:pt x="53245" y="6292"/>
                  <a:pt x="52715" y="6943"/>
                </a:cubicBezTo>
                <a:cubicBezTo>
                  <a:pt x="52185" y="8028"/>
                  <a:pt x="51125" y="9113"/>
                  <a:pt x="51920" y="9113"/>
                </a:cubicBezTo>
                <a:cubicBezTo>
                  <a:pt x="52891" y="9113"/>
                  <a:pt x="52185" y="9764"/>
                  <a:pt x="52715" y="10415"/>
                </a:cubicBezTo>
                <a:cubicBezTo>
                  <a:pt x="52980" y="10632"/>
                  <a:pt x="53421" y="10415"/>
                  <a:pt x="54481" y="11066"/>
                </a:cubicBezTo>
                <a:close/>
                <a:moveTo>
                  <a:pt x="50860" y="6726"/>
                </a:moveTo>
                <a:cubicBezTo>
                  <a:pt x="50066" y="6726"/>
                  <a:pt x="49889" y="7377"/>
                  <a:pt x="50419" y="7594"/>
                </a:cubicBezTo>
                <a:cubicBezTo>
                  <a:pt x="51037" y="8028"/>
                  <a:pt x="50684" y="8679"/>
                  <a:pt x="51302" y="8462"/>
                </a:cubicBezTo>
                <a:cubicBezTo>
                  <a:pt x="52891" y="7377"/>
                  <a:pt x="51567" y="6943"/>
                  <a:pt x="50860" y="6726"/>
                </a:cubicBezTo>
                <a:close/>
                <a:moveTo>
                  <a:pt x="52980" y="6292"/>
                </a:moveTo>
                <a:cubicBezTo>
                  <a:pt x="54216" y="6075"/>
                  <a:pt x="54746" y="6726"/>
                  <a:pt x="54392" y="5424"/>
                </a:cubicBezTo>
                <a:cubicBezTo>
                  <a:pt x="54128" y="4339"/>
                  <a:pt x="55011" y="4990"/>
                  <a:pt x="54922" y="4339"/>
                </a:cubicBezTo>
                <a:cubicBezTo>
                  <a:pt x="54746" y="3688"/>
                  <a:pt x="54392" y="4339"/>
                  <a:pt x="53951" y="3254"/>
                </a:cubicBezTo>
                <a:cubicBezTo>
                  <a:pt x="53421" y="2386"/>
                  <a:pt x="53245" y="1952"/>
                  <a:pt x="52715" y="2603"/>
                </a:cubicBezTo>
                <a:cubicBezTo>
                  <a:pt x="52362" y="3254"/>
                  <a:pt x="52097" y="2603"/>
                  <a:pt x="51390" y="3688"/>
                </a:cubicBezTo>
                <a:cubicBezTo>
                  <a:pt x="50684" y="4556"/>
                  <a:pt x="51832" y="3905"/>
                  <a:pt x="51390" y="4556"/>
                </a:cubicBezTo>
                <a:cubicBezTo>
                  <a:pt x="50860" y="5641"/>
                  <a:pt x="50066" y="6075"/>
                  <a:pt x="50596" y="6075"/>
                </a:cubicBezTo>
                <a:cubicBezTo>
                  <a:pt x="51302" y="6292"/>
                  <a:pt x="51125" y="6726"/>
                  <a:pt x="51920" y="6943"/>
                </a:cubicBezTo>
                <a:cubicBezTo>
                  <a:pt x="52891" y="6943"/>
                  <a:pt x="51920" y="6292"/>
                  <a:pt x="52980" y="6292"/>
                </a:cubicBezTo>
                <a:close/>
                <a:moveTo>
                  <a:pt x="49536" y="2603"/>
                </a:moveTo>
                <a:cubicBezTo>
                  <a:pt x="49536" y="2386"/>
                  <a:pt x="50419" y="2603"/>
                  <a:pt x="50419" y="3037"/>
                </a:cubicBezTo>
                <a:cubicBezTo>
                  <a:pt x="50419" y="3254"/>
                  <a:pt x="49359" y="3254"/>
                  <a:pt x="49536" y="2603"/>
                </a:cubicBezTo>
                <a:close/>
                <a:moveTo>
                  <a:pt x="52980" y="17793"/>
                </a:moveTo>
                <a:cubicBezTo>
                  <a:pt x="52891" y="17576"/>
                  <a:pt x="53863" y="16708"/>
                  <a:pt x="53951" y="17142"/>
                </a:cubicBezTo>
                <a:cubicBezTo>
                  <a:pt x="54128" y="17576"/>
                  <a:pt x="53421" y="18227"/>
                  <a:pt x="52980" y="17793"/>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graphicFrame>
        <p:nvGraphicFramePr>
          <p:cNvPr id="9" name="Object 8" hidden="1">
            <a:extLst>
              <a:ext uri="{FF2B5EF4-FFF2-40B4-BE49-F238E27FC236}">
                <a16:creationId xmlns:a16="http://schemas.microsoft.com/office/drawing/2014/main" id="{9DB33DEF-F487-467C-8843-BCB3E35B3966}"/>
              </a:ext>
            </a:extLst>
          </p:cNvPr>
          <p:cNvGraphicFramePr>
            <a:graphicFrameLocks noChangeAspect="1"/>
          </p:cNvGraphicFramePr>
          <p:nvPr>
            <p:custDataLst>
              <p:tags r:id="rId2"/>
            </p:custDataLst>
            <p:extLst/>
          </p:nvPr>
        </p:nvGraphicFramePr>
        <p:xfrm>
          <a:off x="5644" y="4100"/>
          <a:ext cx="2116" cy="2116"/>
        </p:xfrm>
        <a:graphic>
          <a:graphicData uri="http://schemas.openxmlformats.org/presentationml/2006/ole">
            <mc:AlternateContent xmlns:mc="http://schemas.openxmlformats.org/markup-compatibility/2006">
              <mc:Choice xmlns:v="urn:schemas-microsoft-com:vml" Requires="v">
                <p:oleObj spid="_x0000_s262205" name="think-cell Folie" r:id="rId5" imgW="395" imgH="396" progId="TCLayout.ActiveDocument.1">
                  <p:embed/>
                </p:oleObj>
              </mc:Choice>
              <mc:Fallback>
                <p:oleObj name="think-cell Folie" r:id="rId5" imgW="395" imgH="396" progId="TCLayout.ActiveDocument.1">
                  <p:embed/>
                  <p:pic>
                    <p:nvPicPr>
                      <p:cNvPr id="0" name=""/>
                      <p:cNvPicPr/>
                      <p:nvPr/>
                    </p:nvPicPr>
                    <p:blipFill>
                      <a:blip r:embed="rId6"/>
                      <a:stretch>
                        <a:fillRect/>
                      </a:stretch>
                    </p:blipFill>
                    <p:spPr>
                      <a:xfrm>
                        <a:off x="5644" y="4100"/>
                        <a:ext cx="2116" cy="2116"/>
                      </a:xfrm>
                      <a:prstGeom prst="rect">
                        <a:avLst/>
                      </a:prstGeom>
                    </p:spPr>
                  </p:pic>
                </p:oleObj>
              </mc:Fallback>
            </mc:AlternateContent>
          </a:graphicData>
        </a:graphic>
      </p:graphicFrame>
      <p:sp>
        <p:nvSpPr>
          <p:cNvPr id="228" name="Rechteck 227">
            <a:extLst>
              <a:ext uri="{FF2B5EF4-FFF2-40B4-BE49-F238E27FC236}">
                <a16:creationId xmlns:a16="http://schemas.microsoft.com/office/drawing/2014/main" id="{5577206F-594E-4D72-84AD-80E276B42EAB}"/>
              </a:ext>
            </a:extLst>
          </p:cNvPr>
          <p:cNvSpPr/>
          <p:nvPr/>
        </p:nvSpPr>
        <p:spPr>
          <a:xfrm>
            <a:off x="242738" y="5649682"/>
            <a:ext cx="174334" cy="174334"/>
          </a:xfrm>
          <a:prstGeom prst="rect">
            <a:avLst/>
          </a:prstGeom>
          <a:solidFill>
            <a:srgbClr val="95C0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089"/>
            <a:endParaRPr lang="en-US" sz="2800" dirty="0">
              <a:solidFill>
                <a:prstClr val="white"/>
              </a:solidFill>
            </a:endParaRPr>
          </a:p>
        </p:txBody>
      </p:sp>
      <p:sp>
        <p:nvSpPr>
          <p:cNvPr id="229" name="Rechteck 228">
            <a:extLst>
              <a:ext uri="{FF2B5EF4-FFF2-40B4-BE49-F238E27FC236}">
                <a16:creationId xmlns:a16="http://schemas.microsoft.com/office/drawing/2014/main" id="{092314F1-C44B-439B-A115-D0C52CCA853A}"/>
              </a:ext>
            </a:extLst>
          </p:cNvPr>
          <p:cNvSpPr/>
          <p:nvPr/>
        </p:nvSpPr>
        <p:spPr>
          <a:xfrm>
            <a:off x="242738" y="5947462"/>
            <a:ext cx="174334" cy="17433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089"/>
            <a:endParaRPr lang="en-US" sz="2800" dirty="0">
              <a:solidFill>
                <a:prstClr val="white"/>
              </a:solidFill>
            </a:endParaRPr>
          </a:p>
        </p:txBody>
      </p:sp>
      <p:sp>
        <p:nvSpPr>
          <p:cNvPr id="230" name="Rechteck 229">
            <a:extLst>
              <a:ext uri="{FF2B5EF4-FFF2-40B4-BE49-F238E27FC236}">
                <a16:creationId xmlns:a16="http://schemas.microsoft.com/office/drawing/2014/main" id="{F2F40321-2157-4928-87B3-EFC155CCA4F8}"/>
              </a:ext>
            </a:extLst>
          </p:cNvPr>
          <p:cNvSpPr/>
          <p:nvPr/>
        </p:nvSpPr>
        <p:spPr>
          <a:xfrm>
            <a:off x="242738" y="6245242"/>
            <a:ext cx="174334" cy="17433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089"/>
            <a:endParaRPr lang="en-US" sz="2800" dirty="0">
              <a:solidFill>
                <a:prstClr val="white"/>
              </a:solidFill>
            </a:endParaRPr>
          </a:p>
        </p:txBody>
      </p:sp>
      <p:sp>
        <p:nvSpPr>
          <p:cNvPr id="231" name="Textfeld 230">
            <a:extLst>
              <a:ext uri="{FF2B5EF4-FFF2-40B4-BE49-F238E27FC236}">
                <a16:creationId xmlns:a16="http://schemas.microsoft.com/office/drawing/2014/main" id="{606FC219-E634-4BFE-9006-6EB999BF70B9}"/>
              </a:ext>
            </a:extLst>
          </p:cNvPr>
          <p:cNvSpPr txBox="1"/>
          <p:nvPr/>
        </p:nvSpPr>
        <p:spPr>
          <a:xfrm>
            <a:off x="440072" y="5574231"/>
            <a:ext cx="2427588" cy="297325"/>
          </a:xfrm>
          <a:prstGeom prst="rect">
            <a:avLst/>
          </a:prstGeom>
          <a:noFill/>
        </p:spPr>
        <p:txBody>
          <a:bodyPr wrap="none" rtlCol="0">
            <a:spAutoFit/>
          </a:bodyPr>
          <a:lstStyle/>
          <a:p>
            <a:pPr defTabSz="1088089"/>
            <a:r>
              <a:rPr lang="ru-RU" sz="1332" dirty="0" smtClean="0">
                <a:solidFill>
                  <a:prstClr val="white"/>
                </a:solidFill>
                <a:latin typeface="CorpoS" pitchFamily="2" charset="0"/>
              </a:rPr>
              <a:t>Текущее покрытие парковки</a:t>
            </a:r>
            <a:endParaRPr lang="en-US" sz="1332" dirty="0">
              <a:solidFill>
                <a:prstClr val="white"/>
              </a:solidFill>
              <a:latin typeface="CorpoS" pitchFamily="2" charset="0"/>
            </a:endParaRPr>
          </a:p>
        </p:txBody>
      </p:sp>
      <p:sp>
        <p:nvSpPr>
          <p:cNvPr id="232" name="Textfeld 231">
            <a:extLst>
              <a:ext uri="{FF2B5EF4-FFF2-40B4-BE49-F238E27FC236}">
                <a16:creationId xmlns:a16="http://schemas.microsoft.com/office/drawing/2014/main" id="{9773E541-C0C6-42F5-BBE9-215FB72AEBFF}"/>
              </a:ext>
            </a:extLst>
          </p:cNvPr>
          <p:cNvSpPr txBox="1"/>
          <p:nvPr/>
        </p:nvSpPr>
        <p:spPr>
          <a:xfrm>
            <a:off x="440073" y="5871221"/>
            <a:ext cx="2340384" cy="297325"/>
          </a:xfrm>
          <a:prstGeom prst="rect">
            <a:avLst/>
          </a:prstGeom>
          <a:noFill/>
        </p:spPr>
        <p:txBody>
          <a:bodyPr wrap="none" rtlCol="0">
            <a:spAutoFit/>
          </a:bodyPr>
          <a:lstStyle/>
          <a:p>
            <a:pPr defTabSz="1088089"/>
            <a:r>
              <a:rPr lang="ru-RU" sz="1332" dirty="0" smtClean="0">
                <a:solidFill>
                  <a:prstClr val="white"/>
                </a:solidFill>
                <a:latin typeface="CorpoS" pitchFamily="2" charset="0"/>
              </a:rPr>
              <a:t>Текущее покрытие зарядки</a:t>
            </a:r>
            <a:endParaRPr lang="en-US" sz="1332" dirty="0">
              <a:solidFill>
                <a:prstClr val="white"/>
              </a:solidFill>
              <a:latin typeface="CorpoS" pitchFamily="2" charset="0"/>
            </a:endParaRPr>
          </a:p>
        </p:txBody>
      </p:sp>
      <p:sp>
        <p:nvSpPr>
          <p:cNvPr id="233" name="Textfeld 232">
            <a:extLst>
              <a:ext uri="{FF2B5EF4-FFF2-40B4-BE49-F238E27FC236}">
                <a16:creationId xmlns:a16="http://schemas.microsoft.com/office/drawing/2014/main" id="{9263EAF0-153A-43DA-A8AA-5B323032458C}"/>
              </a:ext>
            </a:extLst>
          </p:cNvPr>
          <p:cNvSpPr txBox="1"/>
          <p:nvPr/>
        </p:nvSpPr>
        <p:spPr>
          <a:xfrm>
            <a:off x="440072" y="6168210"/>
            <a:ext cx="1922642" cy="502317"/>
          </a:xfrm>
          <a:prstGeom prst="rect">
            <a:avLst/>
          </a:prstGeom>
          <a:noFill/>
        </p:spPr>
        <p:txBody>
          <a:bodyPr wrap="none" rtlCol="0">
            <a:spAutoFit/>
          </a:bodyPr>
          <a:lstStyle/>
          <a:p>
            <a:pPr defTabSz="1088089"/>
            <a:r>
              <a:rPr lang="ru-RU" sz="1332" dirty="0" smtClean="0">
                <a:solidFill>
                  <a:prstClr val="white"/>
                </a:solidFill>
                <a:latin typeface="CorpoS" pitchFamily="2" charset="0"/>
              </a:rPr>
              <a:t>Покрытие парковки и </a:t>
            </a:r>
          </a:p>
          <a:p>
            <a:pPr defTabSz="1088089"/>
            <a:r>
              <a:rPr lang="ru-RU" sz="1332" dirty="0" smtClean="0">
                <a:solidFill>
                  <a:prstClr val="white"/>
                </a:solidFill>
                <a:latin typeface="CorpoS" pitchFamily="2" charset="0"/>
              </a:rPr>
              <a:t>зарядки</a:t>
            </a:r>
            <a:endParaRPr lang="en-US" sz="1332" dirty="0">
              <a:solidFill>
                <a:prstClr val="white"/>
              </a:solidFill>
              <a:latin typeface="CorpoS" pitchFamily="2" charset="0"/>
            </a:endParaRPr>
          </a:p>
        </p:txBody>
      </p:sp>
      <p:sp>
        <p:nvSpPr>
          <p:cNvPr id="14" name="Gleichschenkliges Dreieck 13"/>
          <p:cNvSpPr/>
          <p:nvPr/>
        </p:nvSpPr>
        <p:spPr>
          <a:xfrm>
            <a:off x="11655345" y="5424017"/>
            <a:ext cx="576869" cy="31334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089"/>
            <a:endParaRPr lang="de-DE" sz="2800" dirty="0" err="1">
              <a:solidFill>
                <a:prstClr val="white"/>
              </a:solidFill>
            </a:endParaRPr>
          </a:p>
        </p:txBody>
      </p:sp>
      <p:sp>
        <p:nvSpPr>
          <p:cNvPr id="15" name="Gleichschenkliges Dreieck 14"/>
          <p:cNvSpPr/>
          <p:nvPr/>
        </p:nvSpPr>
        <p:spPr>
          <a:xfrm rot="8940000">
            <a:off x="8363785" y="4328941"/>
            <a:ext cx="71960" cy="60923"/>
          </a:xfrm>
          <a:prstGeom prst="triangle">
            <a:avLst/>
          </a:prstGeom>
          <a:solidFill>
            <a:srgbClr val="D277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089"/>
            <a:endParaRPr lang="de-DE" sz="2800" dirty="0" err="1">
              <a:solidFill>
                <a:prstClr val="white"/>
              </a:solidFill>
            </a:endParaRPr>
          </a:p>
        </p:txBody>
      </p:sp>
      <p:sp>
        <p:nvSpPr>
          <p:cNvPr id="257" name="Freihandform: Form 10">
            <a:extLst>
              <a:ext uri="{FF2B5EF4-FFF2-40B4-BE49-F238E27FC236}">
                <a16:creationId xmlns:a16="http://schemas.microsoft.com/office/drawing/2014/main" id="{C86F15C2-E9C3-4FA6-9FC3-633F97D07B92}"/>
              </a:ext>
            </a:extLst>
          </p:cNvPr>
          <p:cNvSpPr/>
          <p:nvPr/>
        </p:nvSpPr>
        <p:spPr>
          <a:xfrm>
            <a:off x="10150745" y="5306462"/>
            <a:ext cx="1969156" cy="1401022"/>
          </a:xfrm>
          <a:custGeom>
            <a:avLst/>
            <a:gdLst>
              <a:gd name="connsiteX0" fmla="*/ 3746500 w 3981450"/>
              <a:gd name="connsiteY0" fmla="*/ 2546350 h 2819400"/>
              <a:gd name="connsiteX1" fmla="*/ 3981450 w 3981450"/>
              <a:gd name="connsiteY1" fmla="*/ 781050 h 2819400"/>
              <a:gd name="connsiteX2" fmla="*/ 0 w 3981450"/>
              <a:gd name="connsiteY2" fmla="*/ 0 h 2819400"/>
              <a:gd name="connsiteX3" fmla="*/ 0 w 3981450"/>
              <a:gd name="connsiteY3" fmla="*/ 2819400 h 2819400"/>
              <a:gd name="connsiteX4" fmla="*/ 3746500 w 3981450"/>
              <a:gd name="connsiteY4" fmla="*/ 2546350 h 2819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2819400">
                <a:moveTo>
                  <a:pt x="3746500" y="2546350"/>
                </a:moveTo>
                <a:lnTo>
                  <a:pt x="3981450" y="781050"/>
                </a:lnTo>
                <a:lnTo>
                  <a:pt x="0" y="0"/>
                </a:lnTo>
                <a:lnTo>
                  <a:pt x="0" y="2819400"/>
                </a:lnTo>
                <a:lnTo>
                  <a:pt x="3746500" y="254635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590" tIns="27294" rIns="54590" bIns="27294" rtlCol="0" anchor="ctr"/>
          <a:lstStyle/>
          <a:p>
            <a:pPr algn="ctr" defTabSz="1088089"/>
            <a:endParaRPr lang="de-DE" sz="2800" dirty="0" err="1">
              <a:solidFill>
                <a:prstClr val="white"/>
              </a:solidFill>
            </a:endParaRPr>
          </a:p>
        </p:txBody>
      </p:sp>
      <p:pic>
        <p:nvPicPr>
          <p:cNvPr id="258" name="Picture 38" descr="Image result for parknow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317611" y="6073490"/>
            <a:ext cx="632959" cy="225052"/>
          </a:xfrm>
          <a:prstGeom prst="rect">
            <a:avLst/>
          </a:prstGeom>
          <a:noFill/>
          <a:extLst>
            <a:ext uri="{909E8E84-426E-40DD-AFC4-6F175D3DCCD1}">
              <a14:hiddenFill xmlns:a14="http://schemas.microsoft.com/office/drawing/2010/main">
                <a:solidFill>
                  <a:srgbClr val="FFFFFF"/>
                </a:solidFill>
              </a14:hiddenFill>
            </a:ext>
          </a:extLst>
        </p:spPr>
      </p:pic>
      <p:pic>
        <p:nvPicPr>
          <p:cNvPr id="259" name="Picture 44" descr="Related image"/>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43912" y="6088058"/>
            <a:ext cx="590660" cy="590660"/>
          </a:xfrm>
          <a:prstGeom prst="rect">
            <a:avLst/>
          </a:prstGeom>
          <a:noFill/>
          <a:extLst>
            <a:ext uri="{909E8E84-426E-40DD-AFC4-6F175D3DCCD1}">
              <a14:hiddenFill xmlns:a14="http://schemas.microsoft.com/office/drawing/2010/main">
                <a:solidFill>
                  <a:srgbClr val="FFFFFF"/>
                </a:solidFill>
              </a14:hiddenFill>
            </a:ext>
          </a:extLst>
        </p:spPr>
      </p:pic>
      <p:pic>
        <p:nvPicPr>
          <p:cNvPr id="260" name="Picture 42" descr="Related image"/>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71436" y="5676705"/>
            <a:ext cx="673417" cy="673417"/>
          </a:xfrm>
          <a:prstGeom prst="rect">
            <a:avLst/>
          </a:prstGeom>
          <a:noFill/>
          <a:extLst>
            <a:ext uri="{909E8E84-426E-40DD-AFC4-6F175D3DCCD1}">
              <a14:hiddenFill xmlns:a14="http://schemas.microsoft.com/office/drawing/2010/main">
                <a:solidFill>
                  <a:srgbClr val="FFFFFF"/>
                </a:solidFill>
              </a14:hiddenFill>
            </a:ext>
          </a:extLst>
        </p:spPr>
      </p:pic>
      <p:pic>
        <p:nvPicPr>
          <p:cNvPr id="261" name="Grafik 260"/>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505084" y="5690118"/>
            <a:ext cx="751294" cy="131512"/>
          </a:xfrm>
          <a:prstGeom prst="rect">
            <a:avLst/>
          </a:prstGeom>
        </p:spPr>
      </p:pic>
      <p:pic>
        <p:nvPicPr>
          <p:cNvPr id="262" name="Picture 37"/>
          <p:cNvPicPr>
            <a:picLocks noChangeAspect="1"/>
          </p:cNvPicPr>
          <p:nvPr/>
        </p:nvPicPr>
        <p:blipFill>
          <a:blip r:embed="rId11"/>
          <a:stretch>
            <a:fillRect/>
          </a:stretch>
        </p:blipFill>
        <p:spPr>
          <a:xfrm>
            <a:off x="10301953" y="5902697"/>
            <a:ext cx="347357" cy="352729"/>
          </a:xfrm>
          <a:prstGeom prst="rect">
            <a:avLst/>
          </a:prstGeom>
        </p:spPr>
      </p:pic>
      <p:pic>
        <p:nvPicPr>
          <p:cNvPr id="263" name="Grafik 262">
            <a:extLst>
              <a:ext uri="{FF2B5EF4-FFF2-40B4-BE49-F238E27FC236}">
                <a16:creationId xmlns:a16="http://schemas.microsoft.com/office/drawing/2014/main" id="{02CE4A2D-C137-48D1-A006-EF75DEFB6B19}"/>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flipH="1">
            <a:off x="3255198" y="2869989"/>
            <a:ext cx="2099879" cy="2558591"/>
          </a:xfrm>
          <a:prstGeom prst="rect">
            <a:avLst/>
          </a:prstGeom>
        </p:spPr>
      </p:pic>
      <p:sp>
        <p:nvSpPr>
          <p:cNvPr id="251" name="Rechteck 250"/>
          <p:cNvSpPr/>
          <p:nvPr/>
        </p:nvSpPr>
        <p:spPr bwMode="gray">
          <a:xfrm>
            <a:off x="2304000" y="431999"/>
            <a:ext cx="9501487" cy="828000"/>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2000" b="1" dirty="0" smtClean="0">
                <a:solidFill>
                  <a:srgbClr val="FFFF00"/>
                </a:solidFill>
                <a:latin typeface="CorpoS" pitchFamily="2" charset="0"/>
              </a:rPr>
              <a:t>НАИБОЛЬШАЯ СЕТЬ ЗАРЯДКИ В ЕС</a:t>
            </a:r>
            <a:endParaRPr lang="en-US" sz="2000" b="1" dirty="0" smtClean="0">
              <a:solidFill>
                <a:srgbClr val="FFFF00"/>
              </a:solidFill>
              <a:latin typeface="CorpoS" pitchFamily="2" charset="0"/>
            </a:endParaRPr>
          </a:p>
          <a:p>
            <a:r>
              <a:rPr lang="ru-RU" sz="2000" b="1" dirty="0" smtClean="0">
                <a:solidFill>
                  <a:schemeClr val="bg1"/>
                </a:solidFill>
                <a:latin typeface="CorpoS" pitchFamily="2" charset="0"/>
              </a:rPr>
              <a:t>И ЦИФРОВОЙ ПОСТАВЩИК ПАРКОВОК В ЕС  И СЕВЕРНОЙ</a:t>
            </a:r>
          </a:p>
          <a:p>
            <a:r>
              <a:rPr lang="ru-RU" sz="2000" b="1" dirty="0" smtClean="0">
                <a:solidFill>
                  <a:schemeClr val="bg1"/>
                </a:solidFill>
                <a:latin typeface="CorpoS" pitchFamily="2" charset="0"/>
              </a:rPr>
              <a:t> АМЕРИКЕ</a:t>
            </a:r>
            <a:endParaRPr lang="en-US" sz="2000" b="1" dirty="0">
              <a:solidFill>
                <a:srgbClr val="FFFF00"/>
              </a:solidFill>
              <a:latin typeface="CorpoS" pitchFamily="2" charset="0"/>
            </a:endParaRPr>
          </a:p>
        </p:txBody>
      </p:sp>
      <p:pic>
        <p:nvPicPr>
          <p:cNvPr id="255" name="Grafik 254"/>
          <p:cNvPicPr>
            <a:picLocks noChangeAspect="1"/>
          </p:cNvPicPr>
          <p:nvPr/>
        </p:nvPicPr>
        <p:blipFill>
          <a:blip r:embed="rId13"/>
          <a:stretch>
            <a:fillRect/>
          </a:stretch>
        </p:blipFill>
        <p:spPr>
          <a:xfrm>
            <a:off x="180000" y="252000"/>
            <a:ext cx="2153790" cy="1206000"/>
          </a:xfrm>
          <a:prstGeom prst="rect">
            <a:avLst/>
          </a:prstGeom>
        </p:spPr>
      </p:pic>
      <p:sp>
        <p:nvSpPr>
          <p:cNvPr id="242" name="Shape 1717"/>
          <p:cNvSpPr/>
          <p:nvPr/>
        </p:nvSpPr>
        <p:spPr>
          <a:xfrm>
            <a:off x="3582403" y="3702869"/>
            <a:ext cx="59297" cy="27210"/>
          </a:xfrm>
          <a:custGeom>
            <a:avLst/>
            <a:gdLst/>
            <a:ahLst/>
            <a:cxnLst/>
            <a:rect l="0" t="0" r="0" b="0"/>
            <a:pathLst>
              <a:path w="120000" h="120000" extrusionOk="0">
                <a:moveTo>
                  <a:pt x="6666" y="93333"/>
                </a:moveTo>
                <a:cubicBezTo>
                  <a:pt x="0" y="93333"/>
                  <a:pt x="0" y="93333"/>
                  <a:pt x="6666" y="80000"/>
                </a:cubicBezTo>
                <a:cubicBezTo>
                  <a:pt x="26666" y="53333"/>
                  <a:pt x="20000" y="53333"/>
                  <a:pt x="26666" y="53333"/>
                </a:cubicBezTo>
                <a:cubicBezTo>
                  <a:pt x="40000" y="53333"/>
                  <a:pt x="40000" y="53333"/>
                  <a:pt x="53333" y="53333"/>
                </a:cubicBezTo>
                <a:cubicBezTo>
                  <a:pt x="60000" y="26666"/>
                  <a:pt x="73333" y="53333"/>
                  <a:pt x="80000" y="26666"/>
                </a:cubicBezTo>
                <a:cubicBezTo>
                  <a:pt x="100000" y="0"/>
                  <a:pt x="113333" y="0"/>
                  <a:pt x="93333" y="26666"/>
                </a:cubicBezTo>
                <a:cubicBezTo>
                  <a:pt x="80000" y="53333"/>
                  <a:pt x="80000" y="53333"/>
                  <a:pt x="93333" y="53333"/>
                </a:cubicBezTo>
                <a:cubicBezTo>
                  <a:pt x="100000" y="26666"/>
                  <a:pt x="100000" y="53333"/>
                  <a:pt x="113333" y="26666"/>
                </a:cubicBezTo>
                <a:cubicBezTo>
                  <a:pt x="120000" y="26666"/>
                  <a:pt x="120000" y="26666"/>
                  <a:pt x="113333" y="26666"/>
                </a:cubicBezTo>
                <a:cubicBezTo>
                  <a:pt x="100000" y="53333"/>
                  <a:pt x="80000" y="80000"/>
                  <a:pt x="73333" y="80000"/>
                </a:cubicBezTo>
                <a:cubicBezTo>
                  <a:pt x="60000" y="80000"/>
                  <a:pt x="60000" y="93333"/>
                  <a:pt x="53333" y="93333"/>
                </a:cubicBezTo>
                <a:cubicBezTo>
                  <a:pt x="40000" y="93333"/>
                  <a:pt x="26666" y="93333"/>
                  <a:pt x="26666" y="93333"/>
                </a:cubicBezTo>
                <a:cubicBezTo>
                  <a:pt x="26666" y="120000"/>
                  <a:pt x="6666" y="120000"/>
                  <a:pt x="6666" y="120000"/>
                </a:cubicBezTo>
                <a:cubicBezTo>
                  <a:pt x="20000" y="93333"/>
                  <a:pt x="20000" y="93333"/>
                  <a:pt x="6666" y="93333"/>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43" name="Shape 1718"/>
          <p:cNvSpPr/>
          <p:nvPr/>
        </p:nvSpPr>
        <p:spPr>
          <a:xfrm>
            <a:off x="4866670" y="2724872"/>
            <a:ext cx="296500" cy="145659"/>
          </a:xfrm>
          <a:custGeom>
            <a:avLst/>
            <a:gdLst/>
            <a:ahLst/>
            <a:cxnLst/>
            <a:rect l="0" t="0" r="0" b="0"/>
            <a:pathLst>
              <a:path w="120000" h="120000" extrusionOk="0">
                <a:moveTo>
                  <a:pt x="108000" y="33191"/>
                </a:moveTo>
                <a:cubicBezTo>
                  <a:pt x="112000" y="33191"/>
                  <a:pt x="110666" y="35744"/>
                  <a:pt x="114666" y="40851"/>
                </a:cubicBezTo>
                <a:cubicBezTo>
                  <a:pt x="120000" y="40851"/>
                  <a:pt x="120000" y="56170"/>
                  <a:pt x="118666" y="63829"/>
                </a:cubicBezTo>
                <a:cubicBezTo>
                  <a:pt x="114666" y="71489"/>
                  <a:pt x="114666" y="63829"/>
                  <a:pt x="110666" y="76595"/>
                </a:cubicBezTo>
                <a:cubicBezTo>
                  <a:pt x="106666" y="86808"/>
                  <a:pt x="102666" y="79148"/>
                  <a:pt x="96000" y="86808"/>
                </a:cubicBezTo>
                <a:cubicBezTo>
                  <a:pt x="88000" y="94468"/>
                  <a:pt x="85333" y="104680"/>
                  <a:pt x="80000" y="104680"/>
                </a:cubicBezTo>
                <a:cubicBezTo>
                  <a:pt x="72000" y="104680"/>
                  <a:pt x="76000" y="112340"/>
                  <a:pt x="68000" y="114893"/>
                </a:cubicBezTo>
                <a:cubicBezTo>
                  <a:pt x="60000" y="120000"/>
                  <a:pt x="61333" y="112340"/>
                  <a:pt x="53333" y="112340"/>
                </a:cubicBezTo>
                <a:cubicBezTo>
                  <a:pt x="45333" y="112340"/>
                  <a:pt x="45333" y="99574"/>
                  <a:pt x="34666" y="99574"/>
                </a:cubicBezTo>
                <a:cubicBezTo>
                  <a:pt x="25333" y="99574"/>
                  <a:pt x="22666" y="104680"/>
                  <a:pt x="22666" y="94468"/>
                </a:cubicBezTo>
                <a:cubicBezTo>
                  <a:pt x="21333" y="86808"/>
                  <a:pt x="26666" y="99574"/>
                  <a:pt x="29333" y="91914"/>
                </a:cubicBezTo>
                <a:cubicBezTo>
                  <a:pt x="30666" y="86808"/>
                  <a:pt x="30666" y="79148"/>
                  <a:pt x="26666" y="76595"/>
                </a:cubicBezTo>
                <a:cubicBezTo>
                  <a:pt x="25333" y="76595"/>
                  <a:pt x="29333" y="68936"/>
                  <a:pt x="22666" y="68936"/>
                </a:cubicBezTo>
                <a:cubicBezTo>
                  <a:pt x="13333" y="63829"/>
                  <a:pt x="9333" y="71489"/>
                  <a:pt x="9333" y="63829"/>
                </a:cubicBezTo>
                <a:cubicBezTo>
                  <a:pt x="9333" y="61276"/>
                  <a:pt x="14666" y="63829"/>
                  <a:pt x="18666" y="61276"/>
                </a:cubicBezTo>
                <a:cubicBezTo>
                  <a:pt x="21333" y="56170"/>
                  <a:pt x="22666" y="63829"/>
                  <a:pt x="29333" y="61276"/>
                </a:cubicBezTo>
                <a:cubicBezTo>
                  <a:pt x="34666" y="51063"/>
                  <a:pt x="25333" y="61276"/>
                  <a:pt x="25333" y="51063"/>
                </a:cubicBezTo>
                <a:cubicBezTo>
                  <a:pt x="25333" y="48510"/>
                  <a:pt x="34666" y="43404"/>
                  <a:pt x="26666" y="43404"/>
                </a:cubicBezTo>
                <a:cubicBezTo>
                  <a:pt x="18666" y="40851"/>
                  <a:pt x="18666" y="40851"/>
                  <a:pt x="13333" y="43404"/>
                </a:cubicBezTo>
                <a:cubicBezTo>
                  <a:pt x="6666" y="48510"/>
                  <a:pt x="0" y="40851"/>
                  <a:pt x="2666" y="40851"/>
                </a:cubicBezTo>
                <a:cubicBezTo>
                  <a:pt x="5333" y="35744"/>
                  <a:pt x="9333" y="40851"/>
                  <a:pt x="6666" y="35744"/>
                </a:cubicBezTo>
                <a:cubicBezTo>
                  <a:pt x="6666" y="28085"/>
                  <a:pt x="10666" y="35744"/>
                  <a:pt x="10666" y="28085"/>
                </a:cubicBezTo>
                <a:cubicBezTo>
                  <a:pt x="10666" y="20425"/>
                  <a:pt x="13333" y="12765"/>
                  <a:pt x="17333" y="20425"/>
                </a:cubicBezTo>
                <a:cubicBezTo>
                  <a:pt x="21333" y="25531"/>
                  <a:pt x="29333" y="33191"/>
                  <a:pt x="26666" y="25531"/>
                </a:cubicBezTo>
                <a:cubicBezTo>
                  <a:pt x="25333" y="20425"/>
                  <a:pt x="18666" y="20425"/>
                  <a:pt x="17333" y="15319"/>
                </a:cubicBezTo>
                <a:cubicBezTo>
                  <a:pt x="14666" y="12765"/>
                  <a:pt x="18666" y="5106"/>
                  <a:pt x="25333" y="7659"/>
                </a:cubicBezTo>
                <a:cubicBezTo>
                  <a:pt x="30666" y="12765"/>
                  <a:pt x="26666" y="12765"/>
                  <a:pt x="34666" y="20425"/>
                </a:cubicBezTo>
                <a:cubicBezTo>
                  <a:pt x="41333" y="28085"/>
                  <a:pt x="34666" y="28085"/>
                  <a:pt x="37333" y="40851"/>
                </a:cubicBezTo>
                <a:cubicBezTo>
                  <a:pt x="41333" y="56170"/>
                  <a:pt x="41333" y="28085"/>
                  <a:pt x="45333" y="35744"/>
                </a:cubicBezTo>
                <a:cubicBezTo>
                  <a:pt x="48000" y="43404"/>
                  <a:pt x="49333" y="35744"/>
                  <a:pt x="48000" y="28085"/>
                </a:cubicBezTo>
                <a:cubicBezTo>
                  <a:pt x="45333" y="25531"/>
                  <a:pt x="49333" y="12765"/>
                  <a:pt x="52000" y="25531"/>
                </a:cubicBezTo>
                <a:cubicBezTo>
                  <a:pt x="56000" y="35744"/>
                  <a:pt x="57333" y="35744"/>
                  <a:pt x="57333" y="28085"/>
                </a:cubicBezTo>
                <a:cubicBezTo>
                  <a:pt x="57333" y="20425"/>
                  <a:pt x="65333" y="12765"/>
                  <a:pt x="65333" y="20425"/>
                </a:cubicBezTo>
                <a:cubicBezTo>
                  <a:pt x="68000" y="28085"/>
                  <a:pt x="69333" y="33191"/>
                  <a:pt x="69333" y="25531"/>
                </a:cubicBezTo>
                <a:cubicBezTo>
                  <a:pt x="69333" y="15319"/>
                  <a:pt x="72000" y="12765"/>
                  <a:pt x="76000" y="25531"/>
                </a:cubicBezTo>
                <a:cubicBezTo>
                  <a:pt x="80000" y="33191"/>
                  <a:pt x="80000" y="12765"/>
                  <a:pt x="84000" y="15319"/>
                </a:cubicBezTo>
                <a:cubicBezTo>
                  <a:pt x="88000" y="20425"/>
                  <a:pt x="90666" y="15319"/>
                  <a:pt x="88000" y="12765"/>
                </a:cubicBezTo>
                <a:cubicBezTo>
                  <a:pt x="85333" y="5106"/>
                  <a:pt x="94666" y="0"/>
                  <a:pt x="96000" y="7659"/>
                </a:cubicBezTo>
                <a:cubicBezTo>
                  <a:pt x="100000" y="25531"/>
                  <a:pt x="100000" y="12765"/>
                  <a:pt x="104000" y="12765"/>
                </a:cubicBezTo>
                <a:cubicBezTo>
                  <a:pt x="108000" y="7659"/>
                  <a:pt x="110666" y="7659"/>
                  <a:pt x="106666" y="15319"/>
                </a:cubicBezTo>
                <a:cubicBezTo>
                  <a:pt x="100000" y="25531"/>
                  <a:pt x="112000" y="15319"/>
                  <a:pt x="108000" y="28085"/>
                </a:cubicBezTo>
                <a:cubicBezTo>
                  <a:pt x="106666" y="28085"/>
                  <a:pt x="106666" y="33191"/>
                  <a:pt x="108000" y="33191"/>
                </a:cubicBezTo>
              </a:path>
            </a:pathLst>
          </a:custGeom>
          <a:solidFill>
            <a:schemeClr val="accent2"/>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44" name="Shape 1719"/>
          <p:cNvSpPr/>
          <p:nvPr/>
        </p:nvSpPr>
        <p:spPr>
          <a:xfrm>
            <a:off x="3607817" y="1895737"/>
            <a:ext cx="1607875" cy="1114051"/>
          </a:xfrm>
          <a:custGeom>
            <a:avLst/>
            <a:gdLst/>
            <a:ahLst/>
            <a:cxnLst/>
            <a:rect l="0" t="0" r="0" b="0"/>
            <a:pathLst>
              <a:path w="120000" h="120000" extrusionOk="0">
                <a:moveTo>
                  <a:pt x="92024" y="72200"/>
                </a:moveTo>
                <a:cubicBezTo>
                  <a:pt x="93742" y="70194"/>
                  <a:pt x="94969" y="73203"/>
                  <a:pt x="97177" y="73203"/>
                </a:cubicBezTo>
                <a:cubicBezTo>
                  <a:pt x="99386" y="72534"/>
                  <a:pt x="100122" y="72534"/>
                  <a:pt x="98650" y="73537"/>
                </a:cubicBezTo>
                <a:cubicBezTo>
                  <a:pt x="97177" y="74206"/>
                  <a:pt x="98404" y="74874"/>
                  <a:pt x="96687" y="74874"/>
                </a:cubicBezTo>
                <a:cubicBezTo>
                  <a:pt x="95705" y="74874"/>
                  <a:pt x="97177" y="75877"/>
                  <a:pt x="95705" y="76211"/>
                </a:cubicBezTo>
                <a:cubicBezTo>
                  <a:pt x="94233" y="76211"/>
                  <a:pt x="93496" y="77214"/>
                  <a:pt x="92760" y="78885"/>
                </a:cubicBezTo>
                <a:cubicBezTo>
                  <a:pt x="92024" y="79888"/>
                  <a:pt x="88834" y="79888"/>
                  <a:pt x="86625" y="80891"/>
                </a:cubicBezTo>
                <a:cubicBezTo>
                  <a:pt x="84417" y="82562"/>
                  <a:pt x="84417" y="80557"/>
                  <a:pt x="84171" y="81894"/>
                </a:cubicBezTo>
                <a:cubicBezTo>
                  <a:pt x="83680" y="82896"/>
                  <a:pt x="82208" y="82896"/>
                  <a:pt x="81472" y="82562"/>
                </a:cubicBezTo>
                <a:cubicBezTo>
                  <a:pt x="80245" y="81894"/>
                  <a:pt x="78036" y="79554"/>
                  <a:pt x="79509" y="81559"/>
                </a:cubicBezTo>
                <a:cubicBezTo>
                  <a:pt x="80736" y="82896"/>
                  <a:pt x="80245" y="83565"/>
                  <a:pt x="79509" y="83565"/>
                </a:cubicBezTo>
                <a:cubicBezTo>
                  <a:pt x="78773" y="83565"/>
                  <a:pt x="77791" y="84568"/>
                  <a:pt x="77300" y="86573"/>
                </a:cubicBezTo>
                <a:cubicBezTo>
                  <a:pt x="77300" y="88245"/>
                  <a:pt x="74846" y="91253"/>
                  <a:pt x="73619" y="91253"/>
                </a:cubicBezTo>
                <a:cubicBezTo>
                  <a:pt x="73619" y="91253"/>
                  <a:pt x="73619" y="90919"/>
                  <a:pt x="73128" y="90919"/>
                </a:cubicBezTo>
                <a:cubicBezTo>
                  <a:pt x="72883" y="90919"/>
                  <a:pt x="73128" y="91922"/>
                  <a:pt x="72883" y="91922"/>
                </a:cubicBezTo>
                <a:cubicBezTo>
                  <a:pt x="72392" y="91922"/>
                  <a:pt x="71656" y="92924"/>
                  <a:pt x="71411" y="92256"/>
                </a:cubicBezTo>
                <a:cubicBezTo>
                  <a:pt x="70674" y="92924"/>
                  <a:pt x="70674" y="92924"/>
                  <a:pt x="70674" y="92924"/>
                </a:cubicBezTo>
                <a:cubicBezTo>
                  <a:pt x="70920" y="93593"/>
                  <a:pt x="70920" y="93927"/>
                  <a:pt x="70674" y="93593"/>
                </a:cubicBezTo>
                <a:cubicBezTo>
                  <a:pt x="70184" y="92924"/>
                  <a:pt x="70184" y="93593"/>
                  <a:pt x="69938" y="93927"/>
                </a:cubicBezTo>
                <a:cubicBezTo>
                  <a:pt x="69447" y="94596"/>
                  <a:pt x="69202" y="94596"/>
                  <a:pt x="68711" y="94596"/>
                </a:cubicBezTo>
                <a:cubicBezTo>
                  <a:pt x="68466" y="93927"/>
                  <a:pt x="68711" y="92924"/>
                  <a:pt x="68711" y="92256"/>
                </a:cubicBezTo>
                <a:cubicBezTo>
                  <a:pt x="68711" y="91922"/>
                  <a:pt x="69447" y="91922"/>
                  <a:pt x="69447" y="91253"/>
                </a:cubicBezTo>
                <a:cubicBezTo>
                  <a:pt x="69447" y="90919"/>
                  <a:pt x="70184" y="90919"/>
                  <a:pt x="69447" y="90919"/>
                </a:cubicBezTo>
                <a:cubicBezTo>
                  <a:pt x="68711" y="90919"/>
                  <a:pt x="68711" y="90250"/>
                  <a:pt x="68466" y="90919"/>
                </a:cubicBezTo>
                <a:cubicBezTo>
                  <a:pt x="68466" y="90919"/>
                  <a:pt x="69447" y="91253"/>
                  <a:pt x="68711" y="91922"/>
                </a:cubicBezTo>
                <a:cubicBezTo>
                  <a:pt x="67975" y="92256"/>
                  <a:pt x="68711" y="92256"/>
                  <a:pt x="68466" y="92924"/>
                </a:cubicBezTo>
                <a:cubicBezTo>
                  <a:pt x="67730" y="93593"/>
                  <a:pt x="68466" y="93593"/>
                  <a:pt x="67975" y="93927"/>
                </a:cubicBezTo>
                <a:cubicBezTo>
                  <a:pt x="67975" y="94596"/>
                  <a:pt x="67730" y="93927"/>
                  <a:pt x="66993" y="94596"/>
                </a:cubicBezTo>
                <a:cubicBezTo>
                  <a:pt x="66257" y="94596"/>
                  <a:pt x="65766" y="93927"/>
                  <a:pt x="65276" y="94596"/>
                </a:cubicBezTo>
                <a:cubicBezTo>
                  <a:pt x="64539" y="94930"/>
                  <a:pt x="64294" y="94596"/>
                  <a:pt x="65030" y="94930"/>
                </a:cubicBezTo>
                <a:cubicBezTo>
                  <a:pt x="65766" y="95598"/>
                  <a:pt x="65766" y="95933"/>
                  <a:pt x="65276" y="95598"/>
                </a:cubicBezTo>
                <a:cubicBezTo>
                  <a:pt x="64539" y="95598"/>
                  <a:pt x="64539" y="97604"/>
                  <a:pt x="63803" y="96935"/>
                </a:cubicBezTo>
                <a:cubicBezTo>
                  <a:pt x="63067" y="96601"/>
                  <a:pt x="61595" y="96601"/>
                  <a:pt x="62822" y="97938"/>
                </a:cubicBezTo>
                <a:cubicBezTo>
                  <a:pt x="63803" y="99610"/>
                  <a:pt x="63803" y="100278"/>
                  <a:pt x="63558" y="100278"/>
                </a:cubicBezTo>
                <a:cubicBezTo>
                  <a:pt x="62822" y="99610"/>
                  <a:pt x="62822" y="100612"/>
                  <a:pt x="62085" y="100278"/>
                </a:cubicBezTo>
                <a:cubicBezTo>
                  <a:pt x="61349" y="99610"/>
                  <a:pt x="61595" y="101281"/>
                  <a:pt x="62822" y="101281"/>
                </a:cubicBezTo>
                <a:cubicBezTo>
                  <a:pt x="63803" y="101281"/>
                  <a:pt x="63067" y="101281"/>
                  <a:pt x="63558" y="102284"/>
                </a:cubicBezTo>
                <a:cubicBezTo>
                  <a:pt x="63558" y="103955"/>
                  <a:pt x="62331" y="103955"/>
                  <a:pt x="62331" y="104958"/>
                </a:cubicBezTo>
                <a:cubicBezTo>
                  <a:pt x="62331" y="106295"/>
                  <a:pt x="61595" y="103955"/>
                  <a:pt x="61595" y="105292"/>
                </a:cubicBezTo>
                <a:cubicBezTo>
                  <a:pt x="61349" y="107298"/>
                  <a:pt x="59877" y="106295"/>
                  <a:pt x="59877" y="107298"/>
                </a:cubicBezTo>
                <a:cubicBezTo>
                  <a:pt x="59386" y="107966"/>
                  <a:pt x="60122" y="107298"/>
                  <a:pt x="60122" y="108635"/>
                </a:cubicBezTo>
                <a:cubicBezTo>
                  <a:pt x="60613" y="109637"/>
                  <a:pt x="58650" y="107298"/>
                  <a:pt x="59386" y="108969"/>
                </a:cubicBezTo>
                <a:cubicBezTo>
                  <a:pt x="59877" y="109972"/>
                  <a:pt x="60122" y="108635"/>
                  <a:pt x="60122" y="109972"/>
                </a:cubicBezTo>
                <a:cubicBezTo>
                  <a:pt x="60613" y="111643"/>
                  <a:pt x="58650" y="114651"/>
                  <a:pt x="59141" y="115654"/>
                </a:cubicBezTo>
                <a:cubicBezTo>
                  <a:pt x="59386" y="116991"/>
                  <a:pt x="58159" y="116991"/>
                  <a:pt x="57914" y="117325"/>
                </a:cubicBezTo>
                <a:cubicBezTo>
                  <a:pt x="57423" y="118328"/>
                  <a:pt x="58650" y="116991"/>
                  <a:pt x="58650" y="118328"/>
                </a:cubicBezTo>
                <a:cubicBezTo>
                  <a:pt x="58650" y="120000"/>
                  <a:pt x="57914" y="120000"/>
                  <a:pt x="57177" y="119331"/>
                </a:cubicBezTo>
                <a:cubicBezTo>
                  <a:pt x="56441" y="118328"/>
                  <a:pt x="56441" y="117994"/>
                  <a:pt x="55705" y="118997"/>
                </a:cubicBezTo>
                <a:cubicBezTo>
                  <a:pt x="55214" y="119331"/>
                  <a:pt x="54233" y="119331"/>
                  <a:pt x="54478" y="117994"/>
                </a:cubicBezTo>
                <a:cubicBezTo>
                  <a:pt x="55705" y="116323"/>
                  <a:pt x="54233" y="117994"/>
                  <a:pt x="53496" y="117325"/>
                </a:cubicBezTo>
                <a:cubicBezTo>
                  <a:pt x="52269" y="116323"/>
                  <a:pt x="52269" y="116323"/>
                  <a:pt x="53006" y="115320"/>
                </a:cubicBezTo>
                <a:cubicBezTo>
                  <a:pt x="53742" y="114317"/>
                  <a:pt x="52760" y="113314"/>
                  <a:pt x="52760" y="114317"/>
                </a:cubicBezTo>
                <a:cubicBezTo>
                  <a:pt x="53006" y="114651"/>
                  <a:pt x="52024" y="114651"/>
                  <a:pt x="51533" y="115654"/>
                </a:cubicBezTo>
                <a:cubicBezTo>
                  <a:pt x="50797" y="116323"/>
                  <a:pt x="51288" y="114651"/>
                  <a:pt x="50061" y="115654"/>
                </a:cubicBezTo>
                <a:cubicBezTo>
                  <a:pt x="48834" y="116991"/>
                  <a:pt x="48588" y="116323"/>
                  <a:pt x="48588" y="115320"/>
                </a:cubicBezTo>
                <a:cubicBezTo>
                  <a:pt x="48098" y="114651"/>
                  <a:pt x="48834" y="115320"/>
                  <a:pt x="48588" y="114651"/>
                </a:cubicBezTo>
                <a:cubicBezTo>
                  <a:pt x="48588" y="113649"/>
                  <a:pt x="47361" y="114651"/>
                  <a:pt x="47852" y="113649"/>
                </a:cubicBezTo>
                <a:cubicBezTo>
                  <a:pt x="48098" y="112646"/>
                  <a:pt x="46380" y="113649"/>
                  <a:pt x="46625" y="112646"/>
                </a:cubicBezTo>
                <a:cubicBezTo>
                  <a:pt x="47116" y="111643"/>
                  <a:pt x="47116" y="111643"/>
                  <a:pt x="46380" y="111643"/>
                </a:cubicBezTo>
                <a:cubicBezTo>
                  <a:pt x="45889" y="112311"/>
                  <a:pt x="46625" y="109972"/>
                  <a:pt x="45889" y="110640"/>
                </a:cubicBezTo>
                <a:cubicBezTo>
                  <a:pt x="45153" y="110974"/>
                  <a:pt x="46380" y="109637"/>
                  <a:pt x="45153" y="108969"/>
                </a:cubicBezTo>
                <a:cubicBezTo>
                  <a:pt x="44417" y="108635"/>
                  <a:pt x="44417" y="108635"/>
                  <a:pt x="44417" y="107966"/>
                </a:cubicBezTo>
                <a:cubicBezTo>
                  <a:pt x="44417" y="106963"/>
                  <a:pt x="43680" y="106295"/>
                  <a:pt x="44171" y="105961"/>
                </a:cubicBezTo>
                <a:cubicBezTo>
                  <a:pt x="44171" y="104958"/>
                  <a:pt x="43435" y="105961"/>
                  <a:pt x="42944" y="104958"/>
                </a:cubicBezTo>
                <a:cubicBezTo>
                  <a:pt x="42699" y="103955"/>
                  <a:pt x="41717" y="102618"/>
                  <a:pt x="42208" y="102284"/>
                </a:cubicBezTo>
                <a:cubicBezTo>
                  <a:pt x="42699" y="101615"/>
                  <a:pt x="41472" y="101615"/>
                  <a:pt x="42208" y="101281"/>
                </a:cubicBezTo>
                <a:cubicBezTo>
                  <a:pt x="42699" y="101281"/>
                  <a:pt x="40981" y="100612"/>
                  <a:pt x="42699" y="100612"/>
                </a:cubicBezTo>
                <a:cubicBezTo>
                  <a:pt x="43680" y="100612"/>
                  <a:pt x="42208" y="99610"/>
                  <a:pt x="43680" y="99610"/>
                </a:cubicBezTo>
                <a:cubicBezTo>
                  <a:pt x="44907" y="99610"/>
                  <a:pt x="42944" y="99275"/>
                  <a:pt x="43680" y="98607"/>
                </a:cubicBezTo>
                <a:cubicBezTo>
                  <a:pt x="44417" y="97938"/>
                  <a:pt x="45153" y="100278"/>
                  <a:pt x="45153" y="99275"/>
                </a:cubicBezTo>
                <a:cubicBezTo>
                  <a:pt x="44907" y="97938"/>
                  <a:pt x="44171" y="97604"/>
                  <a:pt x="43435" y="98607"/>
                </a:cubicBezTo>
                <a:cubicBezTo>
                  <a:pt x="42699" y="99275"/>
                  <a:pt x="43435" y="96601"/>
                  <a:pt x="42208" y="99275"/>
                </a:cubicBezTo>
                <a:cubicBezTo>
                  <a:pt x="40981" y="101615"/>
                  <a:pt x="40736" y="99610"/>
                  <a:pt x="40981" y="98607"/>
                </a:cubicBezTo>
                <a:cubicBezTo>
                  <a:pt x="40981" y="97604"/>
                  <a:pt x="40736" y="98607"/>
                  <a:pt x="40736" y="96935"/>
                </a:cubicBezTo>
                <a:cubicBezTo>
                  <a:pt x="40736" y="95933"/>
                  <a:pt x="40000" y="96601"/>
                  <a:pt x="40000" y="95598"/>
                </a:cubicBezTo>
                <a:cubicBezTo>
                  <a:pt x="40245" y="94596"/>
                  <a:pt x="39509" y="93927"/>
                  <a:pt x="39263" y="93927"/>
                </a:cubicBezTo>
                <a:cubicBezTo>
                  <a:pt x="38527" y="93927"/>
                  <a:pt x="39263" y="93593"/>
                  <a:pt x="38036" y="92256"/>
                </a:cubicBezTo>
                <a:cubicBezTo>
                  <a:pt x="37300" y="91253"/>
                  <a:pt x="38036" y="89247"/>
                  <a:pt x="39509" y="88245"/>
                </a:cubicBezTo>
                <a:cubicBezTo>
                  <a:pt x="38036" y="88245"/>
                  <a:pt x="37055" y="88245"/>
                  <a:pt x="37300" y="86573"/>
                </a:cubicBezTo>
                <a:cubicBezTo>
                  <a:pt x="37791" y="85236"/>
                  <a:pt x="38036" y="84568"/>
                  <a:pt x="38036" y="84233"/>
                </a:cubicBezTo>
                <a:cubicBezTo>
                  <a:pt x="37791" y="83565"/>
                  <a:pt x="39509" y="82896"/>
                  <a:pt x="38773" y="82562"/>
                </a:cubicBezTo>
                <a:cubicBezTo>
                  <a:pt x="38036" y="81559"/>
                  <a:pt x="38773" y="81894"/>
                  <a:pt x="38527" y="81559"/>
                </a:cubicBezTo>
                <a:cubicBezTo>
                  <a:pt x="38527" y="80891"/>
                  <a:pt x="39509" y="81559"/>
                  <a:pt x="40000" y="80557"/>
                </a:cubicBezTo>
                <a:cubicBezTo>
                  <a:pt x="40736" y="79888"/>
                  <a:pt x="41472" y="80891"/>
                  <a:pt x="42699" y="80557"/>
                </a:cubicBezTo>
                <a:cubicBezTo>
                  <a:pt x="43680" y="79888"/>
                  <a:pt x="42699" y="79888"/>
                  <a:pt x="42699" y="78217"/>
                </a:cubicBezTo>
                <a:cubicBezTo>
                  <a:pt x="42944" y="77214"/>
                  <a:pt x="43680" y="75877"/>
                  <a:pt x="43680" y="74874"/>
                </a:cubicBezTo>
                <a:cubicBezTo>
                  <a:pt x="43435" y="73537"/>
                  <a:pt x="42944" y="76211"/>
                  <a:pt x="42699" y="75208"/>
                </a:cubicBezTo>
                <a:cubicBezTo>
                  <a:pt x="42208" y="74874"/>
                  <a:pt x="43680" y="73537"/>
                  <a:pt x="41472" y="73537"/>
                </a:cubicBezTo>
                <a:cubicBezTo>
                  <a:pt x="39509" y="73203"/>
                  <a:pt x="40245" y="71532"/>
                  <a:pt x="38527" y="71532"/>
                </a:cubicBezTo>
                <a:cubicBezTo>
                  <a:pt x="37300" y="71532"/>
                  <a:pt x="35828" y="70529"/>
                  <a:pt x="36319" y="70194"/>
                </a:cubicBezTo>
                <a:cubicBezTo>
                  <a:pt x="37055" y="68857"/>
                  <a:pt x="40000" y="69526"/>
                  <a:pt x="40736" y="70194"/>
                </a:cubicBezTo>
                <a:cubicBezTo>
                  <a:pt x="41717" y="71197"/>
                  <a:pt x="43435" y="71532"/>
                  <a:pt x="42944" y="71197"/>
                </a:cubicBezTo>
                <a:cubicBezTo>
                  <a:pt x="42699" y="70529"/>
                  <a:pt x="42208" y="70194"/>
                  <a:pt x="42944" y="68857"/>
                </a:cubicBezTo>
                <a:cubicBezTo>
                  <a:pt x="42944" y="68857"/>
                  <a:pt x="40000" y="68523"/>
                  <a:pt x="40245" y="67520"/>
                </a:cubicBezTo>
                <a:cubicBezTo>
                  <a:pt x="40981" y="65849"/>
                  <a:pt x="38773" y="66852"/>
                  <a:pt x="40000" y="65849"/>
                </a:cubicBezTo>
                <a:cubicBezTo>
                  <a:pt x="40736" y="65515"/>
                  <a:pt x="38036" y="63844"/>
                  <a:pt x="37300" y="65849"/>
                </a:cubicBezTo>
                <a:cubicBezTo>
                  <a:pt x="37055" y="67855"/>
                  <a:pt x="35582" y="65849"/>
                  <a:pt x="34846" y="66518"/>
                </a:cubicBezTo>
                <a:cubicBezTo>
                  <a:pt x="34355" y="66852"/>
                  <a:pt x="33865" y="65849"/>
                  <a:pt x="33619" y="65515"/>
                </a:cubicBezTo>
                <a:cubicBezTo>
                  <a:pt x="33128" y="64178"/>
                  <a:pt x="35582" y="64846"/>
                  <a:pt x="34846" y="63844"/>
                </a:cubicBezTo>
                <a:cubicBezTo>
                  <a:pt x="33619" y="62172"/>
                  <a:pt x="33619" y="61169"/>
                  <a:pt x="34846" y="61169"/>
                </a:cubicBezTo>
                <a:cubicBezTo>
                  <a:pt x="35828" y="60835"/>
                  <a:pt x="36564" y="58495"/>
                  <a:pt x="34846" y="58161"/>
                </a:cubicBezTo>
                <a:cubicBezTo>
                  <a:pt x="33128" y="57493"/>
                  <a:pt x="35828" y="56490"/>
                  <a:pt x="34355" y="55487"/>
                </a:cubicBezTo>
                <a:cubicBezTo>
                  <a:pt x="32147" y="54484"/>
                  <a:pt x="34846" y="54484"/>
                  <a:pt x="33128" y="53481"/>
                </a:cubicBezTo>
                <a:cubicBezTo>
                  <a:pt x="32392" y="52813"/>
                  <a:pt x="33128" y="51810"/>
                  <a:pt x="31656" y="52813"/>
                </a:cubicBezTo>
                <a:cubicBezTo>
                  <a:pt x="29938" y="53481"/>
                  <a:pt x="31656" y="51810"/>
                  <a:pt x="32147" y="50807"/>
                </a:cubicBezTo>
                <a:cubicBezTo>
                  <a:pt x="32392" y="49805"/>
                  <a:pt x="27730" y="47130"/>
                  <a:pt x="28466" y="46128"/>
                </a:cubicBezTo>
                <a:cubicBezTo>
                  <a:pt x="29447" y="45125"/>
                  <a:pt x="28466" y="45125"/>
                  <a:pt x="26503" y="43454"/>
                </a:cubicBezTo>
                <a:cubicBezTo>
                  <a:pt x="24539" y="42451"/>
                  <a:pt x="24539" y="43454"/>
                  <a:pt x="23803" y="42451"/>
                </a:cubicBezTo>
                <a:cubicBezTo>
                  <a:pt x="23067" y="41448"/>
                  <a:pt x="21349" y="42451"/>
                  <a:pt x="19877" y="41448"/>
                </a:cubicBezTo>
                <a:cubicBezTo>
                  <a:pt x="18404" y="40779"/>
                  <a:pt x="18650" y="43454"/>
                  <a:pt x="17423" y="42116"/>
                </a:cubicBezTo>
                <a:cubicBezTo>
                  <a:pt x="16441" y="40779"/>
                  <a:pt x="16687" y="43119"/>
                  <a:pt x="14969" y="43119"/>
                </a:cubicBezTo>
                <a:cubicBezTo>
                  <a:pt x="13496" y="42451"/>
                  <a:pt x="15214" y="40779"/>
                  <a:pt x="13742" y="42116"/>
                </a:cubicBezTo>
                <a:cubicBezTo>
                  <a:pt x="12024" y="43119"/>
                  <a:pt x="12760" y="40779"/>
                  <a:pt x="12024" y="41448"/>
                </a:cubicBezTo>
                <a:cubicBezTo>
                  <a:pt x="10797" y="42116"/>
                  <a:pt x="14233" y="44456"/>
                  <a:pt x="11533" y="43119"/>
                </a:cubicBezTo>
                <a:cubicBezTo>
                  <a:pt x="8588" y="42116"/>
                  <a:pt x="5644" y="41448"/>
                  <a:pt x="7852" y="40445"/>
                </a:cubicBezTo>
                <a:cubicBezTo>
                  <a:pt x="10061" y="39442"/>
                  <a:pt x="5644" y="39442"/>
                  <a:pt x="4171" y="38440"/>
                </a:cubicBezTo>
                <a:cubicBezTo>
                  <a:pt x="2208" y="37437"/>
                  <a:pt x="5889" y="36100"/>
                  <a:pt x="8834" y="35766"/>
                </a:cubicBezTo>
                <a:cubicBezTo>
                  <a:pt x="12024" y="35766"/>
                  <a:pt x="14233" y="35766"/>
                  <a:pt x="13742" y="34763"/>
                </a:cubicBezTo>
                <a:cubicBezTo>
                  <a:pt x="13496" y="33760"/>
                  <a:pt x="11288" y="35097"/>
                  <a:pt x="8834" y="35097"/>
                </a:cubicBezTo>
                <a:cubicBezTo>
                  <a:pt x="6625" y="35097"/>
                  <a:pt x="5889" y="35097"/>
                  <a:pt x="5153" y="34094"/>
                </a:cubicBezTo>
                <a:cubicBezTo>
                  <a:pt x="4417" y="33091"/>
                  <a:pt x="4171" y="34094"/>
                  <a:pt x="3435" y="33091"/>
                </a:cubicBezTo>
                <a:cubicBezTo>
                  <a:pt x="2453" y="32757"/>
                  <a:pt x="2208" y="33760"/>
                  <a:pt x="981" y="32089"/>
                </a:cubicBezTo>
                <a:cubicBezTo>
                  <a:pt x="0" y="30417"/>
                  <a:pt x="245" y="29415"/>
                  <a:pt x="4907" y="28412"/>
                </a:cubicBezTo>
                <a:cubicBezTo>
                  <a:pt x="8834" y="27409"/>
                  <a:pt x="7116" y="26740"/>
                  <a:pt x="9570" y="26406"/>
                </a:cubicBezTo>
                <a:cubicBezTo>
                  <a:pt x="12269" y="25738"/>
                  <a:pt x="13742" y="27409"/>
                  <a:pt x="14969" y="25403"/>
                </a:cubicBezTo>
                <a:cubicBezTo>
                  <a:pt x="16441" y="23398"/>
                  <a:pt x="16441" y="20724"/>
                  <a:pt x="15214" y="21058"/>
                </a:cubicBezTo>
                <a:cubicBezTo>
                  <a:pt x="14233" y="21058"/>
                  <a:pt x="12024" y="21058"/>
                  <a:pt x="11288" y="20055"/>
                </a:cubicBezTo>
                <a:cubicBezTo>
                  <a:pt x="10797" y="19052"/>
                  <a:pt x="13496" y="18050"/>
                  <a:pt x="15214" y="16378"/>
                </a:cubicBezTo>
                <a:cubicBezTo>
                  <a:pt x="17177" y="15041"/>
                  <a:pt x="19386" y="14038"/>
                  <a:pt x="22085" y="15041"/>
                </a:cubicBezTo>
                <a:cubicBezTo>
                  <a:pt x="23803" y="15376"/>
                  <a:pt x="24294" y="14038"/>
                  <a:pt x="23067" y="12367"/>
                </a:cubicBezTo>
                <a:cubicBezTo>
                  <a:pt x="22331" y="10696"/>
                  <a:pt x="23803" y="9693"/>
                  <a:pt x="29447" y="9359"/>
                </a:cubicBezTo>
                <a:cubicBezTo>
                  <a:pt x="35582" y="8022"/>
                  <a:pt x="36319" y="6685"/>
                  <a:pt x="37791" y="8690"/>
                </a:cubicBezTo>
                <a:cubicBezTo>
                  <a:pt x="39263" y="11364"/>
                  <a:pt x="36564" y="15376"/>
                  <a:pt x="38527" y="11699"/>
                </a:cubicBezTo>
                <a:cubicBezTo>
                  <a:pt x="40000" y="8022"/>
                  <a:pt x="43680" y="12367"/>
                  <a:pt x="43435" y="11364"/>
                </a:cubicBezTo>
                <a:cubicBezTo>
                  <a:pt x="42699" y="9359"/>
                  <a:pt x="47116" y="11699"/>
                  <a:pt x="44907" y="9693"/>
                </a:cubicBezTo>
                <a:cubicBezTo>
                  <a:pt x="42208" y="7688"/>
                  <a:pt x="41717" y="6685"/>
                  <a:pt x="44907" y="7019"/>
                </a:cubicBezTo>
                <a:cubicBezTo>
                  <a:pt x="47852" y="7019"/>
                  <a:pt x="48834" y="8690"/>
                  <a:pt x="51533" y="9359"/>
                </a:cubicBezTo>
                <a:cubicBezTo>
                  <a:pt x="54233" y="9693"/>
                  <a:pt x="53742" y="11699"/>
                  <a:pt x="55214" y="11364"/>
                </a:cubicBezTo>
                <a:cubicBezTo>
                  <a:pt x="56687" y="11364"/>
                  <a:pt x="54233" y="8690"/>
                  <a:pt x="56441" y="8022"/>
                </a:cubicBezTo>
                <a:cubicBezTo>
                  <a:pt x="59877" y="7688"/>
                  <a:pt x="50552" y="5013"/>
                  <a:pt x="54233" y="5682"/>
                </a:cubicBezTo>
                <a:cubicBezTo>
                  <a:pt x="58159" y="5682"/>
                  <a:pt x="60858" y="5682"/>
                  <a:pt x="62331" y="6016"/>
                </a:cubicBezTo>
                <a:cubicBezTo>
                  <a:pt x="64294" y="7019"/>
                  <a:pt x="66257" y="6685"/>
                  <a:pt x="63803" y="6016"/>
                </a:cubicBezTo>
                <a:cubicBezTo>
                  <a:pt x="62085" y="5682"/>
                  <a:pt x="59877" y="5013"/>
                  <a:pt x="57177" y="5013"/>
                </a:cubicBezTo>
                <a:cubicBezTo>
                  <a:pt x="54478" y="4679"/>
                  <a:pt x="51533" y="5013"/>
                  <a:pt x="51288" y="4679"/>
                </a:cubicBezTo>
                <a:cubicBezTo>
                  <a:pt x="50797" y="3342"/>
                  <a:pt x="53742" y="3342"/>
                  <a:pt x="56441" y="3008"/>
                </a:cubicBezTo>
                <a:cubicBezTo>
                  <a:pt x="59141" y="2339"/>
                  <a:pt x="60858" y="3008"/>
                  <a:pt x="62331" y="4011"/>
                </a:cubicBezTo>
                <a:cubicBezTo>
                  <a:pt x="63803" y="5013"/>
                  <a:pt x="66503" y="4679"/>
                  <a:pt x="66993" y="4011"/>
                </a:cubicBezTo>
                <a:cubicBezTo>
                  <a:pt x="67239" y="4011"/>
                  <a:pt x="70184" y="3342"/>
                  <a:pt x="68466" y="3342"/>
                </a:cubicBezTo>
                <a:cubicBezTo>
                  <a:pt x="66503" y="3008"/>
                  <a:pt x="66257" y="1337"/>
                  <a:pt x="67239" y="1337"/>
                </a:cubicBezTo>
                <a:cubicBezTo>
                  <a:pt x="68711" y="1337"/>
                  <a:pt x="68466" y="1002"/>
                  <a:pt x="70184" y="1337"/>
                </a:cubicBezTo>
                <a:cubicBezTo>
                  <a:pt x="72147" y="2005"/>
                  <a:pt x="69447" y="334"/>
                  <a:pt x="73128" y="1002"/>
                </a:cubicBezTo>
                <a:cubicBezTo>
                  <a:pt x="77055" y="1002"/>
                  <a:pt x="77791" y="0"/>
                  <a:pt x="84171" y="1002"/>
                </a:cubicBezTo>
                <a:cubicBezTo>
                  <a:pt x="88098" y="1337"/>
                  <a:pt x="94233" y="2339"/>
                  <a:pt x="92269" y="2339"/>
                </a:cubicBezTo>
                <a:cubicBezTo>
                  <a:pt x="90552" y="3008"/>
                  <a:pt x="84171" y="3008"/>
                  <a:pt x="82208" y="3342"/>
                </a:cubicBezTo>
                <a:cubicBezTo>
                  <a:pt x="80245" y="4011"/>
                  <a:pt x="77055" y="4011"/>
                  <a:pt x="79509" y="4679"/>
                </a:cubicBezTo>
                <a:cubicBezTo>
                  <a:pt x="82699" y="5013"/>
                  <a:pt x="83435" y="3008"/>
                  <a:pt x="87116" y="3342"/>
                </a:cubicBezTo>
                <a:cubicBezTo>
                  <a:pt x="91288" y="4679"/>
                  <a:pt x="92760" y="2339"/>
                  <a:pt x="93742" y="3342"/>
                </a:cubicBezTo>
                <a:cubicBezTo>
                  <a:pt x="95214" y="4679"/>
                  <a:pt x="91288" y="6016"/>
                  <a:pt x="93742" y="5013"/>
                </a:cubicBezTo>
                <a:cubicBezTo>
                  <a:pt x="96441" y="4679"/>
                  <a:pt x="98404" y="5682"/>
                  <a:pt x="100122" y="6016"/>
                </a:cubicBezTo>
                <a:cubicBezTo>
                  <a:pt x="102085" y="6685"/>
                  <a:pt x="98650" y="8022"/>
                  <a:pt x="96441" y="8690"/>
                </a:cubicBezTo>
                <a:cubicBezTo>
                  <a:pt x="93006" y="9693"/>
                  <a:pt x="88588" y="8690"/>
                  <a:pt x="84907" y="9359"/>
                </a:cubicBezTo>
                <a:cubicBezTo>
                  <a:pt x="80981" y="10362"/>
                  <a:pt x="77055" y="10696"/>
                  <a:pt x="78036" y="12367"/>
                </a:cubicBezTo>
                <a:cubicBezTo>
                  <a:pt x="78773" y="12701"/>
                  <a:pt x="84907" y="9693"/>
                  <a:pt x="90061" y="9693"/>
                </a:cubicBezTo>
                <a:cubicBezTo>
                  <a:pt x="94969" y="10362"/>
                  <a:pt x="93742" y="10696"/>
                  <a:pt x="92024" y="11699"/>
                </a:cubicBezTo>
                <a:cubicBezTo>
                  <a:pt x="90061" y="12701"/>
                  <a:pt x="92269" y="12701"/>
                  <a:pt x="94233" y="11699"/>
                </a:cubicBezTo>
                <a:cubicBezTo>
                  <a:pt x="96441" y="11364"/>
                  <a:pt x="94233" y="9693"/>
                  <a:pt x="97423" y="9693"/>
                </a:cubicBezTo>
                <a:cubicBezTo>
                  <a:pt x="100858" y="9693"/>
                  <a:pt x="100122" y="12367"/>
                  <a:pt x="97423" y="15041"/>
                </a:cubicBezTo>
                <a:cubicBezTo>
                  <a:pt x="94969" y="17381"/>
                  <a:pt x="96687" y="17381"/>
                  <a:pt x="99877" y="14373"/>
                </a:cubicBezTo>
                <a:cubicBezTo>
                  <a:pt x="102822" y="11699"/>
                  <a:pt x="104294" y="11364"/>
                  <a:pt x="103558" y="12367"/>
                </a:cubicBezTo>
                <a:cubicBezTo>
                  <a:pt x="102822" y="13370"/>
                  <a:pt x="104539" y="12367"/>
                  <a:pt x="106012" y="12701"/>
                </a:cubicBezTo>
                <a:cubicBezTo>
                  <a:pt x="107730" y="13370"/>
                  <a:pt x="106993" y="10696"/>
                  <a:pt x="109938" y="10362"/>
                </a:cubicBezTo>
                <a:cubicBezTo>
                  <a:pt x="112883" y="10362"/>
                  <a:pt x="120000" y="11699"/>
                  <a:pt x="118527" y="12701"/>
                </a:cubicBezTo>
                <a:cubicBezTo>
                  <a:pt x="116564" y="14038"/>
                  <a:pt x="115828" y="15041"/>
                  <a:pt x="113865" y="15041"/>
                </a:cubicBezTo>
                <a:cubicBezTo>
                  <a:pt x="111411" y="15041"/>
                  <a:pt x="115582" y="16378"/>
                  <a:pt x="113128" y="16378"/>
                </a:cubicBezTo>
                <a:cubicBezTo>
                  <a:pt x="110920" y="17047"/>
                  <a:pt x="109938" y="17381"/>
                  <a:pt x="108466" y="17047"/>
                </a:cubicBezTo>
                <a:cubicBezTo>
                  <a:pt x="106993" y="16378"/>
                  <a:pt x="107239" y="18050"/>
                  <a:pt x="104539" y="18050"/>
                </a:cubicBezTo>
                <a:cubicBezTo>
                  <a:pt x="102085" y="17381"/>
                  <a:pt x="106503" y="18718"/>
                  <a:pt x="107975" y="18050"/>
                </a:cubicBezTo>
                <a:cubicBezTo>
                  <a:pt x="109202" y="17381"/>
                  <a:pt x="112147" y="18050"/>
                  <a:pt x="110674" y="19052"/>
                </a:cubicBezTo>
                <a:cubicBezTo>
                  <a:pt x="109447" y="19721"/>
                  <a:pt x="107239" y="20724"/>
                  <a:pt x="105276" y="19721"/>
                </a:cubicBezTo>
                <a:cubicBezTo>
                  <a:pt x="103558" y="19052"/>
                  <a:pt x="100858" y="22729"/>
                  <a:pt x="103067" y="21727"/>
                </a:cubicBezTo>
                <a:cubicBezTo>
                  <a:pt x="105276" y="20724"/>
                  <a:pt x="109202" y="20055"/>
                  <a:pt x="108466" y="21058"/>
                </a:cubicBezTo>
                <a:cubicBezTo>
                  <a:pt x="107239" y="22729"/>
                  <a:pt x="106993" y="22729"/>
                  <a:pt x="105276" y="22729"/>
                </a:cubicBezTo>
                <a:cubicBezTo>
                  <a:pt x="103803" y="22729"/>
                  <a:pt x="103803" y="24735"/>
                  <a:pt x="105030" y="24735"/>
                </a:cubicBezTo>
                <a:cubicBezTo>
                  <a:pt x="106012" y="25403"/>
                  <a:pt x="104294" y="26740"/>
                  <a:pt x="103558" y="27409"/>
                </a:cubicBezTo>
                <a:cubicBezTo>
                  <a:pt x="103067" y="28077"/>
                  <a:pt x="102085" y="26406"/>
                  <a:pt x="101349" y="29080"/>
                </a:cubicBezTo>
                <a:cubicBezTo>
                  <a:pt x="100858" y="31420"/>
                  <a:pt x="99141" y="34094"/>
                  <a:pt x="100122" y="34094"/>
                </a:cubicBezTo>
                <a:cubicBezTo>
                  <a:pt x="101349" y="34094"/>
                  <a:pt x="99877" y="31086"/>
                  <a:pt x="103067" y="32757"/>
                </a:cubicBezTo>
                <a:cubicBezTo>
                  <a:pt x="106012" y="34094"/>
                  <a:pt x="106503" y="35097"/>
                  <a:pt x="104294" y="34094"/>
                </a:cubicBezTo>
                <a:cubicBezTo>
                  <a:pt x="102085" y="33760"/>
                  <a:pt x="101349" y="33760"/>
                  <a:pt x="103558" y="35766"/>
                </a:cubicBezTo>
                <a:cubicBezTo>
                  <a:pt x="105766" y="37437"/>
                  <a:pt x="105276" y="34763"/>
                  <a:pt x="106503" y="35766"/>
                </a:cubicBezTo>
                <a:cubicBezTo>
                  <a:pt x="107975" y="37437"/>
                  <a:pt x="107239" y="39777"/>
                  <a:pt x="105766" y="38774"/>
                </a:cubicBezTo>
                <a:cubicBezTo>
                  <a:pt x="104539" y="38440"/>
                  <a:pt x="102822" y="37437"/>
                  <a:pt x="101349" y="38774"/>
                </a:cubicBezTo>
                <a:cubicBezTo>
                  <a:pt x="99386" y="40445"/>
                  <a:pt x="99877" y="37437"/>
                  <a:pt x="98650" y="38774"/>
                </a:cubicBezTo>
                <a:cubicBezTo>
                  <a:pt x="97423" y="39777"/>
                  <a:pt x="100122" y="39442"/>
                  <a:pt x="100122" y="40779"/>
                </a:cubicBezTo>
                <a:cubicBezTo>
                  <a:pt x="100122" y="42451"/>
                  <a:pt x="103558" y="40779"/>
                  <a:pt x="103803" y="42116"/>
                </a:cubicBezTo>
                <a:cubicBezTo>
                  <a:pt x="104539" y="43119"/>
                  <a:pt x="102085" y="42451"/>
                  <a:pt x="104294" y="44122"/>
                </a:cubicBezTo>
                <a:cubicBezTo>
                  <a:pt x="106012" y="45125"/>
                  <a:pt x="103803" y="43454"/>
                  <a:pt x="104539" y="45459"/>
                </a:cubicBezTo>
                <a:cubicBezTo>
                  <a:pt x="105766" y="47130"/>
                  <a:pt x="103803" y="48133"/>
                  <a:pt x="103558" y="47130"/>
                </a:cubicBezTo>
                <a:cubicBezTo>
                  <a:pt x="102822" y="45459"/>
                  <a:pt x="100858" y="49805"/>
                  <a:pt x="103067" y="49805"/>
                </a:cubicBezTo>
                <a:cubicBezTo>
                  <a:pt x="105030" y="50139"/>
                  <a:pt x="105766" y="51476"/>
                  <a:pt x="104539" y="51810"/>
                </a:cubicBezTo>
                <a:cubicBezTo>
                  <a:pt x="102822" y="52813"/>
                  <a:pt x="103558" y="51476"/>
                  <a:pt x="101595" y="50807"/>
                </a:cubicBezTo>
                <a:cubicBezTo>
                  <a:pt x="99877" y="50807"/>
                  <a:pt x="97914" y="53481"/>
                  <a:pt x="99877" y="53481"/>
                </a:cubicBezTo>
                <a:cubicBezTo>
                  <a:pt x="101595" y="53481"/>
                  <a:pt x="103558" y="53481"/>
                  <a:pt x="102822" y="55487"/>
                </a:cubicBezTo>
                <a:cubicBezTo>
                  <a:pt x="101595" y="57158"/>
                  <a:pt x="101595" y="54818"/>
                  <a:pt x="100122" y="56490"/>
                </a:cubicBezTo>
                <a:cubicBezTo>
                  <a:pt x="98404" y="58495"/>
                  <a:pt x="96441" y="54484"/>
                  <a:pt x="94478" y="55487"/>
                </a:cubicBezTo>
                <a:cubicBezTo>
                  <a:pt x="93006" y="56155"/>
                  <a:pt x="92760" y="57493"/>
                  <a:pt x="91288" y="57158"/>
                </a:cubicBezTo>
                <a:cubicBezTo>
                  <a:pt x="95214" y="58495"/>
                  <a:pt x="92269" y="58495"/>
                  <a:pt x="93742" y="59498"/>
                </a:cubicBezTo>
                <a:cubicBezTo>
                  <a:pt x="95705" y="61169"/>
                  <a:pt x="93006" y="61169"/>
                  <a:pt x="95950" y="62841"/>
                </a:cubicBezTo>
                <a:cubicBezTo>
                  <a:pt x="97914" y="63175"/>
                  <a:pt x="99141" y="63175"/>
                  <a:pt x="98650" y="64846"/>
                </a:cubicBezTo>
                <a:cubicBezTo>
                  <a:pt x="98404" y="65849"/>
                  <a:pt x="100613" y="63844"/>
                  <a:pt x="99877" y="64846"/>
                </a:cubicBezTo>
                <a:cubicBezTo>
                  <a:pt x="98650" y="66518"/>
                  <a:pt x="98404" y="65515"/>
                  <a:pt x="98650" y="66518"/>
                </a:cubicBezTo>
                <a:cubicBezTo>
                  <a:pt x="99141" y="67855"/>
                  <a:pt x="100613" y="64178"/>
                  <a:pt x="100122" y="66518"/>
                </a:cubicBezTo>
                <a:cubicBezTo>
                  <a:pt x="100122" y="68523"/>
                  <a:pt x="101349" y="71532"/>
                  <a:pt x="100122" y="71197"/>
                </a:cubicBezTo>
                <a:cubicBezTo>
                  <a:pt x="99141" y="71197"/>
                  <a:pt x="99141" y="70529"/>
                  <a:pt x="98404" y="71197"/>
                </a:cubicBezTo>
                <a:cubicBezTo>
                  <a:pt x="97423" y="71532"/>
                  <a:pt x="95214" y="70529"/>
                  <a:pt x="95214" y="68857"/>
                </a:cubicBezTo>
                <a:cubicBezTo>
                  <a:pt x="95214" y="67520"/>
                  <a:pt x="94969" y="66852"/>
                  <a:pt x="93742" y="66518"/>
                </a:cubicBezTo>
                <a:cubicBezTo>
                  <a:pt x="93006" y="66518"/>
                  <a:pt x="92760" y="65515"/>
                  <a:pt x="90797" y="65515"/>
                </a:cubicBezTo>
                <a:cubicBezTo>
                  <a:pt x="89325" y="65515"/>
                  <a:pt x="89325" y="65849"/>
                  <a:pt x="91288" y="65849"/>
                </a:cubicBezTo>
                <a:cubicBezTo>
                  <a:pt x="93006" y="66518"/>
                  <a:pt x="93496" y="67520"/>
                  <a:pt x="91533" y="68523"/>
                </a:cubicBezTo>
                <a:cubicBezTo>
                  <a:pt x="89570" y="68857"/>
                  <a:pt x="89325" y="69526"/>
                  <a:pt x="88834" y="68523"/>
                </a:cubicBezTo>
                <a:cubicBezTo>
                  <a:pt x="88588" y="67855"/>
                  <a:pt x="88588" y="68523"/>
                  <a:pt x="87852" y="70194"/>
                </a:cubicBezTo>
                <a:cubicBezTo>
                  <a:pt x="86625" y="72200"/>
                  <a:pt x="87361" y="71532"/>
                  <a:pt x="89570" y="71197"/>
                </a:cubicBezTo>
                <a:cubicBezTo>
                  <a:pt x="91533" y="70529"/>
                  <a:pt x="91533" y="71197"/>
                  <a:pt x="90797" y="71532"/>
                </a:cubicBezTo>
                <a:cubicBezTo>
                  <a:pt x="90552" y="72200"/>
                  <a:pt x="90552" y="71197"/>
                  <a:pt x="88834" y="72200"/>
                </a:cubicBezTo>
                <a:cubicBezTo>
                  <a:pt x="87852" y="73537"/>
                  <a:pt x="88588" y="74206"/>
                  <a:pt x="89325" y="73203"/>
                </a:cubicBezTo>
                <a:cubicBezTo>
                  <a:pt x="90552" y="71532"/>
                  <a:pt x="90797" y="72534"/>
                  <a:pt x="92024" y="722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45" name="Shape 1720"/>
          <p:cNvSpPr/>
          <p:nvPr/>
        </p:nvSpPr>
        <p:spPr>
          <a:xfrm>
            <a:off x="2460788" y="3987786"/>
            <a:ext cx="796312" cy="581034"/>
          </a:xfrm>
          <a:custGeom>
            <a:avLst/>
            <a:gdLst/>
            <a:ahLst/>
            <a:cxnLst/>
            <a:rect l="0" t="0" r="0" b="0"/>
            <a:pathLst>
              <a:path w="120000" h="120000" extrusionOk="0">
                <a:moveTo>
                  <a:pt x="110082" y="98823"/>
                </a:moveTo>
                <a:cubicBezTo>
                  <a:pt x="102644" y="98823"/>
                  <a:pt x="102644" y="98823"/>
                  <a:pt x="102644" y="98823"/>
                </a:cubicBezTo>
                <a:cubicBezTo>
                  <a:pt x="102644" y="103315"/>
                  <a:pt x="102644" y="103315"/>
                  <a:pt x="102644" y="103315"/>
                </a:cubicBezTo>
                <a:cubicBezTo>
                  <a:pt x="101157" y="103315"/>
                  <a:pt x="101157" y="103315"/>
                  <a:pt x="101157" y="103315"/>
                </a:cubicBezTo>
                <a:cubicBezTo>
                  <a:pt x="101157" y="103315"/>
                  <a:pt x="101652" y="103315"/>
                  <a:pt x="101652" y="103957"/>
                </a:cubicBezTo>
                <a:cubicBezTo>
                  <a:pt x="102644" y="105240"/>
                  <a:pt x="103140" y="105240"/>
                  <a:pt x="104132" y="107165"/>
                </a:cubicBezTo>
                <a:cubicBezTo>
                  <a:pt x="104132" y="109090"/>
                  <a:pt x="105619" y="105882"/>
                  <a:pt x="105123" y="110374"/>
                </a:cubicBezTo>
                <a:cubicBezTo>
                  <a:pt x="99669" y="110374"/>
                  <a:pt x="99669" y="110374"/>
                  <a:pt x="99669" y="110374"/>
                </a:cubicBezTo>
                <a:cubicBezTo>
                  <a:pt x="98181" y="114866"/>
                  <a:pt x="98181" y="114866"/>
                  <a:pt x="98181" y="114866"/>
                </a:cubicBezTo>
                <a:cubicBezTo>
                  <a:pt x="98677" y="116149"/>
                  <a:pt x="98677" y="116149"/>
                  <a:pt x="98677" y="116149"/>
                </a:cubicBezTo>
                <a:cubicBezTo>
                  <a:pt x="98677" y="116149"/>
                  <a:pt x="98181" y="116791"/>
                  <a:pt x="98181" y="118074"/>
                </a:cubicBezTo>
                <a:cubicBezTo>
                  <a:pt x="98181" y="119358"/>
                  <a:pt x="98181" y="120000"/>
                  <a:pt x="98181" y="120000"/>
                </a:cubicBezTo>
                <a:cubicBezTo>
                  <a:pt x="94214" y="116149"/>
                  <a:pt x="94214" y="111016"/>
                  <a:pt x="88760" y="110374"/>
                </a:cubicBezTo>
                <a:cubicBezTo>
                  <a:pt x="84297" y="107807"/>
                  <a:pt x="84297" y="114866"/>
                  <a:pt x="79338" y="112299"/>
                </a:cubicBezTo>
                <a:cubicBezTo>
                  <a:pt x="73884" y="110374"/>
                  <a:pt x="63966" y="103957"/>
                  <a:pt x="60991" y="100106"/>
                </a:cubicBezTo>
                <a:cubicBezTo>
                  <a:pt x="58016" y="96256"/>
                  <a:pt x="56528" y="98823"/>
                  <a:pt x="52561" y="94331"/>
                </a:cubicBezTo>
                <a:cubicBezTo>
                  <a:pt x="49586" y="89839"/>
                  <a:pt x="47603" y="89839"/>
                  <a:pt x="46115" y="85989"/>
                </a:cubicBezTo>
                <a:cubicBezTo>
                  <a:pt x="43636" y="81497"/>
                  <a:pt x="48099" y="78930"/>
                  <a:pt x="46115" y="75080"/>
                </a:cubicBezTo>
                <a:cubicBezTo>
                  <a:pt x="44628" y="69946"/>
                  <a:pt x="46611" y="69304"/>
                  <a:pt x="39173" y="59037"/>
                </a:cubicBezTo>
                <a:cubicBezTo>
                  <a:pt x="33223" y="51978"/>
                  <a:pt x="36198" y="51978"/>
                  <a:pt x="31735" y="49411"/>
                </a:cubicBezTo>
                <a:cubicBezTo>
                  <a:pt x="27768" y="46203"/>
                  <a:pt x="33719" y="42994"/>
                  <a:pt x="29256" y="40427"/>
                </a:cubicBezTo>
                <a:cubicBezTo>
                  <a:pt x="24793" y="38502"/>
                  <a:pt x="27272" y="35294"/>
                  <a:pt x="23801" y="33368"/>
                </a:cubicBezTo>
                <a:cubicBezTo>
                  <a:pt x="20826" y="30160"/>
                  <a:pt x="17851" y="23101"/>
                  <a:pt x="16363" y="16042"/>
                </a:cubicBezTo>
                <a:cubicBezTo>
                  <a:pt x="14876" y="10267"/>
                  <a:pt x="14876" y="10267"/>
                  <a:pt x="13388" y="9625"/>
                </a:cubicBezTo>
                <a:cubicBezTo>
                  <a:pt x="11404" y="8342"/>
                  <a:pt x="12892" y="9625"/>
                  <a:pt x="9917" y="7058"/>
                </a:cubicBezTo>
                <a:cubicBezTo>
                  <a:pt x="7438" y="5133"/>
                  <a:pt x="9917" y="16042"/>
                  <a:pt x="11404" y="20534"/>
                </a:cubicBezTo>
                <a:cubicBezTo>
                  <a:pt x="12892" y="24385"/>
                  <a:pt x="15867" y="26310"/>
                  <a:pt x="16363" y="31443"/>
                </a:cubicBezTo>
                <a:cubicBezTo>
                  <a:pt x="17851" y="36577"/>
                  <a:pt x="20330" y="37219"/>
                  <a:pt x="21818" y="41069"/>
                </a:cubicBezTo>
                <a:cubicBezTo>
                  <a:pt x="23305" y="46203"/>
                  <a:pt x="22314" y="44919"/>
                  <a:pt x="23801" y="50053"/>
                </a:cubicBezTo>
                <a:cubicBezTo>
                  <a:pt x="26280" y="55187"/>
                  <a:pt x="24793" y="55187"/>
                  <a:pt x="25785" y="57112"/>
                </a:cubicBezTo>
                <a:cubicBezTo>
                  <a:pt x="27272" y="59037"/>
                  <a:pt x="27272" y="55187"/>
                  <a:pt x="28760" y="59037"/>
                </a:cubicBezTo>
                <a:cubicBezTo>
                  <a:pt x="30247" y="62887"/>
                  <a:pt x="31735" y="62887"/>
                  <a:pt x="29256" y="65454"/>
                </a:cubicBezTo>
                <a:cubicBezTo>
                  <a:pt x="27272" y="67379"/>
                  <a:pt x="28760" y="62887"/>
                  <a:pt x="22314" y="57112"/>
                </a:cubicBezTo>
                <a:cubicBezTo>
                  <a:pt x="15867" y="51978"/>
                  <a:pt x="21818" y="47486"/>
                  <a:pt x="17851" y="44278"/>
                </a:cubicBezTo>
                <a:cubicBezTo>
                  <a:pt x="14876" y="40427"/>
                  <a:pt x="11900" y="39144"/>
                  <a:pt x="8925" y="35294"/>
                </a:cubicBezTo>
                <a:cubicBezTo>
                  <a:pt x="6446" y="31443"/>
                  <a:pt x="11404" y="36577"/>
                  <a:pt x="11404" y="31443"/>
                </a:cubicBezTo>
                <a:cubicBezTo>
                  <a:pt x="11900" y="26310"/>
                  <a:pt x="7438" y="24385"/>
                  <a:pt x="5950" y="20534"/>
                </a:cubicBezTo>
                <a:cubicBezTo>
                  <a:pt x="3471" y="17326"/>
                  <a:pt x="4462" y="13475"/>
                  <a:pt x="0" y="2566"/>
                </a:cubicBezTo>
                <a:cubicBezTo>
                  <a:pt x="1983" y="1283"/>
                  <a:pt x="7438" y="1283"/>
                  <a:pt x="8925" y="0"/>
                </a:cubicBezTo>
                <a:cubicBezTo>
                  <a:pt x="8925" y="2566"/>
                  <a:pt x="8925" y="2566"/>
                  <a:pt x="8925" y="2566"/>
                </a:cubicBezTo>
                <a:cubicBezTo>
                  <a:pt x="11404" y="3208"/>
                  <a:pt x="22314" y="9625"/>
                  <a:pt x="23801" y="10267"/>
                </a:cubicBezTo>
                <a:cubicBezTo>
                  <a:pt x="35206" y="10267"/>
                  <a:pt x="35206" y="10267"/>
                  <a:pt x="35206" y="10267"/>
                </a:cubicBezTo>
                <a:cubicBezTo>
                  <a:pt x="35206" y="7058"/>
                  <a:pt x="35206" y="7058"/>
                  <a:pt x="35206" y="7058"/>
                </a:cubicBezTo>
                <a:cubicBezTo>
                  <a:pt x="41652" y="7058"/>
                  <a:pt x="41652" y="7058"/>
                  <a:pt x="41652" y="7058"/>
                </a:cubicBezTo>
                <a:cubicBezTo>
                  <a:pt x="41652" y="7058"/>
                  <a:pt x="46115" y="13475"/>
                  <a:pt x="47603" y="15401"/>
                </a:cubicBezTo>
                <a:cubicBezTo>
                  <a:pt x="49586" y="17326"/>
                  <a:pt x="49090" y="22459"/>
                  <a:pt x="52561" y="25026"/>
                </a:cubicBezTo>
                <a:cubicBezTo>
                  <a:pt x="57024" y="27593"/>
                  <a:pt x="54049" y="18609"/>
                  <a:pt x="59504" y="19251"/>
                </a:cubicBezTo>
                <a:cubicBezTo>
                  <a:pt x="63966" y="20534"/>
                  <a:pt x="64958" y="28235"/>
                  <a:pt x="67933" y="33368"/>
                </a:cubicBezTo>
                <a:cubicBezTo>
                  <a:pt x="70909" y="38502"/>
                  <a:pt x="68429" y="44278"/>
                  <a:pt x="75371" y="44919"/>
                </a:cubicBezTo>
                <a:cubicBezTo>
                  <a:pt x="76363" y="44919"/>
                  <a:pt x="77851" y="47486"/>
                  <a:pt x="77851" y="46203"/>
                </a:cubicBezTo>
                <a:cubicBezTo>
                  <a:pt x="77851" y="46203"/>
                  <a:pt x="77851" y="46203"/>
                  <a:pt x="78347" y="46203"/>
                </a:cubicBezTo>
                <a:cubicBezTo>
                  <a:pt x="78347" y="50053"/>
                  <a:pt x="76859" y="50053"/>
                  <a:pt x="76363" y="57112"/>
                </a:cubicBezTo>
                <a:cubicBezTo>
                  <a:pt x="75371" y="65454"/>
                  <a:pt x="76363" y="65454"/>
                  <a:pt x="76363" y="67379"/>
                </a:cubicBezTo>
                <a:cubicBezTo>
                  <a:pt x="75371" y="68021"/>
                  <a:pt x="75371" y="67379"/>
                  <a:pt x="76363" y="69304"/>
                </a:cubicBezTo>
                <a:cubicBezTo>
                  <a:pt x="76363" y="71871"/>
                  <a:pt x="76363" y="75080"/>
                  <a:pt x="76859" y="75080"/>
                </a:cubicBezTo>
                <a:cubicBezTo>
                  <a:pt x="77851" y="75080"/>
                  <a:pt x="76859" y="78930"/>
                  <a:pt x="79338" y="82139"/>
                </a:cubicBezTo>
                <a:cubicBezTo>
                  <a:pt x="82809" y="87272"/>
                  <a:pt x="81322" y="92406"/>
                  <a:pt x="85289" y="93048"/>
                </a:cubicBezTo>
                <a:cubicBezTo>
                  <a:pt x="88760" y="94331"/>
                  <a:pt x="88264" y="96898"/>
                  <a:pt x="89752" y="96898"/>
                </a:cubicBezTo>
                <a:cubicBezTo>
                  <a:pt x="91239" y="96256"/>
                  <a:pt x="91239" y="94973"/>
                  <a:pt x="93719" y="94973"/>
                </a:cubicBezTo>
                <a:cubicBezTo>
                  <a:pt x="97190" y="94331"/>
                  <a:pt x="95206" y="94331"/>
                  <a:pt x="97190" y="93048"/>
                </a:cubicBezTo>
                <a:cubicBezTo>
                  <a:pt x="98677" y="93048"/>
                  <a:pt x="99669" y="93048"/>
                  <a:pt x="99669" y="94331"/>
                </a:cubicBezTo>
                <a:cubicBezTo>
                  <a:pt x="99669" y="96256"/>
                  <a:pt x="101157" y="94973"/>
                  <a:pt x="101157" y="94331"/>
                </a:cubicBezTo>
                <a:cubicBezTo>
                  <a:pt x="101652" y="92406"/>
                  <a:pt x="100165" y="93048"/>
                  <a:pt x="101157" y="92406"/>
                </a:cubicBezTo>
                <a:cubicBezTo>
                  <a:pt x="101652" y="91122"/>
                  <a:pt x="103140" y="91122"/>
                  <a:pt x="104132" y="87914"/>
                </a:cubicBezTo>
                <a:cubicBezTo>
                  <a:pt x="104132" y="84064"/>
                  <a:pt x="105123" y="87272"/>
                  <a:pt x="105123" y="83422"/>
                </a:cubicBezTo>
                <a:cubicBezTo>
                  <a:pt x="104132" y="80213"/>
                  <a:pt x="105123" y="81497"/>
                  <a:pt x="105123" y="78930"/>
                </a:cubicBezTo>
                <a:cubicBezTo>
                  <a:pt x="105123" y="77005"/>
                  <a:pt x="108099" y="76363"/>
                  <a:pt x="110082" y="76363"/>
                </a:cubicBezTo>
                <a:cubicBezTo>
                  <a:pt x="112561" y="76363"/>
                  <a:pt x="111074" y="75080"/>
                  <a:pt x="113057" y="75080"/>
                </a:cubicBezTo>
                <a:cubicBezTo>
                  <a:pt x="115537" y="74438"/>
                  <a:pt x="117024" y="76363"/>
                  <a:pt x="117520" y="75080"/>
                </a:cubicBezTo>
                <a:cubicBezTo>
                  <a:pt x="118512" y="75080"/>
                  <a:pt x="117520" y="75080"/>
                  <a:pt x="117024" y="75080"/>
                </a:cubicBezTo>
                <a:cubicBezTo>
                  <a:pt x="117024" y="75080"/>
                  <a:pt x="117520" y="74438"/>
                  <a:pt x="118512" y="75080"/>
                </a:cubicBezTo>
                <a:cubicBezTo>
                  <a:pt x="119008" y="76363"/>
                  <a:pt x="119008" y="75080"/>
                  <a:pt x="119008" y="76363"/>
                </a:cubicBezTo>
                <a:cubicBezTo>
                  <a:pt x="119008" y="78288"/>
                  <a:pt x="120000" y="77005"/>
                  <a:pt x="118512" y="80213"/>
                </a:cubicBezTo>
                <a:cubicBezTo>
                  <a:pt x="116033" y="84064"/>
                  <a:pt x="117024" y="85989"/>
                  <a:pt x="116033" y="85989"/>
                </a:cubicBezTo>
                <a:cubicBezTo>
                  <a:pt x="114545" y="87272"/>
                  <a:pt x="115537" y="87914"/>
                  <a:pt x="116033" y="87914"/>
                </a:cubicBezTo>
                <a:cubicBezTo>
                  <a:pt x="117024" y="87272"/>
                  <a:pt x="117024" y="87914"/>
                  <a:pt x="116033" y="89197"/>
                </a:cubicBezTo>
                <a:cubicBezTo>
                  <a:pt x="114545" y="89839"/>
                  <a:pt x="117024" y="89197"/>
                  <a:pt x="116033" y="89839"/>
                </a:cubicBezTo>
                <a:cubicBezTo>
                  <a:pt x="116033" y="91122"/>
                  <a:pt x="115537" y="98181"/>
                  <a:pt x="114545" y="96256"/>
                </a:cubicBezTo>
                <a:cubicBezTo>
                  <a:pt x="114545" y="94973"/>
                  <a:pt x="114049" y="94973"/>
                  <a:pt x="114049" y="94331"/>
                </a:cubicBezTo>
                <a:cubicBezTo>
                  <a:pt x="114545" y="92406"/>
                  <a:pt x="114545" y="92406"/>
                  <a:pt x="114049" y="93048"/>
                </a:cubicBezTo>
                <a:cubicBezTo>
                  <a:pt x="114049" y="94331"/>
                  <a:pt x="113057" y="94331"/>
                  <a:pt x="113057" y="94973"/>
                </a:cubicBezTo>
                <a:cubicBezTo>
                  <a:pt x="111570" y="94331"/>
                  <a:pt x="111570" y="98181"/>
                  <a:pt x="111074" y="98181"/>
                </a:cubicBezTo>
                <a:cubicBezTo>
                  <a:pt x="111074" y="98823"/>
                  <a:pt x="110082" y="96898"/>
                  <a:pt x="110082" y="98823"/>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46" name="Shape 1721"/>
          <p:cNvSpPr/>
          <p:nvPr/>
        </p:nvSpPr>
        <p:spPr>
          <a:xfrm>
            <a:off x="3191025" y="4443970"/>
            <a:ext cx="28801" cy="81632"/>
          </a:xfrm>
          <a:custGeom>
            <a:avLst/>
            <a:gdLst/>
            <a:ahLst/>
            <a:cxnLst/>
            <a:rect l="0" t="0" r="0" b="0"/>
            <a:pathLst>
              <a:path w="120000" h="120000" extrusionOk="0">
                <a:moveTo>
                  <a:pt x="80000" y="4615"/>
                </a:moveTo>
                <a:cubicBezTo>
                  <a:pt x="40000" y="0"/>
                  <a:pt x="40000" y="27692"/>
                  <a:pt x="26666" y="27692"/>
                </a:cubicBezTo>
                <a:cubicBezTo>
                  <a:pt x="26666" y="32307"/>
                  <a:pt x="0" y="18461"/>
                  <a:pt x="0" y="32307"/>
                </a:cubicBezTo>
                <a:cubicBezTo>
                  <a:pt x="0" y="120000"/>
                  <a:pt x="0" y="120000"/>
                  <a:pt x="0" y="120000"/>
                </a:cubicBezTo>
                <a:cubicBezTo>
                  <a:pt x="26666" y="120000"/>
                  <a:pt x="26666" y="120000"/>
                  <a:pt x="26666" y="120000"/>
                </a:cubicBezTo>
                <a:cubicBezTo>
                  <a:pt x="26666" y="115384"/>
                  <a:pt x="66666" y="106153"/>
                  <a:pt x="80000" y="92307"/>
                </a:cubicBezTo>
                <a:cubicBezTo>
                  <a:pt x="106666" y="83076"/>
                  <a:pt x="80000" y="41538"/>
                  <a:pt x="106666" y="18461"/>
                </a:cubicBezTo>
                <a:cubicBezTo>
                  <a:pt x="120000" y="13846"/>
                  <a:pt x="106666" y="4615"/>
                  <a:pt x="106666" y="4615"/>
                </a:cubicBezTo>
                <a:cubicBezTo>
                  <a:pt x="80000" y="13846"/>
                  <a:pt x="80000" y="13846"/>
                  <a:pt x="80000" y="4615"/>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47" name="Shape 1722"/>
          <p:cNvSpPr/>
          <p:nvPr/>
        </p:nvSpPr>
        <p:spPr>
          <a:xfrm>
            <a:off x="3694228" y="5298715"/>
            <a:ext cx="335469" cy="419372"/>
          </a:xfrm>
          <a:custGeom>
            <a:avLst/>
            <a:gdLst/>
            <a:ahLst/>
            <a:cxnLst/>
            <a:rect l="0" t="0" r="0" b="0"/>
            <a:pathLst>
              <a:path w="120000" h="120000" extrusionOk="0">
                <a:moveTo>
                  <a:pt x="3529" y="14222"/>
                </a:moveTo>
                <a:cubicBezTo>
                  <a:pt x="14117" y="16888"/>
                  <a:pt x="11764" y="15111"/>
                  <a:pt x="23529" y="8888"/>
                </a:cubicBezTo>
                <a:cubicBezTo>
                  <a:pt x="31764" y="2666"/>
                  <a:pt x="45882" y="0"/>
                  <a:pt x="42352" y="5333"/>
                </a:cubicBezTo>
                <a:cubicBezTo>
                  <a:pt x="41176" y="12444"/>
                  <a:pt x="41176" y="17777"/>
                  <a:pt x="48235" y="24000"/>
                </a:cubicBezTo>
                <a:cubicBezTo>
                  <a:pt x="55294" y="29333"/>
                  <a:pt x="58823" y="26666"/>
                  <a:pt x="65882" y="30222"/>
                </a:cubicBezTo>
                <a:cubicBezTo>
                  <a:pt x="71764" y="34666"/>
                  <a:pt x="69411" y="32000"/>
                  <a:pt x="72941" y="34666"/>
                </a:cubicBezTo>
                <a:cubicBezTo>
                  <a:pt x="78823" y="39111"/>
                  <a:pt x="80000" y="33777"/>
                  <a:pt x="85882" y="37333"/>
                </a:cubicBezTo>
                <a:cubicBezTo>
                  <a:pt x="90588" y="41777"/>
                  <a:pt x="87058" y="59555"/>
                  <a:pt x="92941" y="61333"/>
                </a:cubicBezTo>
                <a:cubicBezTo>
                  <a:pt x="97647" y="61333"/>
                  <a:pt x="109411" y="59555"/>
                  <a:pt x="107058" y="62222"/>
                </a:cubicBezTo>
                <a:cubicBezTo>
                  <a:pt x="105882" y="64888"/>
                  <a:pt x="105882" y="69333"/>
                  <a:pt x="110588" y="70222"/>
                </a:cubicBezTo>
                <a:cubicBezTo>
                  <a:pt x="120000" y="73777"/>
                  <a:pt x="112941" y="82666"/>
                  <a:pt x="112941" y="84444"/>
                </a:cubicBezTo>
                <a:cubicBezTo>
                  <a:pt x="114117" y="87111"/>
                  <a:pt x="110588" y="89777"/>
                  <a:pt x="110588" y="91555"/>
                </a:cubicBezTo>
                <a:cubicBezTo>
                  <a:pt x="112941" y="94222"/>
                  <a:pt x="112941" y="94222"/>
                  <a:pt x="109411" y="95111"/>
                </a:cubicBezTo>
                <a:cubicBezTo>
                  <a:pt x="109411" y="92444"/>
                  <a:pt x="110588" y="92444"/>
                  <a:pt x="105882" y="91555"/>
                </a:cubicBezTo>
                <a:cubicBezTo>
                  <a:pt x="102352" y="88888"/>
                  <a:pt x="100000" y="86222"/>
                  <a:pt x="89411" y="88888"/>
                </a:cubicBezTo>
                <a:cubicBezTo>
                  <a:pt x="78823" y="89777"/>
                  <a:pt x="76470" y="88888"/>
                  <a:pt x="75294" y="92444"/>
                </a:cubicBezTo>
                <a:cubicBezTo>
                  <a:pt x="72941" y="96888"/>
                  <a:pt x="71764" y="96888"/>
                  <a:pt x="71764" y="102222"/>
                </a:cubicBezTo>
                <a:cubicBezTo>
                  <a:pt x="71764" y="106666"/>
                  <a:pt x="68235" y="112000"/>
                  <a:pt x="68235" y="114666"/>
                </a:cubicBezTo>
                <a:cubicBezTo>
                  <a:pt x="65882" y="113777"/>
                  <a:pt x="65882" y="112000"/>
                  <a:pt x="64705" y="112000"/>
                </a:cubicBezTo>
                <a:cubicBezTo>
                  <a:pt x="62352" y="112000"/>
                  <a:pt x="61176" y="112000"/>
                  <a:pt x="57647" y="112000"/>
                </a:cubicBezTo>
                <a:cubicBezTo>
                  <a:pt x="55294" y="112000"/>
                  <a:pt x="52941" y="113777"/>
                  <a:pt x="51764" y="119111"/>
                </a:cubicBezTo>
                <a:cubicBezTo>
                  <a:pt x="49411" y="112000"/>
                  <a:pt x="45882" y="112000"/>
                  <a:pt x="41176" y="113777"/>
                </a:cubicBezTo>
                <a:cubicBezTo>
                  <a:pt x="35294" y="113777"/>
                  <a:pt x="35294" y="109333"/>
                  <a:pt x="34117" y="109333"/>
                </a:cubicBezTo>
                <a:cubicBezTo>
                  <a:pt x="31764" y="110222"/>
                  <a:pt x="34117" y="112000"/>
                  <a:pt x="30588" y="113777"/>
                </a:cubicBezTo>
                <a:cubicBezTo>
                  <a:pt x="28235" y="114666"/>
                  <a:pt x="28235" y="117333"/>
                  <a:pt x="24705" y="119111"/>
                </a:cubicBezTo>
                <a:cubicBezTo>
                  <a:pt x="21176" y="120000"/>
                  <a:pt x="20000" y="120000"/>
                  <a:pt x="17647" y="116444"/>
                </a:cubicBezTo>
                <a:cubicBezTo>
                  <a:pt x="17647" y="110222"/>
                  <a:pt x="16470" y="102222"/>
                  <a:pt x="14117" y="102222"/>
                </a:cubicBezTo>
                <a:cubicBezTo>
                  <a:pt x="10588" y="102222"/>
                  <a:pt x="14117" y="99555"/>
                  <a:pt x="11764" y="98666"/>
                </a:cubicBezTo>
                <a:cubicBezTo>
                  <a:pt x="10588" y="98666"/>
                  <a:pt x="10588" y="96888"/>
                  <a:pt x="11764" y="94222"/>
                </a:cubicBezTo>
                <a:cubicBezTo>
                  <a:pt x="14117" y="92444"/>
                  <a:pt x="8235" y="92444"/>
                  <a:pt x="11764" y="89777"/>
                </a:cubicBezTo>
                <a:cubicBezTo>
                  <a:pt x="14117" y="88888"/>
                  <a:pt x="11764" y="88888"/>
                  <a:pt x="10588" y="86222"/>
                </a:cubicBezTo>
                <a:cubicBezTo>
                  <a:pt x="8235" y="86222"/>
                  <a:pt x="7058" y="79111"/>
                  <a:pt x="7058" y="77333"/>
                </a:cubicBezTo>
                <a:cubicBezTo>
                  <a:pt x="7058" y="76444"/>
                  <a:pt x="4705" y="76444"/>
                  <a:pt x="3529" y="70222"/>
                </a:cubicBezTo>
                <a:cubicBezTo>
                  <a:pt x="3529" y="67555"/>
                  <a:pt x="11764" y="62222"/>
                  <a:pt x="4705" y="59555"/>
                </a:cubicBezTo>
                <a:cubicBezTo>
                  <a:pt x="0" y="56888"/>
                  <a:pt x="8235" y="54222"/>
                  <a:pt x="4705" y="49777"/>
                </a:cubicBezTo>
                <a:cubicBezTo>
                  <a:pt x="1176" y="46222"/>
                  <a:pt x="10588" y="44444"/>
                  <a:pt x="8235" y="40000"/>
                </a:cubicBezTo>
                <a:cubicBezTo>
                  <a:pt x="7058" y="34666"/>
                  <a:pt x="10588" y="27555"/>
                  <a:pt x="10588" y="27555"/>
                </a:cubicBezTo>
                <a:cubicBezTo>
                  <a:pt x="3529" y="14222"/>
                  <a:pt x="3529" y="14222"/>
                  <a:pt x="3529" y="14222"/>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48" name="Shape 1723"/>
          <p:cNvSpPr/>
          <p:nvPr/>
        </p:nvSpPr>
        <p:spPr>
          <a:xfrm>
            <a:off x="3883986" y="5596438"/>
            <a:ext cx="220256" cy="276913"/>
          </a:xfrm>
          <a:custGeom>
            <a:avLst/>
            <a:gdLst/>
            <a:ahLst/>
            <a:cxnLst/>
            <a:rect l="0" t="0" r="0" b="0"/>
            <a:pathLst>
              <a:path w="120000" h="120000" extrusionOk="0">
                <a:moveTo>
                  <a:pt x="111044" y="88988"/>
                </a:moveTo>
                <a:cubicBezTo>
                  <a:pt x="114626" y="97078"/>
                  <a:pt x="111044" y="94382"/>
                  <a:pt x="111044" y="101123"/>
                </a:cubicBezTo>
                <a:cubicBezTo>
                  <a:pt x="109253" y="107865"/>
                  <a:pt x="100298" y="107865"/>
                  <a:pt x="100298" y="113258"/>
                </a:cubicBezTo>
                <a:cubicBezTo>
                  <a:pt x="98507" y="120000"/>
                  <a:pt x="94925" y="109213"/>
                  <a:pt x="89552" y="115955"/>
                </a:cubicBezTo>
                <a:cubicBezTo>
                  <a:pt x="80597" y="120000"/>
                  <a:pt x="75223" y="113258"/>
                  <a:pt x="64477" y="113258"/>
                </a:cubicBezTo>
                <a:cubicBezTo>
                  <a:pt x="57313" y="113258"/>
                  <a:pt x="57313" y="115955"/>
                  <a:pt x="57313" y="111910"/>
                </a:cubicBezTo>
                <a:cubicBezTo>
                  <a:pt x="53731" y="109213"/>
                  <a:pt x="59104" y="109213"/>
                  <a:pt x="62686" y="105168"/>
                </a:cubicBezTo>
                <a:cubicBezTo>
                  <a:pt x="64477" y="101123"/>
                  <a:pt x="59104" y="98426"/>
                  <a:pt x="64477" y="97078"/>
                </a:cubicBezTo>
                <a:cubicBezTo>
                  <a:pt x="69850" y="94382"/>
                  <a:pt x="64477" y="94382"/>
                  <a:pt x="69850" y="88988"/>
                </a:cubicBezTo>
                <a:cubicBezTo>
                  <a:pt x="73432" y="86292"/>
                  <a:pt x="64477" y="79550"/>
                  <a:pt x="62686" y="79550"/>
                </a:cubicBezTo>
                <a:cubicBezTo>
                  <a:pt x="57313" y="79550"/>
                  <a:pt x="51940" y="78202"/>
                  <a:pt x="41194" y="71460"/>
                </a:cubicBezTo>
                <a:cubicBezTo>
                  <a:pt x="32238" y="66067"/>
                  <a:pt x="23283" y="67415"/>
                  <a:pt x="21492" y="63370"/>
                </a:cubicBezTo>
                <a:cubicBezTo>
                  <a:pt x="17910" y="59325"/>
                  <a:pt x="10746" y="59325"/>
                  <a:pt x="5373" y="51235"/>
                </a:cubicBezTo>
                <a:cubicBezTo>
                  <a:pt x="1791" y="44494"/>
                  <a:pt x="1791" y="47191"/>
                  <a:pt x="0" y="44494"/>
                </a:cubicBezTo>
                <a:cubicBezTo>
                  <a:pt x="0" y="40449"/>
                  <a:pt x="5373" y="32359"/>
                  <a:pt x="5373" y="25617"/>
                </a:cubicBezTo>
                <a:cubicBezTo>
                  <a:pt x="5373" y="17528"/>
                  <a:pt x="7164" y="17528"/>
                  <a:pt x="10746" y="10786"/>
                </a:cubicBezTo>
                <a:cubicBezTo>
                  <a:pt x="12537" y="4044"/>
                  <a:pt x="16119" y="6741"/>
                  <a:pt x="32238" y="4044"/>
                </a:cubicBezTo>
                <a:cubicBezTo>
                  <a:pt x="48358" y="0"/>
                  <a:pt x="51940" y="4044"/>
                  <a:pt x="57313" y="9438"/>
                </a:cubicBezTo>
                <a:cubicBezTo>
                  <a:pt x="64477" y="10786"/>
                  <a:pt x="62686" y="10786"/>
                  <a:pt x="62686" y="14831"/>
                </a:cubicBezTo>
                <a:cubicBezTo>
                  <a:pt x="62686" y="18876"/>
                  <a:pt x="69850" y="25617"/>
                  <a:pt x="68059" y="29662"/>
                </a:cubicBezTo>
                <a:cubicBezTo>
                  <a:pt x="64477" y="36404"/>
                  <a:pt x="68059" y="36404"/>
                  <a:pt x="64477" y="40449"/>
                </a:cubicBezTo>
                <a:cubicBezTo>
                  <a:pt x="64477" y="41797"/>
                  <a:pt x="84179" y="44494"/>
                  <a:pt x="84179" y="41797"/>
                </a:cubicBezTo>
                <a:cubicBezTo>
                  <a:pt x="85970" y="40449"/>
                  <a:pt x="94925" y="41797"/>
                  <a:pt x="98507" y="47191"/>
                </a:cubicBezTo>
                <a:cubicBezTo>
                  <a:pt x="103880" y="63370"/>
                  <a:pt x="98507" y="67415"/>
                  <a:pt x="103880" y="67415"/>
                </a:cubicBezTo>
                <a:cubicBezTo>
                  <a:pt x="109253" y="67415"/>
                  <a:pt x="111044" y="63370"/>
                  <a:pt x="114626" y="66067"/>
                </a:cubicBezTo>
                <a:cubicBezTo>
                  <a:pt x="120000" y="70112"/>
                  <a:pt x="116417" y="86292"/>
                  <a:pt x="111044" y="88988"/>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49" name="Shape 1724"/>
          <p:cNvSpPr/>
          <p:nvPr/>
        </p:nvSpPr>
        <p:spPr>
          <a:xfrm>
            <a:off x="3985641" y="5940574"/>
            <a:ext cx="152486" cy="171269"/>
          </a:xfrm>
          <a:custGeom>
            <a:avLst/>
            <a:gdLst/>
            <a:ahLst/>
            <a:cxnLst/>
            <a:rect l="0" t="0" r="0" b="0"/>
            <a:pathLst>
              <a:path w="120000" h="120000" extrusionOk="0">
                <a:moveTo>
                  <a:pt x="109565" y="91636"/>
                </a:moveTo>
                <a:cubicBezTo>
                  <a:pt x="101739" y="104727"/>
                  <a:pt x="91304" y="106909"/>
                  <a:pt x="83478" y="113454"/>
                </a:cubicBezTo>
                <a:cubicBezTo>
                  <a:pt x="73043" y="120000"/>
                  <a:pt x="67826" y="111272"/>
                  <a:pt x="57391" y="113454"/>
                </a:cubicBezTo>
                <a:cubicBezTo>
                  <a:pt x="49565" y="117818"/>
                  <a:pt x="33913" y="104727"/>
                  <a:pt x="23478" y="104727"/>
                </a:cubicBezTo>
                <a:cubicBezTo>
                  <a:pt x="13043" y="104727"/>
                  <a:pt x="5217" y="98181"/>
                  <a:pt x="5217" y="98181"/>
                </a:cubicBezTo>
                <a:cubicBezTo>
                  <a:pt x="0" y="91636"/>
                  <a:pt x="0" y="76363"/>
                  <a:pt x="7826" y="74181"/>
                </a:cubicBezTo>
                <a:cubicBezTo>
                  <a:pt x="15652" y="69818"/>
                  <a:pt x="5217" y="50181"/>
                  <a:pt x="7826" y="43636"/>
                </a:cubicBezTo>
                <a:cubicBezTo>
                  <a:pt x="15652" y="39272"/>
                  <a:pt x="5217" y="39272"/>
                  <a:pt x="13043" y="30545"/>
                </a:cubicBezTo>
                <a:cubicBezTo>
                  <a:pt x="20869" y="19636"/>
                  <a:pt x="13043" y="17454"/>
                  <a:pt x="20869" y="6545"/>
                </a:cubicBezTo>
                <a:cubicBezTo>
                  <a:pt x="28695" y="17454"/>
                  <a:pt x="28695" y="0"/>
                  <a:pt x="44347" y="10909"/>
                </a:cubicBezTo>
                <a:cubicBezTo>
                  <a:pt x="57391" y="19636"/>
                  <a:pt x="49565" y="30545"/>
                  <a:pt x="60000" y="26181"/>
                </a:cubicBezTo>
                <a:cubicBezTo>
                  <a:pt x="67826" y="19636"/>
                  <a:pt x="65217" y="30545"/>
                  <a:pt x="75652" y="32727"/>
                </a:cubicBezTo>
                <a:cubicBezTo>
                  <a:pt x="88695" y="39272"/>
                  <a:pt x="83478" y="39272"/>
                  <a:pt x="91304" y="48000"/>
                </a:cubicBezTo>
                <a:cubicBezTo>
                  <a:pt x="104347" y="50181"/>
                  <a:pt x="101739" y="50181"/>
                  <a:pt x="109565" y="61090"/>
                </a:cubicBezTo>
                <a:cubicBezTo>
                  <a:pt x="120000" y="74181"/>
                  <a:pt x="101739" y="74181"/>
                  <a:pt x="109565" y="91636"/>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50" name="Shape 1725"/>
          <p:cNvSpPr/>
          <p:nvPr/>
        </p:nvSpPr>
        <p:spPr>
          <a:xfrm>
            <a:off x="3387560" y="5008996"/>
            <a:ext cx="338857" cy="561827"/>
          </a:xfrm>
          <a:custGeom>
            <a:avLst/>
            <a:gdLst/>
            <a:ahLst/>
            <a:cxnLst/>
            <a:rect l="0" t="0" r="0" b="0"/>
            <a:pathLst>
              <a:path w="120000" h="120000" extrusionOk="0">
                <a:moveTo>
                  <a:pt x="108349" y="27845"/>
                </a:moveTo>
                <a:cubicBezTo>
                  <a:pt x="102524" y="29834"/>
                  <a:pt x="106019" y="25856"/>
                  <a:pt x="99029" y="27845"/>
                </a:cubicBezTo>
                <a:cubicBezTo>
                  <a:pt x="92038" y="30497"/>
                  <a:pt x="89708" y="29834"/>
                  <a:pt x="82718" y="32486"/>
                </a:cubicBezTo>
                <a:cubicBezTo>
                  <a:pt x="78058" y="37127"/>
                  <a:pt x="81553" y="41767"/>
                  <a:pt x="74563" y="43756"/>
                </a:cubicBezTo>
                <a:cubicBezTo>
                  <a:pt x="64077" y="49060"/>
                  <a:pt x="79223" y="57679"/>
                  <a:pt x="78058" y="60331"/>
                </a:cubicBezTo>
                <a:cubicBezTo>
                  <a:pt x="75728" y="63646"/>
                  <a:pt x="86213" y="59668"/>
                  <a:pt x="86213" y="63646"/>
                </a:cubicBezTo>
                <a:cubicBezTo>
                  <a:pt x="85048" y="68950"/>
                  <a:pt x="97864" y="65635"/>
                  <a:pt x="99029" y="63646"/>
                </a:cubicBezTo>
                <a:cubicBezTo>
                  <a:pt x="102524" y="60331"/>
                  <a:pt x="99029" y="71602"/>
                  <a:pt x="102524" y="71602"/>
                </a:cubicBezTo>
                <a:cubicBezTo>
                  <a:pt x="106019" y="72928"/>
                  <a:pt x="106019" y="70939"/>
                  <a:pt x="111844" y="71602"/>
                </a:cubicBezTo>
                <a:cubicBezTo>
                  <a:pt x="118834" y="82209"/>
                  <a:pt x="118834" y="82209"/>
                  <a:pt x="118834" y="82209"/>
                </a:cubicBezTo>
                <a:cubicBezTo>
                  <a:pt x="118834" y="82209"/>
                  <a:pt x="115339" y="87513"/>
                  <a:pt x="116504" y="91491"/>
                </a:cubicBezTo>
                <a:cubicBezTo>
                  <a:pt x="118834" y="94806"/>
                  <a:pt x="109514" y="95469"/>
                  <a:pt x="113009" y="98784"/>
                </a:cubicBezTo>
                <a:cubicBezTo>
                  <a:pt x="116504" y="101436"/>
                  <a:pt x="108349" y="103425"/>
                  <a:pt x="113009" y="106077"/>
                </a:cubicBezTo>
                <a:cubicBezTo>
                  <a:pt x="120000" y="108066"/>
                  <a:pt x="111844" y="112044"/>
                  <a:pt x="111844" y="114033"/>
                </a:cubicBezTo>
                <a:cubicBezTo>
                  <a:pt x="111844" y="114033"/>
                  <a:pt x="111844" y="116022"/>
                  <a:pt x="108349" y="116022"/>
                </a:cubicBezTo>
                <a:cubicBezTo>
                  <a:pt x="106019" y="116022"/>
                  <a:pt x="113009" y="118011"/>
                  <a:pt x="102524" y="120000"/>
                </a:cubicBezTo>
                <a:cubicBezTo>
                  <a:pt x="101359" y="118011"/>
                  <a:pt x="95533" y="118011"/>
                  <a:pt x="93203" y="115359"/>
                </a:cubicBezTo>
                <a:cubicBezTo>
                  <a:pt x="93203" y="112044"/>
                  <a:pt x="89708" y="112044"/>
                  <a:pt x="75728" y="106740"/>
                </a:cubicBezTo>
                <a:cubicBezTo>
                  <a:pt x="60582" y="102762"/>
                  <a:pt x="60582" y="100773"/>
                  <a:pt x="58252" y="98784"/>
                </a:cubicBezTo>
                <a:cubicBezTo>
                  <a:pt x="54757" y="96795"/>
                  <a:pt x="47766" y="94806"/>
                  <a:pt x="48932" y="89502"/>
                </a:cubicBezTo>
                <a:cubicBezTo>
                  <a:pt x="48932" y="84198"/>
                  <a:pt x="40776" y="82209"/>
                  <a:pt x="40776" y="78895"/>
                </a:cubicBezTo>
                <a:cubicBezTo>
                  <a:pt x="40776" y="76243"/>
                  <a:pt x="37281" y="76243"/>
                  <a:pt x="34951" y="71602"/>
                </a:cubicBezTo>
                <a:cubicBezTo>
                  <a:pt x="34951" y="67624"/>
                  <a:pt x="27961" y="61657"/>
                  <a:pt x="26796" y="56353"/>
                </a:cubicBezTo>
                <a:cubicBezTo>
                  <a:pt x="24466" y="52375"/>
                  <a:pt x="19805" y="52375"/>
                  <a:pt x="16310" y="46408"/>
                </a:cubicBezTo>
                <a:cubicBezTo>
                  <a:pt x="13980" y="41767"/>
                  <a:pt x="0" y="41104"/>
                  <a:pt x="4660" y="37790"/>
                </a:cubicBezTo>
                <a:cubicBezTo>
                  <a:pt x="10485" y="37127"/>
                  <a:pt x="4660" y="37127"/>
                  <a:pt x="3495" y="34475"/>
                </a:cubicBezTo>
                <a:cubicBezTo>
                  <a:pt x="1165" y="31823"/>
                  <a:pt x="1165" y="28508"/>
                  <a:pt x="12815" y="22541"/>
                </a:cubicBezTo>
                <a:cubicBezTo>
                  <a:pt x="16310" y="26519"/>
                  <a:pt x="9320" y="26519"/>
                  <a:pt x="10485" y="28508"/>
                </a:cubicBezTo>
                <a:cubicBezTo>
                  <a:pt x="10485" y="30497"/>
                  <a:pt x="12815" y="28508"/>
                  <a:pt x="17475" y="29834"/>
                </a:cubicBezTo>
                <a:cubicBezTo>
                  <a:pt x="20970" y="29834"/>
                  <a:pt x="20970" y="33812"/>
                  <a:pt x="24466" y="31823"/>
                </a:cubicBezTo>
                <a:cubicBezTo>
                  <a:pt x="27961" y="29834"/>
                  <a:pt x="24466" y="29834"/>
                  <a:pt x="30291" y="23204"/>
                </a:cubicBezTo>
                <a:cubicBezTo>
                  <a:pt x="34951" y="18563"/>
                  <a:pt x="48932" y="16574"/>
                  <a:pt x="54757" y="11933"/>
                </a:cubicBezTo>
                <a:cubicBezTo>
                  <a:pt x="58252" y="7292"/>
                  <a:pt x="58252" y="5966"/>
                  <a:pt x="58252" y="662"/>
                </a:cubicBezTo>
                <a:cubicBezTo>
                  <a:pt x="60582" y="0"/>
                  <a:pt x="60582" y="1988"/>
                  <a:pt x="64077" y="2651"/>
                </a:cubicBezTo>
                <a:cubicBezTo>
                  <a:pt x="68737" y="3977"/>
                  <a:pt x="65242" y="5966"/>
                  <a:pt x="71067" y="7955"/>
                </a:cubicBezTo>
                <a:cubicBezTo>
                  <a:pt x="78058" y="9944"/>
                  <a:pt x="75728" y="16574"/>
                  <a:pt x="81553" y="16574"/>
                </a:cubicBezTo>
                <a:cubicBezTo>
                  <a:pt x="88543" y="16574"/>
                  <a:pt x="92038" y="13922"/>
                  <a:pt x="99029" y="15248"/>
                </a:cubicBezTo>
                <a:cubicBezTo>
                  <a:pt x="108349" y="17237"/>
                  <a:pt x="108349" y="17237"/>
                  <a:pt x="106019" y="18563"/>
                </a:cubicBezTo>
                <a:cubicBezTo>
                  <a:pt x="102524" y="22541"/>
                  <a:pt x="99029" y="26519"/>
                  <a:pt x="102524" y="25856"/>
                </a:cubicBezTo>
                <a:cubicBezTo>
                  <a:pt x="106019" y="25856"/>
                  <a:pt x="106019" y="26519"/>
                  <a:pt x="108349" y="27845"/>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53" name="Shape 1726"/>
          <p:cNvSpPr/>
          <p:nvPr/>
        </p:nvSpPr>
        <p:spPr>
          <a:xfrm>
            <a:off x="3446860" y="4631247"/>
            <a:ext cx="325302" cy="509007"/>
          </a:xfrm>
          <a:custGeom>
            <a:avLst/>
            <a:gdLst/>
            <a:ahLst/>
            <a:cxnLst/>
            <a:rect l="0" t="0" r="0" b="0"/>
            <a:pathLst>
              <a:path w="120000" h="120000" extrusionOk="0">
                <a:moveTo>
                  <a:pt x="77575" y="4390"/>
                </a:moveTo>
                <a:cubicBezTo>
                  <a:pt x="80000" y="3658"/>
                  <a:pt x="81212" y="0"/>
                  <a:pt x="73939" y="1463"/>
                </a:cubicBezTo>
                <a:cubicBezTo>
                  <a:pt x="69090" y="1463"/>
                  <a:pt x="72727" y="2195"/>
                  <a:pt x="63030" y="5853"/>
                </a:cubicBezTo>
                <a:cubicBezTo>
                  <a:pt x="52121" y="11707"/>
                  <a:pt x="50909" y="5853"/>
                  <a:pt x="48484" y="9512"/>
                </a:cubicBezTo>
                <a:cubicBezTo>
                  <a:pt x="46060" y="12439"/>
                  <a:pt x="42424" y="8048"/>
                  <a:pt x="41212" y="10243"/>
                </a:cubicBezTo>
                <a:cubicBezTo>
                  <a:pt x="38787" y="12439"/>
                  <a:pt x="35151" y="12439"/>
                  <a:pt x="35151" y="18292"/>
                </a:cubicBezTo>
                <a:cubicBezTo>
                  <a:pt x="37575" y="24878"/>
                  <a:pt x="31515" y="20487"/>
                  <a:pt x="30303" y="24146"/>
                </a:cubicBezTo>
                <a:cubicBezTo>
                  <a:pt x="30303" y="27804"/>
                  <a:pt x="23030" y="26341"/>
                  <a:pt x="24242" y="30000"/>
                </a:cubicBezTo>
                <a:cubicBezTo>
                  <a:pt x="26666" y="35121"/>
                  <a:pt x="23030" y="30731"/>
                  <a:pt x="19393" y="27804"/>
                </a:cubicBezTo>
                <a:cubicBezTo>
                  <a:pt x="16969" y="30000"/>
                  <a:pt x="23030" y="32926"/>
                  <a:pt x="20606" y="32926"/>
                </a:cubicBezTo>
                <a:cubicBezTo>
                  <a:pt x="19393" y="32926"/>
                  <a:pt x="20606" y="34390"/>
                  <a:pt x="19393" y="35121"/>
                </a:cubicBezTo>
                <a:cubicBezTo>
                  <a:pt x="16969" y="36585"/>
                  <a:pt x="15757" y="34390"/>
                  <a:pt x="15757" y="34390"/>
                </a:cubicBezTo>
                <a:cubicBezTo>
                  <a:pt x="13333" y="36585"/>
                  <a:pt x="15757" y="35121"/>
                  <a:pt x="13333" y="38048"/>
                </a:cubicBezTo>
                <a:cubicBezTo>
                  <a:pt x="15757" y="38780"/>
                  <a:pt x="15757" y="38780"/>
                  <a:pt x="15757" y="40243"/>
                </a:cubicBezTo>
                <a:cubicBezTo>
                  <a:pt x="15757" y="40975"/>
                  <a:pt x="15757" y="40975"/>
                  <a:pt x="16969" y="42439"/>
                </a:cubicBezTo>
                <a:cubicBezTo>
                  <a:pt x="23030" y="43170"/>
                  <a:pt x="16969" y="45365"/>
                  <a:pt x="19393" y="46829"/>
                </a:cubicBezTo>
                <a:cubicBezTo>
                  <a:pt x="23030" y="50487"/>
                  <a:pt x="15757" y="48292"/>
                  <a:pt x="16969" y="53414"/>
                </a:cubicBezTo>
                <a:cubicBezTo>
                  <a:pt x="19393" y="59268"/>
                  <a:pt x="15757" y="62926"/>
                  <a:pt x="19393" y="63658"/>
                </a:cubicBezTo>
                <a:cubicBezTo>
                  <a:pt x="20606" y="63658"/>
                  <a:pt x="16969" y="71707"/>
                  <a:pt x="13333" y="71707"/>
                </a:cubicBezTo>
                <a:cubicBezTo>
                  <a:pt x="8484" y="71707"/>
                  <a:pt x="6060" y="71707"/>
                  <a:pt x="6060" y="75365"/>
                </a:cubicBezTo>
                <a:cubicBezTo>
                  <a:pt x="8484" y="77560"/>
                  <a:pt x="0" y="75365"/>
                  <a:pt x="3636" y="79756"/>
                </a:cubicBezTo>
                <a:cubicBezTo>
                  <a:pt x="12121" y="83414"/>
                  <a:pt x="13333" y="84146"/>
                  <a:pt x="15757" y="84146"/>
                </a:cubicBezTo>
                <a:cubicBezTo>
                  <a:pt x="15757" y="84146"/>
                  <a:pt x="19393" y="85609"/>
                  <a:pt x="19393" y="87073"/>
                </a:cubicBezTo>
                <a:cubicBezTo>
                  <a:pt x="19393" y="87804"/>
                  <a:pt x="27878" y="89268"/>
                  <a:pt x="27878" y="87804"/>
                </a:cubicBezTo>
                <a:cubicBezTo>
                  <a:pt x="27878" y="87073"/>
                  <a:pt x="30303" y="85609"/>
                  <a:pt x="31515" y="87804"/>
                </a:cubicBezTo>
                <a:cubicBezTo>
                  <a:pt x="33939" y="90000"/>
                  <a:pt x="35151" y="90000"/>
                  <a:pt x="38787" y="90000"/>
                </a:cubicBezTo>
                <a:cubicBezTo>
                  <a:pt x="41212" y="89268"/>
                  <a:pt x="41212" y="91463"/>
                  <a:pt x="44848" y="92195"/>
                </a:cubicBezTo>
                <a:cubicBezTo>
                  <a:pt x="50909" y="93658"/>
                  <a:pt x="46060" y="95853"/>
                  <a:pt x="52121" y="98048"/>
                </a:cubicBezTo>
                <a:cubicBezTo>
                  <a:pt x="59393" y="100243"/>
                  <a:pt x="58181" y="107560"/>
                  <a:pt x="63030" y="107560"/>
                </a:cubicBezTo>
                <a:cubicBezTo>
                  <a:pt x="70303" y="107560"/>
                  <a:pt x="73939" y="105365"/>
                  <a:pt x="81212" y="106097"/>
                </a:cubicBezTo>
                <a:cubicBezTo>
                  <a:pt x="90909" y="108292"/>
                  <a:pt x="90909" y="108292"/>
                  <a:pt x="88484" y="109756"/>
                </a:cubicBezTo>
                <a:cubicBezTo>
                  <a:pt x="84848" y="114146"/>
                  <a:pt x="81212" y="118536"/>
                  <a:pt x="84848" y="117804"/>
                </a:cubicBezTo>
                <a:cubicBezTo>
                  <a:pt x="88484" y="117804"/>
                  <a:pt x="88484" y="118536"/>
                  <a:pt x="90909" y="120000"/>
                </a:cubicBezTo>
                <a:cubicBezTo>
                  <a:pt x="90909" y="118536"/>
                  <a:pt x="92121" y="107560"/>
                  <a:pt x="94545" y="102439"/>
                </a:cubicBezTo>
                <a:cubicBezTo>
                  <a:pt x="96969" y="97317"/>
                  <a:pt x="92121" y="97317"/>
                  <a:pt x="94545" y="94390"/>
                </a:cubicBezTo>
                <a:cubicBezTo>
                  <a:pt x="94545" y="92195"/>
                  <a:pt x="90909" y="95853"/>
                  <a:pt x="88484" y="87073"/>
                </a:cubicBezTo>
                <a:cubicBezTo>
                  <a:pt x="88484" y="84146"/>
                  <a:pt x="92121" y="85609"/>
                  <a:pt x="94545" y="84146"/>
                </a:cubicBezTo>
                <a:cubicBezTo>
                  <a:pt x="94545" y="84146"/>
                  <a:pt x="96969" y="85609"/>
                  <a:pt x="98181" y="85609"/>
                </a:cubicBezTo>
                <a:cubicBezTo>
                  <a:pt x="98181" y="87073"/>
                  <a:pt x="98181" y="81951"/>
                  <a:pt x="96969" y="81951"/>
                </a:cubicBezTo>
                <a:cubicBezTo>
                  <a:pt x="92121" y="81951"/>
                  <a:pt x="90909" y="81951"/>
                  <a:pt x="90909" y="81951"/>
                </a:cubicBezTo>
                <a:cubicBezTo>
                  <a:pt x="90909" y="77560"/>
                  <a:pt x="90909" y="77560"/>
                  <a:pt x="90909" y="77560"/>
                </a:cubicBezTo>
                <a:cubicBezTo>
                  <a:pt x="107878" y="77560"/>
                  <a:pt x="107878" y="77560"/>
                  <a:pt x="107878" y="77560"/>
                </a:cubicBezTo>
                <a:cubicBezTo>
                  <a:pt x="105454" y="76829"/>
                  <a:pt x="105454" y="73902"/>
                  <a:pt x="109090" y="76829"/>
                </a:cubicBezTo>
                <a:cubicBezTo>
                  <a:pt x="111515" y="79024"/>
                  <a:pt x="112727" y="73902"/>
                  <a:pt x="115151" y="73902"/>
                </a:cubicBezTo>
                <a:cubicBezTo>
                  <a:pt x="119999" y="79024"/>
                  <a:pt x="115151" y="81951"/>
                  <a:pt x="119999" y="81219"/>
                </a:cubicBezTo>
                <a:cubicBezTo>
                  <a:pt x="116363" y="73902"/>
                  <a:pt x="118787" y="73170"/>
                  <a:pt x="115151" y="71707"/>
                </a:cubicBezTo>
                <a:cubicBezTo>
                  <a:pt x="112727" y="70975"/>
                  <a:pt x="112727" y="69512"/>
                  <a:pt x="111515" y="69512"/>
                </a:cubicBezTo>
                <a:cubicBezTo>
                  <a:pt x="109090" y="70975"/>
                  <a:pt x="109090" y="69512"/>
                  <a:pt x="115151" y="65853"/>
                </a:cubicBezTo>
                <a:cubicBezTo>
                  <a:pt x="116363" y="65121"/>
                  <a:pt x="112727" y="63658"/>
                  <a:pt x="111515" y="59268"/>
                </a:cubicBezTo>
                <a:cubicBezTo>
                  <a:pt x="107878" y="52682"/>
                  <a:pt x="116363" y="45365"/>
                  <a:pt x="115151" y="45365"/>
                </a:cubicBezTo>
                <a:cubicBezTo>
                  <a:pt x="105454" y="44634"/>
                  <a:pt x="105454" y="46829"/>
                  <a:pt x="96969" y="45365"/>
                </a:cubicBezTo>
                <a:cubicBezTo>
                  <a:pt x="92121" y="45365"/>
                  <a:pt x="90909" y="38780"/>
                  <a:pt x="87272" y="40243"/>
                </a:cubicBezTo>
                <a:cubicBezTo>
                  <a:pt x="84848" y="40975"/>
                  <a:pt x="83636" y="38780"/>
                  <a:pt x="73939" y="40243"/>
                </a:cubicBezTo>
                <a:cubicBezTo>
                  <a:pt x="66666" y="40243"/>
                  <a:pt x="72727" y="38048"/>
                  <a:pt x="66666" y="36585"/>
                </a:cubicBezTo>
                <a:cubicBezTo>
                  <a:pt x="63030" y="36585"/>
                  <a:pt x="70303" y="30731"/>
                  <a:pt x="66666" y="30000"/>
                </a:cubicBezTo>
                <a:cubicBezTo>
                  <a:pt x="61818" y="27804"/>
                  <a:pt x="65454" y="22682"/>
                  <a:pt x="59393" y="24146"/>
                </a:cubicBezTo>
                <a:cubicBezTo>
                  <a:pt x="55757" y="24146"/>
                  <a:pt x="58181" y="24146"/>
                  <a:pt x="59393" y="21951"/>
                </a:cubicBezTo>
                <a:cubicBezTo>
                  <a:pt x="63030" y="20487"/>
                  <a:pt x="61818" y="11707"/>
                  <a:pt x="66666" y="10243"/>
                </a:cubicBezTo>
                <a:cubicBezTo>
                  <a:pt x="72727" y="8048"/>
                  <a:pt x="65454" y="5853"/>
                  <a:pt x="77575" y="439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54" name="Shape 1727"/>
          <p:cNvSpPr/>
          <p:nvPr/>
        </p:nvSpPr>
        <p:spPr>
          <a:xfrm>
            <a:off x="3599347" y="4628045"/>
            <a:ext cx="364271" cy="366547"/>
          </a:xfrm>
          <a:custGeom>
            <a:avLst/>
            <a:gdLst/>
            <a:ahLst/>
            <a:cxnLst/>
            <a:rect l="0" t="0" r="0" b="0"/>
            <a:pathLst>
              <a:path w="120000" h="120000" extrusionOk="0">
                <a:moveTo>
                  <a:pt x="110270" y="74237"/>
                </a:moveTo>
                <a:cubicBezTo>
                  <a:pt x="111351" y="80338"/>
                  <a:pt x="99459" y="85423"/>
                  <a:pt x="95135" y="85423"/>
                </a:cubicBezTo>
                <a:cubicBezTo>
                  <a:pt x="89729" y="83389"/>
                  <a:pt x="97297" y="93559"/>
                  <a:pt x="88648" y="88474"/>
                </a:cubicBezTo>
                <a:cubicBezTo>
                  <a:pt x="82162" y="85423"/>
                  <a:pt x="73513" y="82372"/>
                  <a:pt x="76756" y="86440"/>
                </a:cubicBezTo>
                <a:cubicBezTo>
                  <a:pt x="80000" y="91525"/>
                  <a:pt x="80000" y="102711"/>
                  <a:pt x="83243" y="100677"/>
                </a:cubicBezTo>
                <a:cubicBezTo>
                  <a:pt x="86486" y="99661"/>
                  <a:pt x="88648" y="102711"/>
                  <a:pt x="83243" y="105762"/>
                </a:cubicBezTo>
                <a:cubicBezTo>
                  <a:pt x="78918" y="107796"/>
                  <a:pt x="83243" y="111864"/>
                  <a:pt x="76756" y="111864"/>
                </a:cubicBezTo>
                <a:cubicBezTo>
                  <a:pt x="70270" y="113898"/>
                  <a:pt x="72432" y="120000"/>
                  <a:pt x="67027" y="118983"/>
                </a:cubicBezTo>
                <a:cubicBezTo>
                  <a:pt x="63783" y="116949"/>
                  <a:pt x="60540" y="120000"/>
                  <a:pt x="57297" y="113898"/>
                </a:cubicBezTo>
                <a:cubicBezTo>
                  <a:pt x="54054" y="104745"/>
                  <a:pt x="55135" y="102711"/>
                  <a:pt x="51891" y="100677"/>
                </a:cubicBezTo>
                <a:cubicBezTo>
                  <a:pt x="50810" y="99661"/>
                  <a:pt x="50810" y="97627"/>
                  <a:pt x="48648" y="97627"/>
                </a:cubicBezTo>
                <a:cubicBezTo>
                  <a:pt x="47567" y="99661"/>
                  <a:pt x="47567" y="97627"/>
                  <a:pt x="51891" y="93559"/>
                </a:cubicBezTo>
                <a:cubicBezTo>
                  <a:pt x="54054" y="91525"/>
                  <a:pt x="50810" y="90508"/>
                  <a:pt x="48648" y="83389"/>
                </a:cubicBezTo>
                <a:cubicBezTo>
                  <a:pt x="45405" y="74237"/>
                  <a:pt x="54054" y="65084"/>
                  <a:pt x="51891" y="65084"/>
                </a:cubicBezTo>
                <a:cubicBezTo>
                  <a:pt x="44324" y="63050"/>
                  <a:pt x="44324" y="66101"/>
                  <a:pt x="35675" y="65084"/>
                </a:cubicBezTo>
                <a:cubicBezTo>
                  <a:pt x="32432" y="65084"/>
                  <a:pt x="31351" y="54915"/>
                  <a:pt x="28108" y="56949"/>
                </a:cubicBezTo>
                <a:cubicBezTo>
                  <a:pt x="25945" y="57966"/>
                  <a:pt x="24864" y="54915"/>
                  <a:pt x="16216" y="56949"/>
                </a:cubicBezTo>
                <a:cubicBezTo>
                  <a:pt x="9729" y="56949"/>
                  <a:pt x="15135" y="53898"/>
                  <a:pt x="9729" y="51864"/>
                </a:cubicBezTo>
                <a:cubicBezTo>
                  <a:pt x="6486" y="51864"/>
                  <a:pt x="12972" y="43728"/>
                  <a:pt x="9729" y="42711"/>
                </a:cubicBezTo>
                <a:cubicBezTo>
                  <a:pt x="4324" y="39661"/>
                  <a:pt x="7567" y="32542"/>
                  <a:pt x="3243" y="34576"/>
                </a:cubicBezTo>
                <a:cubicBezTo>
                  <a:pt x="0" y="34576"/>
                  <a:pt x="1081" y="34576"/>
                  <a:pt x="3243" y="31525"/>
                </a:cubicBezTo>
                <a:cubicBezTo>
                  <a:pt x="6486" y="29491"/>
                  <a:pt x="4324" y="17288"/>
                  <a:pt x="9729" y="15254"/>
                </a:cubicBezTo>
                <a:cubicBezTo>
                  <a:pt x="15135" y="12203"/>
                  <a:pt x="7567" y="9152"/>
                  <a:pt x="19459" y="7118"/>
                </a:cubicBezTo>
                <a:cubicBezTo>
                  <a:pt x="16216" y="9152"/>
                  <a:pt x="10810" y="11186"/>
                  <a:pt x="15135" y="14237"/>
                </a:cubicBezTo>
                <a:cubicBezTo>
                  <a:pt x="15135" y="14237"/>
                  <a:pt x="16216" y="15254"/>
                  <a:pt x="16216" y="17288"/>
                </a:cubicBezTo>
                <a:cubicBezTo>
                  <a:pt x="16216" y="21355"/>
                  <a:pt x="18378" y="15254"/>
                  <a:pt x="24864" y="14237"/>
                </a:cubicBezTo>
                <a:cubicBezTo>
                  <a:pt x="32432" y="12203"/>
                  <a:pt x="29189" y="11186"/>
                  <a:pt x="28108" y="9152"/>
                </a:cubicBezTo>
                <a:cubicBezTo>
                  <a:pt x="28108" y="6101"/>
                  <a:pt x="31351" y="0"/>
                  <a:pt x="32432" y="6101"/>
                </a:cubicBezTo>
                <a:cubicBezTo>
                  <a:pt x="35675" y="14237"/>
                  <a:pt x="44324" y="9152"/>
                  <a:pt x="44324" y="18305"/>
                </a:cubicBezTo>
                <a:cubicBezTo>
                  <a:pt x="44324" y="26440"/>
                  <a:pt x="60540" y="15254"/>
                  <a:pt x="63783" y="21355"/>
                </a:cubicBezTo>
                <a:cubicBezTo>
                  <a:pt x="69189" y="26440"/>
                  <a:pt x="73513" y="25423"/>
                  <a:pt x="76756" y="23389"/>
                </a:cubicBezTo>
                <a:cubicBezTo>
                  <a:pt x="80000" y="21355"/>
                  <a:pt x="75675" y="18305"/>
                  <a:pt x="83243" y="18305"/>
                </a:cubicBezTo>
                <a:cubicBezTo>
                  <a:pt x="91891" y="18305"/>
                  <a:pt x="88648" y="17288"/>
                  <a:pt x="95135" y="18305"/>
                </a:cubicBezTo>
                <a:cubicBezTo>
                  <a:pt x="101621" y="18305"/>
                  <a:pt x="99459" y="20338"/>
                  <a:pt x="92972" y="20338"/>
                </a:cubicBezTo>
                <a:cubicBezTo>
                  <a:pt x="86486" y="21355"/>
                  <a:pt x="97297" y="25423"/>
                  <a:pt x="98378" y="26440"/>
                </a:cubicBezTo>
                <a:cubicBezTo>
                  <a:pt x="99459" y="29491"/>
                  <a:pt x="103783" y="26440"/>
                  <a:pt x="104864" y="29491"/>
                </a:cubicBezTo>
                <a:cubicBezTo>
                  <a:pt x="107027" y="32542"/>
                  <a:pt x="111351" y="31525"/>
                  <a:pt x="108108" y="34576"/>
                </a:cubicBezTo>
                <a:cubicBezTo>
                  <a:pt x="104864" y="36610"/>
                  <a:pt x="107027" y="37627"/>
                  <a:pt x="104864" y="40677"/>
                </a:cubicBezTo>
                <a:cubicBezTo>
                  <a:pt x="101621" y="43728"/>
                  <a:pt x="111351" y="37627"/>
                  <a:pt x="116756" y="40677"/>
                </a:cubicBezTo>
                <a:cubicBezTo>
                  <a:pt x="120000" y="45762"/>
                  <a:pt x="111351" y="46779"/>
                  <a:pt x="110270" y="50847"/>
                </a:cubicBezTo>
                <a:cubicBezTo>
                  <a:pt x="108108" y="51864"/>
                  <a:pt x="111351" y="51864"/>
                  <a:pt x="113513" y="54915"/>
                </a:cubicBezTo>
                <a:cubicBezTo>
                  <a:pt x="113513" y="56949"/>
                  <a:pt x="113513" y="56949"/>
                  <a:pt x="110270" y="57966"/>
                </a:cubicBezTo>
                <a:cubicBezTo>
                  <a:pt x="104864" y="60000"/>
                  <a:pt x="104864" y="57966"/>
                  <a:pt x="107027" y="63050"/>
                </a:cubicBezTo>
                <a:cubicBezTo>
                  <a:pt x="108108" y="68135"/>
                  <a:pt x="98378" y="65084"/>
                  <a:pt x="110270" y="74237"/>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67" name="Shape 1728"/>
          <p:cNvSpPr/>
          <p:nvPr/>
        </p:nvSpPr>
        <p:spPr>
          <a:xfrm>
            <a:off x="3897542" y="4751295"/>
            <a:ext cx="144013" cy="230492"/>
          </a:xfrm>
          <a:custGeom>
            <a:avLst/>
            <a:gdLst/>
            <a:ahLst/>
            <a:cxnLst/>
            <a:rect l="0" t="0" r="0" b="0"/>
            <a:pathLst>
              <a:path w="120000" h="120000" extrusionOk="0">
                <a:moveTo>
                  <a:pt x="120000" y="107027"/>
                </a:moveTo>
                <a:cubicBezTo>
                  <a:pt x="109090" y="107027"/>
                  <a:pt x="111818" y="103783"/>
                  <a:pt x="103636" y="103783"/>
                </a:cubicBezTo>
                <a:cubicBezTo>
                  <a:pt x="95454" y="107027"/>
                  <a:pt x="92727" y="115135"/>
                  <a:pt x="81818" y="111891"/>
                </a:cubicBezTo>
                <a:cubicBezTo>
                  <a:pt x="73636" y="111891"/>
                  <a:pt x="79090" y="115135"/>
                  <a:pt x="70909" y="116756"/>
                </a:cubicBezTo>
                <a:cubicBezTo>
                  <a:pt x="65454" y="120000"/>
                  <a:pt x="49090" y="111891"/>
                  <a:pt x="49090" y="103783"/>
                </a:cubicBezTo>
                <a:cubicBezTo>
                  <a:pt x="49090" y="97297"/>
                  <a:pt x="40909" y="102162"/>
                  <a:pt x="46363" y="90810"/>
                </a:cubicBezTo>
                <a:cubicBezTo>
                  <a:pt x="49090" y="81081"/>
                  <a:pt x="49090" y="81081"/>
                  <a:pt x="49090" y="76216"/>
                </a:cubicBezTo>
                <a:cubicBezTo>
                  <a:pt x="57272" y="66486"/>
                  <a:pt x="38181" y="68108"/>
                  <a:pt x="40909" y="61621"/>
                </a:cubicBezTo>
                <a:cubicBezTo>
                  <a:pt x="46363" y="56756"/>
                  <a:pt x="40909" y="50270"/>
                  <a:pt x="38181" y="53513"/>
                </a:cubicBezTo>
                <a:cubicBezTo>
                  <a:pt x="32727" y="53513"/>
                  <a:pt x="27272" y="53513"/>
                  <a:pt x="27272" y="53513"/>
                </a:cubicBezTo>
                <a:cubicBezTo>
                  <a:pt x="0" y="38918"/>
                  <a:pt x="24545" y="43783"/>
                  <a:pt x="19090" y="35675"/>
                </a:cubicBezTo>
                <a:cubicBezTo>
                  <a:pt x="16363" y="27567"/>
                  <a:pt x="16363" y="30810"/>
                  <a:pt x="27272" y="27567"/>
                </a:cubicBezTo>
                <a:cubicBezTo>
                  <a:pt x="38181" y="25945"/>
                  <a:pt x="38181" y="25945"/>
                  <a:pt x="38181" y="22702"/>
                </a:cubicBezTo>
                <a:cubicBezTo>
                  <a:pt x="32727" y="17837"/>
                  <a:pt x="24545" y="17837"/>
                  <a:pt x="27272" y="16216"/>
                </a:cubicBezTo>
                <a:cubicBezTo>
                  <a:pt x="32727" y="9729"/>
                  <a:pt x="54545" y="8108"/>
                  <a:pt x="46363" y="0"/>
                </a:cubicBezTo>
                <a:cubicBezTo>
                  <a:pt x="46363" y="3243"/>
                  <a:pt x="49090" y="3243"/>
                  <a:pt x="49090" y="3243"/>
                </a:cubicBezTo>
                <a:cubicBezTo>
                  <a:pt x="70909" y="9729"/>
                  <a:pt x="79090" y="16216"/>
                  <a:pt x="73636" y="21081"/>
                </a:cubicBezTo>
                <a:cubicBezTo>
                  <a:pt x="73636" y="27567"/>
                  <a:pt x="70909" y="25945"/>
                  <a:pt x="87272" y="27567"/>
                </a:cubicBezTo>
                <a:cubicBezTo>
                  <a:pt x="100909" y="30810"/>
                  <a:pt x="92727" y="35675"/>
                  <a:pt x="100909" y="35675"/>
                </a:cubicBezTo>
                <a:cubicBezTo>
                  <a:pt x="103636" y="35675"/>
                  <a:pt x="103636" y="40540"/>
                  <a:pt x="109090" y="43783"/>
                </a:cubicBezTo>
                <a:cubicBezTo>
                  <a:pt x="109090" y="48648"/>
                  <a:pt x="103636" y="50270"/>
                  <a:pt x="103636" y="53513"/>
                </a:cubicBezTo>
                <a:cubicBezTo>
                  <a:pt x="103636" y="56756"/>
                  <a:pt x="103636" y="56756"/>
                  <a:pt x="95454" y="58378"/>
                </a:cubicBezTo>
                <a:cubicBezTo>
                  <a:pt x="87272" y="58378"/>
                  <a:pt x="87272" y="58378"/>
                  <a:pt x="87272" y="61621"/>
                </a:cubicBezTo>
                <a:cubicBezTo>
                  <a:pt x="92727" y="63243"/>
                  <a:pt x="92727" y="63243"/>
                  <a:pt x="87272" y="68108"/>
                </a:cubicBezTo>
                <a:cubicBezTo>
                  <a:pt x="81818" y="76216"/>
                  <a:pt x="92727" y="76216"/>
                  <a:pt x="95454" y="81081"/>
                </a:cubicBezTo>
                <a:cubicBezTo>
                  <a:pt x="95454" y="85945"/>
                  <a:pt x="100909" y="81081"/>
                  <a:pt x="103636" y="84324"/>
                </a:cubicBezTo>
                <a:cubicBezTo>
                  <a:pt x="103636" y="85945"/>
                  <a:pt x="100909" y="89189"/>
                  <a:pt x="109090" y="94054"/>
                </a:cubicBezTo>
                <a:cubicBezTo>
                  <a:pt x="111818" y="97297"/>
                  <a:pt x="111818" y="102162"/>
                  <a:pt x="120000" y="107027"/>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68" name="Shape 1729"/>
          <p:cNvSpPr/>
          <p:nvPr/>
        </p:nvSpPr>
        <p:spPr>
          <a:xfrm>
            <a:off x="3999198" y="4826526"/>
            <a:ext cx="108434" cy="136054"/>
          </a:xfrm>
          <a:custGeom>
            <a:avLst/>
            <a:gdLst/>
            <a:ahLst/>
            <a:cxnLst/>
            <a:rect l="0" t="0" r="0" b="0"/>
            <a:pathLst>
              <a:path w="120000" h="120000" extrusionOk="0">
                <a:moveTo>
                  <a:pt x="120000" y="10909"/>
                </a:moveTo>
                <a:cubicBezTo>
                  <a:pt x="109090" y="32727"/>
                  <a:pt x="105454" y="24545"/>
                  <a:pt x="105454" y="40909"/>
                </a:cubicBezTo>
                <a:cubicBezTo>
                  <a:pt x="109090" y="54545"/>
                  <a:pt x="109090" y="57272"/>
                  <a:pt x="116363" y="62727"/>
                </a:cubicBezTo>
                <a:cubicBezTo>
                  <a:pt x="120000" y="65454"/>
                  <a:pt x="120000" y="70909"/>
                  <a:pt x="116363" y="73636"/>
                </a:cubicBezTo>
                <a:cubicBezTo>
                  <a:pt x="109090" y="79090"/>
                  <a:pt x="120000" y="90000"/>
                  <a:pt x="105454" y="100909"/>
                </a:cubicBezTo>
                <a:cubicBezTo>
                  <a:pt x="98181" y="95454"/>
                  <a:pt x="94545" y="100909"/>
                  <a:pt x="94545" y="95454"/>
                </a:cubicBezTo>
                <a:cubicBezTo>
                  <a:pt x="94545" y="87272"/>
                  <a:pt x="76363" y="103636"/>
                  <a:pt x="72727" y="100909"/>
                </a:cubicBezTo>
                <a:cubicBezTo>
                  <a:pt x="58181" y="95454"/>
                  <a:pt x="58181" y="100909"/>
                  <a:pt x="65454" y="109090"/>
                </a:cubicBezTo>
                <a:cubicBezTo>
                  <a:pt x="72727" y="120000"/>
                  <a:pt x="54545" y="109090"/>
                  <a:pt x="47272" y="111818"/>
                </a:cubicBezTo>
                <a:cubicBezTo>
                  <a:pt x="36363" y="103636"/>
                  <a:pt x="36363" y="95454"/>
                  <a:pt x="32727" y="90000"/>
                </a:cubicBezTo>
                <a:cubicBezTo>
                  <a:pt x="21818" y="81818"/>
                  <a:pt x="25454" y="79090"/>
                  <a:pt x="25454" y="73636"/>
                </a:cubicBezTo>
                <a:cubicBezTo>
                  <a:pt x="21818" y="70909"/>
                  <a:pt x="14545" y="79090"/>
                  <a:pt x="14545" y="70909"/>
                </a:cubicBezTo>
                <a:cubicBezTo>
                  <a:pt x="10909" y="62727"/>
                  <a:pt x="0" y="62727"/>
                  <a:pt x="3636" y="49090"/>
                </a:cubicBezTo>
                <a:cubicBezTo>
                  <a:pt x="10909" y="40909"/>
                  <a:pt x="10909" y="40909"/>
                  <a:pt x="3636" y="38181"/>
                </a:cubicBezTo>
                <a:cubicBezTo>
                  <a:pt x="3636" y="32727"/>
                  <a:pt x="3636" y="32727"/>
                  <a:pt x="14545" y="32727"/>
                </a:cubicBezTo>
                <a:cubicBezTo>
                  <a:pt x="25454" y="27272"/>
                  <a:pt x="25454" y="27272"/>
                  <a:pt x="25454" y="24545"/>
                </a:cubicBezTo>
                <a:cubicBezTo>
                  <a:pt x="25454" y="19090"/>
                  <a:pt x="32727" y="16363"/>
                  <a:pt x="32727" y="8181"/>
                </a:cubicBezTo>
                <a:cubicBezTo>
                  <a:pt x="43636" y="0"/>
                  <a:pt x="65454" y="10909"/>
                  <a:pt x="65454" y="8181"/>
                </a:cubicBezTo>
                <a:cubicBezTo>
                  <a:pt x="65454" y="2727"/>
                  <a:pt x="72727" y="2727"/>
                  <a:pt x="76363" y="2727"/>
                </a:cubicBezTo>
                <a:cubicBezTo>
                  <a:pt x="83636" y="2727"/>
                  <a:pt x="87272" y="8181"/>
                  <a:pt x="87272" y="2727"/>
                </a:cubicBezTo>
                <a:cubicBezTo>
                  <a:pt x="87272" y="2727"/>
                  <a:pt x="109090" y="8181"/>
                  <a:pt x="120000" y="10909"/>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69" name="Shape 1730"/>
          <p:cNvSpPr/>
          <p:nvPr/>
        </p:nvSpPr>
        <p:spPr>
          <a:xfrm>
            <a:off x="4094077" y="4839331"/>
            <a:ext cx="76242" cy="112045"/>
          </a:xfrm>
          <a:custGeom>
            <a:avLst/>
            <a:gdLst/>
            <a:ahLst/>
            <a:cxnLst/>
            <a:rect l="0" t="0" r="0" b="0"/>
            <a:pathLst>
              <a:path w="120000" h="120000" extrusionOk="0">
                <a:moveTo>
                  <a:pt x="20869" y="0"/>
                </a:moveTo>
                <a:cubicBezTo>
                  <a:pt x="31304" y="0"/>
                  <a:pt x="31304" y="0"/>
                  <a:pt x="36521" y="0"/>
                </a:cubicBezTo>
                <a:cubicBezTo>
                  <a:pt x="52173" y="6666"/>
                  <a:pt x="62608" y="6666"/>
                  <a:pt x="67826" y="16666"/>
                </a:cubicBezTo>
                <a:cubicBezTo>
                  <a:pt x="78260" y="26666"/>
                  <a:pt x="93913" y="26666"/>
                  <a:pt x="104347" y="30000"/>
                </a:cubicBezTo>
                <a:cubicBezTo>
                  <a:pt x="109565" y="46666"/>
                  <a:pt x="109565" y="20000"/>
                  <a:pt x="120000" y="46666"/>
                </a:cubicBezTo>
                <a:cubicBezTo>
                  <a:pt x="120000" y="46666"/>
                  <a:pt x="109565" y="53333"/>
                  <a:pt x="120000" y="56666"/>
                </a:cubicBezTo>
                <a:cubicBezTo>
                  <a:pt x="109565" y="63333"/>
                  <a:pt x="109565" y="63333"/>
                  <a:pt x="93913" y="76666"/>
                </a:cubicBezTo>
                <a:cubicBezTo>
                  <a:pt x="88695" y="86666"/>
                  <a:pt x="78260" y="113333"/>
                  <a:pt x="62608" y="113333"/>
                </a:cubicBezTo>
                <a:cubicBezTo>
                  <a:pt x="46956" y="113333"/>
                  <a:pt x="52173" y="103333"/>
                  <a:pt x="46956" y="110000"/>
                </a:cubicBezTo>
                <a:cubicBezTo>
                  <a:pt x="31304" y="120000"/>
                  <a:pt x="31304" y="103333"/>
                  <a:pt x="20869" y="113333"/>
                </a:cubicBezTo>
                <a:cubicBezTo>
                  <a:pt x="15652" y="120000"/>
                  <a:pt x="5217" y="120000"/>
                  <a:pt x="0" y="110000"/>
                </a:cubicBezTo>
                <a:cubicBezTo>
                  <a:pt x="20869" y="100000"/>
                  <a:pt x="5217" y="83333"/>
                  <a:pt x="15652" y="76666"/>
                </a:cubicBezTo>
                <a:cubicBezTo>
                  <a:pt x="20869" y="73333"/>
                  <a:pt x="20869" y="66666"/>
                  <a:pt x="15652" y="63333"/>
                </a:cubicBezTo>
                <a:cubicBezTo>
                  <a:pt x="5217" y="56666"/>
                  <a:pt x="5217" y="53333"/>
                  <a:pt x="0" y="36666"/>
                </a:cubicBezTo>
                <a:cubicBezTo>
                  <a:pt x="0" y="16666"/>
                  <a:pt x="5217" y="26666"/>
                  <a:pt x="20869"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70" name="Shape 1731"/>
          <p:cNvSpPr/>
          <p:nvPr/>
        </p:nvSpPr>
        <p:spPr>
          <a:xfrm>
            <a:off x="3274043" y="4668060"/>
            <a:ext cx="88102" cy="99238"/>
          </a:xfrm>
          <a:custGeom>
            <a:avLst/>
            <a:gdLst/>
            <a:ahLst/>
            <a:cxnLst/>
            <a:rect l="0" t="0" r="0" b="0"/>
            <a:pathLst>
              <a:path w="120000" h="120000" extrusionOk="0">
                <a:moveTo>
                  <a:pt x="120000" y="67500"/>
                </a:moveTo>
                <a:cubicBezTo>
                  <a:pt x="115555" y="67500"/>
                  <a:pt x="115555" y="63750"/>
                  <a:pt x="115555" y="63750"/>
                </a:cubicBezTo>
                <a:cubicBezTo>
                  <a:pt x="106666" y="63750"/>
                  <a:pt x="106666" y="75000"/>
                  <a:pt x="106666" y="86250"/>
                </a:cubicBezTo>
                <a:cubicBezTo>
                  <a:pt x="106666" y="86250"/>
                  <a:pt x="120000" y="86250"/>
                  <a:pt x="115555" y="90000"/>
                </a:cubicBezTo>
                <a:cubicBezTo>
                  <a:pt x="106666" y="97500"/>
                  <a:pt x="115555" y="97500"/>
                  <a:pt x="106666" y="105000"/>
                </a:cubicBezTo>
                <a:cubicBezTo>
                  <a:pt x="106666" y="108750"/>
                  <a:pt x="102222" y="108750"/>
                  <a:pt x="106666" y="120000"/>
                </a:cubicBezTo>
                <a:cubicBezTo>
                  <a:pt x="106666" y="120000"/>
                  <a:pt x="106666" y="116250"/>
                  <a:pt x="102222" y="116250"/>
                </a:cubicBezTo>
                <a:cubicBezTo>
                  <a:pt x="102222" y="108750"/>
                  <a:pt x="106666" y="105000"/>
                  <a:pt x="102222" y="105000"/>
                </a:cubicBezTo>
                <a:cubicBezTo>
                  <a:pt x="93333" y="97500"/>
                  <a:pt x="102222" y="90000"/>
                  <a:pt x="93333" y="97500"/>
                </a:cubicBezTo>
                <a:cubicBezTo>
                  <a:pt x="80000" y="97500"/>
                  <a:pt x="102222" y="105000"/>
                  <a:pt x="93333" y="108750"/>
                </a:cubicBezTo>
                <a:cubicBezTo>
                  <a:pt x="93333" y="116250"/>
                  <a:pt x="93333" y="108750"/>
                  <a:pt x="88888" y="108750"/>
                </a:cubicBezTo>
                <a:cubicBezTo>
                  <a:pt x="88888" y="108750"/>
                  <a:pt x="75555" y="105000"/>
                  <a:pt x="80000" y="97500"/>
                </a:cubicBezTo>
                <a:cubicBezTo>
                  <a:pt x="88888" y="97500"/>
                  <a:pt x="80000" y="90000"/>
                  <a:pt x="88888" y="86250"/>
                </a:cubicBezTo>
                <a:cubicBezTo>
                  <a:pt x="88888" y="86250"/>
                  <a:pt x="80000" y="78750"/>
                  <a:pt x="66666" y="75000"/>
                </a:cubicBezTo>
                <a:cubicBezTo>
                  <a:pt x="53333" y="63750"/>
                  <a:pt x="53333" y="67500"/>
                  <a:pt x="48888" y="63750"/>
                </a:cubicBezTo>
                <a:cubicBezTo>
                  <a:pt x="48888" y="63750"/>
                  <a:pt x="48888" y="63750"/>
                  <a:pt x="48888" y="52500"/>
                </a:cubicBezTo>
                <a:cubicBezTo>
                  <a:pt x="48888" y="45000"/>
                  <a:pt x="35555" y="45000"/>
                  <a:pt x="26666" y="45000"/>
                </a:cubicBezTo>
                <a:cubicBezTo>
                  <a:pt x="26666" y="37500"/>
                  <a:pt x="26666" y="45000"/>
                  <a:pt x="26666" y="45000"/>
                </a:cubicBezTo>
                <a:cubicBezTo>
                  <a:pt x="35555" y="52500"/>
                  <a:pt x="48888" y="56250"/>
                  <a:pt x="40000" y="56250"/>
                </a:cubicBezTo>
                <a:cubicBezTo>
                  <a:pt x="35555" y="63750"/>
                  <a:pt x="35555" y="67500"/>
                  <a:pt x="26666" y="63750"/>
                </a:cubicBezTo>
                <a:cubicBezTo>
                  <a:pt x="26666" y="56250"/>
                  <a:pt x="13333" y="52500"/>
                  <a:pt x="13333" y="52500"/>
                </a:cubicBezTo>
                <a:cubicBezTo>
                  <a:pt x="13333" y="52500"/>
                  <a:pt x="0" y="45000"/>
                  <a:pt x="4444" y="33750"/>
                </a:cubicBezTo>
                <a:cubicBezTo>
                  <a:pt x="4444" y="22500"/>
                  <a:pt x="13333" y="33750"/>
                  <a:pt x="13333" y="26250"/>
                </a:cubicBezTo>
                <a:cubicBezTo>
                  <a:pt x="13333" y="15000"/>
                  <a:pt x="13333" y="22500"/>
                  <a:pt x="4444" y="15000"/>
                </a:cubicBezTo>
                <a:cubicBezTo>
                  <a:pt x="0" y="15000"/>
                  <a:pt x="13333" y="15000"/>
                  <a:pt x="13333" y="11250"/>
                </a:cubicBezTo>
                <a:cubicBezTo>
                  <a:pt x="13333" y="3750"/>
                  <a:pt x="13333" y="0"/>
                  <a:pt x="26666" y="11250"/>
                </a:cubicBezTo>
                <a:cubicBezTo>
                  <a:pt x="48888" y="22500"/>
                  <a:pt x="40000" y="3750"/>
                  <a:pt x="53333" y="11250"/>
                </a:cubicBezTo>
                <a:cubicBezTo>
                  <a:pt x="53333" y="15000"/>
                  <a:pt x="62222" y="11250"/>
                  <a:pt x="62222" y="15000"/>
                </a:cubicBezTo>
                <a:cubicBezTo>
                  <a:pt x="62222" y="22500"/>
                  <a:pt x="75555" y="26250"/>
                  <a:pt x="80000" y="15000"/>
                </a:cubicBezTo>
                <a:cubicBezTo>
                  <a:pt x="88888" y="22500"/>
                  <a:pt x="88888" y="26250"/>
                  <a:pt x="93333" y="37500"/>
                </a:cubicBezTo>
                <a:cubicBezTo>
                  <a:pt x="102222" y="52500"/>
                  <a:pt x="120000" y="63750"/>
                  <a:pt x="120000" y="675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71" name="Shape 1732"/>
          <p:cNvSpPr/>
          <p:nvPr/>
        </p:nvSpPr>
        <p:spPr>
          <a:xfrm>
            <a:off x="3226603" y="4552813"/>
            <a:ext cx="118599" cy="137655"/>
          </a:xfrm>
          <a:custGeom>
            <a:avLst/>
            <a:gdLst/>
            <a:ahLst/>
            <a:cxnLst/>
            <a:rect l="0" t="0" r="0" b="0"/>
            <a:pathLst>
              <a:path w="120000" h="120000" extrusionOk="0">
                <a:moveTo>
                  <a:pt x="10000" y="57272"/>
                </a:moveTo>
                <a:cubicBezTo>
                  <a:pt x="20000" y="57272"/>
                  <a:pt x="20000" y="57272"/>
                  <a:pt x="20000" y="51818"/>
                </a:cubicBezTo>
                <a:cubicBezTo>
                  <a:pt x="26666" y="43636"/>
                  <a:pt x="30000" y="51818"/>
                  <a:pt x="26666" y="43636"/>
                </a:cubicBezTo>
                <a:cubicBezTo>
                  <a:pt x="26666" y="30000"/>
                  <a:pt x="26666" y="35454"/>
                  <a:pt x="36666" y="35454"/>
                </a:cubicBezTo>
                <a:cubicBezTo>
                  <a:pt x="40000" y="35454"/>
                  <a:pt x="40000" y="21818"/>
                  <a:pt x="46666" y="27272"/>
                </a:cubicBezTo>
                <a:cubicBezTo>
                  <a:pt x="50000" y="35454"/>
                  <a:pt x="56666" y="35454"/>
                  <a:pt x="56666" y="30000"/>
                </a:cubicBezTo>
                <a:cubicBezTo>
                  <a:pt x="50000" y="27272"/>
                  <a:pt x="70000" y="13636"/>
                  <a:pt x="70000" y="8181"/>
                </a:cubicBezTo>
                <a:cubicBezTo>
                  <a:pt x="76666" y="5454"/>
                  <a:pt x="76666" y="5454"/>
                  <a:pt x="80000" y="8181"/>
                </a:cubicBezTo>
                <a:cubicBezTo>
                  <a:pt x="80000" y="8181"/>
                  <a:pt x="100000" y="8181"/>
                  <a:pt x="106666" y="5454"/>
                </a:cubicBezTo>
                <a:cubicBezTo>
                  <a:pt x="110000" y="0"/>
                  <a:pt x="116666" y="0"/>
                  <a:pt x="120000" y="0"/>
                </a:cubicBezTo>
                <a:cubicBezTo>
                  <a:pt x="116666" y="5454"/>
                  <a:pt x="116666" y="8181"/>
                  <a:pt x="120000" y="13636"/>
                </a:cubicBezTo>
                <a:cubicBezTo>
                  <a:pt x="120000" y="21818"/>
                  <a:pt x="110000" y="27272"/>
                  <a:pt x="110000" y="35454"/>
                </a:cubicBezTo>
                <a:cubicBezTo>
                  <a:pt x="110000" y="43636"/>
                  <a:pt x="106666" y="38181"/>
                  <a:pt x="110000" y="46363"/>
                </a:cubicBezTo>
                <a:cubicBezTo>
                  <a:pt x="110000" y="60000"/>
                  <a:pt x="110000" y="65454"/>
                  <a:pt x="110000" y="68181"/>
                </a:cubicBezTo>
                <a:cubicBezTo>
                  <a:pt x="110000" y="73636"/>
                  <a:pt x="110000" y="73636"/>
                  <a:pt x="110000" y="73636"/>
                </a:cubicBezTo>
                <a:cubicBezTo>
                  <a:pt x="106666" y="73636"/>
                  <a:pt x="110000" y="73636"/>
                  <a:pt x="106666" y="76363"/>
                </a:cubicBezTo>
                <a:cubicBezTo>
                  <a:pt x="106666" y="81818"/>
                  <a:pt x="100000" y="87272"/>
                  <a:pt x="106666" y="87272"/>
                </a:cubicBezTo>
                <a:cubicBezTo>
                  <a:pt x="106666" y="87272"/>
                  <a:pt x="110000" y="95454"/>
                  <a:pt x="106666" y="95454"/>
                </a:cubicBezTo>
                <a:cubicBezTo>
                  <a:pt x="106666" y="95454"/>
                  <a:pt x="100000" y="98181"/>
                  <a:pt x="100000" y="103636"/>
                </a:cubicBezTo>
                <a:cubicBezTo>
                  <a:pt x="106666" y="106363"/>
                  <a:pt x="106666" y="111818"/>
                  <a:pt x="106666" y="111818"/>
                </a:cubicBezTo>
                <a:cubicBezTo>
                  <a:pt x="100000" y="120000"/>
                  <a:pt x="90000" y="117272"/>
                  <a:pt x="90000" y="111818"/>
                </a:cubicBezTo>
                <a:cubicBezTo>
                  <a:pt x="90000" y="106363"/>
                  <a:pt x="86666" y="111818"/>
                  <a:pt x="86666" y="106363"/>
                </a:cubicBezTo>
                <a:cubicBezTo>
                  <a:pt x="76666" y="103636"/>
                  <a:pt x="80000" y="117272"/>
                  <a:pt x="66666" y="106363"/>
                </a:cubicBezTo>
                <a:cubicBezTo>
                  <a:pt x="56666" y="98181"/>
                  <a:pt x="56666" y="103636"/>
                  <a:pt x="56666" y="106363"/>
                </a:cubicBezTo>
                <a:cubicBezTo>
                  <a:pt x="40000" y="95454"/>
                  <a:pt x="36666" y="95454"/>
                  <a:pt x="30000" y="87272"/>
                </a:cubicBezTo>
                <a:cubicBezTo>
                  <a:pt x="26666" y="73636"/>
                  <a:pt x="16666" y="73636"/>
                  <a:pt x="10000" y="65454"/>
                </a:cubicBezTo>
                <a:cubicBezTo>
                  <a:pt x="3333" y="60000"/>
                  <a:pt x="0" y="60000"/>
                  <a:pt x="3333" y="57272"/>
                </a:cubicBezTo>
                <a:cubicBezTo>
                  <a:pt x="3333" y="51818"/>
                  <a:pt x="10000" y="60000"/>
                  <a:pt x="10000" y="57272"/>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72" name="Shape 1733"/>
          <p:cNvSpPr/>
          <p:nvPr/>
        </p:nvSpPr>
        <p:spPr>
          <a:xfrm>
            <a:off x="3180857" y="4522404"/>
            <a:ext cx="164346" cy="96037"/>
          </a:xfrm>
          <a:custGeom>
            <a:avLst/>
            <a:gdLst/>
            <a:ahLst/>
            <a:cxnLst/>
            <a:rect l="0" t="0" r="0" b="0"/>
            <a:pathLst>
              <a:path w="120000" h="120000" extrusionOk="0">
                <a:moveTo>
                  <a:pt x="21600" y="11612"/>
                </a:moveTo>
                <a:cubicBezTo>
                  <a:pt x="19200" y="15483"/>
                  <a:pt x="12000" y="34838"/>
                  <a:pt x="7200" y="34838"/>
                </a:cubicBezTo>
                <a:cubicBezTo>
                  <a:pt x="2400" y="38709"/>
                  <a:pt x="12000" y="58064"/>
                  <a:pt x="0" y="65806"/>
                </a:cubicBezTo>
                <a:cubicBezTo>
                  <a:pt x="14400" y="69677"/>
                  <a:pt x="19200" y="89032"/>
                  <a:pt x="21600" y="81290"/>
                </a:cubicBezTo>
                <a:cubicBezTo>
                  <a:pt x="21600" y="81290"/>
                  <a:pt x="33600" y="77419"/>
                  <a:pt x="33600" y="89032"/>
                </a:cubicBezTo>
                <a:cubicBezTo>
                  <a:pt x="33600" y="92903"/>
                  <a:pt x="33600" y="100645"/>
                  <a:pt x="33600" y="100645"/>
                </a:cubicBezTo>
                <a:cubicBezTo>
                  <a:pt x="36000" y="108387"/>
                  <a:pt x="33600" y="92903"/>
                  <a:pt x="36000" y="108387"/>
                </a:cubicBezTo>
                <a:cubicBezTo>
                  <a:pt x="40800" y="120000"/>
                  <a:pt x="43200" y="112258"/>
                  <a:pt x="40800" y="120000"/>
                </a:cubicBezTo>
                <a:cubicBezTo>
                  <a:pt x="48000" y="120000"/>
                  <a:pt x="48000" y="120000"/>
                  <a:pt x="48000" y="112258"/>
                </a:cubicBezTo>
                <a:cubicBezTo>
                  <a:pt x="50400" y="100645"/>
                  <a:pt x="55200" y="112258"/>
                  <a:pt x="50400" y="100645"/>
                </a:cubicBezTo>
                <a:cubicBezTo>
                  <a:pt x="50400" y="81290"/>
                  <a:pt x="50400" y="89032"/>
                  <a:pt x="57600" y="89032"/>
                </a:cubicBezTo>
                <a:cubicBezTo>
                  <a:pt x="62400" y="89032"/>
                  <a:pt x="62400" y="69677"/>
                  <a:pt x="67200" y="77419"/>
                </a:cubicBezTo>
                <a:cubicBezTo>
                  <a:pt x="69600" y="89032"/>
                  <a:pt x="74400" y="89032"/>
                  <a:pt x="74400" y="81290"/>
                </a:cubicBezTo>
                <a:cubicBezTo>
                  <a:pt x="69600" y="77419"/>
                  <a:pt x="84000" y="58064"/>
                  <a:pt x="84000" y="54193"/>
                </a:cubicBezTo>
                <a:cubicBezTo>
                  <a:pt x="88800" y="46451"/>
                  <a:pt x="88800" y="46451"/>
                  <a:pt x="91200" y="54193"/>
                </a:cubicBezTo>
                <a:cubicBezTo>
                  <a:pt x="91200" y="54193"/>
                  <a:pt x="105600" y="54193"/>
                  <a:pt x="110400" y="46451"/>
                </a:cubicBezTo>
                <a:cubicBezTo>
                  <a:pt x="112800" y="38709"/>
                  <a:pt x="117600" y="38709"/>
                  <a:pt x="120000" y="38709"/>
                </a:cubicBezTo>
                <a:cubicBezTo>
                  <a:pt x="120000" y="38709"/>
                  <a:pt x="117600" y="34838"/>
                  <a:pt x="112800" y="27096"/>
                </a:cubicBezTo>
                <a:cubicBezTo>
                  <a:pt x="105600" y="23225"/>
                  <a:pt x="105600" y="23225"/>
                  <a:pt x="103200" y="11612"/>
                </a:cubicBezTo>
                <a:cubicBezTo>
                  <a:pt x="98400" y="3870"/>
                  <a:pt x="88800" y="0"/>
                  <a:pt x="84000" y="3870"/>
                </a:cubicBezTo>
                <a:cubicBezTo>
                  <a:pt x="81600" y="3870"/>
                  <a:pt x="76800" y="3870"/>
                  <a:pt x="74400" y="3870"/>
                </a:cubicBezTo>
                <a:cubicBezTo>
                  <a:pt x="69600" y="0"/>
                  <a:pt x="67200" y="0"/>
                  <a:pt x="67200" y="3870"/>
                </a:cubicBezTo>
                <a:cubicBezTo>
                  <a:pt x="69600" y="3870"/>
                  <a:pt x="62400" y="11612"/>
                  <a:pt x="57600" y="11612"/>
                </a:cubicBezTo>
                <a:cubicBezTo>
                  <a:pt x="50400" y="11612"/>
                  <a:pt x="43200" y="3870"/>
                  <a:pt x="40800" y="11612"/>
                </a:cubicBezTo>
                <a:cubicBezTo>
                  <a:pt x="36000" y="11612"/>
                  <a:pt x="36000" y="3870"/>
                  <a:pt x="33600" y="3870"/>
                </a:cubicBezTo>
                <a:cubicBezTo>
                  <a:pt x="28800" y="3870"/>
                  <a:pt x="28800" y="15483"/>
                  <a:pt x="21600" y="11612"/>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73" name="Shape 1734"/>
          <p:cNvSpPr/>
          <p:nvPr/>
        </p:nvSpPr>
        <p:spPr>
          <a:xfrm>
            <a:off x="3165609" y="4575223"/>
            <a:ext cx="64381" cy="36815"/>
          </a:xfrm>
          <a:custGeom>
            <a:avLst/>
            <a:gdLst/>
            <a:ahLst/>
            <a:cxnLst/>
            <a:rect l="0" t="0" r="0" b="0"/>
            <a:pathLst>
              <a:path w="120000" h="120000" extrusionOk="0">
                <a:moveTo>
                  <a:pt x="30000" y="0"/>
                </a:moveTo>
                <a:cubicBezTo>
                  <a:pt x="66000" y="10000"/>
                  <a:pt x="78000" y="60000"/>
                  <a:pt x="84000" y="40000"/>
                </a:cubicBezTo>
                <a:cubicBezTo>
                  <a:pt x="84000" y="40000"/>
                  <a:pt x="114000" y="30000"/>
                  <a:pt x="114000" y="60000"/>
                </a:cubicBezTo>
                <a:cubicBezTo>
                  <a:pt x="114000" y="70000"/>
                  <a:pt x="114000" y="90000"/>
                  <a:pt x="114000" y="90000"/>
                </a:cubicBezTo>
                <a:cubicBezTo>
                  <a:pt x="102000" y="90000"/>
                  <a:pt x="102000" y="110000"/>
                  <a:pt x="114000" y="110000"/>
                </a:cubicBezTo>
                <a:cubicBezTo>
                  <a:pt x="120000" y="110000"/>
                  <a:pt x="96000" y="120000"/>
                  <a:pt x="84000" y="120000"/>
                </a:cubicBezTo>
                <a:cubicBezTo>
                  <a:pt x="66000" y="90000"/>
                  <a:pt x="84000" y="120000"/>
                  <a:pt x="78000" y="120000"/>
                </a:cubicBezTo>
                <a:cubicBezTo>
                  <a:pt x="66000" y="120000"/>
                  <a:pt x="42000" y="90000"/>
                  <a:pt x="24000" y="90000"/>
                </a:cubicBezTo>
                <a:cubicBezTo>
                  <a:pt x="0" y="90000"/>
                  <a:pt x="12000" y="70000"/>
                  <a:pt x="0" y="60000"/>
                </a:cubicBezTo>
                <a:cubicBezTo>
                  <a:pt x="0" y="30000"/>
                  <a:pt x="30000" y="30000"/>
                  <a:pt x="30000" y="0"/>
                </a:cubicBezTo>
                <a:cubicBezTo>
                  <a:pt x="24000" y="0"/>
                  <a:pt x="30000" y="0"/>
                  <a:pt x="30000"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74" name="Shape 1735"/>
          <p:cNvSpPr/>
          <p:nvPr/>
        </p:nvSpPr>
        <p:spPr>
          <a:xfrm>
            <a:off x="3111392" y="4469581"/>
            <a:ext cx="99962" cy="124850"/>
          </a:xfrm>
          <a:custGeom>
            <a:avLst/>
            <a:gdLst/>
            <a:ahLst/>
            <a:cxnLst/>
            <a:rect l="0" t="0" r="0" b="0"/>
            <a:pathLst>
              <a:path w="120000" h="120000" extrusionOk="0">
                <a:moveTo>
                  <a:pt x="96000" y="0"/>
                </a:moveTo>
                <a:cubicBezTo>
                  <a:pt x="96000" y="54000"/>
                  <a:pt x="96000" y="54000"/>
                  <a:pt x="96000" y="54000"/>
                </a:cubicBezTo>
                <a:cubicBezTo>
                  <a:pt x="104000" y="54000"/>
                  <a:pt x="104000" y="54000"/>
                  <a:pt x="104000" y="54000"/>
                </a:cubicBezTo>
                <a:cubicBezTo>
                  <a:pt x="108000" y="60000"/>
                  <a:pt x="108000" y="63000"/>
                  <a:pt x="116000" y="60000"/>
                </a:cubicBezTo>
                <a:cubicBezTo>
                  <a:pt x="116000" y="60000"/>
                  <a:pt x="116000" y="60000"/>
                  <a:pt x="116000" y="54000"/>
                </a:cubicBezTo>
                <a:cubicBezTo>
                  <a:pt x="108000" y="54000"/>
                  <a:pt x="116000" y="51000"/>
                  <a:pt x="120000" y="60000"/>
                </a:cubicBezTo>
                <a:cubicBezTo>
                  <a:pt x="116000" y="63000"/>
                  <a:pt x="104000" y="78000"/>
                  <a:pt x="96000" y="78000"/>
                </a:cubicBezTo>
                <a:cubicBezTo>
                  <a:pt x="92000" y="84000"/>
                  <a:pt x="104000" y="96000"/>
                  <a:pt x="84000" y="102000"/>
                </a:cubicBezTo>
                <a:cubicBezTo>
                  <a:pt x="84000" y="102000"/>
                  <a:pt x="80000" y="102000"/>
                  <a:pt x="84000" y="102000"/>
                </a:cubicBezTo>
                <a:cubicBezTo>
                  <a:pt x="84000" y="111000"/>
                  <a:pt x="68000" y="111000"/>
                  <a:pt x="68000" y="120000"/>
                </a:cubicBezTo>
                <a:cubicBezTo>
                  <a:pt x="56000" y="117000"/>
                  <a:pt x="48000" y="111000"/>
                  <a:pt x="36000" y="117000"/>
                </a:cubicBezTo>
                <a:cubicBezTo>
                  <a:pt x="24000" y="117000"/>
                  <a:pt x="24000" y="117000"/>
                  <a:pt x="0" y="96000"/>
                </a:cubicBezTo>
                <a:cubicBezTo>
                  <a:pt x="0" y="96000"/>
                  <a:pt x="0" y="93000"/>
                  <a:pt x="0" y="87000"/>
                </a:cubicBezTo>
                <a:cubicBezTo>
                  <a:pt x="0" y="84000"/>
                  <a:pt x="8000" y="78000"/>
                  <a:pt x="8000" y="78000"/>
                </a:cubicBezTo>
                <a:cubicBezTo>
                  <a:pt x="0" y="75000"/>
                  <a:pt x="0" y="75000"/>
                  <a:pt x="0" y="75000"/>
                </a:cubicBezTo>
                <a:cubicBezTo>
                  <a:pt x="12000" y="51000"/>
                  <a:pt x="12000" y="51000"/>
                  <a:pt x="12000" y="51000"/>
                </a:cubicBezTo>
                <a:cubicBezTo>
                  <a:pt x="56000" y="51000"/>
                  <a:pt x="56000" y="51000"/>
                  <a:pt x="56000" y="51000"/>
                </a:cubicBezTo>
                <a:cubicBezTo>
                  <a:pt x="60000" y="33000"/>
                  <a:pt x="48000" y="45000"/>
                  <a:pt x="48000" y="36000"/>
                </a:cubicBezTo>
                <a:cubicBezTo>
                  <a:pt x="44000" y="27000"/>
                  <a:pt x="36000" y="27000"/>
                  <a:pt x="32000" y="21000"/>
                </a:cubicBezTo>
                <a:cubicBezTo>
                  <a:pt x="32000" y="18000"/>
                  <a:pt x="24000" y="18000"/>
                  <a:pt x="24000" y="18000"/>
                </a:cubicBezTo>
                <a:cubicBezTo>
                  <a:pt x="36000" y="18000"/>
                  <a:pt x="36000" y="18000"/>
                  <a:pt x="36000" y="18000"/>
                </a:cubicBezTo>
                <a:cubicBezTo>
                  <a:pt x="36000" y="0"/>
                  <a:pt x="36000" y="0"/>
                  <a:pt x="36000" y="0"/>
                </a:cubicBezTo>
                <a:cubicBezTo>
                  <a:pt x="96000" y="0"/>
                  <a:pt x="96000" y="0"/>
                  <a:pt x="96000" y="0"/>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75" name="Shape 1736"/>
          <p:cNvSpPr/>
          <p:nvPr/>
        </p:nvSpPr>
        <p:spPr>
          <a:xfrm>
            <a:off x="3397730" y="4968982"/>
            <a:ext cx="154179" cy="198480"/>
          </a:xfrm>
          <a:custGeom>
            <a:avLst/>
            <a:gdLst/>
            <a:ahLst/>
            <a:cxnLst/>
            <a:rect l="0" t="0" r="0" b="0"/>
            <a:pathLst>
              <a:path w="120000" h="120000" extrusionOk="0">
                <a:moveTo>
                  <a:pt x="45957" y="0"/>
                </a:moveTo>
                <a:cubicBezTo>
                  <a:pt x="61276" y="9375"/>
                  <a:pt x="66382" y="11250"/>
                  <a:pt x="68936" y="11250"/>
                </a:cubicBezTo>
                <a:cubicBezTo>
                  <a:pt x="68936" y="11250"/>
                  <a:pt x="76595" y="15000"/>
                  <a:pt x="76595" y="18750"/>
                </a:cubicBezTo>
                <a:cubicBezTo>
                  <a:pt x="76595" y="20625"/>
                  <a:pt x="97021" y="24375"/>
                  <a:pt x="97021" y="20625"/>
                </a:cubicBezTo>
                <a:cubicBezTo>
                  <a:pt x="97021" y="18750"/>
                  <a:pt x="99574" y="15000"/>
                  <a:pt x="104680" y="20625"/>
                </a:cubicBezTo>
                <a:cubicBezTo>
                  <a:pt x="107234" y="26250"/>
                  <a:pt x="112340" y="26250"/>
                  <a:pt x="120000" y="26250"/>
                </a:cubicBezTo>
                <a:cubicBezTo>
                  <a:pt x="120000" y="41250"/>
                  <a:pt x="120000" y="43125"/>
                  <a:pt x="112340" y="58125"/>
                </a:cubicBezTo>
                <a:cubicBezTo>
                  <a:pt x="99574" y="69375"/>
                  <a:pt x="68936" y="76875"/>
                  <a:pt x="58723" y="90000"/>
                </a:cubicBezTo>
                <a:cubicBezTo>
                  <a:pt x="45957" y="108750"/>
                  <a:pt x="53617" y="108750"/>
                  <a:pt x="45957" y="114375"/>
                </a:cubicBezTo>
                <a:cubicBezTo>
                  <a:pt x="38297" y="120000"/>
                  <a:pt x="38297" y="108750"/>
                  <a:pt x="30638" y="108750"/>
                </a:cubicBezTo>
                <a:cubicBezTo>
                  <a:pt x="17872" y="105000"/>
                  <a:pt x="15319" y="110625"/>
                  <a:pt x="15319" y="105000"/>
                </a:cubicBezTo>
                <a:cubicBezTo>
                  <a:pt x="10212" y="99375"/>
                  <a:pt x="28085" y="99375"/>
                  <a:pt x="17872" y="88125"/>
                </a:cubicBezTo>
                <a:cubicBezTo>
                  <a:pt x="28085" y="88125"/>
                  <a:pt x="28085" y="78750"/>
                  <a:pt x="28085" y="73125"/>
                </a:cubicBezTo>
                <a:cubicBezTo>
                  <a:pt x="28085" y="67500"/>
                  <a:pt x="22978" y="82500"/>
                  <a:pt x="10212" y="73125"/>
                </a:cubicBezTo>
                <a:cubicBezTo>
                  <a:pt x="0" y="63750"/>
                  <a:pt x="10212" y="69375"/>
                  <a:pt x="7659" y="50625"/>
                </a:cubicBezTo>
                <a:cubicBezTo>
                  <a:pt x="2553" y="37500"/>
                  <a:pt x="15319" y="46875"/>
                  <a:pt x="15319" y="35625"/>
                </a:cubicBezTo>
                <a:cubicBezTo>
                  <a:pt x="15319" y="26250"/>
                  <a:pt x="28085" y="30000"/>
                  <a:pt x="22978" y="15000"/>
                </a:cubicBezTo>
                <a:cubicBezTo>
                  <a:pt x="22978" y="3750"/>
                  <a:pt x="51063" y="9375"/>
                  <a:pt x="45957"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76" name="Shape 1737"/>
          <p:cNvSpPr/>
          <p:nvPr/>
        </p:nvSpPr>
        <p:spPr>
          <a:xfrm>
            <a:off x="3128335" y="5004196"/>
            <a:ext cx="20330" cy="43217"/>
          </a:xfrm>
          <a:custGeom>
            <a:avLst/>
            <a:gdLst/>
            <a:ahLst/>
            <a:cxnLst/>
            <a:rect l="0" t="0" r="0" b="0"/>
            <a:pathLst>
              <a:path w="120000" h="120000" extrusionOk="0">
                <a:moveTo>
                  <a:pt x="20000" y="111428"/>
                </a:moveTo>
                <a:cubicBezTo>
                  <a:pt x="0" y="94285"/>
                  <a:pt x="60000" y="85714"/>
                  <a:pt x="60000" y="85714"/>
                </a:cubicBezTo>
                <a:cubicBezTo>
                  <a:pt x="80000" y="68571"/>
                  <a:pt x="60000" y="68571"/>
                  <a:pt x="20000" y="51428"/>
                </a:cubicBezTo>
                <a:cubicBezTo>
                  <a:pt x="20000" y="42857"/>
                  <a:pt x="20000" y="25714"/>
                  <a:pt x="0" y="25714"/>
                </a:cubicBezTo>
                <a:cubicBezTo>
                  <a:pt x="0" y="25714"/>
                  <a:pt x="0" y="25714"/>
                  <a:pt x="20000" y="17142"/>
                </a:cubicBezTo>
                <a:cubicBezTo>
                  <a:pt x="20000" y="0"/>
                  <a:pt x="20000" y="17142"/>
                  <a:pt x="60000" y="25714"/>
                </a:cubicBezTo>
                <a:cubicBezTo>
                  <a:pt x="60000" y="42857"/>
                  <a:pt x="60000" y="51428"/>
                  <a:pt x="80000" y="51428"/>
                </a:cubicBezTo>
                <a:cubicBezTo>
                  <a:pt x="120000" y="68571"/>
                  <a:pt x="80000" y="68571"/>
                  <a:pt x="120000" y="85714"/>
                </a:cubicBezTo>
                <a:cubicBezTo>
                  <a:pt x="120000" y="94285"/>
                  <a:pt x="120000" y="111428"/>
                  <a:pt x="80000" y="111428"/>
                </a:cubicBezTo>
                <a:cubicBezTo>
                  <a:pt x="20000" y="119999"/>
                  <a:pt x="20000" y="111428"/>
                  <a:pt x="20000" y="111428"/>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77" name="Shape 1738"/>
          <p:cNvSpPr/>
          <p:nvPr/>
        </p:nvSpPr>
        <p:spPr>
          <a:xfrm>
            <a:off x="3152054" y="5021803"/>
            <a:ext cx="13555" cy="16008"/>
          </a:xfrm>
          <a:custGeom>
            <a:avLst/>
            <a:gdLst/>
            <a:ahLst/>
            <a:cxnLst/>
            <a:rect l="0" t="0" r="0" b="0"/>
            <a:pathLst>
              <a:path w="120000" h="120000" extrusionOk="0">
                <a:moveTo>
                  <a:pt x="60000" y="120000"/>
                </a:moveTo>
                <a:cubicBezTo>
                  <a:pt x="0" y="72000"/>
                  <a:pt x="60000" y="0"/>
                  <a:pt x="90000" y="48000"/>
                </a:cubicBezTo>
                <a:cubicBezTo>
                  <a:pt x="120000" y="48000"/>
                  <a:pt x="90000" y="120000"/>
                  <a:pt x="6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78" name="Shape 1739"/>
          <p:cNvSpPr/>
          <p:nvPr/>
        </p:nvSpPr>
        <p:spPr>
          <a:xfrm>
            <a:off x="3174079" y="5031408"/>
            <a:ext cx="10166" cy="9601"/>
          </a:xfrm>
          <a:custGeom>
            <a:avLst/>
            <a:gdLst/>
            <a:ahLst/>
            <a:cxnLst/>
            <a:rect l="0" t="0" r="0" b="0"/>
            <a:pathLst>
              <a:path w="120000" h="120000" extrusionOk="0">
                <a:moveTo>
                  <a:pt x="0" y="120000"/>
                </a:moveTo>
                <a:cubicBezTo>
                  <a:pt x="120000" y="0"/>
                  <a:pt x="120000" y="0"/>
                  <a:pt x="120000" y="0"/>
                </a:cubicBezTo>
                <a:cubicBezTo>
                  <a:pt x="120000" y="80000"/>
                  <a:pt x="120000" y="120000"/>
                  <a:pt x="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79" name="Shape 1740"/>
          <p:cNvSpPr/>
          <p:nvPr/>
        </p:nvSpPr>
        <p:spPr>
          <a:xfrm>
            <a:off x="3148664" y="5012199"/>
            <a:ext cx="10166" cy="16008"/>
          </a:xfrm>
          <a:custGeom>
            <a:avLst/>
            <a:gdLst/>
            <a:ahLst/>
            <a:cxnLst/>
            <a:rect l="0" t="0" r="0" b="0"/>
            <a:pathLst>
              <a:path w="120000" h="120000" extrusionOk="0">
                <a:moveTo>
                  <a:pt x="0" y="48000"/>
                </a:moveTo>
                <a:cubicBezTo>
                  <a:pt x="0" y="0"/>
                  <a:pt x="120000" y="48000"/>
                  <a:pt x="40000" y="72000"/>
                </a:cubicBezTo>
                <a:cubicBezTo>
                  <a:pt x="40000" y="120000"/>
                  <a:pt x="0" y="72000"/>
                  <a:pt x="0" y="48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80" name="Shape 1741"/>
          <p:cNvSpPr/>
          <p:nvPr/>
        </p:nvSpPr>
        <p:spPr>
          <a:xfrm>
            <a:off x="3121560" y="5018601"/>
            <a:ext cx="16942" cy="9601"/>
          </a:xfrm>
          <a:custGeom>
            <a:avLst/>
            <a:gdLst/>
            <a:ahLst/>
            <a:cxnLst/>
            <a:rect l="0" t="0" r="0" b="0"/>
            <a:pathLst>
              <a:path w="120000" h="120000" extrusionOk="0">
                <a:moveTo>
                  <a:pt x="48000" y="40000"/>
                </a:moveTo>
                <a:cubicBezTo>
                  <a:pt x="72000" y="0"/>
                  <a:pt x="120000" y="120000"/>
                  <a:pt x="48000" y="120000"/>
                </a:cubicBezTo>
                <a:cubicBezTo>
                  <a:pt x="0" y="120000"/>
                  <a:pt x="0" y="40000"/>
                  <a:pt x="48000" y="4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81" name="Shape 1742"/>
          <p:cNvSpPr/>
          <p:nvPr/>
        </p:nvSpPr>
        <p:spPr>
          <a:xfrm>
            <a:off x="3152055" y="5047415"/>
            <a:ext cx="10166" cy="9601"/>
          </a:xfrm>
          <a:custGeom>
            <a:avLst/>
            <a:gdLst/>
            <a:ahLst/>
            <a:cxnLst/>
            <a:rect l="0" t="0" r="0" b="0"/>
            <a:pathLst>
              <a:path w="120000" h="120000" extrusionOk="0">
                <a:moveTo>
                  <a:pt x="80000" y="80000"/>
                </a:moveTo>
                <a:cubicBezTo>
                  <a:pt x="0" y="0"/>
                  <a:pt x="120000" y="80000"/>
                  <a:pt x="80000" y="80000"/>
                </a:cubicBezTo>
                <a:cubicBezTo>
                  <a:pt x="80000" y="120000"/>
                  <a:pt x="80000" y="120000"/>
                  <a:pt x="80000" y="8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82" name="Shape 1743"/>
          <p:cNvSpPr/>
          <p:nvPr/>
        </p:nvSpPr>
        <p:spPr>
          <a:xfrm>
            <a:off x="3152055" y="5000995"/>
            <a:ext cx="6774" cy="3201"/>
          </a:xfrm>
          <a:custGeom>
            <a:avLst/>
            <a:gdLst/>
            <a:ahLst/>
            <a:cxnLst/>
            <a:rect l="0" t="0" r="0" b="0"/>
            <a:pathLst>
              <a:path w="120000" h="120000" extrusionOk="0">
                <a:moveTo>
                  <a:pt x="0" y="120000"/>
                </a:moveTo>
                <a:cubicBezTo>
                  <a:pt x="0" y="120000"/>
                  <a:pt x="120000" y="0"/>
                  <a:pt x="120000" y="120000"/>
                </a:cubicBezTo>
                <a:cubicBezTo>
                  <a:pt x="120000" y="120000"/>
                  <a:pt x="120000" y="120000"/>
                  <a:pt x="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83" name="Shape 1744"/>
          <p:cNvSpPr/>
          <p:nvPr/>
        </p:nvSpPr>
        <p:spPr>
          <a:xfrm>
            <a:off x="3473970" y="4443970"/>
            <a:ext cx="59297" cy="28810"/>
          </a:xfrm>
          <a:custGeom>
            <a:avLst/>
            <a:gdLst/>
            <a:ahLst/>
            <a:cxnLst/>
            <a:rect l="0" t="0" r="0" b="0"/>
            <a:pathLst>
              <a:path w="120000" h="120000" extrusionOk="0">
                <a:moveTo>
                  <a:pt x="0" y="13333"/>
                </a:moveTo>
                <a:cubicBezTo>
                  <a:pt x="6666" y="0"/>
                  <a:pt x="26666" y="0"/>
                  <a:pt x="60000" y="13333"/>
                </a:cubicBezTo>
                <a:cubicBezTo>
                  <a:pt x="100000" y="40000"/>
                  <a:pt x="106666" y="40000"/>
                  <a:pt x="106666" y="80000"/>
                </a:cubicBezTo>
                <a:cubicBezTo>
                  <a:pt x="120000" y="106666"/>
                  <a:pt x="100000" y="80000"/>
                  <a:pt x="80000" y="80000"/>
                </a:cubicBezTo>
                <a:cubicBezTo>
                  <a:pt x="60000" y="80000"/>
                  <a:pt x="80000" y="120000"/>
                  <a:pt x="46666" y="106666"/>
                </a:cubicBezTo>
                <a:cubicBezTo>
                  <a:pt x="6666" y="80000"/>
                  <a:pt x="26666" y="53333"/>
                  <a:pt x="6666" y="53333"/>
                </a:cubicBezTo>
                <a:cubicBezTo>
                  <a:pt x="0" y="40000"/>
                  <a:pt x="0" y="40000"/>
                  <a:pt x="0" y="13333"/>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84" name="Shape 1745"/>
          <p:cNvSpPr/>
          <p:nvPr/>
        </p:nvSpPr>
        <p:spPr>
          <a:xfrm>
            <a:off x="3572240" y="4400751"/>
            <a:ext cx="79630" cy="68827"/>
          </a:xfrm>
          <a:custGeom>
            <a:avLst/>
            <a:gdLst/>
            <a:ahLst/>
            <a:cxnLst/>
            <a:rect l="0" t="0" r="0" b="0"/>
            <a:pathLst>
              <a:path w="120000" h="120000" extrusionOk="0">
                <a:moveTo>
                  <a:pt x="115000" y="98181"/>
                </a:moveTo>
                <a:cubicBezTo>
                  <a:pt x="85000" y="81818"/>
                  <a:pt x="75000" y="109090"/>
                  <a:pt x="60000" y="98181"/>
                </a:cubicBezTo>
                <a:cubicBezTo>
                  <a:pt x="20000" y="81818"/>
                  <a:pt x="40000" y="120000"/>
                  <a:pt x="20000" y="98181"/>
                </a:cubicBezTo>
                <a:cubicBezTo>
                  <a:pt x="5000" y="81818"/>
                  <a:pt x="0" y="92727"/>
                  <a:pt x="0" y="76363"/>
                </a:cubicBezTo>
                <a:cubicBezTo>
                  <a:pt x="5000" y="60000"/>
                  <a:pt x="55000" y="92727"/>
                  <a:pt x="75000" y="76363"/>
                </a:cubicBezTo>
                <a:cubicBezTo>
                  <a:pt x="85000" y="76363"/>
                  <a:pt x="100000" y="81818"/>
                  <a:pt x="85000" y="60000"/>
                </a:cubicBezTo>
                <a:cubicBezTo>
                  <a:pt x="55000" y="32727"/>
                  <a:pt x="85000" y="32727"/>
                  <a:pt x="70000" y="21818"/>
                </a:cubicBezTo>
                <a:cubicBezTo>
                  <a:pt x="45000" y="16363"/>
                  <a:pt x="40000" y="21818"/>
                  <a:pt x="45000" y="5454"/>
                </a:cubicBezTo>
                <a:cubicBezTo>
                  <a:pt x="45000" y="0"/>
                  <a:pt x="75000" y="0"/>
                  <a:pt x="85000" y="5454"/>
                </a:cubicBezTo>
                <a:cubicBezTo>
                  <a:pt x="100000" y="16363"/>
                  <a:pt x="100000" y="5454"/>
                  <a:pt x="115000" y="5454"/>
                </a:cubicBezTo>
                <a:cubicBezTo>
                  <a:pt x="105000" y="32727"/>
                  <a:pt x="120000" y="49090"/>
                  <a:pt x="105000" y="65454"/>
                </a:cubicBezTo>
                <a:cubicBezTo>
                  <a:pt x="100000" y="81818"/>
                  <a:pt x="115000" y="76363"/>
                  <a:pt x="115000" y="98181"/>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85" name="Shape 1746"/>
          <p:cNvSpPr/>
          <p:nvPr/>
        </p:nvSpPr>
        <p:spPr>
          <a:xfrm>
            <a:off x="3638313" y="4394347"/>
            <a:ext cx="98268" cy="84836"/>
          </a:xfrm>
          <a:custGeom>
            <a:avLst/>
            <a:gdLst/>
            <a:ahLst/>
            <a:cxnLst/>
            <a:rect l="0" t="0" r="0" b="0"/>
            <a:pathLst>
              <a:path w="120000" h="120000" extrusionOk="0">
                <a:moveTo>
                  <a:pt x="12000" y="13333"/>
                </a:moveTo>
                <a:cubicBezTo>
                  <a:pt x="4000" y="35555"/>
                  <a:pt x="16000" y="48888"/>
                  <a:pt x="4000" y="62222"/>
                </a:cubicBezTo>
                <a:cubicBezTo>
                  <a:pt x="0" y="75555"/>
                  <a:pt x="12000" y="71111"/>
                  <a:pt x="12000" y="88888"/>
                </a:cubicBezTo>
                <a:cubicBezTo>
                  <a:pt x="16000" y="120000"/>
                  <a:pt x="24000" y="102222"/>
                  <a:pt x="28000" y="88888"/>
                </a:cubicBezTo>
                <a:cubicBezTo>
                  <a:pt x="36000" y="75555"/>
                  <a:pt x="40000" y="71111"/>
                  <a:pt x="48000" y="75555"/>
                </a:cubicBezTo>
                <a:cubicBezTo>
                  <a:pt x="48000" y="88888"/>
                  <a:pt x="56000" y="88888"/>
                  <a:pt x="60000" y="75555"/>
                </a:cubicBezTo>
                <a:cubicBezTo>
                  <a:pt x="72000" y="71111"/>
                  <a:pt x="96000" y="75555"/>
                  <a:pt x="104000" y="84444"/>
                </a:cubicBezTo>
                <a:cubicBezTo>
                  <a:pt x="108000" y="88888"/>
                  <a:pt x="120000" y="71111"/>
                  <a:pt x="116000" y="62222"/>
                </a:cubicBezTo>
                <a:cubicBezTo>
                  <a:pt x="104000" y="57777"/>
                  <a:pt x="104000" y="48888"/>
                  <a:pt x="96000" y="48888"/>
                </a:cubicBezTo>
                <a:cubicBezTo>
                  <a:pt x="84000" y="48888"/>
                  <a:pt x="80000" y="40000"/>
                  <a:pt x="84000" y="40000"/>
                </a:cubicBezTo>
                <a:cubicBezTo>
                  <a:pt x="96000" y="40000"/>
                  <a:pt x="92000" y="26666"/>
                  <a:pt x="80000" y="35555"/>
                </a:cubicBezTo>
                <a:cubicBezTo>
                  <a:pt x="60000" y="40000"/>
                  <a:pt x="72000" y="13333"/>
                  <a:pt x="60000" y="22222"/>
                </a:cubicBezTo>
                <a:cubicBezTo>
                  <a:pt x="56000" y="26666"/>
                  <a:pt x="36000" y="0"/>
                  <a:pt x="28000" y="8888"/>
                </a:cubicBezTo>
                <a:cubicBezTo>
                  <a:pt x="24000" y="13333"/>
                  <a:pt x="16000" y="0"/>
                  <a:pt x="12000" y="13333"/>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86" name="Shape 1747"/>
          <p:cNvSpPr/>
          <p:nvPr/>
        </p:nvSpPr>
        <p:spPr>
          <a:xfrm>
            <a:off x="4854809" y="4488789"/>
            <a:ext cx="11859" cy="14402"/>
          </a:xfrm>
          <a:custGeom>
            <a:avLst/>
            <a:gdLst/>
            <a:ahLst/>
            <a:cxnLst/>
            <a:rect l="0" t="0" r="0" b="0"/>
            <a:pathLst>
              <a:path w="120000" h="120000" extrusionOk="0">
                <a:moveTo>
                  <a:pt x="0" y="24000"/>
                </a:moveTo>
                <a:cubicBezTo>
                  <a:pt x="0" y="0"/>
                  <a:pt x="30000" y="0"/>
                  <a:pt x="30000" y="0"/>
                </a:cubicBezTo>
                <a:cubicBezTo>
                  <a:pt x="120000" y="0"/>
                  <a:pt x="30000" y="120000"/>
                  <a:pt x="0" y="24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87" name="Shape 1748"/>
          <p:cNvSpPr/>
          <p:nvPr/>
        </p:nvSpPr>
        <p:spPr>
          <a:xfrm>
            <a:off x="4876834" y="4503195"/>
            <a:ext cx="13555" cy="9601"/>
          </a:xfrm>
          <a:custGeom>
            <a:avLst/>
            <a:gdLst/>
            <a:ahLst/>
            <a:cxnLst/>
            <a:rect l="0" t="0" r="0" b="0"/>
            <a:pathLst>
              <a:path w="120000" h="120000" extrusionOk="0">
                <a:moveTo>
                  <a:pt x="0" y="40000"/>
                </a:moveTo>
                <a:cubicBezTo>
                  <a:pt x="0" y="0"/>
                  <a:pt x="0" y="0"/>
                  <a:pt x="60000" y="0"/>
                </a:cubicBezTo>
                <a:cubicBezTo>
                  <a:pt x="120000" y="40000"/>
                  <a:pt x="120000" y="40000"/>
                  <a:pt x="60000" y="40000"/>
                </a:cubicBezTo>
                <a:cubicBezTo>
                  <a:pt x="0" y="40000"/>
                  <a:pt x="0" y="120000"/>
                  <a:pt x="0" y="4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88" name="Shape 1749"/>
          <p:cNvSpPr/>
          <p:nvPr/>
        </p:nvSpPr>
        <p:spPr>
          <a:xfrm>
            <a:off x="4873447" y="4552813"/>
            <a:ext cx="10166" cy="12806"/>
          </a:xfrm>
          <a:custGeom>
            <a:avLst/>
            <a:gdLst/>
            <a:ahLst/>
            <a:cxnLst/>
            <a:rect l="0" t="0" r="0" b="0"/>
            <a:pathLst>
              <a:path w="120000" h="120000" extrusionOk="0">
                <a:moveTo>
                  <a:pt x="80000" y="0"/>
                </a:moveTo>
                <a:cubicBezTo>
                  <a:pt x="80000" y="0"/>
                  <a:pt x="120000" y="60000"/>
                  <a:pt x="80000" y="60000"/>
                </a:cubicBezTo>
                <a:cubicBezTo>
                  <a:pt x="80000" y="120000"/>
                  <a:pt x="0" y="60000"/>
                  <a:pt x="80000"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89" name="Shape 1750"/>
          <p:cNvSpPr/>
          <p:nvPr/>
        </p:nvSpPr>
        <p:spPr>
          <a:xfrm>
            <a:off x="3956838" y="6680074"/>
            <a:ext cx="55911" cy="46420"/>
          </a:xfrm>
          <a:custGeom>
            <a:avLst/>
            <a:gdLst/>
            <a:ahLst/>
            <a:cxnLst/>
            <a:rect l="0" t="0" r="0" b="0"/>
            <a:pathLst>
              <a:path w="120000" h="120000" extrusionOk="0">
                <a:moveTo>
                  <a:pt x="14117" y="112000"/>
                </a:moveTo>
                <a:cubicBezTo>
                  <a:pt x="0" y="96000"/>
                  <a:pt x="0" y="80000"/>
                  <a:pt x="0" y="80000"/>
                </a:cubicBezTo>
                <a:cubicBezTo>
                  <a:pt x="14117" y="80000"/>
                  <a:pt x="0" y="72000"/>
                  <a:pt x="14117" y="56000"/>
                </a:cubicBezTo>
                <a:cubicBezTo>
                  <a:pt x="35294" y="48000"/>
                  <a:pt x="21176" y="48000"/>
                  <a:pt x="35294" y="48000"/>
                </a:cubicBezTo>
                <a:cubicBezTo>
                  <a:pt x="42352" y="48000"/>
                  <a:pt x="42352" y="48000"/>
                  <a:pt x="35294" y="32000"/>
                </a:cubicBezTo>
                <a:cubicBezTo>
                  <a:pt x="35294" y="32000"/>
                  <a:pt x="42352" y="32000"/>
                  <a:pt x="35294" y="24000"/>
                </a:cubicBezTo>
                <a:cubicBezTo>
                  <a:pt x="35294" y="24000"/>
                  <a:pt x="56470" y="24000"/>
                  <a:pt x="42352" y="8000"/>
                </a:cubicBezTo>
                <a:cubicBezTo>
                  <a:pt x="42352" y="0"/>
                  <a:pt x="56470" y="8000"/>
                  <a:pt x="70588" y="8000"/>
                </a:cubicBezTo>
                <a:cubicBezTo>
                  <a:pt x="77647" y="8000"/>
                  <a:pt x="77647" y="24000"/>
                  <a:pt x="77647" y="24000"/>
                </a:cubicBezTo>
                <a:cubicBezTo>
                  <a:pt x="70588" y="24000"/>
                  <a:pt x="77647" y="24000"/>
                  <a:pt x="77647" y="32000"/>
                </a:cubicBezTo>
                <a:cubicBezTo>
                  <a:pt x="91764" y="48000"/>
                  <a:pt x="77647" y="24000"/>
                  <a:pt x="91764" y="24000"/>
                </a:cubicBezTo>
                <a:cubicBezTo>
                  <a:pt x="98823" y="8000"/>
                  <a:pt x="98823" y="8000"/>
                  <a:pt x="112941" y="24000"/>
                </a:cubicBezTo>
                <a:cubicBezTo>
                  <a:pt x="112941" y="32000"/>
                  <a:pt x="98823" y="32000"/>
                  <a:pt x="112941" y="32000"/>
                </a:cubicBezTo>
                <a:cubicBezTo>
                  <a:pt x="120000" y="48000"/>
                  <a:pt x="112941" y="48000"/>
                  <a:pt x="98823" y="48000"/>
                </a:cubicBezTo>
                <a:cubicBezTo>
                  <a:pt x="77647" y="56000"/>
                  <a:pt x="98823" y="72000"/>
                  <a:pt x="77647" y="56000"/>
                </a:cubicBezTo>
                <a:cubicBezTo>
                  <a:pt x="42352" y="56000"/>
                  <a:pt x="35294" y="56000"/>
                  <a:pt x="56470" y="72000"/>
                </a:cubicBezTo>
                <a:cubicBezTo>
                  <a:pt x="70588" y="72000"/>
                  <a:pt x="70588" y="96000"/>
                  <a:pt x="56470" y="80000"/>
                </a:cubicBezTo>
                <a:cubicBezTo>
                  <a:pt x="42352" y="72000"/>
                  <a:pt x="56470" y="96000"/>
                  <a:pt x="42352" y="80000"/>
                </a:cubicBezTo>
                <a:cubicBezTo>
                  <a:pt x="21176" y="72000"/>
                  <a:pt x="42352" y="112000"/>
                  <a:pt x="35294" y="96000"/>
                </a:cubicBezTo>
                <a:cubicBezTo>
                  <a:pt x="0" y="80000"/>
                  <a:pt x="35294" y="120000"/>
                  <a:pt x="14117" y="112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90" name="Shape 1751"/>
          <p:cNvSpPr/>
          <p:nvPr/>
        </p:nvSpPr>
        <p:spPr>
          <a:xfrm>
            <a:off x="3924649" y="6683278"/>
            <a:ext cx="49134" cy="33611"/>
          </a:xfrm>
          <a:custGeom>
            <a:avLst/>
            <a:gdLst/>
            <a:ahLst/>
            <a:cxnLst/>
            <a:rect l="0" t="0" r="0" b="0"/>
            <a:pathLst>
              <a:path w="120000" h="120000" extrusionOk="0">
                <a:moveTo>
                  <a:pt x="24000" y="120000"/>
                </a:moveTo>
                <a:cubicBezTo>
                  <a:pt x="8000" y="109090"/>
                  <a:pt x="24000" y="120000"/>
                  <a:pt x="8000" y="109090"/>
                </a:cubicBezTo>
                <a:cubicBezTo>
                  <a:pt x="0" y="87272"/>
                  <a:pt x="8000" y="109090"/>
                  <a:pt x="8000" y="87272"/>
                </a:cubicBezTo>
                <a:cubicBezTo>
                  <a:pt x="8000" y="87272"/>
                  <a:pt x="24000" y="109090"/>
                  <a:pt x="32000" y="87272"/>
                </a:cubicBezTo>
                <a:cubicBezTo>
                  <a:pt x="32000" y="65454"/>
                  <a:pt x="48000" y="65454"/>
                  <a:pt x="48000" y="65454"/>
                </a:cubicBezTo>
                <a:cubicBezTo>
                  <a:pt x="56000" y="54545"/>
                  <a:pt x="48000" y="54545"/>
                  <a:pt x="32000" y="54545"/>
                </a:cubicBezTo>
                <a:cubicBezTo>
                  <a:pt x="24000" y="65454"/>
                  <a:pt x="24000" y="54545"/>
                  <a:pt x="32000" y="54545"/>
                </a:cubicBezTo>
                <a:cubicBezTo>
                  <a:pt x="48000" y="54545"/>
                  <a:pt x="48000" y="32727"/>
                  <a:pt x="32000" y="32727"/>
                </a:cubicBezTo>
                <a:cubicBezTo>
                  <a:pt x="24000" y="21818"/>
                  <a:pt x="8000" y="0"/>
                  <a:pt x="32000" y="21818"/>
                </a:cubicBezTo>
                <a:cubicBezTo>
                  <a:pt x="72000" y="32727"/>
                  <a:pt x="56000" y="21818"/>
                  <a:pt x="72000" y="21818"/>
                </a:cubicBezTo>
                <a:cubicBezTo>
                  <a:pt x="72000" y="0"/>
                  <a:pt x="72000" y="21818"/>
                  <a:pt x="80000" y="21818"/>
                </a:cubicBezTo>
                <a:cubicBezTo>
                  <a:pt x="96000" y="21818"/>
                  <a:pt x="96000" y="0"/>
                  <a:pt x="104000" y="0"/>
                </a:cubicBezTo>
                <a:cubicBezTo>
                  <a:pt x="120000" y="21818"/>
                  <a:pt x="120000" y="21818"/>
                  <a:pt x="104000" y="32727"/>
                </a:cubicBezTo>
                <a:cubicBezTo>
                  <a:pt x="96000" y="54545"/>
                  <a:pt x="96000" y="32727"/>
                  <a:pt x="80000" y="65454"/>
                </a:cubicBezTo>
                <a:cubicBezTo>
                  <a:pt x="72000" y="87272"/>
                  <a:pt x="72000" y="87272"/>
                  <a:pt x="56000" y="87272"/>
                </a:cubicBezTo>
                <a:cubicBezTo>
                  <a:pt x="48000" y="87272"/>
                  <a:pt x="48000" y="109090"/>
                  <a:pt x="48000" y="109090"/>
                </a:cubicBezTo>
                <a:cubicBezTo>
                  <a:pt x="32000" y="120000"/>
                  <a:pt x="32000" y="109090"/>
                  <a:pt x="32000" y="120000"/>
                </a:cubicBezTo>
                <a:cubicBezTo>
                  <a:pt x="32000" y="120000"/>
                  <a:pt x="32000" y="120000"/>
                  <a:pt x="24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91" name="Shape 1754"/>
          <p:cNvSpPr/>
          <p:nvPr/>
        </p:nvSpPr>
        <p:spPr>
          <a:xfrm>
            <a:off x="3453639" y="4178262"/>
            <a:ext cx="164346" cy="195280"/>
          </a:xfrm>
          <a:custGeom>
            <a:avLst/>
            <a:gdLst/>
            <a:ahLst/>
            <a:cxnLst/>
            <a:rect l="0" t="0" r="0" b="0"/>
            <a:pathLst>
              <a:path w="120000" h="120000" extrusionOk="0">
                <a:moveTo>
                  <a:pt x="100800" y="116190"/>
                </a:moveTo>
                <a:cubicBezTo>
                  <a:pt x="108000" y="110476"/>
                  <a:pt x="112800" y="116190"/>
                  <a:pt x="112800" y="112380"/>
                </a:cubicBezTo>
                <a:cubicBezTo>
                  <a:pt x="115200" y="106666"/>
                  <a:pt x="120000" y="116190"/>
                  <a:pt x="108000" y="120000"/>
                </a:cubicBezTo>
                <a:cubicBezTo>
                  <a:pt x="100800" y="120000"/>
                  <a:pt x="100800" y="120000"/>
                  <a:pt x="100800" y="116190"/>
                </a:cubicBezTo>
                <a:close/>
                <a:moveTo>
                  <a:pt x="26400" y="51428"/>
                </a:moveTo>
                <a:cubicBezTo>
                  <a:pt x="28800" y="47619"/>
                  <a:pt x="28800" y="43809"/>
                  <a:pt x="26400" y="41904"/>
                </a:cubicBezTo>
                <a:cubicBezTo>
                  <a:pt x="21600" y="38095"/>
                  <a:pt x="21600" y="36190"/>
                  <a:pt x="21600" y="36190"/>
                </a:cubicBezTo>
                <a:cubicBezTo>
                  <a:pt x="16800" y="36190"/>
                  <a:pt x="16800" y="38095"/>
                  <a:pt x="16800" y="43809"/>
                </a:cubicBezTo>
                <a:cubicBezTo>
                  <a:pt x="14400" y="47619"/>
                  <a:pt x="14400" y="47619"/>
                  <a:pt x="21600" y="51428"/>
                </a:cubicBezTo>
                <a:cubicBezTo>
                  <a:pt x="26400" y="53333"/>
                  <a:pt x="26400" y="51428"/>
                  <a:pt x="26400" y="51428"/>
                </a:cubicBezTo>
                <a:close/>
                <a:moveTo>
                  <a:pt x="28800" y="62857"/>
                </a:moveTo>
                <a:cubicBezTo>
                  <a:pt x="31200" y="62857"/>
                  <a:pt x="31200" y="62857"/>
                  <a:pt x="28800" y="57142"/>
                </a:cubicBezTo>
                <a:cubicBezTo>
                  <a:pt x="28800" y="51428"/>
                  <a:pt x="28800" y="57142"/>
                  <a:pt x="26400" y="53333"/>
                </a:cubicBezTo>
                <a:cubicBezTo>
                  <a:pt x="21600" y="51428"/>
                  <a:pt x="21600" y="57142"/>
                  <a:pt x="26400" y="59047"/>
                </a:cubicBezTo>
                <a:cubicBezTo>
                  <a:pt x="28800" y="62857"/>
                  <a:pt x="26400" y="62857"/>
                  <a:pt x="28800" y="62857"/>
                </a:cubicBezTo>
                <a:close/>
                <a:moveTo>
                  <a:pt x="14400" y="5714"/>
                </a:moveTo>
                <a:cubicBezTo>
                  <a:pt x="21600" y="5714"/>
                  <a:pt x="21600" y="9523"/>
                  <a:pt x="21600" y="5714"/>
                </a:cubicBezTo>
                <a:cubicBezTo>
                  <a:pt x="26400" y="3809"/>
                  <a:pt x="16800" y="5714"/>
                  <a:pt x="9600" y="3809"/>
                </a:cubicBezTo>
                <a:cubicBezTo>
                  <a:pt x="2400" y="3809"/>
                  <a:pt x="14400" y="9523"/>
                  <a:pt x="7200" y="5714"/>
                </a:cubicBezTo>
                <a:cubicBezTo>
                  <a:pt x="2400" y="5714"/>
                  <a:pt x="0" y="5714"/>
                  <a:pt x="7200" y="9523"/>
                </a:cubicBezTo>
                <a:cubicBezTo>
                  <a:pt x="7200" y="9523"/>
                  <a:pt x="7200" y="9523"/>
                  <a:pt x="14400" y="5714"/>
                </a:cubicBezTo>
                <a:close/>
                <a:moveTo>
                  <a:pt x="40800" y="15238"/>
                </a:moveTo>
                <a:cubicBezTo>
                  <a:pt x="40800" y="15238"/>
                  <a:pt x="40800" y="9523"/>
                  <a:pt x="36000" y="9523"/>
                </a:cubicBezTo>
                <a:cubicBezTo>
                  <a:pt x="31200" y="5714"/>
                  <a:pt x="31200" y="0"/>
                  <a:pt x="26400" y="0"/>
                </a:cubicBezTo>
                <a:cubicBezTo>
                  <a:pt x="16800" y="0"/>
                  <a:pt x="26400" y="0"/>
                  <a:pt x="28800" y="3809"/>
                </a:cubicBezTo>
                <a:cubicBezTo>
                  <a:pt x="31200" y="3809"/>
                  <a:pt x="31200" y="5714"/>
                  <a:pt x="36000" y="9523"/>
                </a:cubicBezTo>
                <a:cubicBezTo>
                  <a:pt x="40800" y="11428"/>
                  <a:pt x="36000" y="9523"/>
                  <a:pt x="36000" y="15238"/>
                </a:cubicBezTo>
                <a:cubicBezTo>
                  <a:pt x="36000" y="20952"/>
                  <a:pt x="28800" y="15238"/>
                  <a:pt x="36000" y="20952"/>
                </a:cubicBezTo>
                <a:cubicBezTo>
                  <a:pt x="36000" y="24761"/>
                  <a:pt x="36000" y="15238"/>
                  <a:pt x="40800" y="15238"/>
                </a:cubicBezTo>
                <a:close/>
                <a:moveTo>
                  <a:pt x="115200" y="93333"/>
                </a:moveTo>
                <a:cubicBezTo>
                  <a:pt x="120000" y="93333"/>
                  <a:pt x="120000" y="93333"/>
                  <a:pt x="120000" y="93333"/>
                </a:cubicBezTo>
                <a:cubicBezTo>
                  <a:pt x="120000" y="89523"/>
                  <a:pt x="112800" y="89523"/>
                  <a:pt x="112800" y="89523"/>
                </a:cubicBezTo>
                <a:cubicBezTo>
                  <a:pt x="112800" y="89523"/>
                  <a:pt x="112800" y="93333"/>
                  <a:pt x="115200" y="93333"/>
                </a:cubicBezTo>
                <a:close/>
                <a:moveTo>
                  <a:pt x="55200" y="36190"/>
                </a:moveTo>
                <a:cubicBezTo>
                  <a:pt x="57600" y="41904"/>
                  <a:pt x="50400" y="41904"/>
                  <a:pt x="50400" y="43809"/>
                </a:cubicBezTo>
                <a:cubicBezTo>
                  <a:pt x="55200" y="43809"/>
                  <a:pt x="55200" y="51428"/>
                  <a:pt x="55200" y="47619"/>
                </a:cubicBezTo>
                <a:cubicBezTo>
                  <a:pt x="57600" y="47619"/>
                  <a:pt x="55200" y="47619"/>
                  <a:pt x="55200" y="43809"/>
                </a:cubicBezTo>
                <a:cubicBezTo>
                  <a:pt x="55200" y="38095"/>
                  <a:pt x="57600" y="38095"/>
                  <a:pt x="55200" y="32380"/>
                </a:cubicBezTo>
                <a:cubicBezTo>
                  <a:pt x="50400" y="30476"/>
                  <a:pt x="43200" y="26666"/>
                  <a:pt x="43200" y="30476"/>
                </a:cubicBezTo>
                <a:cubicBezTo>
                  <a:pt x="43200" y="30476"/>
                  <a:pt x="50400" y="32380"/>
                  <a:pt x="55200" y="36190"/>
                </a:cubicBezTo>
                <a:close/>
                <a:moveTo>
                  <a:pt x="93600" y="89523"/>
                </a:moveTo>
                <a:cubicBezTo>
                  <a:pt x="91200" y="93333"/>
                  <a:pt x="91200" y="95238"/>
                  <a:pt x="93600" y="93333"/>
                </a:cubicBezTo>
                <a:cubicBezTo>
                  <a:pt x="100800" y="89523"/>
                  <a:pt x="100800" y="85714"/>
                  <a:pt x="98400" y="83809"/>
                </a:cubicBezTo>
                <a:cubicBezTo>
                  <a:pt x="98400" y="80000"/>
                  <a:pt x="98400" y="83809"/>
                  <a:pt x="91200" y="80000"/>
                </a:cubicBezTo>
                <a:cubicBezTo>
                  <a:pt x="86400" y="80000"/>
                  <a:pt x="91200" y="85714"/>
                  <a:pt x="93600" y="85714"/>
                </a:cubicBezTo>
                <a:cubicBezTo>
                  <a:pt x="98400" y="83809"/>
                  <a:pt x="98400" y="85714"/>
                  <a:pt x="93600" y="89523"/>
                </a:cubicBezTo>
                <a:close/>
                <a:moveTo>
                  <a:pt x="62400" y="68571"/>
                </a:moveTo>
                <a:cubicBezTo>
                  <a:pt x="64800" y="72380"/>
                  <a:pt x="64800" y="68571"/>
                  <a:pt x="62400" y="68571"/>
                </a:cubicBezTo>
                <a:cubicBezTo>
                  <a:pt x="62400" y="64761"/>
                  <a:pt x="57600" y="62857"/>
                  <a:pt x="57600" y="64761"/>
                </a:cubicBezTo>
                <a:cubicBezTo>
                  <a:pt x="57600" y="68571"/>
                  <a:pt x="57600" y="64761"/>
                  <a:pt x="62400" y="68571"/>
                </a:cubicBezTo>
                <a:close/>
                <a:moveTo>
                  <a:pt x="69600" y="53333"/>
                </a:moveTo>
                <a:cubicBezTo>
                  <a:pt x="69600" y="51428"/>
                  <a:pt x="69600" y="47619"/>
                  <a:pt x="64800" y="43809"/>
                </a:cubicBezTo>
                <a:cubicBezTo>
                  <a:pt x="62400" y="43809"/>
                  <a:pt x="62400" y="43809"/>
                  <a:pt x="64800" y="47619"/>
                </a:cubicBezTo>
                <a:cubicBezTo>
                  <a:pt x="64800" y="47619"/>
                  <a:pt x="64800" y="51428"/>
                  <a:pt x="69600" y="53333"/>
                </a:cubicBezTo>
                <a:cubicBezTo>
                  <a:pt x="72000" y="57142"/>
                  <a:pt x="64800" y="59047"/>
                  <a:pt x="69600" y="57142"/>
                </a:cubicBezTo>
                <a:cubicBezTo>
                  <a:pt x="72000" y="57142"/>
                  <a:pt x="72000" y="53333"/>
                  <a:pt x="69600" y="53333"/>
                </a:cubicBezTo>
                <a:close/>
                <a:moveTo>
                  <a:pt x="79200" y="80000"/>
                </a:moveTo>
                <a:cubicBezTo>
                  <a:pt x="79200" y="80000"/>
                  <a:pt x="84000" y="80000"/>
                  <a:pt x="79200" y="78095"/>
                </a:cubicBezTo>
                <a:cubicBezTo>
                  <a:pt x="79200" y="74285"/>
                  <a:pt x="76800" y="74285"/>
                  <a:pt x="76800" y="74285"/>
                </a:cubicBezTo>
                <a:cubicBezTo>
                  <a:pt x="76800" y="72380"/>
                  <a:pt x="72000" y="64761"/>
                  <a:pt x="72000" y="64761"/>
                </a:cubicBezTo>
                <a:cubicBezTo>
                  <a:pt x="69600" y="62857"/>
                  <a:pt x="72000" y="68571"/>
                  <a:pt x="76800" y="72380"/>
                </a:cubicBezTo>
                <a:cubicBezTo>
                  <a:pt x="76800" y="78095"/>
                  <a:pt x="72000" y="72380"/>
                  <a:pt x="76800" y="78095"/>
                </a:cubicBezTo>
                <a:cubicBezTo>
                  <a:pt x="76800" y="78095"/>
                  <a:pt x="79200" y="78095"/>
                  <a:pt x="79200" y="80000"/>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92" name="Shape 1755"/>
          <p:cNvSpPr/>
          <p:nvPr/>
        </p:nvSpPr>
        <p:spPr>
          <a:xfrm>
            <a:off x="3302844" y="4295107"/>
            <a:ext cx="282947" cy="115247"/>
          </a:xfrm>
          <a:custGeom>
            <a:avLst/>
            <a:gdLst/>
            <a:ahLst/>
            <a:cxnLst/>
            <a:rect l="0" t="0" r="0" b="0"/>
            <a:pathLst>
              <a:path w="120000" h="120000" extrusionOk="0">
                <a:moveTo>
                  <a:pt x="11162" y="42162"/>
                </a:moveTo>
                <a:cubicBezTo>
                  <a:pt x="5581" y="42162"/>
                  <a:pt x="4186" y="55135"/>
                  <a:pt x="4186" y="48648"/>
                </a:cubicBezTo>
                <a:cubicBezTo>
                  <a:pt x="4186" y="42162"/>
                  <a:pt x="0" y="48648"/>
                  <a:pt x="0" y="42162"/>
                </a:cubicBezTo>
                <a:cubicBezTo>
                  <a:pt x="0" y="38918"/>
                  <a:pt x="5581" y="42162"/>
                  <a:pt x="5581" y="32432"/>
                </a:cubicBezTo>
                <a:cubicBezTo>
                  <a:pt x="4186" y="29189"/>
                  <a:pt x="11162" y="12972"/>
                  <a:pt x="23720" y="9729"/>
                </a:cubicBezTo>
                <a:cubicBezTo>
                  <a:pt x="29302" y="9729"/>
                  <a:pt x="27906" y="0"/>
                  <a:pt x="33488" y="3243"/>
                </a:cubicBezTo>
                <a:cubicBezTo>
                  <a:pt x="41860" y="9729"/>
                  <a:pt x="40465" y="0"/>
                  <a:pt x="41860" y="3243"/>
                </a:cubicBezTo>
                <a:cubicBezTo>
                  <a:pt x="44651" y="9729"/>
                  <a:pt x="46046" y="0"/>
                  <a:pt x="48837" y="9729"/>
                </a:cubicBezTo>
                <a:cubicBezTo>
                  <a:pt x="50232" y="12972"/>
                  <a:pt x="54418" y="3243"/>
                  <a:pt x="58604" y="19459"/>
                </a:cubicBezTo>
                <a:cubicBezTo>
                  <a:pt x="62790" y="32432"/>
                  <a:pt x="62790" y="19459"/>
                  <a:pt x="69767" y="32432"/>
                </a:cubicBezTo>
                <a:cubicBezTo>
                  <a:pt x="78139" y="42162"/>
                  <a:pt x="80930" y="38918"/>
                  <a:pt x="80930" y="42162"/>
                </a:cubicBezTo>
                <a:cubicBezTo>
                  <a:pt x="78139" y="48648"/>
                  <a:pt x="82325" y="55135"/>
                  <a:pt x="82325" y="48648"/>
                </a:cubicBezTo>
                <a:cubicBezTo>
                  <a:pt x="80930" y="42162"/>
                  <a:pt x="85116" y="48648"/>
                  <a:pt x="86511" y="58378"/>
                </a:cubicBezTo>
                <a:cubicBezTo>
                  <a:pt x="90697" y="64864"/>
                  <a:pt x="90697" y="58378"/>
                  <a:pt x="90697" y="64864"/>
                </a:cubicBezTo>
                <a:cubicBezTo>
                  <a:pt x="93488" y="74594"/>
                  <a:pt x="94883" y="64864"/>
                  <a:pt x="97674" y="68108"/>
                </a:cubicBezTo>
                <a:cubicBezTo>
                  <a:pt x="99069" y="74594"/>
                  <a:pt x="101860" y="64864"/>
                  <a:pt x="103255" y="74594"/>
                </a:cubicBezTo>
                <a:cubicBezTo>
                  <a:pt x="103255" y="84324"/>
                  <a:pt x="97674" y="77837"/>
                  <a:pt x="106046" y="84324"/>
                </a:cubicBezTo>
                <a:cubicBezTo>
                  <a:pt x="111627" y="84324"/>
                  <a:pt x="111627" y="87567"/>
                  <a:pt x="114418" y="94054"/>
                </a:cubicBezTo>
                <a:cubicBezTo>
                  <a:pt x="115813" y="97297"/>
                  <a:pt x="120000" y="94054"/>
                  <a:pt x="118604" y="103783"/>
                </a:cubicBezTo>
                <a:cubicBezTo>
                  <a:pt x="115813" y="110270"/>
                  <a:pt x="115813" y="97297"/>
                  <a:pt x="110232" y="110270"/>
                </a:cubicBezTo>
                <a:cubicBezTo>
                  <a:pt x="101860" y="120000"/>
                  <a:pt x="106046" y="103783"/>
                  <a:pt x="89302" y="110270"/>
                </a:cubicBezTo>
                <a:cubicBezTo>
                  <a:pt x="71162" y="113513"/>
                  <a:pt x="80930" y="110270"/>
                  <a:pt x="85116" y="97297"/>
                </a:cubicBezTo>
                <a:cubicBezTo>
                  <a:pt x="89302" y="87567"/>
                  <a:pt x="85116" y="84324"/>
                  <a:pt x="78139" y="84324"/>
                </a:cubicBezTo>
                <a:cubicBezTo>
                  <a:pt x="71162" y="84324"/>
                  <a:pt x="71162" y="74594"/>
                  <a:pt x="69767" y="64864"/>
                </a:cubicBezTo>
                <a:cubicBezTo>
                  <a:pt x="66976" y="48648"/>
                  <a:pt x="65581" y="58378"/>
                  <a:pt x="58604" y="55135"/>
                </a:cubicBezTo>
                <a:cubicBezTo>
                  <a:pt x="50232" y="48648"/>
                  <a:pt x="53023" y="38918"/>
                  <a:pt x="44651" y="38918"/>
                </a:cubicBezTo>
                <a:cubicBezTo>
                  <a:pt x="36279" y="38918"/>
                  <a:pt x="36279" y="38918"/>
                  <a:pt x="32093" y="32432"/>
                </a:cubicBezTo>
                <a:cubicBezTo>
                  <a:pt x="29302" y="29189"/>
                  <a:pt x="37674" y="22702"/>
                  <a:pt x="36279" y="22702"/>
                </a:cubicBezTo>
                <a:cubicBezTo>
                  <a:pt x="33488" y="19459"/>
                  <a:pt x="25116" y="12972"/>
                  <a:pt x="20930" y="29189"/>
                </a:cubicBezTo>
                <a:cubicBezTo>
                  <a:pt x="15348" y="38918"/>
                  <a:pt x="11162" y="32432"/>
                  <a:pt x="11162" y="42162"/>
                </a:cubicBezTo>
                <a:close/>
                <a:moveTo>
                  <a:pt x="25116" y="58378"/>
                </a:moveTo>
                <a:cubicBezTo>
                  <a:pt x="19534" y="64864"/>
                  <a:pt x="19534" y="42162"/>
                  <a:pt x="20930" y="42162"/>
                </a:cubicBezTo>
                <a:cubicBezTo>
                  <a:pt x="25116" y="42162"/>
                  <a:pt x="27906" y="58378"/>
                  <a:pt x="25116" y="58378"/>
                </a:cubicBezTo>
                <a:close/>
                <a:moveTo>
                  <a:pt x="69767" y="29189"/>
                </a:moveTo>
                <a:cubicBezTo>
                  <a:pt x="66976" y="22702"/>
                  <a:pt x="69767" y="22702"/>
                  <a:pt x="71162" y="22702"/>
                </a:cubicBezTo>
                <a:cubicBezTo>
                  <a:pt x="71162" y="29189"/>
                  <a:pt x="71162" y="29189"/>
                  <a:pt x="69767" y="29189"/>
                </a:cubicBezTo>
                <a:close/>
                <a:moveTo>
                  <a:pt x="73953" y="29189"/>
                </a:moveTo>
                <a:cubicBezTo>
                  <a:pt x="73953" y="29189"/>
                  <a:pt x="78139" y="32432"/>
                  <a:pt x="76744" y="32432"/>
                </a:cubicBezTo>
                <a:cubicBezTo>
                  <a:pt x="73953" y="32432"/>
                  <a:pt x="71162" y="32432"/>
                  <a:pt x="73953" y="29189"/>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93" name="Shape 1756"/>
          <p:cNvSpPr/>
          <p:nvPr/>
        </p:nvSpPr>
        <p:spPr>
          <a:xfrm>
            <a:off x="3602734" y="4429563"/>
            <a:ext cx="15248" cy="9601"/>
          </a:xfrm>
          <a:custGeom>
            <a:avLst/>
            <a:gdLst/>
            <a:ahLst/>
            <a:cxnLst/>
            <a:rect l="0" t="0" r="0" b="0"/>
            <a:pathLst>
              <a:path w="120000" h="120000" extrusionOk="0">
                <a:moveTo>
                  <a:pt x="0" y="80000"/>
                </a:moveTo>
                <a:cubicBezTo>
                  <a:pt x="0" y="0"/>
                  <a:pt x="120000" y="80000"/>
                  <a:pt x="120000" y="120000"/>
                </a:cubicBezTo>
                <a:cubicBezTo>
                  <a:pt x="0" y="80000"/>
                  <a:pt x="0" y="80000"/>
                  <a:pt x="0" y="8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94" name="Shape 1757"/>
          <p:cNvSpPr/>
          <p:nvPr/>
        </p:nvSpPr>
        <p:spPr>
          <a:xfrm>
            <a:off x="3707784" y="4631247"/>
            <a:ext cx="18635" cy="17606"/>
          </a:xfrm>
          <a:custGeom>
            <a:avLst/>
            <a:gdLst/>
            <a:ahLst/>
            <a:cxnLst/>
            <a:rect l="0" t="0" r="0" b="0"/>
            <a:pathLst>
              <a:path w="120000" h="120000" extrusionOk="0">
                <a:moveTo>
                  <a:pt x="60000" y="60000"/>
                </a:moveTo>
                <a:cubicBezTo>
                  <a:pt x="40000" y="40000"/>
                  <a:pt x="0" y="0"/>
                  <a:pt x="40000" y="40000"/>
                </a:cubicBezTo>
                <a:cubicBezTo>
                  <a:pt x="60000" y="40000"/>
                  <a:pt x="40000" y="60000"/>
                  <a:pt x="60000" y="60000"/>
                </a:cubicBezTo>
                <a:cubicBezTo>
                  <a:pt x="100000" y="60000"/>
                  <a:pt x="120000" y="120000"/>
                  <a:pt x="60000" y="6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95" name="Shape 1758"/>
          <p:cNvSpPr/>
          <p:nvPr/>
        </p:nvSpPr>
        <p:spPr>
          <a:xfrm>
            <a:off x="3726417" y="4637649"/>
            <a:ext cx="10166" cy="11203"/>
          </a:xfrm>
          <a:custGeom>
            <a:avLst/>
            <a:gdLst/>
            <a:ahLst/>
            <a:cxnLst/>
            <a:rect l="0" t="0" r="0" b="0"/>
            <a:pathLst>
              <a:path w="120000" h="120000" extrusionOk="0">
                <a:moveTo>
                  <a:pt x="80000" y="30000"/>
                </a:moveTo>
                <a:cubicBezTo>
                  <a:pt x="0" y="30000"/>
                  <a:pt x="80000" y="0"/>
                  <a:pt x="80000" y="0"/>
                </a:cubicBezTo>
                <a:cubicBezTo>
                  <a:pt x="120000" y="30000"/>
                  <a:pt x="120000" y="120000"/>
                  <a:pt x="80000" y="90000"/>
                </a:cubicBezTo>
                <a:cubicBezTo>
                  <a:pt x="80000" y="30000"/>
                  <a:pt x="80000" y="30000"/>
                  <a:pt x="80000" y="3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96" name="Shape 1759"/>
          <p:cNvSpPr/>
          <p:nvPr/>
        </p:nvSpPr>
        <p:spPr>
          <a:xfrm>
            <a:off x="3838240" y="4671262"/>
            <a:ext cx="20330" cy="9601"/>
          </a:xfrm>
          <a:custGeom>
            <a:avLst/>
            <a:gdLst/>
            <a:ahLst/>
            <a:cxnLst/>
            <a:rect l="0" t="0" r="0" b="0"/>
            <a:pathLst>
              <a:path w="120000" h="120000" extrusionOk="0">
                <a:moveTo>
                  <a:pt x="0" y="80000"/>
                </a:moveTo>
                <a:cubicBezTo>
                  <a:pt x="0" y="0"/>
                  <a:pt x="40000" y="120000"/>
                  <a:pt x="60000" y="80000"/>
                </a:cubicBezTo>
                <a:cubicBezTo>
                  <a:pt x="100000" y="0"/>
                  <a:pt x="120000" y="80000"/>
                  <a:pt x="100000" y="120000"/>
                </a:cubicBezTo>
                <a:cubicBezTo>
                  <a:pt x="60000" y="120000"/>
                  <a:pt x="40000" y="120000"/>
                  <a:pt x="40000" y="120000"/>
                </a:cubicBezTo>
                <a:cubicBezTo>
                  <a:pt x="40000" y="120000"/>
                  <a:pt x="0" y="120000"/>
                  <a:pt x="0" y="8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97" name="Shape 1760"/>
          <p:cNvSpPr/>
          <p:nvPr/>
        </p:nvSpPr>
        <p:spPr>
          <a:xfrm>
            <a:off x="3924650" y="4740089"/>
            <a:ext cx="3387" cy="3201"/>
          </a:xfrm>
          <a:custGeom>
            <a:avLst/>
            <a:gdLst/>
            <a:ahLst/>
            <a:cxnLst/>
            <a:rect l="0" t="0" r="0" b="0"/>
            <a:pathLst>
              <a:path w="120000" h="120000" extrusionOk="0">
                <a:moveTo>
                  <a:pt x="120000" y="0"/>
                </a:moveTo>
                <a:cubicBezTo>
                  <a:pt x="0" y="120000"/>
                  <a:pt x="0" y="120000"/>
                  <a:pt x="0" y="120000"/>
                </a:cubicBezTo>
                <a:cubicBezTo>
                  <a:pt x="0" y="0"/>
                  <a:pt x="0" y="0"/>
                  <a:pt x="120000"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98" name="Shape 1761"/>
          <p:cNvSpPr/>
          <p:nvPr/>
        </p:nvSpPr>
        <p:spPr>
          <a:xfrm>
            <a:off x="3917869" y="4743292"/>
            <a:ext cx="10166" cy="4800"/>
          </a:xfrm>
          <a:custGeom>
            <a:avLst/>
            <a:gdLst/>
            <a:ahLst/>
            <a:cxnLst/>
            <a:rect l="0" t="0" r="0" b="0"/>
            <a:pathLst>
              <a:path w="120000" h="120000" extrusionOk="0">
                <a:moveTo>
                  <a:pt x="80000" y="120000"/>
                </a:moveTo>
                <a:cubicBezTo>
                  <a:pt x="80000" y="0"/>
                  <a:pt x="80000" y="0"/>
                  <a:pt x="120000" y="0"/>
                </a:cubicBezTo>
                <a:cubicBezTo>
                  <a:pt x="120000" y="0"/>
                  <a:pt x="120000" y="120000"/>
                  <a:pt x="80000" y="120000"/>
                </a:cubicBezTo>
                <a:cubicBezTo>
                  <a:pt x="80000" y="120000"/>
                  <a:pt x="0" y="120000"/>
                  <a:pt x="8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99" name="Shape 1762"/>
          <p:cNvSpPr/>
          <p:nvPr/>
        </p:nvSpPr>
        <p:spPr>
          <a:xfrm>
            <a:off x="3928038" y="4748092"/>
            <a:ext cx="5082" cy="3201"/>
          </a:xfrm>
          <a:custGeom>
            <a:avLst/>
            <a:gdLst/>
            <a:ahLst/>
            <a:cxnLst/>
            <a:rect l="0" t="0" r="0" b="0"/>
            <a:pathLst>
              <a:path w="120000" h="120000" extrusionOk="0">
                <a:moveTo>
                  <a:pt x="0" y="120000"/>
                </a:moveTo>
                <a:cubicBezTo>
                  <a:pt x="0" y="0"/>
                  <a:pt x="0" y="0"/>
                  <a:pt x="0" y="0"/>
                </a:cubicBezTo>
                <a:cubicBezTo>
                  <a:pt x="120000" y="0"/>
                  <a:pt x="0" y="0"/>
                  <a:pt x="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00" name="Shape 1763"/>
          <p:cNvSpPr/>
          <p:nvPr/>
        </p:nvSpPr>
        <p:spPr>
          <a:xfrm>
            <a:off x="3924650" y="4740089"/>
            <a:ext cx="3387" cy="3201"/>
          </a:xfrm>
          <a:custGeom>
            <a:avLst/>
            <a:gdLst/>
            <a:ahLst/>
            <a:cxnLst/>
            <a:rect l="0" t="0" r="0" b="0"/>
            <a:pathLst>
              <a:path w="120000" h="120000" extrusionOk="0">
                <a:moveTo>
                  <a:pt x="120000" y="120000"/>
                </a:moveTo>
                <a:cubicBezTo>
                  <a:pt x="0" y="120000"/>
                  <a:pt x="120000" y="0"/>
                  <a:pt x="120000" y="0"/>
                </a:cubicBezTo>
                <a:cubicBezTo>
                  <a:pt x="120000" y="120000"/>
                  <a:pt x="120000" y="120000"/>
                  <a:pt x="12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01" name="Shape 1764"/>
          <p:cNvSpPr/>
          <p:nvPr/>
        </p:nvSpPr>
        <p:spPr>
          <a:xfrm>
            <a:off x="3928037" y="4661658"/>
            <a:ext cx="8471" cy="16008"/>
          </a:xfrm>
          <a:custGeom>
            <a:avLst/>
            <a:gdLst/>
            <a:ahLst/>
            <a:cxnLst/>
            <a:rect l="0" t="0" r="0" b="0"/>
            <a:pathLst>
              <a:path w="120000" h="120000" extrusionOk="0">
                <a:moveTo>
                  <a:pt x="0" y="72000"/>
                </a:moveTo>
                <a:cubicBezTo>
                  <a:pt x="0" y="48000"/>
                  <a:pt x="120000" y="0"/>
                  <a:pt x="120000" y="48000"/>
                </a:cubicBezTo>
                <a:cubicBezTo>
                  <a:pt x="120000" y="72000"/>
                  <a:pt x="0" y="120000"/>
                  <a:pt x="0" y="72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02" name="Shape 1765"/>
          <p:cNvSpPr/>
          <p:nvPr/>
        </p:nvSpPr>
        <p:spPr>
          <a:xfrm>
            <a:off x="3897543" y="4680867"/>
            <a:ext cx="35578" cy="24009"/>
          </a:xfrm>
          <a:custGeom>
            <a:avLst/>
            <a:gdLst/>
            <a:ahLst/>
            <a:cxnLst/>
            <a:rect l="0" t="0" r="0" b="0"/>
            <a:pathLst>
              <a:path w="120000" h="120000" extrusionOk="0">
                <a:moveTo>
                  <a:pt x="65454" y="120000"/>
                </a:moveTo>
                <a:cubicBezTo>
                  <a:pt x="10909" y="120000"/>
                  <a:pt x="0" y="120000"/>
                  <a:pt x="10909" y="120000"/>
                </a:cubicBezTo>
                <a:cubicBezTo>
                  <a:pt x="43636" y="90000"/>
                  <a:pt x="43636" y="90000"/>
                  <a:pt x="43636" y="75000"/>
                </a:cubicBezTo>
                <a:cubicBezTo>
                  <a:pt x="43636" y="30000"/>
                  <a:pt x="10909" y="30000"/>
                  <a:pt x="43636" y="30000"/>
                </a:cubicBezTo>
                <a:cubicBezTo>
                  <a:pt x="98181" y="0"/>
                  <a:pt x="120000" y="0"/>
                  <a:pt x="98181" y="30000"/>
                </a:cubicBezTo>
                <a:cubicBezTo>
                  <a:pt x="87272" y="45000"/>
                  <a:pt x="120000" y="120000"/>
                  <a:pt x="65454"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03" name="Shape 1766"/>
          <p:cNvSpPr/>
          <p:nvPr/>
        </p:nvSpPr>
        <p:spPr>
          <a:xfrm>
            <a:off x="3900928" y="4637649"/>
            <a:ext cx="13555" cy="8003"/>
          </a:xfrm>
          <a:custGeom>
            <a:avLst/>
            <a:gdLst/>
            <a:ahLst/>
            <a:cxnLst/>
            <a:rect l="0" t="0" r="0" b="0"/>
            <a:pathLst>
              <a:path w="120000" h="120000" extrusionOk="0">
                <a:moveTo>
                  <a:pt x="60000" y="120000"/>
                </a:moveTo>
                <a:cubicBezTo>
                  <a:pt x="0" y="120000"/>
                  <a:pt x="60000" y="0"/>
                  <a:pt x="60000" y="0"/>
                </a:cubicBezTo>
                <a:cubicBezTo>
                  <a:pt x="120000" y="0"/>
                  <a:pt x="120000" y="120000"/>
                  <a:pt x="6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04" name="Shape 1767"/>
          <p:cNvSpPr/>
          <p:nvPr/>
        </p:nvSpPr>
        <p:spPr>
          <a:xfrm>
            <a:off x="3917872" y="4602434"/>
            <a:ext cx="6774" cy="9601"/>
          </a:xfrm>
          <a:custGeom>
            <a:avLst/>
            <a:gdLst/>
            <a:ahLst/>
            <a:cxnLst/>
            <a:rect l="0" t="0" r="0" b="0"/>
            <a:pathLst>
              <a:path w="120000" h="120000" extrusionOk="0">
                <a:moveTo>
                  <a:pt x="0" y="120000"/>
                </a:moveTo>
                <a:cubicBezTo>
                  <a:pt x="0" y="80000"/>
                  <a:pt x="0" y="0"/>
                  <a:pt x="120000" y="0"/>
                </a:cubicBezTo>
                <a:cubicBezTo>
                  <a:pt x="120000" y="0"/>
                  <a:pt x="120000" y="120000"/>
                  <a:pt x="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05" name="Shape 1768"/>
          <p:cNvSpPr/>
          <p:nvPr/>
        </p:nvSpPr>
        <p:spPr>
          <a:xfrm>
            <a:off x="3924651" y="4581625"/>
            <a:ext cx="8471" cy="12806"/>
          </a:xfrm>
          <a:custGeom>
            <a:avLst/>
            <a:gdLst/>
            <a:ahLst/>
            <a:cxnLst/>
            <a:rect l="0" t="0" r="0" b="0"/>
            <a:pathLst>
              <a:path w="120000" h="120000" extrusionOk="0">
                <a:moveTo>
                  <a:pt x="0" y="120000"/>
                </a:moveTo>
                <a:cubicBezTo>
                  <a:pt x="0" y="90000"/>
                  <a:pt x="0" y="30000"/>
                  <a:pt x="40000" y="30000"/>
                </a:cubicBezTo>
                <a:cubicBezTo>
                  <a:pt x="40000" y="0"/>
                  <a:pt x="120000" y="30000"/>
                  <a:pt x="40000" y="90000"/>
                </a:cubicBezTo>
                <a:cubicBezTo>
                  <a:pt x="40000" y="120000"/>
                  <a:pt x="40000" y="120000"/>
                  <a:pt x="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06" name="Shape 1769"/>
          <p:cNvSpPr/>
          <p:nvPr/>
        </p:nvSpPr>
        <p:spPr>
          <a:xfrm>
            <a:off x="3914484" y="4535208"/>
            <a:ext cx="3387" cy="14402"/>
          </a:xfrm>
          <a:custGeom>
            <a:avLst/>
            <a:gdLst/>
            <a:ahLst/>
            <a:cxnLst/>
            <a:rect l="0" t="0" r="0" b="0"/>
            <a:pathLst>
              <a:path w="120000" h="120000" extrusionOk="0">
                <a:moveTo>
                  <a:pt x="120000" y="72000"/>
                </a:moveTo>
                <a:cubicBezTo>
                  <a:pt x="0" y="120000"/>
                  <a:pt x="120000" y="72000"/>
                  <a:pt x="0" y="48000"/>
                </a:cubicBezTo>
                <a:cubicBezTo>
                  <a:pt x="0" y="0"/>
                  <a:pt x="0" y="0"/>
                  <a:pt x="120000" y="0"/>
                </a:cubicBezTo>
                <a:cubicBezTo>
                  <a:pt x="120000" y="72000"/>
                  <a:pt x="120000" y="72000"/>
                  <a:pt x="120000" y="72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07" name="Shape 1770"/>
          <p:cNvSpPr/>
          <p:nvPr/>
        </p:nvSpPr>
        <p:spPr>
          <a:xfrm>
            <a:off x="3956838" y="4602433"/>
            <a:ext cx="10166" cy="16008"/>
          </a:xfrm>
          <a:custGeom>
            <a:avLst/>
            <a:gdLst/>
            <a:ahLst/>
            <a:cxnLst/>
            <a:rect l="0" t="0" r="0" b="0"/>
            <a:pathLst>
              <a:path w="120000" h="120000" extrusionOk="0">
                <a:moveTo>
                  <a:pt x="120000" y="72000"/>
                </a:moveTo>
                <a:cubicBezTo>
                  <a:pt x="80000" y="120000"/>
                  <a:pt x="0" y="72000"/>
                  <a:pt x="80000" y="48000"/>
                </a:cubicBezTo>
                <a:cubicBezTo>
                  <a:pt x="80000" y="0"/>
                  <a:pt x="80000" y="0"/>
                  <a:pt x="80000" y="48000"/>
                </a:cubicBezTo>
                <a:cubicBezTo>
                  <a:pt x="120000" y="48000"/>
                  <a:pt x="120000" y="48000"/>
                  <a:pt x="120000" y="72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08" name="Shape 1771"/>
          <p:cNvSpPr/>
          <p:nvPr/>
        </p:nvSpPr>
        <p:spPr>
          <a:xfrm>
            <a:off x="3809438" y="4453575"/>
            <a:ext cx="3387" cy="6400"/>
          </a:xfrm>
          <a:custGeom>
            <a:avLst/>
            <a:gdLst/>
            <a:ahLst/>
            <a:cxnLst/>
            <a:rect l="0" t="0" r="0" b="0"/>
            <a:pathLst>
              <a:path w="120000" h="120000" extrusionOk="0">
                <a:moveTo>
                  <a:pt x="0" y="120000"/>
                </a:moveTo>
                <a:cubicBezTo>
                  <a:pt x="0" y="120000"/>
                  <a:pt x="120000" y="0"/>
                  <a:pt x="120000" y="120000"/>
                </a:cubicBezTo>
                <a:cubicBezTo>
                  <a:pt x="0" y="120000"/>
                  <a:pt x="0" y="120000"/>
                  <a:pt x="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09" name="Shape 1772"/>
          <p:cNvSpPr/>
          <p:nvPr/>
        </p:nvSpPr>
        <p:spPr>
          <a:xfrm>
            <a:off x="3821298" y="4469580"/>
            <a:ext cx="13555" cy="3201"/>
          </a:xfrm>
          <a:custGeom>
            <a:avLst/>
            <a:gdLst/>
            <a:ahLst/>
            <a:cxnLst/>
            <a:rect l="0" t="0" r="0" b="0"/>
            <a:pathLst>
              <a:path w="120000" h="120000" extrusionOk="0">
                <a:moveTo>
                  <a:pt x="0" y="0"/>
                </a:moveTo>
                <a:cubicBezTo>
                  <a:pt x="0" y="0"/>
                  <a:pt x="60000" y="0"/>
                  <a:pt x="120000" y="0"/>
                </a:cubicBezTo>
                <a:cubicBezTo>
                  <a:pt x="120000" y="0"/>
                  <a:pt x="0" y="120000"/>
                  <a:pt x="0"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10" name="Shape 1773"/>
          <p:cNvSpPr/>
          <p:nvPr/>
        </p:nvSpPr>
        <p:spPr>
          <a:xfrm>
            <a:off x="3917871" y="4552814"/>
            <a:ext cx="15248" cy="22408"/>
          </a:xfrm>
          <a:custGeom>
            <a:avLst/>
            <a:gdLst/>
            <a:ahLst/>
            <a:cxnLst/>
            <a:rect l="0" t="0" r="0" b="0"/>
            <a:pathLst>
              <a:path w="120000" h="120000" extrusionOk="0">
                <a:moveTo>
                  <a:pt x="72000" y="85714"/>
                </a:moveTo>
                <a:cubicBezTo>
                  <a:pt x="0" y="85714"/>
                  <a:pt x="48000" y="51428"/>
                  <a:pt x="48000" y="34285"/>
                </a:cubicBezTo>
                <a:cubicBezTo>
                  <a:pt x="0" y="34285"/>
                  <a:pt x="48000" y="0"/>
                  <a:pt x="72000" y="34285"/>
                </a:cubicBezTo>
                <a:cubicBezTo>
                  <a:pt x="120000" y="51428"/>
                  <a:pt x="120000" y="119999"/>
                  <a:pt x="120000" y="119999"/>
                </a:cubicBezTo>
                <a:cubicBezTo>
                  <a:pt x="72000" y="119999"/>
                  <a:pt x="120000" y="85714"/>
                  <a:pt x="72000" y="85714"/>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11" name="Shape 1774"/>
          <p:cNvSpPr/>
          <p:nvPr/>
        </p:nvSpPr>
        <p:spPr>
          <a:xfrm>
            <a:off x="3900928" y="4506396"/>
            <a:ext cx="13555" cy="19206"/>
          </a:xfrm>
          <a:custGeom>
            <a:avLst/>
            <a:gdLst/>
            <a:ahLst/>
            <a:cxnLst/>
            <a:rect l="0" t="0" r="0" b="0"/>
            <a:pathLst>
              <a:path w="120000" h="120000" extrusionOk="0">
                <a:moveTo>
                  <a:pt x="60000" y="100000"/>
                </a:moveTo>
                <a:cubicBezTo>
                  <a:pt x="60000" y="120000"/>
                  <a:pt x="0" y="100000"/>
                  <a:pt x="0" y="40000"/>
                </a:cubicBezTo>
                <a:cubicBezTo>
                  <a:pt x="60000" y="0"/>
                  <a:pt x="120000" y="60000"/>
                  <a:pt x="60000" y="60000"/>
                </a:cubicBezTo>
                <a:cubicBezTo>
                  <a:pt x="60000" y="100000"/>
                  <a:pt x="120000" y="100000"/>
                  <a:pt x="60000" y="10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12" name="Shape 1775"/>
          <p:cNvSpPr/>
          <p:nvPr/>
        </p:nvSpPr>
        <p:spPr>
          <a:xfrm>
            <a:off x="3907706" y="4506396"/>
            <a:ext cx="16942" cy="9601"/>
          </a:xfrm>
          <a:custGeom>
            <a:avLst/>
            <a:gdLst/>
            <a:ahLst/>
            <a:cxnLst/>
            <a:rect l="0" t="0" r="0" b="0"/>
            <a:pathLst>
              <a:path w="120000" h="120000" extrusionOk="0">
                <a:moveTo>
                  <a:pt x="24000" y="120000"/>
                </a:moveTo>
                <a:cubicBezTo>
                  <a:pt x="0" y="80000"/>
                  <a:pt x="24000" y="80000"/>
                  <a:pt x="24000" y="80000"/>
                </a:cubicBezTo>
                <a:cubicBezTo>
                  <a:pt x="24000" y="0"/>
                  <a:pt x="24000" y="0"/>
                  <a:pt x="72000" y="80000"/>
                </a:cubicBezTo>
                <a:cubicBezTo>
                  <a:pt x="72000" y="80000"/>
                  <a:pt x="72000" y="80000"/>
                  <a:pt x="120000" y="120000"/>
                </a:cubicBezTo>
                <a:cubicBezTo>
                  <a:pt x="72000" y="120000"/>
                  <a:pt x="72000" y="120000"/>
                  <a:pt x="72000" y="120000"/>
                </a:cubicBezTo>
                <a:cubicBezTo>
                  <a:pt x="24000" y="120000"/>
                  <a:pt x="24000" y="120000"/>
                  <a:pt x="24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13" name="Shape 1776"/>
          <p:cNvSpPr/>
          <p:nvPr/>
        </p:nvSpPr>
        <p:spPr>
          <a:xfrm>
            <a:off x="3917872" y="4522402"/>
            <a:ext cx="6774" cy="3201"/>
          </a:xfrm>
          <a:custGeom>
            <a:avLst/>
            <a:gdLst/>
            <a:ahLst/>
            <a:cxnLst/>
            <a:rect l="0" t="0" r="0" b="0"/>
            <a:pathLst>
              <a:path w="120000" h="120000" extrusionOk="0">
                <a:moveTo>
                  <a:pt x="0" y="120000"/>
                </a:moveTo>
                <a:cubicBezTo>
                  <a:pt x="0" y="120000"/>
                  <a:pt x="0" y="120000"/>
                  <a:pt x="0" y="0"/>
                </a:cubicBezTo>
                <a:cubicBezTo>
                  <a:pt x="0" y="0"/>
                  <a:pt x="120000" y="120000"/>
                  <a:pt x="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14" name="Shape 1777"/>
          <p:cNvSpPr/>
          <p:nvPr/>
        </p:nvSpPr>
        <p:spPr>
          <a:xfrm>
            <a:off x="3868738" y="4459976"/>
            <a:ext cx="6774" cy="3201"/>
          </a:xfrm>
          <a:custGeom>
            <a:avLst/>
            <a:gdLst/>
            <a:ahLst/>
            <a:cxnLst/>
            <a:rect l="0" t="0" r="0" b="0"/>
            <a:pathLst>
              <a:path w="120000" h="120000" extrusionOk="0">
                <a:moveTo>
                  <a:pt x="120000" y="120000"/>
                </a:moveTo>
                <a:cubicBezTo>
                  <a:pt x="0" y="0"/>
                  <a:pt x="120000" y="0"/>
                  <a:pt x="120000" y="0"/>
                </a:cubicBezTo>
                <a:cubicBezTo>
                  <a:pt x="120000" y="120000"/>
                  <a:pt x="120000" y="120000"/>
                  <a:pt x="12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15" name="Shape 1778"/>
          <p:cNvSpPr/>
          <p:nvPr/>
        </p:nvSpPr>
        <p:spPr>
          <a:xfrm>
            <a:off x="3868738" y="4447170"/>
            <a:ext cx="6774" cy="12806"/>
          </a:xfrm>
          <a:custGeom>
            <a:avLst/>
            <a:gdLst/>
            <a:ahLst/>
            <a:cxnLst/>
            <a:rect l="0" t="0" r="0" b="0"/>
            <a:pathLst>
              <a:path w="120000" h="120000" extrusionOk="0">
                <a:moveTo>
                  <a:pt x="0" y="60000"/>
                </a:moveTo>
                <a:cubicBezTo>
                  <a:pt x="0" y="60000"/>
                  <a:pt x="120000" y="0"/>
                  <a:pt x="120000" y="60000"/>
                </a:cubicBezTo>
                <a:cubicBezTo>
                  <a:pt x="120000" y="60000"/>
                  <a:pt x="0" y="120000"/>
                  <a:pt x="0" y="6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16" name="Shape 1779"/>
          <p:cNvSpPr/>
          <p:nvPr/>
        </p:nvSpPr>
        <p:spPr>
          <a:xfrm>
            <a:off x="3890761" y="4496793"/>
            <a:ext cx="6774" cy="6400"/>
          </a:xfrm>
          <a:custGeom>
            <a:avLst/>
            <a:gdLst/>
            <a:ahLst/>
            <a:cxnLst/>
            <a:rect l="0" t="0" r="0" b="0"/>
            <a:pathLst>
              <a:path w="120000" h="120000" extrusionOk="0">
                <a:moveTo>
                  <a:pt x="0" y="120000"/>
                </a:moveTo>
                <a:cubicBezTo>
                  <a:pt x="0" y="0"/>
                  <a:pt x="0" y="0"/>
                  <a:pt x="0" y="0"/>
                </a:cubicBezTo>
                <a:cubicBezTo>
                  <a:pt x="120000" y="0"/>
                  <a:pt x="120000" y="120000"/>
                  <a:pt x="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17" name="Shape 1780"/>
          <p:cNvSpPr/>
          <p:nvPr/>
        </p:nvSpPr>
        <p:spPr>
          <a:xfrm>
            <a:off x="3883986" y="4482387"/>
            <a:ext cx="3387" cy="6400"/>
          </a:xfrm>
          <a:custGeom>
            <a:avLst/>
            <a:gdLst/>
            <a:ahLst/>
            <a:cxnLst/>
            <a:rect l="0" t="0" r="0" b="0"/>
            <a:pathLst>
              <a:path w="120000" h="120000" extrusionOk="0">
                <a:moveTo>
                  <a:pt x="120000" y="120000"/>
                </a:moveTo>
                <a:cubicBezTo>
                  <a:pt x="0" y="120000"/>
                  <a:pt x="0" y="120000"/>
                  <a:pt x="0" y="120000"/>
                </a:cubicBezTo>
                <a:cubicBezTo>
                  <a:pt x="0" y="0"/>
                  <a:pt x="120000" y="120000"/>
                  <a:pt x="12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18" name="Shape 1781"/>
          <p:cNvSpPr/>
          <p:nvPr/>
        </p:nvSpPr>
        <p:spPr>
          <a:xfrm>
            <a:off x="3877207" y="4479183"/>
            <a:ext cx="6774" cy="9601"/>
          </a:xfrm>
          <a:custGeom>
            <a:avLst/>
            <a:gdLst/>
            <a:ahLst/>
            <a:cxnLst/>
            <a:rect l="0" t="0" r="0" b="0"/>
            <a:pathLst>
              <a:path w="120000" h="120000" extrusionOk="0">
                <a:moveTo>
                  <a:pt x="0" y="0"/>
                </a:moveTo>
                <a:cubicBezTo>
                  <a:pt x="120000" y="40000"/>
                  <a:pt x="120000" y="40000"/>
                  <a:pt x="120000" y="40000"/>
                </a:cubicBezTo>
                <a:cubicBezTo>
                  <a:pt x="120000" y="120000"/>
                  <a:pt x="0" y="40000"/>
                  <a:pt x="0"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19" name="Shape 1782"/>
          <p:cNvSpPr/>
          <p:nvPr/>
        </p:nvSpPr>
        <p:spPr>
          <a:xfrm>
            <a:off x="3900930" y="4488788"/>
            <a:ext cx="6774" cy="3201"/>
          </a:xfrm>
          <a:custGeom>
            <a:avLst/>
            <a:gdLst/>
            <a:ahLst/>
            <a:cxnLst/>
            <a:rect l="0" t="0" r="0" b="0"/>
            <a:pathLst>
              <a:path w="120000" h="120000" extrusionOk="0">
                <a:moveTo>
                  <a:pt x="0" y="120000"/>
                </a:moveTo>
                <a:cubicBezTo>
                  <a:pt x="0" y="120000"/>
                  <a:pt x="0" y="0"/>
                  <a:pt x="120000" y="0"/>
                </a:cubicBezTo>
                <a:cubicBezTo>
                  <a:pt x="120000" y="0"/>
                  <a:pt x="120000" y="120000"/>
                  <a:pt x="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20" name="Shape 1783"/>
          <p:cNvSpPr/>
          <p:nvPr/>
        </p:nvSpPr>
        <p:spPr>
          <a:xfrm>
            <a:off x="3900930" y="4469580"/>
            <a:ext cx="6774" cy="9601"/>
          </a:xfrm>
          <a:custGeom>
            <a:avLst/>
            <a:gdLst/>
            <a:ahLst/>
            <a:cxnLst/>
            <a:rect l="0" t="0" r="0" b="0"/>
            <a:pathLst>
              <a:path w="120000" h="120000" extrusionOk="0">
                <a:moveTo>
                  <a:pt x="0" y="40000"/>
                </a:moveTo>
                <a:cubicBezTo>
                  <a:pt x="0" y="40000"/>
                  <a:pt x="0" y="0"/>
                  <a:pt x="120000" y="0"/>
                </a:cubicBezTo>
                <a:cubicBezTo>
                  <a:pt x="120000" y="40000"/>
                  <a:pt x="120000" y="120000"/>
                  <a:pt x="0" y="4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21" name="Shape 1784"/>
          <p:cNvSpPr/>
          <p:nvPr/>
        </p:nvSpPr>
        <p:spPr>
          <a:xfrm>
            <a:off x="1840680" y="1922948"/>
            <a:ext cx="2307614" cy="1757512"/>
          </a:xfrm>
          <a:custGeom>
            <a:avLst/>
            <a:gdLst/>
            <a:ahLst/>
            <a:cxnLst/>
            <a:rect l="0" t="0" r="0" b="0"/>
            <a:pathLst>
              <a:path w="120000" h="120000" extrusionOk="0">
                <a:moveTo>
                  <a:pt x="16923" y="98162"/>
                </a:moveTo>
                <a:cubicBezTo>
                  <a:pt x="17435" y="97950"/>
                  <a:pt x="18290" y="98162"/>
                  <a:pt x="18461" y="98586"/>
                </a:cubicBezTo>
                <a:cubicBezTo>
                  <a:pt x="18803" y="98798"/>
                  <a:pt x="20854" y="99222"/>
                  <a:pt x="21196" y="99646"/>
                </a:cubicBezTo>
                <a:cubicBezTo>
                  <a:pt x="21367" y="100494"/>
                  <a:pt x="21880" y="100918"/>
                  <a:pt x="21880" y="100918"/>
                </a:cubicBezTo>
                <a:cubicBezTo>
                  <a:pt x="21709" y="101130"/>
                  <a:pt x="22222" y="101766"/>
                  <a:pt x="22735" y="101766"/>
                </a:cubicBezTo>
                <a:cubicBezTo>
                  <a:pt x="23247" y="102190"/>
                  <a:pt x="23247" y="102826"/>
                  <a:pt x="23418" y="102826"/>
                </a:cubicBezTo>
                <a:cubicBezTo>
                  <a:pt x="23760" y="103250"/>
                  <a:pt x="23418" y="103462"/>
                  <a:pt x="23760" y="103462"/>
                </a:cubicBezTo>
                <a:cubicBezTo>
                  <a:pt x="23931" y="103886"/>
                  <a:pt x="23931" y="104522"/>
                  <a:pt x="23760" y="104098"/>
                </a:cubicBezTo>
                <a:cubicBezTo>
                  <a:pt x="23760" y="104098"/>
                  <a:pt x="23760" y="104522"/>
                  <a:pt x="23247" y="104522"/>
                </a:cubicBezTo>
                <a:cubicBezTo>
                  <a:pt x="22735" y="104098"/>
                  <a:pt x="22735" y="103886"/>
                  <a:pt x="22222" y="103886"/>
                </a:cubicBezTo>
                <a:cubicBezTo>
                  <a:pt x="21709" y="103886"/>
                  <a:pt x="21367" y="103250"/>
                  <a:pt x="21367" y="102826"/>
                </a:cubicBezTo>
                <a:cubicBezTo>
                  <a:pt x="21709" y="102826"/>
                  <a:pt x="21367" y="102826"/>
                  <a:pt x="21196" y="102826"/>
                </a:cubicBezTo>
                <a:cubicBezTo>
                  <a:pt x="20854" y="102826"/>
                  <a:pt x="20341" y="102614"/>
                  <a:pt x="20683" y="102190"/>
                </a:cubicBezTo>
                <a:cubicBezTo>
                  <a:pt x="20683" y="101766"/>
                  <a:pt x="20341" y="102190"/>
                  <a:pt x="20341" y="101766"/>
                </a:cubicBezTo>
                <a:cubicBezTo>
                  <a:pt x="20170" y="101554"/>
                  <a:pt x="20170" y="101554"/>
                  <a:pt x="19829" y="101554"/>
                </a:cubicBezTo>
                <a:cubicBezTo>
                  <a:pt x="19316" y="101766"/>
                  <a:pt x="19316" y="101130"/>
                  <a:pt x="19658" y="101130"/>
                </a:cubicBezTo>
                <a:cubicBezTo>
                  <a:pt x="20170" y="100918"/>
                  <a:pt x="19658" y="101130"/>
                  <a:pt x="19316" y="100494"/>
                </a:cubicBezTo>
                <a:cubicBezTo>
                  <a:pt x="19316" y="99858"/>
                  <a:pt x="18803" y="100918"/>
                  <a:pt x="18803" y="100494"/>
                </a:cubicBezTo>
                <a:cubicBezTo>
                  <a:pt x="18461" y="100282"/>
                  <a:pt x="18803" y="99858"/>
                  <a:pt x="18803" y="99858"/>
                </a:cubicBezTo>
                <a:cubicBezTo>
                  <a:pt x="18461" y="99646"/>
                  <a:pt x="18290" y="100494"/>
                  <a:pt x="18290" y="99858"/>
                </a:cubicBezTo>
                <a:cubicBezTo>
                  <a:pt x="18290" y="99646"/>
                  <a:pt x="17777" y="100282"/>
                  <a:pt x="17777" y="99858"/>
                </a:cubicBezTo>
                <a:cubicBezTo>
                  <a:pt x="17435" y="99858"/>
                  <a:pt x="17948" y="99646"/>
                  <a:pt x="17777" y="99646"/>
                </a:cubicBezTo>
                <a:cubicBezTo>
                  <a:pt x="17435" y="99222"/>
                  <a:pt x="17777" y="98798"/>
                  <a:pt x="18290" y="98798"/>
                </a:cubicBezTo>
                <a:cubicBezTo>
                  <a:pt x="18461" y="98798"/>
                  <a:pt x="17948" y="98586"/>
                  <a:pt x="17777" y="98798"/>
                </a:cubicBezTo>
                <a:cubicBezTo>
                  <a:pt x="17264" y="98798"/>
                  <a:pt x="16752" y="98162"/>
                  <a:pt x="16923" y="98162"/>
                </a:cubicBezTo>
                <a:close/>
                <a:moveTo>
                  <a:pt x="10940" y="91378"/>
                </a:moveTo>
                <a:cubicBezTo>
                  <a:pt x="11282" y="91378"/>
                  <a:pt x="11452" y="91590"/>
                  <a:pt x="11282" y="91590"/>
                </a:cubicBezTo>
                <a:cubicBezTo>
                  <a:pt x="10940" y="91378"/>
                  <a:pt x="10940" y="91590"/>
                  <a:pt x="11282" y="91590"/>
                </a:cubicBezTo>
                <a:cubicBezTo>
                  <a:pt x="11452" y="92014"/>
                  <a:pt x="10940" y="92014"/>
                  <a:pt x="11452" y="92014"/>
                </a:cubicBezTo>
                <a:cubicBezTo>
                  <a:pt x="11965" y="92014"/>
                  <a:pt x="11452" y="92014"/>
                  <a:pt x="11965" y="92014"/>
                </a:cubicBezTo>
                <a:cubicBezTo>
                  <a:pt x="12307" y="91590"/>
                  <a:pt x="11965" y="90742"/>
                  <a:pt x="12307" y="90318"/>
                </a:cubicBezTo>
                <a:cubicBezTo>
                  <a:pt x="12478" y="90106"/>
                  <a:pt x="12478" y="89257"/>
                  <a:pt x="12307" y="89681"/>
                </a:cubicBezTo>
                <a:cubicBezTo>
                  <a:pt x="11965" y="90106"/>
                  <a:pt x="11794" y="89681"/>
                  <a:pt x="11794" y="90106"/>
                </a:cubicBezTo>
                <a:cubicBezTo>
                  <a:pt x="11965" y="90318"/>
                  <a:pt x="11965" y="90742"/>
                  <a:pt x="11452" y="90742"/>
                </a:cubicBezTo>
                <a:cubicBezTo>
                  <a:pt x="11282" y="90954"/>
                  <a:pt x="10940" y="90742"/>
                  <a:pt x="11282" y="90742"/>
                </a:cubicBezTo>
                <a:cubicBezTo>
                  <a:pt x="11794" y="90318"/>
                  <a:pt x="11965" y="90318"/>
                  <a:pt x="11794" y="89681"/>
                </a:cubicBezTo>
                <a:cubicBezTo>
                  <a:pt x="11452" y="89257"/>
                  <a:pt x="11452" y="89681"/>
                  <a:pt x="11282" y="89681"/>
                </a:cubicBezTo>
                <a:cubicBezTo>
                  <a:pt x="10940" y="89257"/>
                  <a:pt x="10940" y="89681"/>
                  <a:pt x="10940" y="89257"/>
                </a:cubicBezTo>
                <a:cubicBezTo>
                  <a:pt x="10769" y="89257"/>
                  <a:pt x="10427" y="89257"/>
                  <a:pt x="10427" y="89681"/>
                </a:cubicBezTo>
                <a:cubicBezTo>
                  <a:pt x="10769" y="90106"/>
                  <a:pt x="10427" y="90106"/>
                  <a:pt x="10769" y="90742"/>
                </a:cubicBezTo>
                <a:cubicBezTo>
                  <a:pt x="10940" y="90954"/>
                  <a:pt x="10427" y="90742"/>
                  <a:pt x="10769" y="91378"/>
                </a:cubicBezTo>
                <a:cubicBezTo>
                  <a:pt x="10940" y="91378"/>
                  <a:pt x="10769" y="91378"/>
                  <a:pt x="10940" y="91378"/>
                </a:cubicBezTo>
                <a:close/>
                <a:moveTo>
                  <a:pt x="11794" y="92226"/>
                </a:moveTo>
                <a:cubicBezTo>
                  <a:pt x="11794" y="92226"/>
                  <a:pt x="11965" y="92650"/>
                  <a:pt x="11794" y="92650"/>
                </a:cubicBezTo>
                <a:cubicBezTo>
                  <a:pt x="11452" y="92650"/>
                  <a:pt x="11794" y="92862"/>
                  <a:pt x="11965" y="92862"/>
                </a:cubicBezTo>
                <a:cubicBezTo>
                  <a:pt x="12307" y="92862"/>
                  <a:pt x="11965" y="93286"/>
                  <a:pt x="11965" y="93286"/>
                </a:cubicBezTo>
                <a:cubicBezTo>
                  <a:pt x="11965" y="93286"/>
                  <a:pt x="11965" y="93710"/>
                  <a:pt x="12478" y="93922"/>
                </a:cubicBezTo>
                <a:cubicBezTo>
                  <a:pt x="12820" y="94346"/>
                  <a:pt x="12478" y="94346"/>
                  <a:pt x="12820" y="94346"/>
                </a:cubicBezTo>
                <a:cubicBezTo>
                  <a:pt x="12820" y="94558"/>
                  <a:pt x="12820" y="94558"/>
                  <a:pt x="13162" y="94558"/>
                </a:cubicBezTo>
                <a:cubicBezTo>
                  <a:pt x="13333" y="94982"/>
                  <a:pt x="13333" y="94558"/>
                  <a:pt x="13333" y="94346"/>
                </a:cubicBezTo>
                <a:cubicBezTo>
                  <a:pt x="13162" y="94346"/>
                  <a:pt x="13162" y="94346"/>
                  <a:pt x="13162" y="94346"/>
                </a:cubicBezTo>
                <a:cubicBezTo>
                  <a:pt x="13162" y="93922"/>
                  <a:pt x="13162" y="93922"/>
                  <a:pt x="13162" y="93922"/>
                </a:cubicBezTo>
                <a:cubicBezTo>
                  <a:pt x="12820" y="94346"/>
                  <a:pt x="12820" y="93922"/>
                  <a:pt x="12820" y="93922"/>
                </a:cubicBezTo>
                <a:cubicBezTo>
                  <a:pt x="12478" y="93922"/>
                  <a:pt x="12307" y="93286"/>
                  <a:pt x="12307" y="93286"/>
                </a:cubicBezTo>
                <a:cubicBezTo>
                  <a:pt x="12478" y="92862"/>
                  <a:pt x="12307" y="93286"/>
                  <a:pt x="12307" y="92862"/>
                </a:cubicBezTo>
                <a:cubicBezTo>
                  <a:pt x="11965" y="92650"/>
                  <a:pt x="12478" y="92862"/>
                  <a:pt x="12478" y="92650"/>
                </a:cubicBezTo>
                <a:cubicBezTo>
                  <a:pt x="12478" y="92650"/>
                  <a:pt x="12478" y="92650"/>
                  <a:pt x="12478" y="92226"/>
                </a:cubicBezTo>
                <a:cubicBezTo>
                  <a:pt x="12478" y="92226"/>
                  <a:pt x="12307" y="92226"/>
                  <a:pt x="12307" y="92014"/>
                </a:cubicBezTo>
                <a:cubicBezTo>
                  <a:pt x="12307" y="92014"/>
                  <a:pt x="12307" y="91590"/>
                  <a:pt x="11965" y="92014"/>
                </a:cubicBezTo>
                <a:cubicBezTo>
                  <a:pt x="11794" y="92226"/>
                  <a:pt x="11282" y="92226"/>
                  <a:pt x="11282" y="92226"/>
                </a:cubicBezTo>
                <a:cubicBezTo>
                  <a:pt x="11452" y="92650"/>
                  <a:pt x="11452" y="92226"/>
                  <a:pt x="11794" y="92226"/>
                </a:cubicBezTo>
                <a:close/>
                <a:moveTo>
                  <a:pt x="13333" y="88621"/>
                </a:moveTo>
                <a:cubicBezTo>
                  <a:pt x="13333" y="88409"/>
                  <a:pt x="13675" y="87985"/>
                  <a:pt x="13846" y="88409"/>
                </a:cubicBezTo>
                <a:cubicBezTo>
                  <a:pt x="13846" y="88409"/>
                  <a:pt x="13675" y="89045"/>
                  <a:pt x="13333" y="88621"/>
                </a:cubicBezTo>
                <a:close/>
                <a:moveTo>
                  <a:pt x="19145" y="100494"/>
                </a:moveTo>
                <a:cubicBezTo>
                  <a:pt x="19316" y="100494"/>
                  <a:pt x="19658" y="100918"/>
                  <a:pt x="19316" y="101130"/>
                </a:cubicBezTo>
                <a:cubicBezTo>
                  <a:pt x="19316" y="101130"/>
                  <a:pt x="18803" y="100918"/>
                  <a:pt x="19145" y="100494"/>
                </a:cubicBezTo>
                <a:close/>
                <a:moveTo>
                  <a:pt x="14700" y="92014"/>
                </a:moveTo>
                <a:cubicBezTo>
                  <a:pt x="14871" y="92226"/>
                  <a:pt x="15213" y="92014"/>
                  <a:pt x="14871" y="91590"/>
                </a:cubicBezTo>
                <a:cubicBezTo>
                  <a:pt x="14871" y="91378"/>
                  <a:pt x="14700" y="91378"/>
                  <a:pt x="14358" y="90954"/>
                </a:cubicBezTo>
                <a:cubicBezTo>
                  <a:pt x="13846" y="90742"/>
                  <a:pt x="14188" y="90954"/>
                  <a:pt x="14188" y="91378"/>
                </a:cubicBezTo>
                <a:cubicBezTo>
                  <a:pt x="14358" y="91590"/>
                  <a:pt x="14700" y="91590"/>
                  <a:pt x="14700" y="92014"/>
                </a:cubicBezTo>
                <a:close/>
                <a:moveTo>
                  <a:pt x="15384" y="92014"/>
                </a:moveTo>
                <a:cubicBezTo>
                  <a:pt x="15384" y="91590"/>
                  <a:pt x="15384" y="91590"/>
                  <a:pt x="15384" y="91378"/>
                </a:cubicBezTo>
                <a:cubicBezTo>
                  <a:pt x="15213" y="90954"/>
                  <a:pt x="14871" y="90742"/>
                  <a:pt x="14700" y="90318"/>
                </a:cubicBezTo>
                <a:cubicBezTo>
                  <a:pt x="14358" y="90106"/>
                  <a:pt x="14358" y="90318"/>
                  <a:pt x="14358" y="90742"/>
                </a:cubicBezTo>
                <a:cubicBezTo>
                  <a:pt x="14700" y="90742"/>
                  <a:pt x="14700" y="90954"/>
                  <a:pt x="14871" y="90954"/>
                </a:cubicBezTo>
                <a:cubicBezTo>
                  <a:pt x="14871" y="90954"/>
                  <a:pt x="14871" y="91378"/>
                  <a:pt x="15213" y="92014"/>
                </a:cubicBezTo>
                <a:cubicBezTo>
                  <a:pt x="15384" y="92014"/>
                  <a:pt x="15384" y="92014"/>
                  <a:pt x="15384" y="92014"/>
                </a:cubicBezTo>
                <a:close/>
                <a:moveTo>
                  <a:pt x="14188" y="90106"/>
                </a:moveTo>
                <a:cubicBezTo>
                  <a:pt x="14188" y="90318"/>
                  <a:pt x="14188" y="90318"/>
                  <a:pt x="14358" y="90318"/>
                </a:cubicBezTo>
                <a:cubicBezTo>
                  <a:pt x="14700" y="90106"/>
                  <a:pt x="14358" y="89681"/>
                  <a:pt x="14188" y="89681"/>
                </a:cubicBezTo>
                <a:cubicBezTo>
                  <a:pt x="13846" y="89681"/>
                  <a:pt x="13846" y="90106"/>
                  <a:pt x="13846" y="90318"/>
                </a:cubicBezTo>
                <a:cubicBezTo>
                  <a:pt x="13846" y="90742"/>
                  <a:pt x="13846" y="90106"/>
                  <a:pt x="14188" y="90106"/>
                </a:cubicBezTo>
                <a:close/>
                <a:moveTo>
                  <a:pt x="16239" y="92650"/>
                </a:moveTo>
                <a:cubicBezTo>
                  <a:pt x="16410" y="92650"/>
                  <a:pt x="15897" y="92862"/>
                  <a:pt x="15897" y="92862"/>
                </a:cubicBezTo>
                <a:cubicBezTo>
                  <a:pt x="15897" y="93286"/>
                  <a:pt x="16239" y="93710"/>
                  <a:pt x="16410" y="93286"/>
                </a:cubicBezTo>
                <a:cubicBezTo>
                  <a:pt x="16410" y="92650"/>
                  <a:pt x="16410" y="93710"/>
                  <a:pt x="16410" y="93710"/>
                </a:cubicBezTo>
                <a:cubicBezTo>
                  <a:pt x="16752" y="93710"/>
                  <a:pt x="16752" y="93286"/>
                  <a:pt x="16752" y="92650"/>
                </a:cubicBezTo>
                <a:cubicBezTo>
                  <a:pt x="16752" y="92226"/>
                  <a:pt x="16239" y="91590"/>
                  <a:pt x="15897" y="91590"/>
                </a:cubicBezTo>
                <a:cubicBezTo>
                  <a:pt x="15897" y="91590"/>
                  <a:pt x="16239" y="92226"/>
                  <a:pt x="15897" y="92226"/>
                </a:cubicBezTo>
                <a:cubicBezTo>
                  <a:pt x="15897" y="92226"/>
                  <a:pt x="15726" y="92862"/>
                  <a:pt x="15897" y="92650"/>
                </a:cubicBezTo>
                <a:cubicBezTo>
                  <a:pt x="16239" y="92650"/>
                  <a:pt x="16239" y="92226"/>
                  <a:pt x="16239" y="92650"/>
                </a:cubicBezTo>
                <a:close/>
                <a:moveTo>
                  <a:pt x="16239" y="93286"/>
                </a:moveTo>
                <a:cubicBezTo>
                  <a:pt x="15897" y="93286"/>
                  <a:pt x="15726" y="92862"/>
                  <a:pt x="15726" y="93286"/>
                </a:cubicBezTo>
                <a:cubicBezTo>
                  <a:pt x="15726" y="93286"/>
                  <a:pt x="15897" y="93710"/>
                  <a:pt x="16239" y="93922"/>
                </a:cubicBezTo>
                <a:cubicBezTo>
                  <a:pt x="16239" y="94346"/>
                  <a:pt x="16239" y="93710"/>
                  <a:pt x="16239" y="93286"/>
                </a:cubicBezTo>
                <a:close/>
                <a:moveTo>
                  <a:pt x="16752" y="94346"/>
                </a:moveTo>
                <a:cubicBezTo>
                  <a:pt x="16410" y="94346"/>
                  <a:pt x="16410" y="93922"/>
                  <a:pt x="16410" y="93922"/>
                </a:cubicBezTo>
                <a:cubicBezTo>
                  <a:pt x="16752" y="93922"/>
                  <a:pt x="16752" y="94346"/>
                  <a:pt x="16752" y="94346"/>
                </a:cubicBezTo>
                <a:close/>
                <a:moveTo>
                  <a:pt x="24273" y="41130"/>
                </a:moveTo>
                <a:cubicBezTo>
                  <a:pt x="24444" y="41554"/>
                  <a:pt x="25299" y="40918"/>
                  <a:pt x="25811" y="40282"/>
                </a:cubicBezTo>
                <a:cubicBezTo>
                  <a:pt x="26666" y="39858"/>
                  <a:pt x="26324" y="40494"/>
                  <a:pt x="27350" y="40282"/>
                </a:cubicBezTo>
                <a:cubicBezTo>
                  <a:pt x="28376" y="39646"/>
                  <a:pt x="27350" y="37950"/>
                  <a:pt x="28717" y="37526"/>
                </a:cubicBezTo>
                <a:cubicBezTo>
                  <a:pt x="29743" y="37526"/>
                  <a:pt x="28888" y="36678"/>
                  <a:pt x="30256" y="36042"/>
                </a:cubicBezTo>
                <a:cubicBezTo>
                  <a:pt x="31794" y="35194"/>
                  <a:pt x="32649" y="34346"/>
                  <a:pt x="33675" y="34346"/>
                </a:cubicBezTo>
                <a:cubicBezTo>
                  <a:pt x="35384" y="33710"/>
                  <a:pt x="34700" y="33074"/>
                  <a:pt x="34188" y="33074"/>
                </a:cubicBezTo>
                <a:cubicBezTo>
                  <a:pt x="33333" y="32650"/>
                  <a:pt x="32820" y="30954"/>
                  <a:pt x="31111" y="30954"/>
                </a:cubicBezTo>
                <a:cubicBezTo>
                  <a:pt x="29401" y="30954"/>
                  <a:pt x="30256" y="31590"/>
                  <a:pt x="29743" y="32014"/>
                </a:cubicBezTo>
                <a:cubicBezTo>
                  <a:pt x="29401" y="32014"/>
                  <a:pt x="29743" y="31590"/>
                  <a:pt x="29401" y="31378"/>
                </a:cubicBezTo>
                <a:cubicBezTo>
                  <a:pt x="29230" y="30954"/>
                  <a:pt x="29230" y="31378"/>
                  <a:pt x="28376" y="30954"/>
                </a:cubicBezTo>
                <a:cubicBezTo>
                  <a:pt x="26837" y="30742"/>
                  <a:pt x="27179" y="29681"/>
                  <a:pt x="25641" y="30318"/>
                </a:cubicBezTo>
                <a:cubicBezTo>
                  <a:pt x="24273" y="30742"/>
                  <a:pt x="21709" y="30742"/>
                  <a:pt x="22222" y="30954"/>
                </a:cubicBezTo>
                <a:cubicBezTo>
                  <a:pt x="22393" y="31378"/>
                  <a:pt x="22222" y="32014"/>
                  <a:pt x="22905" y="32226"/>
                </a:cubicBezTo>
                <a:cubicBezTo>
                  <a:pt x="23760" y="32650"/>
                  <a:pt x="22905" y="33074"/>
                  <a:pt x="22905" y="33286"/>
                </a:cubicBezTo>
                <a:cubicBezTo>
                  <a:pt x="22905" y="33922"/>
                  <a:pt x="22393" y="33286"/>
                  <a:pt x="22393" y="33922"/>
                </a:cubicBezTo>
                <a:cubicBezTo>
                  <a:pt x="22393" y="34558"/>
                  <a:pt x="21709" y="34982"/>
                  <a:pt x="21880" y="34982"/>
                </a:cubicBezTo>
                <a:cubicBezTo>
                  <a:pt x="22393" y="35194"/>
                  <a:pt x="22735" y="35618"/>
                  <a:pt x="21880" y="35618"/>
                </a:cubicBezTo>
                <a:cubicBezTo>
                  <a:pt x="21367" y="35618"/>
                  <a:pt x="21367" y="35618"/>
                  <a:pt x="21709" y="36254"/>
                </a:cubicBezTo>
                <a:cubicBezTo>
                  <a:pt x="21709" y="36678"/>
                  <a:pt x="20683" y="37314"/>
                  <a:pt x="20683" y="37950"/>
                </a:cubicBezTo>
                <a:cubicBezTo>
                  <a:pt x="20683" y="38162"/>
                  <a:pt x="20341" y="38162"/>
                  <a:pt x="20683" y="38586"/>
                </a:cubicBezTo>
                <a:cubicBezTo>
                  <a:pt x="20854" y="38586"/>
                  <a:pt x="21196" y="38586"/>
                  <a:pt x="22735" y="39222"/>
                </a:cubicBezTo>
                <a:cubicBezTo>
                  <a:pt x="23760" y="39858"/>
                  <a:pt x="23760" y="40918"/>
                  <a:pt x="24273" y="41130"/>
                </a:cubicBezTo>
                <a:close/>
                <a:moveTo>
                  <a:pt x="46837" y="46855"/>
                </a:moveTo>
                <a:cubicBezTo>
                  <a:pt x="46837" y="47915"/>
                  <a:pt x="46837" y="46855"/>
                  <a:pt x="48205" y="47491"/>
                </a:cubicBezTo>
                <a:cubicBezTo>
                  <a:pt x="49572" y="47915"/>
                  <a:pt x="47863" y="47491"/>
                  <a:pt x="48717" y="48127"/>
                </a:cubicBezTo>
                <a:cubicBezTo>
                  <a:pt x="49572" y="48551"/>
                  <a:pt x="49230" y="47915"/>
                  <a:pt x="50256" y="48127"/>
                </a:cubicBezTo>
                <a:cubicBezTo>
                  <a:pt x="51282" y="48551"/>
                  <a:pt x="50769" y="48127"/>
                  <a:pt x="51282" y="48127"/>
                </a:cubicBezTo>
                <a:cubicBezTo>
                  <a:pt x="51794" y="48551"/>
                  <a:pt x="52136" y="47915"/>
                  <a:pt x="52649" y="47915"/>
                </a:cubicBezTo>
                <a:cubicBezTo>
                  <a:pt x="52820" y="47915"/>
                  <a:pt x="53333" y="47067"/>
                  <a:pt x="52820" y="46855"/>
                </a:cubicBezTo>
                <a:cubicBezTo>
                  <a:pt x="52649" y="46431"/>
                  <a:pt x="53162" y="46431"/>
                  <a:pt x="52649" y="46219"/>
                </a:cubicBezTo>
                <a:cubicBezTo>
                  <a:pt x="52136" y="46219"/>
                  <a:pt x="51111" y="47067"/>
                  <a:pt x="51282" y="46431"/>
                </a:cubicBezTo>
                <a:cubicBezTo>
                  <a:pt x="51794" y="45795"/>
                  <a:pt x="50598" y="45795"/>
                  <a:pt x="50769" y="45583"/>
                </a:cubicBezTo>
                <a:cubicBezTo>
                  <a:pt x="51111" y="45583"/>
                  <a:pt x="51794" y="46219"/>
                  <a:pt x="52136" y="45795"/>
                </a:cubicBezTo>
                <a:cubicBezTo>
                  <a:pt x="52649" y="45583"/>
                  <a:pt x="51623" y="45795"/>
                  <a:pt x="52307" y="45159"/>
                </a:cubicBezTo>
                <a:cubicBezTo>
                  <a:pt x="52820" y="44946"/>
                  <a:pt x="52820" y="45795"/>
                  <a:pt x="53333" y="45583"/>
                </a:cubicBezTo>
                <a:cubicBezTo>
                  <a:pt x="53675" y="45159"/>
                  <a:pt x="53333" y="45795"/>
                  <a:pt x="54017" y="45795"/>
                </a:cubicBezTo>
                <a:cubicBezTo>
                  <a:pt x="54529" y="45795"/>
                  <a:pt x="54529" y="44946"/>
                  <a:pt x="54188" y="44522"/>
                </a:cubicBezTo>
                <a:cubicBezTo>
                  <a:pt x="54188" y="43886"/>
                  <a:pt x="53333" y="44522"/>
                  <a:pt x="53333" y="43886"/>
                </a:cubicBezTo>
                <a:cubicBezTo>
                  <a:pt x="53333" y="43462"/>
                  <a:pt x="53162" y="44098"/>
                  <a:pt x="51794" y="42826"/>
                </a:cubicBezTo>
                <a:cubicBezTo>
                  <a:pt x="51282" y="42614"/>
                  <a:pt x="51111" y="42614"/>
                  <a:pt x="51282" y="42826"/>
                </a:cubicBezTo>
                <a:cubicBezTo>
                  <a:pt x="51282" y="43250"/>
                  <a:pt x="50256" y="42826"/>
                  <a:pt x="50085" y="42190"/>
                </a:cubicBezTo>
                <a:cubicBezTo>
                  <a:pt x="49743" y="41130"/>
                  <a:pt x="49059" y="41554"/>
                  <a:pt x="49572" y="40918"/>
                </a:cubicBezTo>
                <a:cubicBezTo>
                  <a:pt x="49743" y="40282"/>
                  <a:pt x="49743" y="39646"/>
                  <a:pt x="49230" y="39010"/>
                </a:cubicBezTo>
                <a:cubicBezTo>
                  <a:pt x="48717" y="38586"/>
                  <a:pt x="48717" y="36678"/>
                  <a:pt x="47863" y="35618"/>
                </a:cubicBezTo>
                <a:cubicBezTo>
                  <a:pt x="47350" y="34558"/>
                  <a:pt x="47692" y="35194"/>
                  <a:pt x="46666" y="34346"/>
                </a:cubicBezTo>
                <a:cubicBezTo>
                  <a:pt x="45641" y="33710"/>
                  <a:pt x="46324" y="34982"/>
                  <a:pt x="45128" y="34346"/>
                </a:cubicBezTo>
                <a:cubicBezTo>
                  <a:pt x="44615" y="33922"/>
                  <a:pt x="44102" y="34346"/>
                  <a:pt x="44273" y="35194"/>
                </a:cubicBezTo>
                <a:cubicBezTo>
                  <a:pt x="44786" y="36254"/>
                  <a:pt x="44615" y="37526"/>
                  <a:pt x="45641" y="38586"/>
                </a:cubicBezTo>
                <a:cubicBezTo>
                  <a:pt x="46153" y="39010"/>
                  <a:pt x="45299" y="39222"/>
                  <a:pt x="45128" y="39646"/>
                </a:cubicBezTo>
                <a:cubicBezTo>
                  <a:pt x="45128" y="39646"/>
                  <a:pt x="44786" y="39646"/>
                  <a:pt x="44273" y="38162"/>
                </a:cubicBezTo>
                <a:cubicBezTo>
                  <a:pt x="43760" y="37314"/>
                  <a:pt x="44102" y="36254"/>
                  <a:pt x="43076" y="36042"/>
                </a:cubicBezTo>
                <a:cubicBezTo>
                  <a:pt x="41880" y="35618"/>
                  <a:pt x="43076" y="35618"/>
                  <a:pt x="42222" y="35194"/>
                </a:cubicBezTo>
                <a:cubicBezTo>
                  <a:pt x="41196" y="34982"/>
                  <a:pt x="40341" y="34982"/>
                  <a:pt x="41196" y="35618"/>
                </a:cubicBezTo>
                <a:cubicBezTo>
                  <a:pt x="41880" y="36042"/>
                  <a:pt x="41196" y="36254"/>
                  <a:pt x="41709" y="36254"/>
                </a:cubicBezTo>
                <a:cubicBezTo>
                  <a:pt x="42222" y="36254"/>
                  <a:pt x="42735" y="36890"/>
                  <a:pt x="41367" y="36678"/>
                </a:cubicBezTo>
                <a:cubicBezTo>
                  <a:pt x="40341" y="36254"/>
                  <a:pt x="40854" y="37950"/>
                  <a:pt x="40341" y="37314"/>
                </a:cubicBezTo>
                <a:cubicBezTo>
                  <a:pt x="39658" y="36678"/>
                  <a:pt x="41196" y="36254"/>
                  <a:pt x="39658" y="35618"/>
                </a:cubicBezTo>
                <a:cubicBezTo>
                  <a:pt x="38119" y="35194"/>
                  <a:pt x="37777" y="35194"/>
                  <a:pt x="37264" y="35618"/>
                </a:cubicBezTo>
                <a:cubicBezTo>
                  <a:pt x="36752" y="36042"/>
                  <a:pt x="38119" y="36042"/>
                  <a:pt x="36239" y="36678"/>
                </a:cubicBezTo>
                <a:cubicBezTo>
                  <a:pt x="35213" y="36890"/>
                  <a:pt x="36752" y="36042"/>
                  <a:pt x="36410" y="35618"/>
                </a:cubicBezTo>
                <a:cubicBezTo>
                  <a:pt x="36410" y="34982"/>
                  <a:pt x="37094" y="34558"/>
                  <a:pt x="36239" y="33922"/>
                </a:cubicBezTo>
                <a:cubicBezTo>
                  <a:pt x="35384" y="33710"/>
                  <a:pt x="33846" y="34982"/>
                  <a:pt x="32820" y="35194"/>
                </a:cubicBezTo>
                <a:cubicBezTo>
                  <a:pt x="32136" y="35194"/>
                  <a:pt x="31623" y="36042"/>
                  <a:pt x="30769" y="36678"/>
                </a:cubicBezTo>
                <a:cubicBezTo>
                  <a:pt x="29743" y="37314"/>
                  <a:pt x="31111" y="37314"/>
                  <a:pt x="31111" y="37526"/>
                </a:cubicBezTo>
                <a:cubicBezTo>
                  <a:pt x="31111" y="37950"/>
                  <a:pt x="30427" y="37526"/>
                  <a:pt x="29914" y="38162"/>
                </a:cubicBezTo>
                <a:cubicBezTo>
                  <a:pt x="29401" y="39222"/>
                  <a:pt x="29401" y="39858"/>
                  <a:pt x="29914" y="39646"/>
                </a:cubicBezTo>
                <a:cubicBezTo>
                  <a:pt x="30427" y="39222"/>
                  <a:pt x="30427" y="39858"/>
                  <a:pt x="30769" y="40282"/>
                </a:cubicBezTo>
                <a:cubicBezTo>
                  <a:pt x="31111" y="40494"/>
                  <a:pt x="32649" y="40282"/>
                  <a:pt x="33162" y="39858"/>
                </a:cubicBezTo>
                <a:cubicBezTo>
                  <a:pt x="33333" y="39858"/>
                  <a:pt x="34700" y="40282"/>
                  <a:pt x="32136" y="40918"/>
                </a:cubicBezTo>
                <a:cubicBezTo>
                  <a:pt x="30427" y="41130"/>
                  <a:pt x="30256" y="41554"/>
                  <a:pt x="31111" y="42190"/>
                </a:cubicBezTo>
                <a:cubicBezTo>
                  <a:pt x="31794" y="42826"/>
                  <a:pt x="31794" y="42826"/>
                  <a:pt x="32820" y="42614"/>
                </a:cubicBezTo>
                <a:cubicBezTo>
                  <a:pt x="33846" y="42614"/>
                  <a:pt x="33333" y="42826"/>
                  <a:pt x="34700" y="42826"/>
                </a:cubicBezTo>
                <a:cubicBezTo>
                  <a:pt x="35897" y="42826"/>
                  <a:pt x="36239" y="42190"/>
                  <a:pt x="37264" y="42826"/>
                </a:cubicBezTo>
                <a:cubicBezTo>
                  <a:pt x="38632" y="43250"/>
                  <a:pt x="38290" y="42614"/>
                  <a:pt x="38803" y="43250"/>
                </a:cubicBezTo>
                <a:cubicBezTo>
                  <a:pt x="39316" y="43462"/>
                  <a:pt x="40341" y="43886"/>
                  <a:pt x="39658" y="43886"/>
                </a:cubicBezTo>
                <a:cubicBezTo>
                  <a:pt x="38632" y="43886"/>
                  <a:pt x="39316" y="44098"/>
                  <a:pt x="37777" y="43886"/>
                </a:cubicBezTo>
                <a:cubicBezTo>
                  <a:pt x="36410" y="43462"/>
                  <a:pt x="34188" y="43886"/>
                  <a:pt x="32649" y="44098"/>
                </a:cubicBezTo>
                <a:cubicBezTo>
                  <a:pt x="31282" y="44522"/>
                  <a:pt x="32307" y="45583"/>
                  <a:pt x="33162" y="46219"/>
                </a:cubicBezTo>
                <a:cubicBezTo>
                  <a:pt x="33675" y="47067"/>
                  <a:pt x="36239" y="46855"/>
                  <a:pt x="36752" y="46855"/>
                </a:cubicBezTo>
                <a:cubicBezTo>
                  <a:pt x="37606" y="46855"/>
                  <a:pt x="36752" y="48127"/>
                  <a:pt x="37264" y="48551"/>
                </a:cubicBezTo>
                <a:cubicBezTo>
                  <a:pt x="37606" y="49187"/>
                  <a:pt x="37606" y="49399"/>
                  <a:pt x="38290" y="49187"/>
                </a:cubicBezTo>
                <a:cubicBezTo>
                  <a:pt x="39658" y="49187"/>
                  <a:pt x="40170" y="49399"/>
                  <a:pt x="40341" y="49187"/>
                </a:cubicBezTo>
                <a:cubicBezTo>
                  <a:pt x="40854" y="48763"/>
                  <a:pt x="43076" y="48763"/>
                  <a:pt x="43760" y="48127"/>
                </a:cubicBezTo>
                <a:cubicBezTo>
                  <a:pt x="44615" y="47491"/>
                  <a:pt x="44786" y="48127"/>
                  <a:pt x="45641" y="47491"/>
                </a:cubicBezTo>
                <a:cubicBezTo>
                  <a:pt x="46324" y="46855"/>
                  <a:pt x="45641" y="46855"/>
                  <a:pt x="46324" y="46431"/>
                </a:cubicBezTo>
                <a:cubicBezTo>
                  <a:pt x="46666" y="46219"/>
                  <a:pt x="46837" y="46219"/>
                  <a:pt x="46837" y="46855"/>
                </a:cubicBezTo>
                <a:close/>
                <a:moveTo>
                  <a:pt x="48547" y="35618"/>
                </a:moveTo>
                <a:cubicBezTo>
                  <a:pt x="48547" y="35194"/>
                  <a:pt x="48717" y="35194"/>
                  <a:pt x="49059" y="34558"/>
                </a:cubicBezTo>
                <a:cubicBezTo>
                  <a:pt x="49230" y="33922"/>
                  <a:pt x="49743" y="33286"/>
                  <a:pt x="49230" y="33286"/>
                </a:cubicBezTo>
                <a:cubicBezTo>
                  <a:pt x="48717" y="33074"/>
                  <a:pt x="49059" y="32650"/>
                  <a:pt x="47692" y="32650"/>
                </a:cubicBezTo>
                <a:cubicBezTo>
                  <a:pt x="46153" y="33074"/>
                  <a:pt x="45641" y="33710"/>
                  <a:pt x="46324" y="33710"/>
                </a:cubicBezTo>
                <a:cubicBezTo>
                  <a:pt x="47179" y="33922"/>
                  <a:pt x="47179" y="34346"/>
                  <a:pt x="47179" y="34346"/>
                </a:cubicBezTo>
                <a:cubicBezTo>
                  <a:pt x="47179" y="34558"/>
                  <a:pt x="47692" y="34982"/>
                  <a:pt x="48205" y="35618"/>
                </a:cubicBezTo>
                <a:cubicBezTo>
                  <a:pt x="48547" y="35618"/>
                  <a:pt x="48547" y="35618"/>
                  <a:pt x="48547" y="35618"/>
                </a:cubicBezTo>
                <a:close/>
                <a:moveTo>
                  <a:pt x="81025" y="45159"/>
                </a:moveTo>
                <a:cubicBezTo>
                  <a:pt x="82051" y="46219"/>
                  <a:pt x="82051" y="45795"/>
                  <a:pt x="81196" y="44946"/>
                </a:cubicBezTo>
                <a:cubicBezTo>
                  <a:pt x="80512" y="43886"/>
                  <a:pt x="82564" y="44946"/>
                  <a:pt x="83931" y="44946"/>
                </a:cubicBezTo>
                <a:cubicBezTo>
                  <a:pt x="85128" y="45159"/>
                  <a:pt x="83931" y="42826"/>
                  <a:pt x="84615" y="43462"/>
                </a:cubicBezTo>
                <a:cubicBezTo>
                  <a:pt x="85128" y="44522"/>
                  <a:pt x="85641" y="43250"/>
                  <a:pt x="85982" y="44522"/>
                </a:cubicBezTo>
                <a:cubicBezTo>
                  <a:pt x="85982" y="45795"/>
                  <a:pt x="86153" y="45583"/>
                  <a:pt x="87692" y="46219"/>
                </a:cubicBezTo>
                <a:cubicBezTo>
                  <a:pt x="89059" y="46855"/>
                  <a:pt x="88547" y="47491"/>
                  <a:pt x="87692" y="47491"/>
                </a:cubicBezTo>
                <a:cubicBezTo>
                  <a:pt x="87008" y="47491"/>
                  <a:pt x="86666" y="48763"/>
                  <a:pt x="87692" y="48551"/>
                </a:cubicBezTo>
                <a:cubicBezTo>
                  <a:pt x="89059" y="48127"/>
                  <a:pt x="90598" y="48763"/>
                  <a:pt x="90940" y="49399"/>
                </a:cubicBezTo>
                <a:cubicBezTo>
                  <a:pt x="91111" y="50035"/>
                  <a:pt x="92136" y="49823"/>
                  <a:pt x="92478" y="51095"/>
                </a:cubicBezTo>
                <a:cubicBezTo>
                  <a:pt x="92478" y="52367"/>
                  <a:pt x="93504" y="53003"/>
                  <a:pt x="92649" y="53427"/>
                </a:cubicBezTo>
                <a:cubicBezTo>
                  <a:pt x="92136" y="54063"/>
                  <a:pt x="91965" y="54699"/>
                  <a:pt x="90598" y="55759"/>
                </a:cubicBezTo>
                <a:cubicBezTo>
                  <a:pt x="89572" y="56819"/>
                  <a:pt x="92136" y="58727"/>
                  <a:pt x="91111" y="58091"/>
                </a:cubicBezTo>
                <a:cubicBezTo>
                  <a:pt x="89914" y="57667"/>
                  <a:pt x="90085" y="59363"/>
                  <a:pt x="87521" y="58727"/>
                </a:cubicBezTo>
                <a:cubicBezTo>
                  <a:pt x="84957" y="57667"/>
                  <a:pt x="87008" y="58727"/>
                  <a:pt x="85641" y="59575"/>
                </a:cubicBezTo>
                <a:cubicBezTo>
                  <a:pt x="84444" y="60424"/>
                  <a:pt x="85982" y="62544"/>
                  <a:pt x="87692" y="61272"/>
                </a:cubicBezTo>
                <a:cubicBezTo>
                  <a:pt x="89572" y="60424"/>
                  <a:pt x="89401" y="62332"/>
                  <a:pt x="90085" y="61272"/>
                </a:cubicBezTo>
                <a:cubicBezTo>
                  <a:pt x="90940" y="60424"/>
                  <a:pt x="90598" y="62332"/>
                  <a:pt x="90940" y="61696"/>
                </a:cubicBezTo>
                <a:cubicBezTo>
                  <a:pt x="91111" y="61060"/>
                  <a:pt x="90940" y="60424"/>
                  <a:pt x="92478" y="62332"/>
                </a:cubicBezTo>
                <a:cubicBezTo>
                  <a:pt x="93675" y="64664"/>
                  <a:pt x="93162" y="62544"/>
                  <a:pt x="94188" y="63604"/>
                </a:cubicBezTo>
                <a:cubicBezTo>
                  <a:pt x="95042" y="64664"/>
                  <a:pt x="92478" y="63392"/>
                  <a:pt x="94017" y="64876"/>
                </a:cubicBezTo>
                <a:cubicBezTo>
                  <a:pt x="94871" y="66360"/>
                  <a:pt x="96410" y="65512"/>
                  <a:pt x="96923" y="66572"/>
                </a:cubicBezTo>
                <a:cubicBezTo>
                  <a:pt x="97606" y="67632"/>
                  <a:pt x="99487" y="67844"/>
                  <a:pt x="100854" y="68480"/>
                </a:cubicBezTo>
                <a:cubicBezTo>
                  <a:pt x="102051" y="69328"/>
                  <a:pt x="101880" y="67632"/>
                  <a:pt x="100854" y="66572"/>
                </a:cubicBezTo>
                <a:cubicBezTo>
                  <a:pt x="99658" y="65300"/>
                  <a:pt x="97435" y="64028"/>
                  <a:pt x="97606" y="63392"/>
                </a:cubicBezTo>
                <a:cubicBezTo>
                  <a:pt x="97948" y="62544"/>
                  <a:pt x="99145" y="64876"/>
                  <a:pt x="99145" y="64028"/>
                </a:cubicBezTo>
                <a:cubicBezTo>
                  <a:pt x="99487" y="63392"/>
                  <a:pt x="100170" y="65300"/>
                  <a:pt x="101538" y="65512"/>
                </a:cubicBezTo>
                <a:cubicBezTo>
                  <a:pt x="102564" y="65512"/>
                  <a:pt x="103076" y="68268"/>
                  <a:pt x="103076" y="66572"/>
                </a:cubicBezTo>
                <a:cubicBezTo>
                  <a:pt x="102905" y="64876"/>
                  <a:pt x="103418" y="66996"/>
                  <a:pt x="103076" y="64876"/>
                </a:cubicBezTo>
                <a:cubicBezTo>
                  <a:pt x="103076" y="63392"/>
                  <a:pt x="103418" y="65936"/>
                  <a:pt x="103589" y="64240"/>
                </a:cubicBezTo>
                <a:cubicBezTo>
                  <a:pt x="103931" y="62544"/>
                  <a:pt x="102564" y="63604"/>
                  <a:pt x="103076" y="62544"/>
                </a:cubicBezTo>
                <a:cubicBezTo>
                  <a:pt x="103589" y="61908"/>
                  <a:pt x="102051" y="62544"/>
                  <a:pt x="102564" y="61696"/>
                </a:cubicBezTo>
                <a:cubicBezTo>
                  <a:pt x="103076" y="61060"/>
                  <a:pt x="102905" y="60636"/>
                  <a:pt x="101367" y="60000"/>
                </a:cubicBezTo>
                <a:cubicBezTo>
                  <a:pt x="100000" y="59363"/>
                  <a:pt x="100512" y="57455"/>
                  <a:pt x="99658" y="57667"/>
                </a:cubicBezTo>
                <a:cubicBezTo>
                  <a:pt x="98632" y="58091"/>
                  <a:pt x="98461" y="57031"/>
                  <a:pt x="99487" y="57031"/>
                </a:cubicBezTo>
                <a:cubicBezTo>
                  <a:pt x="100512" y="56819"/>
                  <a:pt x="98632" y="55335"/>
                  <a:pt x="99487" y="55759"/>
                </a:cubicBezTo>
                <a:cubicBezTo>
                  <a:pt x="100512" y="55971"/>
                  <a:pt x="100000" y="54487"/>
                  <a:pt x="100854" y="55759"/>
                </a:cubicBezTo>
                <a:cubicBezTo>
                  <a:pt x="101367" y="56819"/>
                  <a:pt x="101538" y="55759"/>
                  <a:pt x="101880" y="56819"/>
                </a:cubicBezTo>
                <a:cubicBezTo>
                  <a:pt x="101880" y="57455"/>
                  <a:pt x="102393" y="56819"/>
                  <a:pt x="102393" y="57667"/>
                </a:cubicBezTo>
                <a:cubicBezTo>
                  <a:pt x="102393" y="58303"/>
                  <a:pt x="105641" y="61272"/>
                  <a:pt x="105128" y="58939"/>
                </a:cubicBezTo>
                <a:cubicBezTo>
                  <a:pt x="104957" y="56819"/>
                  <a:pt x="107008" y="58303"/>
                  <a:pt x="106837" y="57455"/>
                </a:cubicBezTo>
                <a:cubicBezTo>
                  <a:pt x="106324" y="56395"/>
                  <a:pt x="107350" y="57031"/>
                  <a:pt x="106837" y="56395"/>
                </a:cubicBezTo>
                <a:cubicBezTo>
                  <a:pt x="106495" y="55759"/>
                  <a:pt x="108376" y="55971"/>
                  <a:pt x="107521" y="54487"/>
                </a:cubicBezTo>
                <a:cubicBezTo>
                  <a:pt x="106837" y="52367"/>
                  <a:pt x="105128" y="55123"/>
                  <a:pt x="105641" y="53427"/>
                </a:cubicBezTo>
                <a:cubicBezTo>
                  <a:pt x="105982" y="51731"/>
                  <a:pt x="104102" y="53851"/>
                  <a:pt x="104615" y="52791"/>
                </a:cubicBezTo>
                <a:cubicBezTo>
                  <a:pt x="104957" y="51731"/>
                  <a:pt x="104444" y="52155"/>
                  <a:pt x="103418" y="51095"/>
                </a:cubicBezTo>
                <a:cubicBezTo>
                  <a:pt x="102393" y="50035"/>
                  <a:pt x="100854" y="51095"/>
                  <a:pt x="100512" y="49823"/>
                </a:cubicBezTo>
                <a:cubicBezTo>
                  <a:pt x="100512" y="48551"/>
                  <a:pt x="97606" y="49823"/>
                  <a:pt x="98974" y="48763"/>
                </a:cubicBezTo>
                <a:cubicBezTo>
                  <a:pt x="100170" y="47915"/>
                  <a:pt x="97948" y="46855"/>
                  <a:pt x="99145" y="47067"/>
                </a:cubicBezTo>
                <a:cubicBezTo>
                  <a:pt x="100512" y="47491"/>
                  <a:pt x="101538" y="46431"/>
                  <a:pt x="99487" y="46219"/>
                </a:cubicBezTo>
                <a:cubicBezTo>
                  <a:pt x="97094" y="45795"/>
                  <a:pt x="99145" y="45795"/>
                  <a:pt x="100000" y="45159"/>
                </a:cubicBezTo>
                <a:cubicBezTo>
                  <a:pt x="100854" y="44522"/>
                  <a:pt x="98974" y="43462"/>
                  <a:pt x="98461" y="43886"/>
                </a:cubicBezTo>
                <a:cubicBezTo>
                  <a:pt x="98119" y="44098"/>
                  <a:pt x="96410" y="44098"/>
                  <a:pt x="97606" y="43462"/>
                </a:cubicBezTo>
                <a:cubicBezTo>
                  <a:pt x="98974" y="43250"/>
                  <a:pt x="98974" y="43250"/>
                  <a:pt x="97435" y="42190"/>
                </a:cubicBezTo>
                <a:cubicBezTo>
                  <a:pt x="95555" y="41130"/>
                  <a:pt x="95384" y="43250"/>
                  <a:pt x="95384" y="41978"/>
                </a:cubicBezTo>
                <a:cubicBezTo>
                  <a:pt x="95555" y="40282"/>
                  <a:pt x="94529" y="41554"/>
                  <a:pt x="94529" y="40918"/>
                </a:cubicBezTo>
                <a:cubicBezTo>
                  <a:pt x="94529" y="39858"/>
                  <a:pt x="93162" y="39010"/>
                  <a:pt x="92478" y="40282"/>
                </a:cubicBezTo>
                <a:cubicBezTo>
                  <a:pt x="91452" y="41130"/>
                  <a:pt x="91452" y="39858"/>
                  <a:pt x="90940" y="38586"/>
                </a:cubicBezTo>
                <a:cubicBezTo>
                  <a:pt x="90427" y="37314"/>
                  <a:pt x="90085" y="39010"/>
                  <a:pt x="89572" y="37526"/>
                </a:cubicBezTo>
                <a:cubicBezTo>
                  <a:pt x="88717" y="36254"/>
                  <a:pt x="87692" y="36890"/>
                  <a:pt x="87179" y="36254"/>
                </a:cubicBezTo>
                <a:cubicBezTo>
                  <a:pt x="86666" y="36042"/>
                  <a:pt x="85128" y="35194"/>
                  <a:pt x="84615" y="36890"/>
                </a:cubicBezTo>
                <a:cubicBezTo>
                  <a:pt x="84102" y="38586"/>
                  <a:pt x="83418" y="36042"/>
                  <a:pt x="82564" y="36890"/>
                </a:cubicBezTo>
                <a:cubicBezTo>
                  <a:pt x="81709" y="38162"/>
                  <a:pt x="81025" y="38162"/>
                  <a:pt x="81538" y="37526"/>
                </a:cubicBezTo>
                <a:cubicBezTo>
                  <a:pt x="82222" y="36678"/>
                  <a:pt x="82051" y="34982"/>
                  <a:pt x="81196" y="34558"/>
                </a:cubicBezTo>
                <a:cubicBezTo>
                  <a:pt x="80512" y="34346"/>
                  <a:pt x="81196" y="33074"/>
                  <a:pt x="80512" y="33074"/>
                </a:cubicBezTo>
                <a:cubicBezTo>
                  <a:pt x="79487" y="32650"/>
                  <a:pt x="75726" y="33286"/>
                  <a:pt x="75555" y="34558"/>
                </a:cubicBezTo>
                <a:cubicBezTo>
                  <a:pt x="75555" y="36254"/>
                  <a:pt x="74017" y="34346"/>
                  <a:pt x="75042" y="36678"/>
                </a:cubicBezTo>
                <a:cubicBezTo>
                  <a:pt x="76068" y="39010"/>
                  <a:pt x="74017" y="37314"/>
                  <a:pt x="74700" y="38586"/>
                </a:cubicBezTo>
                <a:cubicBezTo>
                  <a:pt x="75726" y="40282"/>
                  <a:pt x="76239" y="38586"/>
                  <a:pt x="76239" y="39858"/>
                </a:cubicBezTo>
                <a:cubicBezTo>
                  <a:pt x="76581" y="40918"/>
                  <a:pt x="73162" y="39222"/>
                  <a:pt x="74017" y="37526"/>
                </a:cubicBezTo>
                <a:cubicBezTo>
                  <a:pt x="74700" y="36042"/>
                  <a:pt x="72991" y="36890"/>
                  <a:pt x="74188" y="34982"/>
                </a:cubicBezTo>
                <a:cubicBezTo>
                  <a:pt x="75555" y="33074"/>
                  <a:pt x="76068" y="33286"/>
                  <a:pt x="76068" y="32650"/>
                </a:cubicBezTo>
                <a:cubicBezTo>
                  <a:pt x="76068" y="32226"/>
                  <a:pt x="73162" y="32014"/>
                  <a:pt x="71452" y="33710"/>
                </a:cubicBezTo>
                <a:cubicBezTo>
                  <a:pt x="69230" y="34982"/>
                  <a:pt x="70256" y="35194"/>
                  <a:pt x="69743" y="36042"/>
                </a:cubicBezTo>
                <a:cubicBezTo>
                  <a:pt x="69059" y="36678"/>
                  <a:pt x="69230" y="37314"/>
                  <a:pt x="69059" y="39010"/>
                </a:cubicBezTo>
                <a:cubicBezTo>
                  <a:pt x="68717" y="40494"/>
                  <a:pt x="69059" y="40494"/>
                  <a:pt x="70769" y="40918"/>
                </a:cubicBezTo>
                <a:cubicBezTo>
                  <a:pt x="72649" y="40918"/>
                  <a:pt x="73162" y="41978"/>
                  <a:pt x="71623" y="41554"/>
                </a:cubicBezTo>
                <a:cubicBezTo>
                  <a:pt x="70085" y="41554"/>
                  <a:pt x="69230" y="41554"/>
                  <a:pt x="70769" y="43250"/>
                </a:cubicBezTo>
                <a:cubicBezTo>
                  <a:pt x="72136" y="44946"/>
                  <a:pt x="73162" y="43250"/>
                  <a:pt x="74017" y="44098"/>
                </a:cubicBezTo>
                <a:cubicBezTo>
                  <a:pt x="75042" y="45159"/>
                  <a:pt x="76068" y="44522"/>
                  <a:pt x="76239" y="44522"/>
                </a:cubicBezTo>
                <a:cubicBezTo>
                  <a:pt x="77948" y="45159"/>
                  <a:pt x="77606" y="44098"/>
                  <a:pt x="79145" y="45159"/>
                </a:cubicBezTo>
                <a:cubicBezTo>
                  <a:pt x="80512" y="45583"/>
                  <a:pt x="80000" y="43886"/>
                  <a:pt x="81025" y="45159"/>
                </a:cubicBezTo>
                <a:close/>
                <a:moveTo>
                  <a:pt x="88034" y="53003"/>
                </a:moveTo>
                <a:cubicBezTo>
                  <a:pt x="90085" y="52791"/>
                  <a:pt x="89059" y="51731"/>
                  <a:pt x="89401" y="50459"/>
                </a:cubicBezTo>
                <a:cubicBezTo>
                  <a:pt x="89572" y="49399"/>
                  <a:pt x="87179" y="49187"/>
                  <a:pt x="86666" y="50883"/>
                </a:cubicBezTo>
                <a:cubicBezTo>
                  <a:pt x="86153" y="52155"/>
                  <a:pt x="85982" y="53003"/>
                  <a:pt x="88034" y="53003"/>
                </a:cubicBezTo>
                <a:close/>
                <a:moveTo>
                  <a:pt x="75042" y="64028"/>
                </a:moveTo>
                <a:cubicBezTo>
                  <a:pt x="75042" y="65300"/>
                  <a:pt x="76068" y="65512"/>
                  <a:pt x="76581" y="64240"/>
                </a:cubicBezTo>
                <a:cubicBezTo>
                  <a:pt x="76752" y="63392"/>
                  <a:pt x="77435" y="64240"/>
                  <a:pt x="77606" y="62968"/>
                </a:cubicBezTo>
                <a:cubicBezTo>
                  <a:pt x="77948" y="61908"/>
                  <a:pt x="79145" y="62332"/>
                  <a:pt x="79145" y="62968"/>
                </a:cubicBezTo>
                <a:cubicBezTo>
                  <a:pt x="79487" y="64028"/>
                  <a:pt x="79658" y="63392"/>
                  <a:pt x="80683" y="63604"/>
                </a:cubicBezTo>
                <a:cubicBezTo>
                  <a:pt x="81538" y="64240"/>
                  <a:pt x="82564" y="63604"/>
                  <a:pt x="82051" y="62544"/>
                </a:cubicBezTo>
                <a:cubicBezTo>
                  <a:pt x="81196" y="61696"/>
                  <a:pt x="81538" y="62544"/>
                  <a:pt x="80683" y="62332"/>
                </a:cubicBezTo>
                <a:cubicBezTo>
                  <a:pt x="80000" y="61908"/>
                  <a:pt x="80512" y="60636"/>
                  <a:pt x="79145" y="60424"/>
                </a:cubicBezTo>
                <a:cubicBezTo>
                  <a:pt x="77948" y="59575"/>
                  <a:pt x="77094" y="57667"/>
                  <a:pt x="76239" y="58727"/>
                </a:cubicBezTo>
                <a:cubicBezTo>
                  <a:pt x="75726" y="59363"/>
                  <a:pt x="75555" y="56819"/>
                  <a:pt x="74700" y="57031"/>
                </a:cubicBezTo>
                <a:cubicBezTo>
                  <a:pt x="74188" y="57455"/>
                  <a:pt x="73675" y="60000"/>
                  <a:pt x="74017" y="61696"/>
                </a:cubicBezTo>
                <a:cubicBezTo>
                  <a:pt x="74188" y="62968"/>
                  <a:pt x="72478" y="62544"/>
                  <a:pt x="72991" y="63604"/>
                </a:cubicBezTo>
                <a:cubicBezTo>
                  <a:pt x="73162" y="64240"/>
                  <a:pt x="75213" y="62968"/>
                  <a:pt x="75042" y="64028"/>
                </a:cubicBezTo>
                <a:close/>
                <a:moveTo>
                  <a:pt x="77435" y="67632"/>
                </a:moveTo>
                <a:cubicBezTo>
                  <a:pt x="76581" y="66572"/>
                  <a:pt x="79145" y="64876"/>
                  <a:pt x="80000" y="65512"/>
                </a:cubicBezTo>
                <a:cubicBezTo>
                  <a:pt x="80683" y="65936"/>
                  <a:pt x="78119" y="68480"/>
                  <a:pt x="77435" y="67632"/>
                </a:cubicBezTo>
                <a:close/>
                <a:moveTo>
                  <a:pt x="82051" y="34346"/>
                </a:moveTo>
                <a:cubicBezTo>
                  <a:pt x="82564" y="34558"/>
                  <a:pt x="81709" y="35194"/>
                  <a:pt x="83076" y="36042"/>
                </a:cubicBezTo>
                <a:cubicBezTo>
                  <a:pt x="84102" y="36254"/>
                  <a:pt x="84102" y="35194"/>
                  <a:pt x="85470" y="35618"/>
                </a:cubicBezTo>
                <a:cubicBezTo>
                  <a:pt x="86666" y="36042"/>
                  <a:pt x="88205" y="36042"/>
                  <a:pt x="87692" y="35194"/>
                </a:cubicBezTo>
                <a:cubicBezTo>
                  <a:pt x="87008" y="34346"/>
                  <a:pt x="86495" y="33074"/>
                  <a:pt x="84615" y="33074"/>
                </a:cubicBezTo>
                <a:cubicBezTo>
                  <a:pt x="82735" y="33286"/>
                  <a:pt x="81538" y="32014"/>
                  <a:pt x="81538" y="33286"/>
                </a:cubicBezTo>
                <a:cubicBezTo>
                  <a:pt x="81538" y="33922"/>
                  <a:pt x="81196" y="33922"/>
                  <a:pt x="82051" y="34346"/>
                </a:cubicBezTo>
                <a:close/>
                <a:moveTo>
                  <a:pt x="60170" y="23109"/>
                </a:moveTo>
                <a:cubicBezTo>
                  <a:pt x="61025" y="24169"/>
                  <a:pt x="61538" y="23745"/>
                  <a:pt x="61709" y="24381"/>
                </a:cubicBezTo>
                <a:cubicBezTo>
                  <a:pt x="61709" y="25017"/>
                  <a:pt x="63076" y="24805"/>
                  <a:pt x="64102" y="24381"/>
                </a:cubicBezTo>
                <a:cubicBezTo>
                  <a:pt x="65470" y="24169"/>
                  <a:pt x="65128" y="25017"/>
                  <a:pt x="66153" y="25653"/>
                </a:cubicBezTo>
                <a:cubicBezTo>
                  <a:pt x="67008" y="26501"/>
                  <a:pt x="65128" y="27349"/>
                  <a:pt x="65982" y="27985"/>
                </a:cubicBezTo>
                <a:cubicBezTo>
                  <a:pt x="66666" y="28409"/>
                  <a:pt x="65982" y="29045"/>
                  <a:pt x="66666" y="29681"/>
                </a:cubicBezTo>
                <a:cubicBezTo>
                  <a:pt x="67692" y="30318"/>
                  <a:pt x="67179" y="29257"/>
                  <a:pt x="68717" y="30106"/>
                </a:cubicBezTo>
                <a:cubicBezTo>
                  <a:pt x="70256" y="30954"/>
                  <a:pt x="71111" y="28621"/>
                  <a:pt x="71111" y="29681"/>
                </a:cubicBezTo>
                <a:cubicBezTo>
                  <a:pt x="70769" y="30954"/>
                  <a:pt x="71965" y="30318"/>
                  <a:pt x="75213" y="30318"/>
                </a:cubicBezTo>
                <a:cubicBezTo>
                  <a:pt x="78974" y="30742"/>
                  <a:pt x="78119" y="28621"/>
                  <a:pt x="78461" y="29681"/>
                </a:cubicBezTo>
                <a:cubicBezTo>
                  <a:pt x="78632" y="30742"/>
                  <a:pt x="82564" y="30742"/>
                  <a:pt x="82564" y="29681"/>
                </a:cubicBezTo>
                <a:cubicBezTo>
                  <a:pt x="82564" y="28621"/>
                  <a:pt x="84102" y="29257"/>
                  <a:pt x="83076" y="28621"/>
                </a:cubicBezTo>
                <a:cubicBezTo>
                  <a:pt x="82222" y="27985"/>
                  <a:pt x="83589" y="27985"/>
                  <a:pt x="83076" y="27137"/>
                </a:cubicBezTo>
                <a:cubicBezTo>
                  <a:pt x="82564" y="26077"/>
                  <a:pt x="81538" y="26713"/>
                  <a:pt x="81196" y="26077"/>
                </a:cubicBezTo>
                <a:cubicBezTo>
                  <a:pt x="80683" y="25441"/>
                  <a:pt x="79145" y="26077"/>
                  <a:pt x="76581" y="26501"/>
                </a:cubicBezTo>
                <a:cubicBezTo>
                  <a:pt x="73675" y="26713"/>
                  <a:pt x="75042" y="27773"/>
                  <a:pt x="73504" y="27137"/>
                </a:cubicBezTo>
                <a:cubicBezTo>
                  <a:pt x="72136" y="26501"/>
                  <a:pt x="72136" y="27773"/>
                  <a:pt x="71111" y="26713"/>
                </a:cubicBezTo>
                <a:cubicBezTo>
                  <a:pt x="70256" y="25653"/>
                  <a:pt x="70769" y="27349"/>
                  <a:pt x="70256" y="27137"/>
                </a:cubicBezTo>
                <a:cubicBezTo>
                  <a:pt x="69572" y="26713"/>
                  <a:pt x="70256" y="26501"/>
                  <a:pt x="69572" y="25653"/>
                </a:cubicBezTo>
                <a:cubicBezTo>
                  <a:pt x="69059" y="24805"/>
                  <a:pt x="68547" y="25653"/>
                  <a:pt x="68547" y="25017"/>
                </a:cubicBezTo>
                <a:cubicBezTo>
                  <a:pt x="68205" y="24381"/>
                  <a:pt x="70256" y="25441"/>
                  <a:pt x="70085" y="24805"/>
                </a:cubicBezTo>
                <a:cubicBezTo>
                  <a:pt x="70085" y="24169"/>
                  <a:pt x="69059" y="24381"/>
                  <a:pt x="68205" y="23745"/>
                </a:cubicBezTo>
                <a:cubicBezTo>
                  <a:pt x="67179" y="23109"/>
                  <a:pt x="67008" y="23109"/>
                  <a:pt x="65641" y="23533"/>
                </a:cubicBezTo>
                <a:cubicBezTo>
                  <a:pt x="64615" y="23745"/>
                  <a:pt x="64273" y="22049"/>
                  <a:pt x="63589" y="22049"/>
                </a:cubicBezTo>
                <a:cubicBezTo>
                  <a:pt x="63076" y="22473"/>
                  <a:pt x="61538" y="21837"/>
                  <a:pt x="59999" y="21837"/>
                </a:cubicBezTo>
                <a:cubicBezTo>
                  <a:pt x="59316" y="21837"/>
                  <a:pt x="59316" y="22473"/>
                  <a:pt x="60170" y="23109"/>
                </a:cubicBezTo>
                <a:close/>
                <a:moveTo>
                  <a:pt x="61025" y="29045"/>
                </a:moveTo>
                <a:cubicBezTo>
                  <a:pt x="62222" y="29257"/>
                  <a:pt x="61709" y="30106"/>
                  <a:pt x="63589" y="30106"/>
                </a:cubicBezTo>
                <a:cubicBezTo>
                  <a:pt x="65128" y="30106"/>
                  <a:pt x="64615" y="28409"/>
                  <a:pt x="63760" y="27349"/>
                </a:cubicBezTo>
                <a:cubicBezTo>
                  <a:pt x="62735" y="26077"/>
                  <a:pt x="61538" y="26501"/>
                  <a:pt x="60683" y="27773"/>
                </a:cubicBezTo>
                <a:cubicBezTo>
                  <a:pt x="60512" y="28409"/>
                  <a:pt x="59999" y="29045"/>
                  <a:pt x="61025" y="29045"/>
                </a:cubicBezTo>
                <a:close/>
                <a:moveTo>
                  <a:pt x="63760" y="37526"/>
                </a:moveTo>
                <a:cubicBezTo>
                  <a:pt x="63760" y="36890"/>
                  <a:pt x="64615" y="37314"/>
                  <a:pt x="64102" y="36254"/>
                </a:cubicBezTo>
                <a:cubicBezTo>
                  <a:pt x="63589" y="34982"/>
                  <a:pt x="66153" y="36890"/>
                  <a:pt x="66666" y="35194"/>
                </a:cubicBezTo>
                <a:cubicBezTo>
                  <a:pt x="67521" y="33710"/>
                  <a:pt x="69572" y="32650"/>
                  <a:pt x="68034" y="32014"/>
                </a:cubicBezTo>
                <a:cubicBezTo>
                  <a:pt x="66666" y="31378"/>
                  <a:pt x="66666" y="32226"/>
                  <a:pt x="65982" y="32014"/>
                </a:cubicBezTo>
                <a:cubicBezTo>
                  <a:pt x="65128" y="31378"/>
                  <a:pt x="64786" y="30954"/>
                  <a:pt x="62735" y="31590"/>
                </a:cubicBezTo>
                <a:cubicBezTo>
                  <a:pt x="61025" y="32014"/>
                  <a:pt x="62222" y="32650"/>
                  <a:pt x="61709" y="32650"/>
                </a:cubicBezTo>
                <a:cubicBezTo>
                  <a:pt x="61196" y="32650"/>
                  <a:pt x="61196" y="32650"/>
                  <a:pt x="61196" y="34558"/>
                </a:cubicBezTo>
                <a:cubicBezTo>
                  <a:pt x="61196" y="36254"/>
                  <a:pt x="62051" y="36254"/>
                  <a:pt x="62051" y="37314"/>
                </a:cubicBezTo>
                <a:cubicBezTo>
                  <a:pt x="61709" y="38586"/>
                  <a:pt x="62564" y="37526"/>
                  <a:pt x="63247" y="38162"/>
                </a:cubicBezTo>
                <a:cubicBezTo>
                  <a:pt x="63589" y="38162"/>
                  <a:pt x="63589" y="38162"/>
                  <a:pt x="63760" y="37526"/>
                </a:cubicBezTo>
                <a:close/>
                <a:moveTo>
                  <a:pt x="54188" y="34346"/>
                </a:moveTo>
                <a:cubicBezTo>
                  <a:pt x="55213" y="34558"/>
                  <a:pt x="55213" y="35618"/>
                  <a:pt x="54529" y="36042"/>
                </a:cubicBezTo>
                <a:cubicBezTo>
                  <a:pt x="53333" y="36678"/>
                  <a:pt x="52649" y="33922"/>
                  <a:pt x="51794" y="35194"/>
                </a:cubicBezTo>
                <a:cubicBezTo>
                  <a:pt x="51282" y="36042"/>
                  <a:pt x="52649" y="37314"/>
                  <a:pt x="54188" y="37950"/>
                </a:cubicBezTo>
                <a:cubicBezTo>
                  <a:pt x="56068" y="38586"/>
                  <a:pt x="56239" y="40494"/>
                  <a:pt x="57264" y="40494"/>
                </a:cubicBezTo>
                <a:cubicBezTo>
                  <a:pt x="58290" y="40918"/>
                  <a:pt x="57606" y="39222"/>
                  <a:pt x="58290" y="39646"/>
                </a:cubicBezTo>
                <a:cubicBezTo>
                  <a:pt x="58803" y="39858"/>
                  <a:pt x="60170" y="39222"/>
                  <a:pt x="60170" y="37950"/>
                </a:cubicBezTo>
                <a:cubicBezTo>
                  <a:pt x="60170" y="36890"/>
                  <a:pt x="60683" y="37526"/>
                  <a:pt x="60512" y="36254"/>
                </a:cubicBezTo>
                <a:cubicBezTo>
                  <a:pt x="60170" y="35194"/>
                  <a:pt x="59999" y="36890"/>
                  <a:pt x="59316" y="35618"/>
                </a:cubicBezTo>
                <a:cubicBezTo>
                  <a:pt x="58632" y="34558"/>
                  <a:pt x="57264" y="34558"/>
                  <a:pt x="58803" y="34346"/>
                </a:cubicBezTo>
                <a:cubicBezTo>
                  <a:pt x="60170" y="33922"/>
                  <a:pt x="58290" y="33710"/>
                  <a:pt x="59316" y="33286"/>
                </a:cubicBezTo>
                <a:cubicBezTo>
                  <a:pt x="60170" y="32650"/>
                  <a:pt x="59145" y="32014"/>
                  <a:pt x="57777" y="32650"/>
                </a:cubicBezTo>
                <a:cubicBezTo>
                  <a:pt x="56581" y="33286"/>
                  <a:pt x="55726" y="31590"/>
                  <a:pt x="54700" y="32226"/>
                </a:cubicBezTo>
                <a:cubicBezTo>
                  <a:pt x="53675" y="33074"/>
                  <a:pt x="52649" y="33286"/>
                  <a:pt x="54017" y="33922"/>
                </a:cubicBezTo>
                <a:cubicBezTo>
                  <a:pt x="54188" y="34346"/>
                  <a:pt x="54188" y="34346"/>
                  <a:pt x="54188" y="34346"/>
                </a:cubicBezTo>
                <a:close/>
                <a:moveTo>
                  <a:pt x="58290" y="48763"/>
                </a:moveTo>
                <a:cubicBezTo>
                  <a:pt x="59316" y="48763"/>
                  <a:pt x="59999" y="49823"/>
                  <a:pt x="60683" y="49187"/>
                </a:cubicBezTo>
                <a:cubicBezTo>
                  <a:pt x="61538" y="48127"/>
                  <a:pt x="61538" y="49187"/>
                  <a:pt x="62051" y="48551"/>
                </a:cubicBezTo>
                <a:cubicBezTo>
                  <a:pt x="62222" y="47491"/>
                  <a:pt x="61538" y="48551"/>
                  <a:pt x="61025" y="47491"/>
                </a:cubicBezTo>
                <a:cubicBezTo>
                  <a:pt x="60512" y="46219"/>
                  <a:pt x="60512" y="47067"/>
                  <a:pt x="59316" y="45795"/>
                </a:cubicBezTo>
                <a:cubicBezTo>
                  <a:pt x="58290" y="44522"/>
                  <a:pt x="58119" y="44946"/>
                  <a:pt x="57264" y="46431"/>
                </a:cubicBezTo>
                <a:cubicBezTo>
                  <a:pt x="56581" y="47915"/>
                  <a:pt x="55555" y="46855"/>
                  <a:pt x="56239" y="47915"/>
                </a:cubicBezTo>
                <a:cubicBezTo>
                  <a:pt x="56581" y="48551"/>
                  <a:pt x="57264" y="48551"/>
                  <a:pt x="58290" y="48763"/>
                </a:cubicBezTo>
                <a:close/>
                <a:moveTo>
                  <a:pt x="55726" y="17173"/>
                </a:moveTo>
                <a:cubicBezTo>
                  <a:pt x="56581" y="16749"/>
                  <a:pt x="56581" y="15901"/>
                  <a:pt x="55042" y="15901"/>
                </a:cubicBezTo>
                <a:cubicBezTo>
                  <a:pt x="53333" y="15477"/>
                  <a:pt x="54700" y="15477"/>
                  <a:pt x="53333" y="14840"/>
                </a:cubicBezTo>
                <a:cubicBezTo>
                  <a:pt x="52136" y="14204"/>
                  <a:pt x="52307" y="15901"/>
                  <a:pt x="51794" y="14840"/>
                </a:cubicBezTo>
                <a:cubicBezTo>
                  <a:pt x="51623" y="13780"/>
                  <a:pt x="48205" y="12932"/>
                  <a:pt x="47863" y="14416"/>
                </a:cubicBezTo>
                <a:cubicBezTo>
                  <a:pt x="47692" y="15901"/>
                  <a:pt x="49059" y="14204"/>
                  <a:pt x="49059" y="15477"/>
                </a:cubicBezTo>
                <a:cubicBezTo>
                  <a:pt x="48717" y="16537"/>
                  <a:pt x="49572" y="14840"/>
                  <a:pt x="50085" y="15901"/>
                </a:cubicBezTo>
                <a:cubicBezTo>
                  <a:pt x="50769" y="17173"/>
                  <a:pt x="49572" y="16537"/>
                  <a:pt x="48717" y="16749"/>
                </a:cubicBezTo>
                <a:cubicBezTo>
                  <a:pt x="48547" y="16749"/>
                  <a:pt x="48717" y="18233"/>
                  <a:pt x="50598" y="17385"/>
                </a:cubicBezTo>
                <a:cubicBezTo>
                  <a:pt x="52649" y="16749"/>
                  <a:pt x="50769" y="17809"/>
                  <a:pt x="52820" y="17385"/>
                </a:cubicBezTo>
                <a:cubicBezTo>
                  <a:pt x="54700" y="17173"/>
                  <a:pt x="53333" y="19717"/>
                  <a:pt x="56068" y="19081"/>
                </a:cubicBezTo>
                <a:cubicBezTo>
                  <a:pt x="58119" y="18869"/>
                  <a:pt x="55213" y="17173"/>
                  <a:pt x="55726" y="17173"/>
                </a:cubicBezTo>
                <a:close/>
                <a:moveTo>
                  <a:pt x="71452" y="24169"/>
                </a:moveTo>
                <a:cubicBezTo>
                  <a:pt x="71965" y="24805"/>
                  <a:pt x="72991" y="24169"/>
                  <a:pt x="73504" y="23745"/>
                </a:cubicBezTo>
                <a:cubicBezTo>
                  <a:pt x="74017" y="23533"/>
                  <a:pt x="74188" y="24381"/>
                  <a:pt x="75726" y="24381"/>
                </a:cubicBezTo>
                <a:cubicBezTo>
                  <a:pt x="77435" y="24381"/>
                  <a:pt x="76239" y="23533"/>
                  <a:pt x="77948" y="24169"/>
                </a:cubicBezTo>
                <a:cubicBezTo>
                  <a:pt x="79658" y="24805"/>
                  <a:pt x="81709" y="22685"/>
                  <a:pt x="81538" y="24169"/>
                </a:cubicBezTo>
                <a:cubicBezTo>
                  <a:pt x="81025" y="25441"/>
                  <a:pt x="82735" y="24805"/>
                  <a:pt x="83931" y="24169"/>
                </a:cubicBezTo>
                <a:cubicBezTo>
                  <a:pt x="84615" y="23533"/>
                  <a:pt x="85470" y="24381"/>
                  <a:pt x="85641" y="22685"/>
                </a:cubicBezTo>
                <a:cubicBezTo>
                  <a:pt x="85641" y="21413"/>
                  <a:pt x="83931" y="22685"/>
                  <a:pt x="83931" y="21837"/>
                </a:cubicBezTo>
                <a:cubicBezTo>
                  <a:pt x="83931" y="20777"/>
                  <a:pt x="84444" y="21201"/>
                  <a:pt x="85128" y="20353"/>
                </a:cubicBezTo>
                <a:cubicBezTo>
                  <a:pt x="86153" y="19717"/>
                  <a:pt x="83931" y="18233"/>
                  <a:pt x="86153" y="18869"/>
                </a:cubicBezTo>
                <a:cubicBezTo>
                  <a:pt x="88034" y="19081"/>
                  <a:pt x="89572" y="17809"/>
                  <a:pt x="89059" y="17173"/>
                </a:cubicBezTo>
                <a:cubicBezTo>
                  <a:pt x="88547" y="16537"/>
                  <a:pt x="90940" y="16537"/>
                  <a:pt x="88717" y="15477"/>
                </a:cubicBezTo>
                <a:cubicBezTo>
                  <a:pt x="87008" y="14204"/>
                  <a:pt x="90427" y="15901"/>
                  <a:pt x="90085" y="14840"/>
                </a:cubicBezTo>
                <a:cubicBezTo>
                  <a:pt x="89572" y="13780"/>
                  <a:pt x="89059" y="14204"/>
                  <a:pt x="88205" y="14204"/>
                </a:cubicBezTo>
                <a:cubicBezTo>
                  <a:pt x="87179" y="14204"/>
                  <a:pt x="85641" y="14416"/>
                  <a:pt x="86153" y="13780"/>
                </a:cubicBezTo>
                <a:cubicBezTo>
                  <a:pt x="86666" y="13568"/>
                  <a:pt x="89914" y="13568"/>
                  <a:pt x="91111" y="13144"/>
                </a:cubicBezTo>
                <a:cubicBezTo>
                  <a:pt x="92649" y="13144"/>
                  <a:pt x="91452" y="11872"/>
                  <a:pt x="92136" y="12508"/>
                </a:cubicBezTo>
                <a:cubicBezTo>
                  <a:pt x="92991" y="12932"/>
                  <a:pt x="94188" y="12932"/>
                  <a:pt x="95042" y="11872"/>
                </a:cubicBezTo>
                <a:cubicBezTo>
                  <a:pt x="95897" y="10600"/>
                  <a:pt x="97606" y="9540"/>
                  <a:pt x="101025" y="7844"/>
                </a:cubicBezTo>
                <a:cubicBezTo>
                  <a:pt x="104444" y="6360"/>
                  <a:pt x="104444" y="5936"/>
                  <a:pt x="101538" y="6360"/>
                </a:cubicBezTo>
                <a:cubicBezTo>
                  <a:pt x="98974" y="6572"/>
                  <a:pt x="101025" y="5936"/>
                  <a:pt x="102564" y="5300"/>
                </a:cubicBezTo>
                <a:cubicBezTo>
                  <a:pt x="104444" y="4876"/>
                  <a:pt x="108376" y="4028"/>
                  <a:pt x="108376" y="3392"/>
                </a:cubicBezTo>
                <a:cubicBezTo>
                  <a:pt x="108376" y="2332"/>
                  <a:pt x="105470" y="2968"/>
                  <a:pt x="105470" y="1908"/>
                </a:cubicBezTo>
                <a:cubicBezTo>
                  <a:pt x="105641" y="1272"/>
                  <a:pt x="103418" y="1060"/>
                  <a:pt x="102905" y="1060"/>
                </a:cubicBezTo>
                <a:cubicBezTo>
                  <a:pt x="102051" y="1272"/>
                  <a:pt x="102051" y="1060"/>
                  <a:pt x="101025" y="1696"/>
                </a:cubicBezTo>
                <a:cubicBezTo>
                  <a:pt x="99658" y="2332"/>
                  <a:pt x="97606" y="1908"/>
                  <a:pt x="98974" y="1696"/>
                </a:cubicBezTo>
                <a:cubicBezTo>
                  <a:pt x="100000" y="1696"/>
                  <a:pt x="101538" y="1060"/>
                  <a:pt x="99658" y="1060"/>
                </a:cubicBezTo>
                <a:cubicBezTo>
                  <a:pt x="97606" y="1060"/>
                  <a:pt x="97094" y="0"/>
                  <a:pt x="95555" y="424"/>
                </a:cubicBezTo>
                <a:cubicBezTo>
                  <a:pt x="94017" y="636"/>
                  <a:pt x="93675" y="0"/>
                  <a:pt x="92136" y="636"/>
                </a:cubicBezTo>
                <a:cubicBezTo>
                  <a:pt x="90940" y="1272"/>
                  <a:pt x="89401" y="0"/>
                  <a:pt x="85982" y="1060"/>
                </a:cubicBezTo>
                <a:cubicBezTo>
                  <a:pt x="84444" y="1696"/>
                  <a:pt x="83418" y="424"/>
                  <a:pt x="82222" y="1060"/>
                </a:cubicBezTo>
                <a:cubicBezTo>
                  <a:pt x="81196" y="1696"/>
                  <a:pt x="80000" y="636"/>
                  <a:pt x="81025" y="1696"/>
                </a:cubicBezTo>
                <a:cubicBezTo>
                  <a:pt x="82051" y="2968"/>
                  <a:pt x="79658" y="1272"/>
                  <a:pt x="79487" y="2332"/>
                </a:cubicBezTo>
                <a:cubicBezTo>
                  <a:pt x="79145" y="3392"/>
                  <a:pt x="78632" y="3392"/>
                  <a:pt x="77094" y="2968"/>
                </a:cubicBezTo>
                <a:cubicBezTo>
                  <a:pt x="75555" y="2968"/>
                  <a:pt x="77435" y="2756"/>
                  <a:pt x="75555" y="2332"/>
                </a:cubicBezTo>
                <a:cubicBezTo>
                  <a:pt x="73675" y="2332"/>
                  <a:pt x="76239" y="3392"/>
                  <a:pt x="74188" y="3392"/>
                </a:cubicBezTo>
                <a:cubicBezTo>
                  <a:pt x="72136" y="3604"/>
                  <a:pt x="76068" y="4028"/>
                  <a:pt x="75042" y="4240"/>
                </a:cubicBezTo>
                <a:cubicBezTo>
                  <a:pt x="74017" y="4664"/>
                  <a:pt x="73504" y="3604"/>
                  <a:pt x="71623" y="4028"/>
                </a:cubicBezTo>
                <a:cubicBezTo>
                  <a:pt x="69743" y="4240"/>
                  <a:pt x="70598" y="4876"/>
                  <a:pt x="69230" y="4664"/>
                </a:cubicBezTo>
                <a:cubicBezTo>
                  <a:pt x="68034" y="4240"/>
                  <a:pt x="66495" y="5300"/>
                  <a:pt x="66666" y="5936"/>
                </a:cubicBezTo>
                <a:cubicBezTo>
                  <a:pt x="67179" y="6996"/>
                  <a:pt x="67521" y="5936"/>
                  <a:pt x="68205" y="6572"/>
                </a:cubicBezTo>
                <a:cubicBezTo>
                  <a:pt x="68717" y="6996"/>
                  <a:pt x="69743" y="6360"/>
                  <a:pt x="69230" y="6996"/>
                </a:cubicBezTo>
                <a:cubicBezTo>
                  <a:pt x="68547" y="7632"/>
                  <a:pt x="68547" y="8268"/>
                  <a:pt x="69743" y="8692"/>
                </a:cubicBezTo>
                <a:cubicBezTo>
                  <a:pt x="71111" y="8904"/>
                  <a:pt x="71965" y="9964"/>
                  <a:pt x="73162" y="8904"/>
                </a:cubicBezTo>
                <a:cubicBezTo>
                  <a:pt x="74529" y="7844"/>
                  <a:pt x="76068" y="7844"/>
                  <a:pt x="75042" y="8268"/>
                </a:cubicBezTo>
                <a:cubicBezTo>
                  <a:pt x="74017" y="8692"/>
                  <a:pt x="71965" y="9540"/>
                  <a:pt x="75213" y="9964"/>
                </a:cubicBezTo>
                <a:cubicBezTo>
                  <a:pt x="78461" y="10176"/>
                  <a:pt x="77435" y="8692"/>
                  <a:pt x="78461" y="9328"/>
                </a:cubicBezTo>
                <a:cubicBezTo>
                  <a:pt x="79145" y="9964"/>
                  <a:pt x="82051" y="9328"/>
                  <a:pt x="84102" y="7632"/>
                </a:cubicBezTo>
                <a:cubicBezTo>
                  <a:pt x="86495" y="6360"/>
                  <a:pt x="83418" y="8268"/>
                  <a:pt x="85470" y="8692"/>
                </a:cubicBezTo>
                <a:cubicBezTo>
                  <a:pt x="87521" y="8692"/>
                  <a:pt x="85641" y="8904"/>
                  <a:pt x="81709" y="9964"/>
                </a:cubicBezTo>
                <a:cubicBezTo>
                  <a:pt x="78119" y="10812"/>
                  <a:pt x="78119" y="10176"/>
                  <a:pt x="79658" y="11448"/>
                </a:cubicBezTo>
                <a:cubicBezTo>
                  <a:pt x="81025" y="12932"/>
                  <a:pt x="82735" y="12932"/>
                  <a:pt x="81196" y="13144"/>
                </a:cubicBezTo>
                <a:cubicBezTo>
                  <a:pt x="80000" y="13568"/>
                  <a:pt x="80000" y="12296"/>
                  <a:pt x="78632" y="11236"/>
                </a:cubicBezTo>
                <a:cubicBezTo>
                  <a:pt x="77435" y="10600"/>
                  <a:pt x="73675" y="9964"/>
                  <a:pt x="73675" y="11236"/>
                </a:cubicBezTo>
                <a:cubicBezTo>
                  <a:pt x="73675" y="12296"/>
                  <a:pt x="73675" y="12296"/>
                  <a:pt x="75042" y="12508"/>
                </a:cubicBezTo>
                <a:cubicBezTo>
                  <a:pt x="76239" y="13144"/>
                  <a:pt x="77435" y="14416"/>
                  <a:pt x="76581" y="14416"/>
                </a:cubicBezTo>
                <a:cubicBezTo>
                  <a:pt x="76068" y="14840"/>
                  <a:pt x="76068" y="15265"/>
                  <a:pt x="77435" y="15477"/>
                </a:cubicBezTo>
                <a:cubicBezTo>
                  <a:pt x="78974" y="15477"/>
                  <a:pt x="79487" y="16113"/>
                  <a:pt x="78119" y="15901"/>
                </a:cubicBezTo>
                <a:cubicBezTo>
                  <a:pt x="76581" y="15477"/>
                  <a:pt x="73504" y="15901"/>
                  <a:pt x="72991" y="16537"/>
                </a:cubicBezTo>
                <a:cubicBezTo>
                  <a:pt x="72136" y="17173"/>
                  <a:pt x="71965" y="18445"/>
                  <a:pt x="73162" y="18233"/>
                </a:cubicBezTo>
                <a:cubicBezTo>
                  <a:pt x="74529" y="17809"/>
                  <a:pt x="73675" y="18445"/>
                  <a:pt x="75042" y="18233"/>
                </a:cubicBezTo>
                <a:cubicBezTo>
                  <a:pt x="76068" y="17809"/>
                  <a:pt x="74700" y="18445"/>
                  <a:pt x="75555" y="19717"/>
                </a:cubicBezTo>
                <a:cubicBezTo>
                  <a:pt x="76239" y="21201"/>
                  <a:pt x="78119" y="19717"/>
                  <a:pt x="78974" y="18445"/>
                </a:cubicBezTo>
                <a:cubicBezTo>
                  <a:pt x="79658" y="17385"/>
                  <a:pt x="78119" y="21201"/>
                  <a:pt x="76239" y="21201"/>
                </a:cubicBezTo>
                <a:cubicBezTo>
                  <a:pt x="74700" y="20777"/>
                  <a:pt x="74700" y="18869"/>
                  <a:pt x="72991" y="18869"/>
                </a:cubicBezTo>
                <a:cubicBezTo>
                  <a:pt x="71452" y="18869"/>
                  <a:pt x="71111" y="19081"/>
                  <a:pt x="71623" y="20141"/>
                </a:cubicBezTo>
                <a:cubicBezTo>
                  <a:pt x="72478" y="20777"/>
                  <a:pt x="73675" y="21837"/>
                  <a:pt x="72136" y="21837"/>
                </a:cubicBezTo>
                <a:cubicBezTo>
                  <a:pt x="70256" y="21837"/>
                  <a:pt x="69059" y="22685"/>
                  <a:pt x="69743" y="23745"/>
                </a:cubicBezTo>
                <a:cubicBezTo>
                  <a:pt x="70256" y="24169"/>
                  <a:pt x="70598" y="23533"/>
                  <a:pt x="71452" y="24169"/>
                </a:cubicBezTo>
                <a:close/>
                <a:moveTo>
                  <a:pt x="63076" y="7844"/>
                </a:moveTo>
                <a:cubicBezTo>
                  <a:pt x="62222" y="7844"/>
                  <a:pt x="62051" y="7844"/>
                  <a:pt x="61709" y="8904"/>
                </a:cubicBezTo>
                <a:cubicBezTo>
                  <a:pt x="61538" y="9540"/>
                  <a:pt x="61025" y="9328"/>
                  <a:pt x="60512" y="10176"/>
                </a:cubicBezTo>
                <a:cubicBezTo>
                  <a:pt x="59999" y="11236"/>
                  <a:pt x="63076" y="10812"/>
                  <a:pt x="62735" y="11236"/>
                </a:cubicBezTo>
                <a:cubicBezTo>
                  <a:pt x="62564" y="12296"/>
                  <a:pt x="59999" y="10600"/>
                  <a:pt x="59999" y="11448"/>
                </a:cubicBezTo>
                <a:cubicBezTo>
                  <a:pt x="59658" y="12296"/>
                  <a:pt x="60512" y="12508"/>
                  <a:pt x="61709" y="13780"/>
                </a:cubicBezTo>
                <a:cubicBezTo>
                  <a:pt x="62735" y="14840"/>
                  <a:pt x="63760" y="13144"/>
                  <a:pt x="63589" y="13780"/>
                </a:cubicBezTo>
                <a:cubicBezTo>
                  <a:pt x="63076" y="14840"/>
                  <a:pt x="66153" y="13144"/>
                  <a:pt x="65641" y="13780"/>
                </a:cubicBezTo>
                <a:cubicBezTo>
                  <a:pt x="65470" y="14840"/>
                  <a:pt x="62735" y="14840"/>
                  <a:pt x="63589" y="15477"/>
                </a:cubicBezTo>
                <a:cubicBezTo>
                  <a:pt x="64102" y="15901"/>
                  <a:pt x="64615" y="16749"/>
                  <a:pt x="65470" y="17385"/>
                </a:cubicBezTo>
                <a:cubicBezTo>
                  <a:pt x="66495" y="17809"/>
                  <a:pt x="68547" y="18869"/>
                  <a:pt x="68547" y="17809"/>
                </a:cubicBezTo>
                <a:cubicBezTo>
                  <a:pt x="68547" y="16749"/>
                  <a:pt x="69743" y="18445"/>
                  <a:pt x="69572" y="17385"/>
                </a:cubicBezTo>
                <a:cubicBezTo>
                  <a:pt x="69059" y="16113"/>
                  <a:pt x="69572" y="16749"/>
                  <a:pt x="70256" y="17809"/>
                </a:cubicBezTo>
                <a:cubicBezTo>
                  <a:pt x="71111" y="18869"/>
                  <a:pt x="70598" y="16537"/>
                  <a:pt x="71111" y="16749"/>
                </a:cubicBezTo>
                <a:cubicBezTo>
                  <a:pt x="71965" y="16749"/>
                  <a:pt x="72649" y="15901"/>
                  <a:pt x="73675" y="15265"/>
                </a:cubicBezTo>
                <a:cubicBezTo>
                  <a:pt x="74700" y="14416"/>
                  <a:pt x="76581" y="14204"/>
                  <a:pt x="75726" y="13780"/>
                </a:cubicBezTo>
                <a:cubicBezTo>
                  <a:pt x="74700" y="13144"/>
                  <a:pt x="75042" y="12508"/>
                  <a:pt x="73162" y="12932"/>
                </a:cubicBezTo>
                <a:cubicBezTo>
                  <a:pt x="71623" y="13568"/>
                  <a:pt x="74188" y="12508"/>
                  <a:pt x="72991" y="11448"/>
                </a:cubicBezTo>
                <a:cubicBezTo>
                  <a:pt x="71965" y="10812"/>
                  <a:pt x="73162" y="10176"/>
                  <a:pt x="71623" y="9964"/>
                </a:cubicBezTo>
                <a:cubicBezTo>
                  <a:pt x="70085" y="9964"/>
                  <a:pt x="71452" y="11448"/>
                  <a:pt x="70598" y="10812"/>
                </a:cubicBezTo>
                <a:cubicBezTo>
                  <a:pt x="69572" y="10600"/>
                  <a:pt x="70769" y="9964"/>
                  <a:pt x="69230" y="9540"/>
                </a:cubicBezTo>
                <a:cubicBezTo>
                  <a:pt x="67692" y="9540"/>
                  <a:pt x="66495" y="6572"/>
                  <a:pt x="63760" y="6572"/>
                </a:cubicBezTo>
                <a:cubicBezTo>
                  <a:pt x="62051" y="6996"/>
                  <a:pt x="64786" y="7844"/>
                  <a:pt x="63076" y="7844"/>
                </a:cubicBezTo>
                <a:close/>
                <a:moveTo>
                  <a:pt x="58803" y="17809"/>
                </a:moveTo>
                <a:cubicBezTo>
                  <a:pt x="59999" y="18233"/>
                  <a:pt x="57777" y="18445"/>
                  <a:pt x="58803" y="18445"/>
                </a:cubicBezTo>
                <a:cubicBezTo>
                  <a:pt x="59999" y="18869"/>
                  <a:pt x="58803" y="19717"/>
                  <a:pt x="59999" y="19081"/>
                </a:cubicBezTo>
                <a:cubicBezTo>
                  <a:pt x="61025" y="18869"/>
                  <a:pt x="62564" y="18869"/>
                  <a:pt x="62222" y="18233"/>
                </a:cubicBezTo>
                <a:cubicBezTo>
                  <a:pt x="61709" y="17385"/>
                  <a:pt x="63247" y="17385"/>
                  <a:pt x="62222" y="17173"/>
                </a:cubicBezTo>
                <a:cubicBezTo>
                  <a:pt x="61025" y="16537"/>
                  <a:pt x="61196" y="17173"/>
                  <a:pt x="60170" y="16113"/>
                </a:cubicBezTo>
                <a:cubicBezTo>
                  <a:pt x="59145" y="15477"/>
                  <a:pt x="57264" y="15477"/>
                  <a:pt x="57777" y="16113"/>
                </a:cubicBezTo>
                <a:cubicBezTo>
                  <a:pt x="58119" y="17173"/>
                  <a:pt x="56752" y="16749"/>
                  <a:pt x="57777" y="17385"/>
                </a:cubicBezTo>
                <a:cubicBezTo>
                  <a:pt x="58290" y="17385"/>
                  <a:pt x="57777" y="17385"/>
                  <a:pt x="58803" y="17809"/>
                </a:cubicBezTo>
                <a:close/>
                <a:moveTo>
                  <a:pt x="56239" y="12296"/>
                </a:moveTo>
                <a:cubicBezTo>
                  <a:pt x="56752" y="12932"/>
                  <a:pt x="57264" y="12932"/>
                  <a:pt x="57264" y="11872"/>
                </a:cubicBezTo>
                <a:cubicBezTo>
                  <a:pt x="57094" y="10812"/>
                  <a:pt x="55213" y="10600"/>
                  <a:pt x="55213" y="11448"/>
                </a:cubicBezTo>
                <a:cubicBezTo>
                  <a:pt x="55555" y="12296"/>
                  <a:pt x="55726" y="11872"/>
                  <a:pt x="56239" y="12296"/>
                </a:cubicBezTo>
                <a:close/>
                <a:moveTo>
                  <a:pt x="40683" y="30106"/>
                </a:moveTo>
                <a:cubicBezTo>
                  <a:pt x="41880" y="29257"/>
                  <a:pt x="42735" y="28409"/>
                  <a:pt x="43760" y="28621"/>
                </a:cubicBezTo>
                <a:cubicBezTo>
                  <a:pt x="44786" y="29257"/>
                  <a:pt x="44273" y="28409"/>
                  <a:pt x="45299" y="28621"/>
                </a:cubicBezTo>
                <a:cubicBezTo>
                  <a:pt x="46324" y="29045"/>
                  <a:pt x="47179" y="28621"/>
                  <a:pt x="48205" y="27137"/>
                </a:cubicBezTo>
                <a:cubicBezTo>
                  <a:pt x="49230" y="25441"/>
                  <a:pt x="46837" y="25017"/>
                  <a:pt x="46153" y="25441"/>
                </a:cubicBezTo>
                <a:cubicBezTo>
                  <a:pt x="45641" y="25653"/>
                  <a:pt x="44786" y="26501"/>
                  <a:pt x="45128" y="25653"/>
                </a:cubicBezTo>
                <a:cubicBezTo>
                  <a:pt x="45299" y="24805"/>
                  <a:pt x="44102" y="25441"/>
                  <a:pt x="44615" y="24805"/>
                </a:cubicBezTo>
                <a:cubicBezTo>
                  <a:pt x="45128" y="24169"/>
                  <a:pt x="44102" y="24805"/>
                  <a:pt x="44102" y="23109"/>
                </a:cubicBezTo>
                <a:cubicBezTo>
                  <a:pt x="44102" y="21837"/>
                  <a:pt x="43076" y="22685"/>
                  <a:pt x="41709" y="23745"/>
                </a:cubicBezTo>
                <a:cubicBezTo>
                  <a:pt x="40341" y="24805"/>
                  <a:pt x="43589" y="24805"/>
                  <a:pt x="42564" y="25441"/>
                </a:cubicBezTo>
                <a:cubicBezTo>
                  <a:pt x="41367" y="26501"/>
                  <a:pt x="43760" y="26077"/>
                  <a:pt x="43589" y="26713"/>
                </a:cubicBezTo>
                <a:cubicBezTo>
                  <a:pt x="43247" y="27773"/>
                  <a:pt x="42564" y="26501"/>
                  <a:pt x="41196" y="26713"/>
                </a:cubicBezTo>
                <a:cubicBezTo>
                  <a:pt x="39658" y="27137"/>
                  <a:pt x="40854" y="26713"/>
                  <a:pt x="39145" y="25017"/>
                </a:cubicBezTo>
                <a:cubicBezTo>
                  <a:pt x="37094" y="23533"/>
                  <a:pt x="37094" y="25653"/>
                  <a:pt x="36410" y="24381"/>
                </a:cubicBezTo>
                <a:cubicBezTo>
                  <a:pt x="35897" y="23109"/>
                  <a:pt x="35213" y="23745"/>
                  <a:pt x="33675" y="24805"/>
                </a:cubicBezTo>
                <a:cubicBezTo>
                  <a:pt x="32136" y="25441"/>
                  <a:pt x="33846" y="24805"/>
                  <a:pt x="32649" y="26077"/>
                </a:cubicBezTo>
                <a:cubicBezTo>
                  <a:pt x="31623" y="27137"/>
                  <a:pt x="33162" y="26501"/>
                  <a:pt x="32136" y="27137"/>
                </a:cubicBezTo>
                <a:cubicBezTo>
                  <a:pt x="31111" y="27985"/>
                  <a:pt x="32136" y="27985"/>
                  <a:pt x="33333" y="28621"/>
                </a:cubicBezTo>
                <a:cubicBezTo>
                  <a:pt x="34700" y="29045"/>
                  <a:pt x="34700" y="27985"/>
                  <a:pt x="34871" y="28409"/>
                </a:cubicBezTo>
                <a:cubicBezTo>
                  <a:pt x="35213" y="29045"/>
                  <a:pt x="35726" y="29257"/>
                  <a:pt x="36239" y="28409"/>
                </a:cubicBezTo>
                <a:cubicBezTo>
                  <a:pt x="36752" y="27349"/>
                  <a:pt x="37094" y="27349"/>
                  <a:pt x="36752" y="27985"/>
                </a:cubicBezTo>
                <a:cubicBezTo>
                  <a:pt x="36410" y="28621"/>
                  <a:pt x="37264" y="28621"/>
                  <a:pt x="39316" y="27985"/>
                </a:cubicBezTo>
                <a:cubicBezTo>
                  <a:pt x="41367" y="27773"/>
                  <a:pt x="40341" y="28621"/>
                  <a:pt x="38803" y="28621"/>
                </a:cubicBezTo>
                <a:cubicBezTo>
                  <a:pt x="37264" y="29045"/>
                  <a:pt x="34871" y="29681"/>
                  <a:pt x="36752" y="30318"/>
                </a:cubicBezTo>
                <a:cubicBezTo>
                  <a:pt x="37777" y="30954"/>
                  <a:pt x="39145" y="30318"/>
                  <a:pt x="40683" y="30106"/>
                </a:cubicBezTo>
                <a:close/>
                <a:moveTo>
                  <a:pt x="49230" y="20353"/>
                </a:moveTo>
                <a:cubicBezTo>
                  <a:pt x="48547" y="19505"/>
                  <a:pt x="47179" y="19081"/>
                  <a:pt x="47350" y="19717"/>
                </a:cubicBezTo>
                <a:cubicBezTo>
                  <a:pt x="47692" y="20353"/>
                  <a:pt x="47863" y="21837"/>
                  <a:pt x="49230" y="21837"/>
                </a:cubicBezTo>
                <a:cubicBezTo>
                  <a:pt x="49743" y="21413"/>
                  <a:pt x="50085" y="21413"/>
                  <a:pt x="49230" y="20353"/>
                </a:cubicBezTo>
                <a:close/>
                <a:moveTo>
                  <a:pt x="32820" y="23533"/>
                </a:moveTo>
                <a:cubicBezTo>
                  <a:pt x="33846" y="23533"/>
                  <a:pt x="34871" y="22685"/>
                  <a:pt x="33675" y="22049"/>
                </a:cubicBezTo>
                <a:cubicBezTo>
                  <a:pt x="32649" y="21201"/>
                  <a:pt x="35384" y="21201"/>
                  <a:pt x="33846" y="20353"/>
                </a:cubicBezTo>
                <a:cubicBezTo>
                  <a:pt x="32820" y="19717"/>
                  <a:pt x="32649" y="20141"/>
                  <a:pt x="32307" y="20777"/>
                </a:cubicBezTo>
                <a:cubicBezTo>
                  <a:pt x="32136" y="21413"/>
                  <a:pt x="30769" y="19505"/>
                  <a:pt x="28717" y="21837"/>
                </a:cubicBezTo>
                <a:cubicBezTo>
                  <a:pt x="26837" y="23533"/>
                  <a:pt x="27692" y="22473"/>
                  <a:pt x="26666" y="23533"/>
                </a:cubicBezTo>
                <a:cubicBezTo>
                  <a:pt x="25641" y="24805"/>
                  <a:pt x="25641" y="23109"/>
                  <a:pt x="24786" y="24381"/>
                </a:cubicBezTo>
                <a:cubicBezTo>
                  <a:pt x="23760" y="25441"/>
                  <a:pt x="25128" y="24805"/>
                  <a:pt x="24786" y="25441"/>
                </a:cubicBezTo>
                <a:cubicBezTo>
                  <a:pt x="24444" y="25653"/>
                  <a:pt x="25128" y="25653"/>
                  <a:pt x="25641" y="25441"/>
                </a:cubicBezTo>
                <a:cubicBezTo>
                  <a:pt x="26153" y="24805"/>
                  <a:pt x="26153" y="25653"/>
                  <a:pt x="26837" y="25441"/>
                </a:cubicBezTo>
                <a:cubicBezTo>
                  <a:pt x="27350" y="25441"/>
                  <a:pt x="27179" y="24381"/>
                  <a:pt x="27692" y="25441"/>
                </a:cubicBezTo>
                <a:cubicBezTo>
                  <a:pt x="27863" y="26501"/>
                  <a:pt x="28888" y="26501"/>
                  <a:pt x="28888" y="25017"/>
                </a:cubicBezTo>
                <a:cubicBezTo>
                  <a:pt x="28888" y="23745"/>
                  <a:pt x="29230" y="26501"/>
                  <a:pt x="30256" y="24169"/>
                </a:cubicBezTo>
                <a:cubicBezTo>
                  <a:pt x="30769" y="22685"/>
                  <a:pt x="29914" y="23533"/>
                  <a:pt x="31111" y="22685"/>
                </a:cubicBezTo>
                <a:cubicBezTo>
                  <a:pt x="32136" y="22049"/>
                  <a:pt x="30427" y="24169"/>
                  <a:pt x="31794" y="24381"/>
                </a:cubicBezTo>
                <a:cubicBezTo>
                  <a:pt x="33333" y="24805"/>
                  <a:pt x="32136" y="23533"/>
                  <a:pt x="32820" y="23533"/>
                </a:cubicBezTo>
                <a:close/>
                <a:moveTo>
                  <a:pt x="39658" y="17385"/>
                </a:moveTo>
                <a:cubicBezTo>
                  <a:pt x="40341" y="17809"/>
                  <a:pt x="39658" y="17385"/>
                  <a:pt x="41196" y="17385"/>
                </a:cubicBezTo>
                <a:cubicBezTo>
                  <a:pt x="42735" y="17809"/>
                  <a:pt x="43760" y="17173"/>
                  <a:pt x="42222" y="16537"/>
                </a:cubicBezTo>
                <a:cubicBezTo>
                  <a:pt x="40341" y="15477"/>
                  <a:pt x="40341" y="16537"/>
                  <a:pt x="38803" y="16749"/>
                </a:cubicBezTo>
                <a:cubicBezTo>
                  <a:pt x="37264" y="17173"/>
                  <a:pt x="37264" y="17809"/>
                  <a:pt x="38290" y="17385"/>
                </a:cubicBezTo>
                <a:cubicBezTo>
                  <a:pt x="38632" y="17385"/>
                  <a:pt x="38632" y="17385"/>
                  <a:pt x="39658" y="17385"/>
                </a:cubicBezTo>
                <a:close/>
                <a:moveTo>
                  <a:pt x="40854" y="20353"/>
                </a:moveTo>
                <a:cubicBezTo>
                  <a:pt x="42222" y="20141"/>
                  <a:pt x="42564" y="19505"/>
                  <a:pt x="41196" y="19081"/>
                </a:cubicBezTo>
                <a:cubicBezTo>
                  <a:pt x="40170" y="19081"/>
                  <a:pt x="42222" y="19081"/>
                  <a:pt x="42564" y="18445"/>
                </a:cubicBezTo>
                <a:cubicBezTo>
                  <a:pt x="42735" y="17809"/>
                  <a:pt x="40854" y="18233"/>
                  <a:pt x="39145" y="18445"/>
                </a:cubicBezTo>
                <a:cubicBezTo>
                  <a:pt x="37264" y="18869"/>
                  <a:pt x="37264" y="19081"/>
                  <a:pt x="37606" y="20141"/>
                </a:cubicBezTo>
                <a:cubicBezTo>
                  <a:pt x="38119" y="21201"/>
                  <a:pt x="39658" y="20777"/>
                  <a:pt x="40854" y="20353"/>
                </a:cubicBezTo>
                <a:close/>
                <a:moveTo>
                  <a:pt x="57264" y="28621"/>
                </a:moveTo>
                <a:cubicBezTo>
                  <a:pt x="58119" y="28621"/>
                  <a:pt x="58803" y="28621"/>
                  <a:pt x="58632" y="27773"/>
                </a:cubicBezTo>
                <a:cubicBezTo>
                  <a:pt x="58290" y="27137"/>
                  <a:pt x="58290" y="26501"/>
                  <a:pt x="58803" y="27137"/>
                </a:cubicBezTo>
                <a:cubicBezTo>
                  <a:pt x="59316" y="27773"/>
                  <a:pt x="59316" y="27137"/>
                  <a:pt x="58803" y="26501"/>
                </a:cubicBezTo>
                <a:cubicBezTo>
                  <a:pt x="58290" y="25441"/>
                  <a:pt x="59145" y="24169"/>
                  <a:pt x="57777" y="23109"/>
                </a:cubicBezTo>
                <a:cubicBezTo>
                  <a:pt x="56581" y="22473"/>
                  <a:pt x="57094" y="24169"/>
                  <a:pt x="56581" y="23533"/>
                </a:cubicBezTo>
                <a:cubicBezTo>
                  <a:pt x="55726" y="23109"/>
                  <a:pt x="55213" y="23109"/>
                  <a:pt x="54529" y="23533"/>
                </a:cubicBezTo>
                <a:cubicBezTo>
                  <a:pt x="53675" y="23745"/>
                  <a:pt x="54700" y="24169"/>
                  <a:pt x="55726" y="25653"/>
                </a:cubicBezTo>
                <a:cubicBezTo>
                  <a:pt x="53333" y="24381"/>
                  <a:pt x="54700" y="24169"/>
                  <a:pt x="53333" y="23745"/>
                </a:cubicBezTo>
                <a:cubicBezTo>
                  <a:pt x="52136" y="23745"/>
                  <a:pt x="52307" y="24169"/>
                  <a:pt x="53162" y="25441"/>
                </a:cubicBezTo>
                <a:cubicBezTo>
                  <a:pt x="54017" y="26501"/>
                  <a:pt x="53162" y="25441"/>
                  <a:pt x="52649" y="25653"/>
                </a:cubicBezTo>
                <a:cubicBezTo>
                  <a:pt x="52307" y="26501"/>
                  <a:pt x="51282" y="26077"/>
                  <a:pt x="51794" y="26713"/>
                </a:cubicBezTo>
                <a:cubicBezTo>
                  <a:pt x="52136" y="27349"/>
                  <a:pt x="55213" y="26501"/>
                  <a:pt x="56239" y="26501"/>
                </a:cubicBezTo>
                <a:cubicBezTo>
                  <a:pt x="57094" y="26501"/>
                  <a:pt x="54188" y="26713"/>
                  <a:pt x="54700" y="27773"/>
                </a:cubicBezTo>
                <a:cubicBezTo>
                  <a:pt x="55213" y="28409"/>
                  <a:pt x="54700" y="29257"/>
                  <a:pt x="55726" y="28621"/>
                </a:cubicBezTo>
                <a:cubicBezTo>
                  <a:pt x="56239" y="28409"/>
                  <a:pt x="56239" y="28621"/>
                  <a:pt x="57264" y="28621"/>
                </a:cubicBezTo>
                <a:close/>
                <a:moveTo>
                  <a:pt x="106495" y="109823"/>
                </a:moveTo>
                <a:cubicBezTo>
                  <a:pt x="106495" y="109187"/>
                  <a:pt x="107008" y="109187"/>
                  <a:pt x="106837" y="109187"/>
                </a:cubicBezTo>
                <a:cubicBezTo>
                  <a:pt x="106837" y="108763"/>
                  <a:pt x="105641" y="109187"/>
                  <a:pt x="104615" y="108763"/>
                </a:cubicBezTo>
                <a:cubicBezTo>
                  <a:pt x="103931" y="108551"/>
                  <a:pt x="104444" y="107067"/>
                  <a:pt x="103931" y="108127"/>
                </a:cubicBezTo>
                <a:cubicBezTo>
                  <a:pt x="103418" y="109187"/>
                  <a:pt x="104102" y="108551"/>
                  <a:pt x="103931" y="109187"/>
                </a:cubicBezTo>
                <a:cubicBezTo>
                  <a:pt x="103931" y="109399"/>
                  <a:pt x="104444" y="109187"/>
                  <a:pt x="104615" y="109399"/>
                </a:cubicBezTo>
                <a:cubicBezTo>
                  <a:pt x="104957" y="109823"/>
                  <a:pt x="104957" y="109399"/>
                  <a:pt x="106324" y="110035"/>
                </a:cubicBezTo>
                <a:cubicBezTo>
                  <a:pt x="106495" y="110459"/>
                  <a:pt x="106495" y="110459"/>
                  <a:pt x="106495" y="109823"/>
                </a:cubicBezTo>
                <a:close/>
                <a:moveTo>
                  <a:pt x="108547" y="110459"/>
                </a:moveTo>
                <a:cubicBezTo>
                  <a:pt x="108547" y="109823"/>
                  <a:pt x="108888" y="109823"/>
                  <a:pt x="108888" y="110671"/>
                </a:cubicBezTo>
                <a:cubicBezTo>
                  <a:pt x="108547" y="111731"/>
                  <a:pt x="108888" y="111519"/>
                  <a:pt x="109401" y="110671"/>
                </a:cubicBezTo>
                <a:cubicBezTo>
                  <a:pt x="109914" y="110459"/>
                  <a:pt x="110427" y="109823"/>
                  <a:pt x="109914" y="109823"/>
                </a:cubicBezTo>
                <a:cubicBezTo>
                  <a:pt x="109401" y="109399"/>
                  <a:pt x="109059" y="109399"/>
                  <a:pt x="109401" y="108551"/>
                </a:cubicBezTo>
                <a:cubicBezTo>
                  <a:pt x="109401" y="107491"/>
                  <a:pt x="109059" y="107491"/>
                  <a:pt x="108547" y="108551"/>
                </a:cubicBezTo>
                <a:cubicBezTo>
                  <a:pt x="108034" y="109399"/>
                  <a:pt x="107521" y="110035"/>
                  <a:pt x="107863" y="111095"/>
                </a:cubicBezTo>
                <a:cubicBezTo>
                  <a:pt x="108034" y="111731"/>
                  <a:pt x="108376" y="111519"/>
                  <a:pt x="108547" y="110459"/>
                </a:cubicBezTo>
                <a:close/>
                <a:moveTo>
                  <a:pt x="104444" y="100494"/>
                </a:moveTo>
                <a:cubicBezTo>
                  <a:pt x="102564" y="100282"/>
                  <a:pt x="104102" y="100918"/>
                  <a:pt x="104615" y="101554"/>
                </a:cubicBezTo>
                <a:cubicBezTo>
                  <a:pt x="105128" y="102190"/>
                  <a:pt x="107008" y="103250"/>
                  <a:pt x="107521" y="102614"/>
                </a:cubicBezTo>
                <a:cubicBezTo>
                  <a:pt x="107521" y="101766"/>
                  <a:pt x="105982" y="100918"/>
                  <a:pt x="104444" y="100494"/>
                </a:cubicBezTo>
                <a:close/>
                <a:moveTo>
                  <a:pt x="111965" y="106219"/>
                </a:moveTo>
                <a:cubicBezTo>
                  <a:pt x="112820" y="105583"/>
                  <a:pt x="112820" y="106431"/>
                  <a:pt x="114358" y="106219"/>
                </a:cubicBezTo>
                <a:cubicBezTo>
                  <a:pt x="116068" y="105795"/>
                  <a:pt x="114358" y="106855"/>
                  <a:pt x="115897" y="106431"/>
                </a:cubicBezTo>
                <a:cubicBezTo>
                  <a:pt x="117435" y="106219"/>
                  <a:pt x="115042" y="107491"/>
                  <a:pt x="115042" y="107703"/>
                </a:cubicBezTo>
                <a:cubicBezTo>
                  <a:pt x="115042" y="108551"/>
                  <a:pt x="115897" y="108551"/>
                  <a:pt x="116410" y="107491"/>
                </a:cubicBezTo>
                <a:cubicBezTo>
                  <a:pt x="116923" y="106219"/>
                  <a:pt x="117094" y="107067"/>
                  <a:pt x="117435" y="106219"/>
                </a:cubicBezTo>
                <a:cubicBezTo>
                  <a:pt x="117948" y="105159"/>
                  <a:pt x="118290" y="105795"/>
                  <a:pt x="117948" y="106855"/>
                </a:cubicBezTo>
                <a:cubicBezTo>
                  <a:pt x="117777" y="107703"/>
                  <a:pt x="117435" y="108551"/>
                  <a:pt x="117948" y="107703"/>
                </a:cubicBezTo>
                <a:cubicBezTo>
                  <a:pt x="118803" y="107067"/>
                  <a:pt x="118290" y="108551"/>
                  <a:pt x="118974" y="108551"/>
                </a:cubicBezTo>
                <a:cubicBezTo>
                  <a:pt x="119999" y="108551"/>
                  <a:pt x="119316" y="108127"/>
                  <a:pt x="119829" y="106431"/>
                </a:cubicBezTo>
                <a:cubicBezTo>
                  <a:pt x="119999" y="104734"/>
                  <a:pt x="118803" y="106431"/>
                  <a:pt x="119487" y="105159"/>
                </a:cubicBezTo>
                <a:cubicBezTo>
                  <a:pt x="119999" y="104098"/>
                  <a:pt x="118974" y="104734"/>
                  <a:pt x="118461" y="105795"/>
                </a:cubicBezTo>
                <a:cubicBezTo>
                  <a:pt x="118290" y="106855"/>
                  <a:pt x="118290" y="105159"/>
                  <a:pt x="118803" y="104522"/>
                </a:cubicBezTo>
                <a:cubicBezTo>
                  <a:pt x="119487" y="104098"/>
                  <a:pt x="119487" y="103462"/>
                  <a:pt x="118974" y="103886"/>
                </a:cubicBezTo>
                <a:cubicBezTo>
                  <a:pt x="118461" y="104098"/>
                  <a:pt x="117777" y="103462"/>
                  <a:pt x="118461" y="102826"/>
                </a:cubicBezTo>
                <a:cubicBezTo>
                  <a:pt x="118974" y="101766"/>
                  <a:pt x="118290" y="101130"/>
                  <a:pt x="116923" y="101766"/>
                </a:cubicBezTo>
                <a:cubicBezTo>
                  <a:pt x="115555" y="102190"/>
                  <a:pt x="116581" y="101130"/>
                  <a:pt x="115897" y="101554"/>
                </a:cubicBezTo>
                <a:cubicBezTo>
                  <a:pt x="115042" y="101766"/>
                  <a:pt x="115042" y="100494"/>
                  <a:pt x="115555" y="100494"/>
                </a:cubicBezTo>
                <a:cubicBezTo>
                  <a:pt x="116068" y="100494"/>
                  <a:pt x="115384" y="99222"/>
                  <a:pt x="114529" y="100494"/>
                </a:cubicBezTo>
                <a:cubicBezTo>
                  <a:pt x="113846" y="101554"/>
                  <a:pt x="114358" y="99858"/>
                  <a:pt x="114871" y="98586"/>
                </a:cubicBezTo>
                <a:cubicBezTo>
                  <a:pt x="114871" y="98586"/>
                  <a:pt x="115555" y="97314"/>
                  <a:pt x="115897" y="96678"/>
                </a:cubicBezTo>
                <a:cubicBezTo>
                  <a:pt x="116068" y="96254"/>
                  <a:pt x="115897" y="95618"/>
                  <a:pt x="114871" y="96254"/>
                </a:cubicBezTo>
                <a:cubicBezTo>
                  <a:pt x="113846" y="96890"/>
                  <a:pt x="114358" y="97526"/>
                  <a:pt x="113846" y="97950"/>
                </a:cubicBezTo>
                <a:cubicBezTo>
                  <a:pt x="113333" y="98162"/>
                  <a:pt x="112820" y="100494"/>
                  <a:pt x="111965" y="102614"/>
                </a:cubicBezTo>
                <a:cubicBezTo>
                  <a:pt x="111111" y="104098"/>
                  <a:pt x="111623" y="102826"/>
                  <a:pt x="111111" y="103462"/>
                </a:cubicBezTo>
                <a:cubicBezTo>
                  <a:pt x="110598" y="104098"/>
                  <a:pt x="110598" y="104098"/>
                  <a:pt x="111452" y="104098"/>
                </a:cubicBezTo>
                <a:cubicBezTo>
                  <a:pt x="112307" y="104522"/>
                  <a:pt x="110085" y="105159"/>
                  <a:pt x="110598" y="105795"/>
                </a:cubicBezTo>
                <a:cubicBezTo>
                  <a:pt x="110940" y="106219"/>
                  <a:pt x="110940" y="106431"/>
                  <a:pt x="111965" y="106219"/>
                </a:cubicBezTo>
                <a:close/>
                <a:moveTo>
                  <a:pt x="62051" y="102826"/>
                </a:moveTo>
                <a:cubicBezTo>
                  <a:pt x="62222" y="102826"/>
                  <a:pt x="62051" y="101554"/>
                  <a:pt x="62222" y="101766"/>
                </a:cubicBezTo>
                <a:cubicBezTo>
                  <a:pt x="62564" y="101766"/>
                  <a:pt x="62564" y="102190"/>
                  <a:pt x="62735" y="102826"/>
                </a:cubicBezTo>
                <a:cubicBezTo>
                  <a:pt x="62735" y="103886"/>
                  <a:pt x="63589" y="103250"/>
                  <a:pt x="63760" y="103886"/>
                </a:cubicBezTo>
                <a:cubicBezTo>
                  <a:pt x="64102" y="104098"/>
                  <a:pt x="64102" y="103250"/>
                  <a:pt x="65128" y="103886"/>
                </a:cubicBezTo>
                <a:cubicBezTo>
                  <a:pt x="66153" y="104098"/>
                  <a:pt x="65641" y="104734"/>
                  <a:pt x="65982" y="104522"/>
                </a:cubicBezTo>
                <a:cubicBezTo>
                  <a:pt x="66495" y="104098"/>
                  <a:pt x="66666" y="105583"/>
                  <a:pt x="67179" y="104734"/>
                </a:cubicBezTo>
                <a:cubicBezTo>
                  <a:pt x="68205" y="104522"/>
                  <a:pt x="67692" y="105159"/>
                  <a:pt x="68547" y="104734"/>
                </a:cubicBezTo>
                <a:cubicBezTo>
                  <a:pt x="69230" y="104734"/>
                  <a:pt x="68717" y="105159"/>
                  <a:pt x="69572" y="105159"/>
                </a:cubicBezTo>
                <a:cubicBezTo>
                  <a:pt x="69743" y="105159"/>
                  <a:pt x="69743" y="105159"/>
                  <a:pt x="69743" y="105159"/>
                </a:cubicBezTo>
                <a:cubicBezTo>
                  <a:pt x="70085" y="104734"/>
                  <a:pt x="70085" y="104522"/>
                  <a:pt x="70085" y="104098"/>
                </a:cubicBezTo>
                <a:cubicBezTo>
                  <a:pt x="70256" y="103886"/>
                  <a:pt x="70769" y="103462"/>
                  <a:pt x="70598" y="104098"/>
                </a:cubicBezTo>
                <a:cubicBezTo>
                  <a:pt x="70256" y="104522"/>
                  <a:pt x="70769" y="104098"/>
                  <a:pt x="71111" y="103462"/>
                </a:cubicBezTo>
                <a:cubicBezTo>
                  <a:pt x="71111" y="102614"/>
                  <a:pt x="71452" y="103250"/>
                  <a:pt x="71111" y="103462"/>
                </a:cubicBezTo>
                <a:cubicBezTo>
                  <a:pt x="70769" y="104098"/>
                  <a:pt x="71111" y="104098"/>
                  <a:pt x="71452" y="103886"/>
                </a:cubicBezTo>
                <a:cubicBezTo>
                  <a:pt x="71965" y="103462"/>
                  <a:pt x="71452" y="102826"/>
                  <a:pt x="71623" y="102826"/>
                </a:cubicBezTo>
                <a:cubicBezTo>
                  <a:pt x="71965" y="102614"/>
                  <a:pt x="72478" y="103250"/>
                  <a:pt x="72991" y="103250"/>
                </a:cubicBezTo>
                <a:cubicBezTo>
                  <a:pt x="73504" y="103250"/>
                  <a:pt x="73162" y="103462"/>
                  <a:pt x="73675" y="103250"/>
                </a:cubicBezTo>
                <a:cubicBezTo>
                  <a:pt x="74188" y="103250"/>
                  <a:pt x="74017" y="104734"/>
                  <a:pt x="74700" y="105159"/>
                </a:cubicBezTo>
                <a:cubicBezTo>
                  <a:pt x="75213" y="105583"/>
                  <a:pt x="76239" y="104734"/>
                  <a:pt x="75726" y="105795"/>
                </a:cubicBezTo>
                <a:cubicBezTo>
                  <a:pt x="75726" y="106219"/>
                  <a:pt x="76068" y="106431"/>
                  <a:pt x="76239" y="106855"/>
                </a:cubicBezTo>
                <a:cubicBezTo>
                  <a:pt x="76581" y="107067"/>
                  <a:pt x="76068" y="107491"/>
                  <a:pt x="76239" y="107703"/>
                </a:cubicBezTo>
                <a:cubicBezTo>
                  <a:pt x="76581" y="108127"/>
                  <a:pt x="76239" y="107703"/>
                  <a:pt x="76581" y="107703"/>
                </a:cubicBezTo>
                <a:cubicBezTo>
                  <a:pt x="76752" y="108127"/>
                  <a:pt x="76239" y="107703"/>
                  <a:pt x="76239" y="108551"/>
                </a:cubicBezTo>
                <a:cubicBezTo>
                  <a:pt x="76239" y="109187"/>
                  <a:pt x="77094" y="108551"/>
                  <a:pt x="77094" y="109187"/>
                </a:cubicBezTo>
                <a:cubicBezTo>
                  <a:pt x="77094" y="109399"/>
                  <a:pt x="77435" y="109187"/>
                  <a:pt x="77948" y="109399"/>
                </a:cubicBezTo>
                <a:cubicBezTo>
                  <a:pt x="78461" y="109823"/>
                  <a:pt x="79145" y="109823"/>
                  <a:pt x="79658" y="109823"/>
                </a:cubicBezTo>
                <a:cubicBezTo>
                  <a:pt x="80170" y="109823"/>
                  <a:pt x="80512" y="109823"/>
                  <a:pt x="80512" y="110035"/>
                </a:cubicBezTo>
                <a:cubicBezTo>
                  <a:pt x="80512" y="110459"/>
                  <a:pt x="80683" y="110035"/>
                  <a:pt x="81196" y="110035"/>
                </a:cubicBezTo>
                <a:cubicBezTo>
                  <a:pt x="81709" y="110035"/>
                  <a:pt x="82051" y="111731"/>
                  <a:pt x="82222" y="111731"/>
                </a:cubicBezTo>
                <a:cubicBezTo>
                  <a:pt x="82564" y="111519"/>
                  <a:pt x="82564" y="111519"/>
                  <a:pt x="82564" y="112155"/>
                </a:cubicBezTo>
                <a:cubicBezTo>
                  <a:pt x="82564" y="112367"/>
                  <a:pt x="83076" y="112791"/>
                  <a:pt x="83076" y="113003"/>
                </a:cubicBezTo>
                <a:cubicBezTo>
                  <a:pt x="83076" y="113427"/>
                  <a:pt x="82564" y="112791"/>
                  <a:pt x="82564" y="113003"/>
                </a:cubicBezTo>
                <a:cubicBezTo>
                  <a:pt x="82222" y="113003"/>
                  <a:pt x="82735" y="113639"/>
                  <a:pt x="82564" y="113639"/>
                </a:cubicBezTo>
                <a:cubicBezTo>
                  <a:pt x="82222" y="114063"/>
                  <a:pt x="81709" y="113003"/>
                  <a:pt x="81538" y="113427"/>
                </a:cubicBezTo>
                <a:cubicBezTo>
                  <a:pt x="81196" y="113639"/>
                  <a:pt x="81538" y="113003"/>
                  <a:pt x="81196" y="113003"/>
                </a:cubicBezTo>
                <a:cubicBezTo>
                  <a:pt x="81025" y="113003"/>
                  <a:pt x="81538" y="112791"/>
                  <a:pt x="81025" y="112791"/>
                </a:cubicBezTo>
                <a:cubicBezTo>
                  <a:pt x="80683" y="112791"/>
                  <a:pt x="81025" y="112155"/>
                  <a:pt x="80683" y="112155"/>
                </a:cubicBezTo>
                <a:cubicBezTo>
                  <a:pt x="80512" y="112155"/>
                  <a:pt x="80512" y="111731"/>
                  <a:pt x="80170" y="111731"/>
                </a:cubicBezTo>
                <a:cubicBezTo>
                  <a:pt x="80170" y="112155"/>
                  <a:pt x="80683" y="112367"/>
                  <a:pt x="81025" y="113003"/>
                </a:cubicBezTo>
                <a:cubicBezTo>
                  <a:pt x="81025" y="114063"/>
                  <a:pt x="80170" y="114063"/>
                  <a:pt x="80170" y="115335"/>
                </a:cubicBezTo>
                <a:cubicBezTo>
                  <a:pt x="80512" y="116607"/>
                  <a:pt x="80170" y="116607"/>
                  <a:pt x="79487" y="117455"/>
                </a:cubicBezTo>
                <a:cubicBezTo>
                  <a:pt x="79487" y="117667"/>
                  <a:pt x="79145" y="117667"/>
                  <a:pt x="79145" y="118091"/>
                </a:cubicBezTo>
                <a:cubicBezTo>
                  <a:pt x="79145" y="118303"/>
                  <a:pt x="79145" y="118303"/>
                  <a:pt x="79145" y="118303"/>
                </a:cubicBezTo>
                <a:cubicBezTo>
                  <a:pt x="79658" y="118727"/>
                  <a:pt x="79145" y="118939"/>
                  <a:pt x="78632" y="118939"/>
                </a:cubicBezTo>
                <a:cubicBezTo>
                  <a:pt x="78119" y="118939"/>
                  <a:pt x="78461" y="119575"/>
                  <a:pt x="78632" y="119575"/>
                </a:cubicBezTo>
                <a:cubicBezTo>
                  <a:pt x="79145" y="119575"/>
                  <a:pt x="79145" y="120000"/>
                  <a:pt x="79145" y="119575"/>
                </a:cubicBezTo>
                <a:cubicBezTo>
                  <a:pt x="79487" y="119363"/>
                  <a:pt x="79658" y="119363"/>
                  <a:pt x="80000" y="119363"/>
                </a:cubicBezTo>
                <a:cubicBezTo>
                  <a:pt x="80170" y="118939"/>
                  <a:pt x="80512" y="118091"/>
                  <a:pt x="81538" y="118303"/>
                </a:cubicBezTo>
                <a:cubicBezTo>
                  <a:pt x="82735" y="118727"/>
                  <a:pt x="82051" y="118303"/>
                  <a:pt x="82051" y="118091"/>
                </a:cubicBezTo>
                <a:cubicBezTo>
                  <a:pt x="82222" y="118091"/>
                  <a:pt x="82564" y="117667"/>
                  <a:pt x="83076" y="117667"/>
                </a:cubicBezTo>
                <a:cubicBezTo>
                  <a:pt x="83589" y="117667"/>
                  <a:pt x="83931" y="117667"/>
                  <a:pt x="83931" y="117667"/>
                </a:cubicBezTo>
                <a:cubicBezTo>
                  <a:pt x="83931" y="117455"/>
                  <a:pt x="84102" y="117455"/>
                  <a:pt x="84102" y="117455"/>
                </a:cubicBezTo>
                <a:cubicBezTo>
                  <a:pt x="83589" y="117031"/>
                  <a:pt x="83589" y="117031"/>
                  <a:pt x="83589" y="117031"/>
                </a:cubicBezTo>
                <a:cubicBezTo>
                  <a:pt x="83418" y="117031"/>
                  <a:pt x="82735" y="117031"/>
                  <a:pt x="83076" y="116395"/>
                </a:cubicBezTo>
                <a:cubicBezTo>
                  <a:pt x="83418" y="115759"/>
                  <a:pt x="83589" y="115971"/>
                  <a:pt x="83589" y="115759"/>
                </a:cubicBezTo>
                <a:cubicBezTo>
                  <a:pt x="83931" y="115335"/>
                  <a:pt x="84444" y="115335"/>
                  <a:pt x="85128" y="115123"/>
                </a:cubicBezTo>
                <a:cubicBezTo>
                  <a:pt x="85982" y="114699"/>
                  <a:pt x="85641" y="114699"/>
                  <a:pt x="86153" y="115123"/>
                </a:cubicBezTo>
                <a:cubicBezTo>
                  <a:pt x="87008" y="115759"/>
                  <a:pt x="86666" y="115123"/>
                  <a:pt x="87008" y="114699"/>
                </a:cubicBezTo>
                <a:cubicBezTo>
                  <a:pt x="87521" y="114487"/>
                  <a:pt x="87692" y="114063"/>
                  <a:pt x="88205" y="113639"/>
                </a:cubicBezTo>
                <a:cubicBezTo>
                  <a:pt x="88717" y="113003"/>
                  <a:pt x="89572" y="112367"/>
                  <a:pt x="89914" y="112367"/>
                </a:cubicBezTo>
                <a:cubicBezTo>
                  <a:pt x="89914" y="112791"/>
                  <a:pt x="90085" y="112367"/>
                  <a:pt x="90427" y="112367"/>
                </a:cubicBezTo>
                <a:cubicBezTo>
                  <a:pt x="94188" y="112367"/>
                  <a:pt x="94188" y="112367"/>
                  <a:pt x="94188" y="112367"/>
                </a:cubicBezTo>
                <a:cubicBezTo>
                  <a:pt x="94188" y="111731"/>
                  <a:pt x="94188" y="111731"/>
                  <a:pt x="94529" y="111731"/>
                </a:cubicBezTo>
                <a:cubicBezTo>
                  <a:pt x="94871" y="112155"/>
                  <a:pt x="94871" y="111731"/>
                  <a:pt x="94871" y="111731"/>
                </a:cubicBezTo>
                <a:cubicBezTo>
                  <a:pt x="95042" y="112155"/>
                  <a:pt x="95042" y="111519"/>
                  <a:pt x="95384" y="111519"/>
                </a:cubicBezTo>
                <a:cubicBezTo>
                  <a:pt x="95555" y="111519"/>
                  <a:pt x="94871" y="111519"/>
                  <a:pt x="95384" y="111095"/>
                </a:cubicBezTo>
                <a:cubicBezTo>
                  <a:pt x="95897" y="110459"/>
                  <a:pt x="95384" y="110671"/>
                  <a:pt x="95897" y="110459"/>
                </a:cubicBezTo>
                <a:cubicBezTo>
                  <a:pt x="96068" y="110035"/>
                  <a:pt x="95555" y="109823"/>
                  <a:pt x="96068" y="109187"/>
                </a:cubicBezTo>
                <a:cubicBezTo>
                  <a:pt x="96410" y="108763"/>
                  <a:pt x="95897" y="108763"/>
                  <a:pt x="96410" y="108127"/>
                </a:cubicBezTo>
                <a:cubicBezTo>
                  <a:pt x="96581" y="107491"/>
                  <a:pt x="97094" y="106431"/>
                  <a:pt x="97094" y="106431"/>
                </a:cubicBezTo>
                <a:cubicBezTo>
                  <a:pt x="97094" y="106431"/>
                  <a:pt x="97435" y="106431"/>
                  <a:pt x="97435" y="106855"/>
                </a:cubicBezTo>
                <a:cubicBezTo>
                  <a:pt x="97435" y="107067"/>
                  <a:pt x="97606" y="107067"/>
                  <a:pt x="97948" y="107067"/>
                </a:cubicBezTo>
                <a:cubicBezTo>
                  <a:pt x="98119" y="106855"/>
                  <a:pt x="98461" y="106431"/>
                  <a:pt x="98632" y="107067"/>
                </a:cubicBezTo>
                <a:cubicBezTo>
                  <a:pt x="99145" y="107491"/>
                  <a:pt x="99145" y="107491"/>
                  <a:pt x="99145" y="108127"/>
                </a:cubicBezTo>
                <a:cubicBezTo>
                  <a:pt x="99145" y="108551"/>
                  <a:pt x="99145" y="110035"/>
                  <a:pt x="99145" y="110459"/>
                </a:cubicBezTo>
                <a:cubicBezTo>
                  <a:pt x="99145" y="110671"/>
                  <a:pt x="98974" y="110671"/>
                  <a:pt x="99145" y="110671"/>
                </a:cubicBezTo>
                <a:cubicBezTo>
                  <a:pt x="99487" y="111095"/>
                  <a:pt x="99487" y="111095"/>
                  <a:pt x="99487" y="111095"/>
                </a:cubicBezTo>
                <a:cubicBezTo>
                  <a:pt x="99658" y="111095"/>
                  <a:pt x="99658" y="111095"/>
                  <a:pt x="99658" y="111519"/>
                </a:cubicBezTo>
                <a:cubicBezTo>
                  <a:pt x="99658" y="111731"/>
                  <a:pt x="99658" y="112155"/>
                  <a:pt x="100000" y="112155"/>
                </a:cubicBezTo>
                <a:cubicBezTo>
                  <a:pt x="101025" y="112791"/>
                  <a:pt x="101538" y="112155"/>
                  <a:pt x="102564" y="111519"/>
                </a:cubicBezTo>
                <a:cubicBezTo>
                  <a:pt x="103589" y="110671"/>
                  <a:pt x="102393" y="111731"/>
                  <a:pt x="104102" y="111519"/>
                </a:cubicBezTo>
                <a:cubicBezTo>
                  <a:pt x="105470" y="111519"/>
                  <a:pt x="103931" y="111731"/>
                  <a:pt x="102905" y="112367"/>
                </a:cubicBezTo>
                <a:cubicBezTo>
                  <a:pt x="101880" y="113003"/>
                  <a:pt x="101025" y="114487"/>
                  <a:pt x="101538" y="115759"/>
                </a:cubicBezTo>
                <a:cubicBezTo>
                  <a:pt x="102051" y="117031"/>
                  <a:pt x="102905" y="115971"/>
                  <a:pt x="103589" y="114487"/>
                </a:cubicBezTo>
                <a:cubicBezTo>
                  <a:pt x="104615" y="113003"/>
                  <a:pt x="104615" y="114487"/>
                  <a:pt x="105982" y="113003"/>
                </a:cubicBezTo>
                <a:cubicBezTo>
                  <a:pt x="107008" y="112155"/>
                  <a:pt x="108547" y="112367"/>
                  <a:pt x="108034" y="111731"/>
                </a:cubicBezTo>
                <a:cubicBezTo>
                  <a:pt x="107521" y="111095"/>
                  <a:pt x="107350" y="110459"/>
                  <a:pt x="106837" y="110671"/>
                </a:cubicBezTo>
                <a:cubicBezTo>
                  <a:pt x="106324" y="111095"/>
                  <a:pt x="104444" y="110459"/>
                  <a:pt x="104444" y="110035"/>
                </a:cubicBezTo>
                <a:cubicBezTo>
                  <a:pt x="104615" y="109399"/>
                  <a:pt x="103589" y="110035"/>
                  <a:pt x="103418" y="108551"/>
                </a:cubicBezTo>
                <a:cubicBezTo>
                  <a:pt x="102905" y="106431"/>
                  <a:pt x="103931" y="105159"/>
                  <a:pt x="102905" y="105583"/>
                </a:cubicBezTo>
                <a:cubicBezTo>
                  <a:pt x="101367" y="106219"/>
                  <a:pt x="102393" y="105583"/>
                  <a:pt x="103418" y="104522"/>
                </a:cubicBezTo>
                <a:cubicBezTo>
                  <a:pt x="104102" y="103886"/>
                  <a:pt x="104444" y="103250"/>
                  <a:pt x="103418" y="102614"/>
                </a:cubicBezTo>
                <a:cubicBezTo>
                  <a:pt x="102564" y="101554"/>
                  <a:pt x="98119" y="103250"/>
                  <a:pt x="97094" y="104734"/>
                </a:cubicBezTo>
                <a:cubicBezTo>
                  <a:pt x="95897" y="107703"/>
                  <a:pt x="94188" y="108763"/>
                  <a:pt x="95042" y="107703"/>
                </a:cubicBezTo>
                <a:cubicBezTo>
                  <a:pt x="95897" y="106855"/>
                  <a:pt x="97094" y="103250"/>
                  <a:pt x="98974" y="102190"/>
                </a:cubicBezTo>
                <a:cubicBezTo>
                  <a:pt x="101367" y="101130"/>
                  <a:pt x="98632" y="100282"/>
                  <a:pt x="102393" y="99646"/>
                </a:cubicBezTo>
                <a:cubicBezTo>
                  <a:pt x="107008" y="98586"/>
                  <a:pt x="107863" y="101766"/>
                  <a:pt x="110940" y="98162"/>
                </a:cubicBezTo>
                <a:cubicBezTo>
                  <a:pt x="113846" y="94982"/>
                  <a:pt x="113333" y="97526"/>
                  <a:pt x="114017" y="96254"/>
                </a:cubicBezTo>
                <a:cubicBezTo>
                  <a:pt x="115042" y="94982"/>
                  <a:pt x="116068" y="95194"/>
                  <a:pt x="115384" y="93710"/>
                </a:cubicBezTo>
                <a:cubicBezTo>
                  <a:pt x="114871" y="92014"/>
                  <a:pt x="115897" y="92862"/>
                  <a:pt x="115384" y="91590"/>
                </a:cubicBezTo>
                <a:cubicBezTo>
                  <a:pt x="114871" y="90318"/>
                  <a:pt x="114358" y="91378"/>
                  <a:pt x="113504" y="90106"/>
                </a:cubicBezTo>
                <a:cubicBezTo>
                  <a:pt x="112820" y="88621"/>
                  <a:pt x="111965" y="89681"/>
                  <a:pt x="110598" y="90954"/>
                </a:cubicBezTo>
                <a:cubicBezTo>
                  <a:pt x="109059" y="92226"/>
                  <a:pt x="108888" y="90742"/>
                  <a:pt x="110085" y="90318"/>
                </a:cubicBezTo>
                <a:cubicBezTo>
                  <a:pt x="111452" y="90106"/>
                  <a:pt x="111111" y="89257"/>
                  <a:pt x="112478" y="89045"/>
                </a:cubicBezTo>
                <a:cubicBezTo>
                  <a:pt x="113846" y="88621"/>
                  <a:pt x="113333" y="87985"/>
                  <a:pt x="111965" y="87773"/>
                </a:cubicBezTo>
                <a:cubicBezTo>
                  <a:pt x="110598" y="87773"/>
                  <a:pt x="111623" y="87137"/>
                  <a:pt x="110085" y="86713"/>
                </a:cubicBezTo>
                <a:cubicBezTo>
                  <a:pt x="108547" y="86289"/>
                  <a:pt x="109914" y="85653"/>
                  <a:pt x="108888" y="85017"/>
                </a:cubicBezTo>
                <a:cubicBezTo>
                  <a:pt x="107863" y="84381"/>
                  <a:pt x="107008" y="83745"/>
                  <a:pt x="107863" y="82473"/>
                </a:cubicBezTo>
                <a:cubicBezTo>
                  <a:pt x="108376" y="80777"/>
                  <a:pt x="106324" y="81413"/>
                  <a:pt x="107008" y="80353"/>
                </a:cubicBezTo>
                <a:cubicBezTo>
                  <a:pt x="107521" y="79505"/>
                  <a:pt x="106324" y="79505"/>
                  <a:pt x="105982" y="77809"/>
                </a:cubicBezTo>
                <a:cubicBezTo>
                  <a:pt x="105982" y="76537"/>
                  <a:pt x="105641" y="77385"/>
                  <a:pt x="105470" y="76537"/>
                </a:cubicBezTo>
                <a:cubicBezTo>
                  <a:pt x="105128" y="75265"/>
                  <a:pt x="104957" y="76113"/>
                  <a:pt x="104102" y="74204"/>
                </a:cubicBezTo>
                <a:cubicBezTo>
                  <a:pt x="103418" y="72296"/>
                  <a:pt x="103418" y="72932"/>
                  <a:pt x="102564" y="74204"/>
                </a:cubicBezTo>
                <a:cubicBezTo>
                  <a:pt x="101880" y="75265"/>
                  <a:pt x="102393" y="77385"/>
                  <a:pt x="101367" y="77173"/>
                </a:cubicBezTo>
                <a:cubicBezTo>
                  <a:pt x="100000" y="76749"/>
                  <a:pt x="101367" y="77385"/>
                  <a:pt x="100000" y="78233"/>
                </a:cubicBezTo>
                <a:cubicBezTo>
                  <a:pt x="98461" y="78869"/>
                  <a:pt x="98974" y="76749"/>
                  <a:pt x="97435" y="76749"/>
                </a:cubicBezTo>
                <a:cubicBezTo>
                  <a:pt x="96068" y="76749"/>
                  <a:pt x="97606" y="76113"/>
                  <a:pt x="96923" y="75901"/>
                </a:cubicBezTo>
                <a:cubicBezTo>
                  <a:pt x="96068" y="75265"/>
                  <a:pt x="97094" y="75265"/>
                  <a:pt x="96581" y="73780"/>
                </a:cubicBezTo>
                <a:cubicBezTo>
                  <a:pt x="96068" y="72932"/>
                  <a:pt x="97435" y="71448"/>
                  <a:pt x="96923" y="70812"/>
                </a:cubicBezTo>
                <a:cubicBezTo>
                  <a:pt x="96410" y="70176"/>
                  <a:pt x="96410" y="71872"/>
                  <a:pt x="96068" y="71236"/>
                </a:cubicBezTo>
                <a:cubicBezTo>
                  <a:pt x="95897" y="70600"/>
                  <a:pt x="94017" y="70600"/>
                  <a:pt x="94017" y="69964"/>
                </a:cubicBezTo>
                <a:cubicBezTo>
                  <a:pt x="94188" y="68904"/>
                  <a:pt x="93162" y="68480"/>
                  <a:pt x="91965" y="67208"/>
                </a:cubicBezTo>
                <a:cubicBezTo>
                  <a:pt x="89914" y="65512"/>
                  <a:pt x="91623" y="69328"/>
                  <a:pt x="87008" y="66572"/>
                </a:cubicBezTo>
                <a:cubicBezTo>
                  <a:pt x="84957" y="65512"/>
                  <a:pt x="84957" y="68480"/>
                  <a:pt x="85470" y="68904"/>
                </a:cubicBezTo>
                <a:cubicBezTo>
                  <a:pt x="85982" y="69540"/>
                  <a:pt x="85641" y="70600"/>
                  <a:pt x="85470" y="71236"/>
                </a:cubicBezTo>
                <a:cubicBezTo>
                  <a:pt x="84957" y="71872"/>
                  <a:pt x="85470" y="71448"/>
                  <a:pt x="85982" y="73144"/>
                </a:cubicBezTo>
                <a:cubicBezTo>
                  <a:pt x="86495" y="74416"/>
                  <a:pt x="85982" y="74416"/>
                  <a:pt x="85641" y="75477"/>
                </a:cubicBezTo>
                <a:cubicBezTo>
                  <a:pt x="85470" y="76537"/>
                  <a:pt x="84957" y="75901"/>
                  <a:pt x="84615" y="77173"/>
                </a:cubicBezTo>
                <a:cubicBezTo>
                  <a:pt x="84444" y="78445"/>
                  <a:pt x="86495" y="77809"/>
                  <a:pt x="87179" y="81413"/>
                </a:cubicBezTo>
                <a:cubicBezTo>
                  <a:pt x="88034" y="85017"/>
                  <a:pt x="85470" y="87137"/>
                  <a:pt x="83931" y="87773"/>
                </a:cubicBezTo>
                <a:cubicBezTo>
                  <a:pt x="82051" y="88621"/>
                  <a:pt x="83931" y="88621"/>
                  <a:pt x="83931" y="90742"/>
                </a:cubicBezTo>
                <a:cubicBezTo>
                  <a:pt x="83931" y="92226"/>
                  <a:pt x="85128" y="94558"/>
                  <a:pt x="84444" y="94982"/>
                </a:cubicBezTo>
                <a:cubicBezTo>
                  <a:pt x="83589" y="95618"/>
                  <a:pt x="84957" y="97314"/>
                  <a:pt x="83931" y="96254"/>
                </a:cubicBezTo>
                <a:cubicBezTo>
                  <a:pt x="82564" y="95194"/>
                  <a:pt x="83589" y="98162"/>
                  <a:pt x="82564" y="97314"/>
                </a:cubicBezTo>
                <a:cubicBezTo>
                  <a:pt x="81538" y="96254"/>
                  <a:pt x="82222" y="95830"/>
                  <a:pt x="80170" y="93710"/>
                </a:cubicBezTo>
                <a:cubicBezTo>
                  <a:pt x="78974" y="92226"/>
                  <a:pt x="80000" y="91378"/>
                  <a:pt x="79487" y="90106"/>
                </a:cubicBezTo>
                <a:cubicBezTo>
                  <a:pt x="78974" y="87985"/>
                  <a:pt x="80512" y="87349"/>
                  <a:pt x="78974" y="87137"/>
                </a:cubicBezTo>
                <a:cubicBezTo>
                  <a:pt x="76239" y="86077"/>
                  <a:pt x="76239" y="87137"/>
                  <a:pt x="75726" y="86713"/>
                </a:cubicBezTo>
                <a:cubicBezTo>
                  <a:pt x="75042" y="86289"/>
                  <a:pt x="75555" y="85653"/>
                  <a:pt x="73162" y="85017"/>
                </a:cubicBezTo>
                <a:cubicBezTo>
                  <a:pt x="70769" y="84169"/>
                  <a:pt x="73504" y="83745"/>
                  <a:pt x="69743" y="82049"/>
                </a:cubicBezTo>
                <a:cubicBezTo>
                  <a:pt x="66153" y="80141"/>
                  <a:pt x="65641" y="83745"/>
                  <a:pt x="65641" y="81413"/>
                </a:cubicBezTo>
                <a:cubicBezTo>
                  <a:pt x="65641" y="79081"/>
                  <a:pt x="65128" y="79505"/>
                  <a:pt x="64786" y="77809"/>
                </a:cubicBezTo>
                <a:cubicBezTo>
                  <a:pt x="64786" y="76537"/>
                  <a:pt x="62735" y="78445"/>
                  <a:pt x="62564" y="75477"/>
                </a:cubicBezTo>
                <a:cubicBezTo>
                  <a:pt x="62222" y="72296"/>
                  <a:pt x="64786" y="67632"/>
                  <a:pt x="65470" y="67844"/>
                </a:cubicBezTo>
                <a:cubicBezTo>
                  <a:pt x="65982" y="67844"/>
                  <a:pt x="65470" y="65936"/>
                  <a:pt x="66666" y="65936"/>
                </a:cubicBezTo>
                <a:cubicBezTo>
                  <a:pt x="67692" y="65936"/>
                  <a:pt x="69059" y="65512"/>
                  <a:pt x="67692" y="64240"/>
                </a:cubicBezTo>
                <a:cubicBezTo>
                  <a:pt x="66666" y="62968"/>
                  <a:pt x="69059" y="64240"/>
                  <a:pt x="69230" y="62544"/>
                </a:cubicBezTo>
                <a:cubicBezTo>
                  <a:pt x="69572" y="61060"/>
                  <a:pt x="70598" y="64664"/>
                  <a:pt x="71965" y="61696"/>
                </a:cubicBezTo>
                <a:cubicBezTo>
                  <a:pt x="73162" y="58727"/>
                  <a:pt x="73675" y="59575"/>
                  <a:pt x="71111" y="58727"/>
                </a:cubicBezTo>
                <a:cubicBezTo>
                  <a:pt x="69230" y="58303"/>
                  <a:pt x="70085" y="57667"/>
                  <a:pt x="68717" y="57031"/>
                </a:cubicBezTo>
                <a:cubicBezTo>
                  <a:pt x="70256" y="56819"/>
                  <a:pt x="71965" y="60000"/>
                  <a:pt x="73504" y="58091"/>
                </a:cubicBezTo>
                <a:cubicBezTo>
                  <a:pt x="74700" y="55971"/>
                  <a:pt x="74700" y="56395"/>
                  <a:pt x="73675" y="55335"/>
                </a:cubicBezTo>
                <a:cubicBezTo>
                  <a:pt x="72478" y="54699"/>
                  <a:pt x="75042" y="54699"/>
                  <a:pt x="75555" y="55335"/>
                </a:cubicBezTo>
                <a:cubicBezTo>
                  <a:pt x="76068" y="55971"/>
                  <a:pt x="76581" y="56395"/>
                  <a:pt x="76752" y="57031"/>
                </a:cubicBezTo>
                <a:cubicBezTo>
                  <a:pt x="77094" y="57667"/>
                  <a:pt x="77435" y="58091"/>
                  <a:pt x="78119" y="57667"/>
                </a:cubicBezTo>
                <a:cubicBezTo>
                  <a:pt x="78632" y="57455"/>
                  <a:pt x="76581" y="56819"/>
                  <a:pt x="77435" y="55971"/>
                </a:cubicBezTo>
                <a:cubicBezTo>
                  <a:pt x="78119" y="55759"/>
                  <a:pt x="78461" y="54699"/>
                  <a:pt x="78974" y="54699"/>
                </a:cubicBezTo>
                <a:cubicBezTo>
                  <a:pt x="79658" y="55123"/>
                  <a:pt x="79658" y="53851"/>
                  <a:pt x="80512" y="53851"/>
                </a:cubicBezTo>
                <a:cubicBezTo>
                  <a:pt x="81025" y="53851"/>
                  <a:pt x="81196" y="52367"/>
                  <a:pt x="80170" y="51519"/>
                </a:cubicBezTo>
                <a:cubicBezTo>
                  <a:pt x="79145" y="50459"/>
                  <a:pt x="80512" y="50883"/>
                  <a:pt x="79658" y="49823"/>
                </a:cubicBezTo>
                <a:cubicBezTo>
                  <a:pt x="78974" y="48763"/>
                  <a:pt x="80683" y="49823"/>
                  <a:pt x="81025" y="48763"/>
                </a:cubicBezTo>
                <a:cubicBezTo>
                  <a:pt x="81196" y="47491"/>
                  <a:pt x="80170" y="48551"/>
                  <a:pt x="80683" y="47491"/>
                </a:cubicBezTo>
                <a:cubicBezTo>
                  <a:pt x="81196" y="46431"/>
                  <a:pt x="79658" y="47491"/>
                  <a:pt x="79487" y="46219"/>
                </a:cubicBezTo>
                <a:cubicBezTo>
                  <a:pt x="79487" y="45159"/>
                  <a:pt x="78119" y="45795"/>
                  <a:pt x="77094" y="45159"/>
                </a:cubicBezTo>
                <a:cubicBezTo>
                  <a:pt x="75726" y="44522"/>
                  <a:pt x="76581" y="45159"/>
                  <a:pt x="75555" y="45159"/>
                </a:cubicBezTo>
                <a:cubicBezTo>
                  <a:pt x="74529" y="45159"/>
                  <a:pt x="75042" y="47067"/>
                  <a:pt x="75555" y="47491"/>
                </a:cubicBezTo>
                <a:cubicBezTo>
                  <a:pt x="76239" y="47915"/>
                  <a:pt x="75726" y="48551"/>
                  <a:pt x="75213" y="48551"/>
                </a:cubicBezTo>
                <a:cubicBezTo>
                  <a:pt x="74700" y="48127"/>
                  <a:pt x="75213" y="50035"/>
                  <a:pt x="74188" y="51095"/>
                </a:cubicBezTo>
                <a:cubicBezTo>
                  <a:pt x="73504" y="51731"/>
                  <a:pt x="74188" y="52367"/>
                  <a:pt x="73162" y="53003"/>
                </a:cubicBezTo>
                <a:cubicBezTo>
                  <a:pt x="72136" y="53427"/>
                  <a:pt x="72649" y="52791"/>
                  <a:pt x="71623" y="51731"/>
                </a:cubicBezTo>
                <a:cubicBezTo>
                  <a:pt x="70598" y="50459"/>
                  <a:pt x="72136" y="50883"/>
                  <a:pt x="72136" y="49823"/>
                </a:cubicBezTo>
                <a:cubicBezTo>
                  <a:pt x="72136" y="49187"/>
                  <a:pt x="70769" y="46219"/>
                  <a:pt x="69743" y="47067"/>
                </a:cubicBezTo>
                <a:cubicBezTo>
                  <a:pt x="69059" y="48127"/>
                  <a:pt x="69572" y="50883"/>
                  <a:pt x="68547" y="49399"/>
                </a:cubicBezTo>
                <a:cubicBezTo>
                  <a:pt x="67692" y="48551"/>
                  <a:pt x="69059" y="48763"/>
                  <a:pt x="68205" y="47491"/>
                </a:cubicBezTo>
                <a:cubicBezTo>
                  <a:pt x="67179" y="46431"/>
                  <a:pt x="69230" y="46855"/>
                  <a:pt x="68205" y="46219"/>
                </a:cubicBezTo>
                <a:cubicBezTo>
                  <a:pt x="67008" y="45159"/>
                  <a:pt x="67008" y="46431"/>
                  <a:pt x="66153" y="45795"/>
                </a:cubicBezTo>
                <a:cubicBezTo>
                  <a:pt x="65128" y="45159"/>
                  <a:pt x="67521" y="44098"/>
                  <a:pt x="67008" y="43886"/>
                </a:cubicBezTo>
                <a:cubicBezTo>
                  <a:pt x="66495" y="43250"/>
                  <a:pt x="65128" y="42614"/>
                  <a:pt x="65128" y="41130"/>
                </a:cubicBezTo>
                <a:cubicBezTo>
                  <a:pt x="65128" y="39858"/>
                  <a:pt x="63247" y="38586"/>
                  <a:pt x="62564" y="38586"/>
                </a:cubicBezTo>
                <a:cubicBezTo>
                  <a:pt x="61538" y="38162"/>
                  <a:pt x="62222" y="39222"/>
                  <a:pt x="61538" y="39222"/>
                </a:cubicBezTo>
                <a:cubicBezTo>
                  <a:pt x="60512" y="39646"/>
                  <a:pt x="61538" y="39858"/>
                  <a:pt x="60512" y="40494"/>
                </a:cubicBezTo>
                <a:cubicBezTo>
                  <a:pt x="59316" y="41130"/>
                  <a:pt x="60683" y="42614"/>
                  <a:pt x="60512" y="43250"/>
                </a:cubicBezTo>
                <a:cubicBezTo>
                  <a:pt x="60170" y="44098"/>
                  <a:pt x="60170" y="44946"/>
                  <a:pt x="61709" y="45583"/>
                </a:cubicBezTo>
                <a:cubicBezTo>
                  <a:pt x="63247" y="46219"/>
                  <a:pt x="63760" y="47067"/>
                  <a:pt x="63076" y="47915"/>
                </a:cubicBezTo>
                <a:cubicBezTo>
                  <a:pt x="62222" y="48127"/>
                  <a:pt x="62735" y="48763"/>
                  <a:pt x="63589" y="48551"/>
                </a:cubicBezTo>
                <a:cubicBezTo>
                  <a:pt x="64273" y="47915"/>
                  <a:pt x="64273" y="48763"/>
                  <a:pt x="63247" y="50035"/>
                </a:cubicBezTo>
                <a:cubicBezTo>
                  <a:pt x="62051" y="51095"/>
                  <a:pt x="62051" y="49823"/>
                  <a:pt x="61709" y="50883"/>
                </a:cubicBezTo>
                <a:cubicBezTo>
                  <a:pt x="61196" y="51731"/>
                  <a:pt x="62735" y="54063"/>
                  <a:pt x="61538" y="53003"/>
                </a:cubicBezTo>
                <a:cubicBezTo>
                  <a:pt x="60512" y="52155"/>
                  <a:pt x="60512" y="52155"/>
                  <a:pt x="60683" y="51095"/>
                </a:cubicBezTo>
                <a:cubicBezTo>
                  <a:pt x="61025" y="50459"/>
                  <a:pt x="61025" y="49823"/>
                  <a:pt x="60170" y="49823"/>
                </a:cubicBezTo>
                <a:cubicBezTo>
                  <a:pt x="59145" y="50035"/>
                  <a:pt x="58803" y="48763"/>
                  <a:pt x="57777" y="49399"/>
                </a:cubicBezTo>
                <a:cubicBezTo>
                  <a:pt x="56752" y="50035"/>
                  <a:pt x="58119" y="51095"/>
                  <a:pt x="57094" y="51519"/>
                </a:cubicBezTo>
                <a:cubicBezTo>
                  <a:pt x="56239" y="51731"/>
                  <a:pt x="56581" y="50883"/>
                  <a:pt x="54529" y="51519"/>
                </a:cubicBezTo>
                <a:cubicBezTo>
                  <a:pt x="51623" y="52155"/>
                  <a:pt x="51282" y="50035"/>
                  <a:pt x="50598" y="50459"/>
                </a:cubicBezTo>
                <a:cubicBezTo>
                  <a:pt x="48717" y="51519"/>
                  <a:pt x="48205" y="47915"/>
                  <a:pt x="46837" y="48127"/>
                </a:cubicBezTo>
                <a:cubicBezTo>
                  <a:pt x="45811" y="48127"/>
                  <a:pt x="43247" y="48763"/>
                  <a:pt x="43760" y="50035"/>
                </a:cubicBezTo>
                <a:cubicBezTo>
                  <a:pt x="44273" y="51095"/>
                  <a:pt x="45811" y="49187"/>
                  <a:pt x="46324" y="49823"/>
                </a:cubicBezTo>
                <a:cubicBezTo>
                  <a:pt x="47179" y="50035"/>
                  <a:pt x="45128" y="50035"/>
                  <a:pt x="44786" y="51095"/>
                </a:cubicBezTo>
                <a:cubicBezTo>
                  <a:pt x="44615" y="52155"/>
                  <a:pt x="46666" y="54699"/>
                  <a:pt x="44615" y="52791"/>
                </a:cubicBezTo>
                <a:cubicBezTo>
                  <a:pt x="42564" y="51095"/>
                  <a:pt x="42735" y="52155"/>
                  <a:pt x="41880" y="51095"/>
                </a:cubicBezTo>
                <a:cubicBezTo>
                  <a:pt x="41196" y="49823"/>
                  <a:pt x="41880" y="51519"/>
                  <a:pt x="39316" y="51519"/>
                </a:cubicBezTo>
                <a:cubicBezTo>
                  <a:pt x="37094" y="51731"/>
                  <a:pt x="33846" y="51519"/>
                  <a:pt x="34871" y="50459"/>
                </a:cubicBezTo>
                <a:cubicBezTo>
                  <a:pt x="35897" y="49399"/>
                  <a:pt x="37264" y="50459"/>
                  <a:pt x="36239" y="49399"/>
                </a:cubicBezTo>
                <a:cubicBezTo>
                  <a:pt x="35384" y="48551"/>
                  <a:pt x="34871" y="47491"/>
                  <a:pt x="33333" y="47915"/>
                </a:cubicBezTo>
                <a:cubicBezTo>
                  <a:pt x="31794" y="48127"/>
                  <a:pt x="30256" y="47067"/>
                  <a:pt x="28888" y="46855"/>
                </a:cubicBezTo>
                <a:cubicBezTo>
                  <a:pt x="27350" y="46219"/>
                  <a:pt x="26324" y="44946"/>
                  <a:pt x="25128" y="45159"/>
                </a:cubicBezTo>
                <a:cubicBezTo>
                  <a:pt x="23418" y="45159"/>
                  <a:pt x="24444" y="46855"/>
                  <a:pt x="23247" y="46431"/>
                </a:cubicBezTo>
                <a:cubicBezTo>
                  <a:pt x="21880" y="46219"/>
                  <a:pt x="23418" y="43886"/>
                  <a:pt x="21709" y="44098"/>
                </a:cubicBezTo>
                <a:cubicBezTo>
                  <a:pt x="20854" y="44522"/>
                  <a:pt x="21880" y="47491"/>
                  <a:pt x="20170" y="46219"/>
                </a:cubicBezTo>
                <a:cubicBezTo>
                  <a:pt x="19145" y="45583"/>
                  <a:pt x="18461" y="41978"/>
                  <a:pt x="17435" y="42826"/>
                </a:cubicBezTo>
                <a:cubicBezTo>
                  <a:pt x="16239" y="44098"/>
                  <a:pt x="19145" y="43250"/>
                  <a:pt x="16923" y="44946"/>
                </a:cubicBezTo>
                <a:cubicBezTo>
                  <a:pt x="15384" y="45795"/>
                  <a:pt x="17264" y="44098"/>
                  <a:pt x="14700" y="45583"/>
                </a:cubicBezTo>
                <a:cubicBezTo>
                  <a:pt x="11794" y="46855"/>
                  <a:pt x="13162" y="45795"/>
                  <a:pt x="14700" y="44946"/>
                </a:cubicBezTo>
                <a:cubicBezTo>
                  <a:pt x="16239" y="43886"/>
                  <a:pt x="15897" y="43886"/>
                  <a:pt x="15213" y="44098"/>
                </a:cubicBezTo>
                <a:cubicBezTo>
                  <a:pt x="14188" y="44522"/>
                  <a:pt x="14358" y="43462"/>
                  <a:pt x="12820" y="44946"/>
                </a:cubicBezTo>
                <a:cubicBezTo>
                  <a:pt x="11452" y="45795"/>
                  <a:pt x="12307" y="44522"/>
                  <a:pt x="10769" y="46219"/>
                </a:cubicBezTo>
                <a:cubicBezTo>
                  <a:pt x="9230" y="47491"/>
                  <a:pt x="8376" y="47491"/>
                  <a:pt x="8888" y="48127"/>
                </a:cubicBezTo>
                <a:cubicBezTo>
                  <a:pt x="9230" y="48763"/>
                  <a:pt x="8205" y="47915"/>
                  <a:pt x="7350" y="48551"/>
                </a:cubicBezTo>
                <a:cubicBezTo>
                  <a:pt x="6495" y="48763"/>
                  <a:pt x="7179" y="47915"/>
                  <a:pt x="5470" y="47915"/>
                </a:cubicBezTo>
                <a:cubicBezTo>
                  <a:pt x="3760" y="47915"/>
                  <a:pt x="2393" y="45583"/>
                  <a:pt x="0" y="45795"/>
                </a:cubicBezTo>
                <a:cubicBezTo>
                  <a:pt x="0" y="72932"/>
                  <a:pt x="0" y="72932"/>
                  <a:pt x="0" y="72932"/>
                </a:cubicBezTo>
                <a:cubicBezTo>
                  <a:pt x="1025" y="73568"/>
                  <a:pt x="512" y="72508"/>
                  <a:pt x="854" y="72932"/>
                </a:cubicBezTo>
                <a:cubicBezTo>
                  <a:pt x="1367" y="73144"/>
                  <a:pt x="1367" y="73144"/>
                  <a:pt x="1709" y="73144"/>
                </a:cubicBezTo>
                <a:cubicBezTo>
                  <a:pt x="1880" y="72932"/>
                  <a:pt x="2735" y="72508"/>
                  <a:pt x="2735" y="73144"/>
                </a:cubicBezTo>
                <a:cubicBezTo>
                  <a:pt x="2393" y="73568"/>
                  <a:pt x="2222" y="73568"/>
                  <a:pt x="2735" y="73780"/>
                </a:cubicBezTo>
                <a:cubicBezTo>
                  <a:pt x="3418" y="74204"/>
                  <a:pt x="2735" y="74416"/>
                  <a:pt x="3931" y="75265"/>
                </a:cubicBezTo>
                <a:cubicBezTo>
                  <a:pt x="4957" y="76113"/>
                  <a:pt x="4444" y="76537"/>
                  <a:pt x="4786" y="76537"/>
                </a:cubicBezTo>
                <a:cubicBezTo>
                  <a:pt x="4957" y="76749"/>
                  <a:pt x="4957" y="76113"/>
                  <a:pt x="5811" y="76113"/>
                </a:cubicBezTo>
                <a:cubicBezTo>
                  <a:pt x="6495" y="75901"/>
                  <a:pt x="5811" y="75477"/>
                  <a:pt x="6324" y="75265"/>
                </a:cubicBezTo>
                <a:cubicBezTo>
                  <a:pt x="6837" y="75265"/>
                  <a:pt x="5982" y="74840"/>
                  <a:pt x="6495" y="74840"/>
                </a:cubicBezTo>
                <a:cubicBezTo>
                  <a:pt x="7692" y="74204"/>
                  <a:pt x="7692" y="74204"/>
                  <a:pt x="7863" y="74840"/>
                </a:cubicBezTo>
                <a:cubicBezTo>
                  <a:pt x="8376" y="75477"/>
                  <a:pt x="7863" y="75265"/>
                  <a:pt x="8205" y="75477"/>
                </a:cubicBezTo>
                <a:cubicBezTo>
                  <a:pt x="8376" y="76113"/>
                  <a:pt x="8717" y="75901"/>
                  <a:pt x="8888" y="76537"/>
                </a:cubicBezTo>
                <a:cubicBezTo>
                  <a:pt x="9230" y="77385"/>
                  <a:pt x="9743" y="76749"/>
                  <a:pt x="9914" y="77809"/>
                </a:cubicBezTo>
                <a:cubicBezTo>
                  <a:pt x="10427" y="78445"/>
                  <a:pt x="11452" y="80777"/>
                  <a:pt x="11794" y="81201"/>
                </a:cubicBezTo>
                <a:cubicBezTo>
                  <a:pt x="11965" y="81837"/>
                  <a:pt x="11452" y="81837"/>
                  <a:pt x="11965" y="81837"/>
                </a:cubicBezTo>
                <a:cubicBezTo>
                  <a:pt x="12307" y="81837"/>
                  <a:pt x="11794" y="82473"/>
                  <a:pt x="12307" y="82473"/>
                </a:cubicBezTo>
                <a:cubicBezTo>
                  <a:pt x="12478" y="82473"/>
                  <a:pt x="11965" y="83109"/>
                  <a:pt x="12478" y="83109"/>
                </a:cubicBezTo>
                <a:cubicBezTo>
                  <a:pt x="13162" y="82685"/>
                  <a:pt x="12820" y="83321"/>
                  <a:pt x="13846" y="83745"/>
                </a:cubicBezTo>
                <a:cubicBezTo>
                  <a:pt x="14700" y="84169"/>
                  <a:pt x="14188" y="84381"/>
                  <a:pt x="14700" y="84381"/>
                </a:cubicBezTo>
                <a:cubicBezTo>
                  <a:pt x="14871" y="84381"/>
                  <a:pt x="14871" y="84805"/>
                  <a:pt x="14871" y="84805"/>
                </a:cubicBezTo>
                <a:cubicBezTo>
                  <a:pt x="14700" y="85653"/>
                  <a:pt x="15213" y="86289"/>
                  <a:pt x="14871" y="87137"/>
                </a:cubicBezTo>
                <a:cubicBezTo>
                  <a:pt x="14358" y="87349"/>
                  <a:pt x="14871" y="87773"/>
                  <a:pt x="14700" y="87985"/>
                </a:cubicBezTo>
                <a:cubicBezTo>
                  <a:pt x="13846" y="89045"/>
                  <a:pt x="14358" y="89045"/>
                  <a:pt x="14700" y="89257"/>
                </a:cubicBezTo>
                <a:cubicBezTo>
                  <a:pt x="14700" y="90106"/>
                  <a:pt x="15213" y="90742"/>
                  <a:pt x="15726" y="91378"/>
                </a:cubicBezTo>
                <a:cubicBezTo>
                  <a:pt x="15897" y="92014"/>
                  <a:pt x="15384" y="90318"/>
                  <a:pt x="16752" y="90318"/>
                </a:cubicBezTo>
                <a:cubicBezTo>
                  <a:pt x="17435" y="90106"/>
                  <a:pt x="15897" y="90742"/>
                  <a:pt x="16410" y="91590"/>
                </a:cubicBezTo>
                <a:cubicBezTo>
                  <a:pt x="16752" y="92226"/>
                  <a:pt x="16752" y="91590"/>
                  <a:pt x="16752" y="92650"/>
                </a:cubicBezTo>
                <a:cubicBezTo>
                  <a:pt x="16923" y="93710"/>
                  <a:pt x="17777" y="92014"/>
                  <a:pt x="17264" y="93286"/>
                </a:cubicBezTo>
                <a:cubicBezTo>
                  <a:pt x="16923" y="94558"/>
                  <a:pt x="16923" y="94982"/>
                  <a:pt x="17264" y="94558"/>
                </a:cubicBezTo>
                <a:cubicBezTo>
                  <a:pt x="17264" y="94558"/>
                  <a:pt x="16923" y="95194"/>
                  <a:pt x="17435" y="95618"/>
                </a:cubicBezTo>
                <a:cubicBezTo>
                  <a:pt x="17777" y="95618"/>
                  <a:pt x="17435" y="94558"/>
                  <a:pt x="17948" y="94346"/>
                </a:cubicBezTo>
                <a:cubicBezTo>
                  <a:pt x="18290" y="94346"/>
                  <a:pt x="18461" y="93710"/>
                  <a:pt x="18461" y="93922"/>
                </a:cubicBezTo>
                <a:cubicBezTo>
                  <a:pt x="18803" y="94346"/>
                  <a:pt x="19316" y="93922"/>
                  <a:pt x="19316" y="94346"/>
                </a:cubicBezTo>
                <a:cubicBezTo>
                  <a:pt x="19145" y="94982"/>
                  <a:pt x="19145" y="93922"/>
                  <a:pt x="18290" y="94558"/>
                </a:cubicBezTo>
                <a:cubicBezTo>
                  <a:pt x="17435" y="95194"/>
                  <a:pt x="17777" y="95194"/>
                  <a:pt x="17777" y="95830"/>
                </a:cubicBezTo>
                <a:cubicBezTo>
                  <a:pt x="17777" y="96678"/>
                  <a:pt x="18290" y="96254"/>
                  <a:pt x="17948" y="96678"/>
                </a:cubicBezTo>
                <a:cubicBezTo>
                  <a:pt x="17777" y="96890"/>
                  <a:pt x="18290" y="96890"/>
                  <a:pt x="17948" y="96890"/>
                </a:cubicBezTo>
                <a:cubicBezTo>
                  <a:pt x="17435" y="97314"/>
                  <a:pt x="17948" y="97526"/>
                  <a:pt x="18461" y="97950"/>
                </a:cubicBezTo>
                <a:cubicBezTo>
                  <a:pt x="19145" y="98162"/>
                  <a:pt x="19145" y="97526"/>
                  <a:pt x="19658" y="97950"/>
                </a:cubicBezTo>
                <a:cubicBezTo>
                  <a:pt x="20170" y="97950"/>
                  <a:pt x="19316" y="98162"/>
                  <a:pt x="19829" y="98162"/>
                </a:cubicBezTo>
                <a:cubicBezTo>
                  <a:pt x="20683" y="97950"/>
                  <a:pt x="19658" y="99222"/>
                  <a:pt x="20341" y="98798"/>
                </a:cubicBezTo>
                <a:cubicBezTo>
                  <a:pt x="20683" y="98798"/>
                  <a:pt x="20341" y="99222"/>
                  <a:pt x="20854" y="98798"/>
                </a:cubicBezTo>
                <a:cubicBezTo>
                  <a:pt x="21367" y="98798"/>
                  <a:pt x="21709" y="99646"/>
                  <a:pt x="21880" y="99222"/>
                </a:cubicBezTo>
                <a:cubicBezTo>
                  <a:pt x="22222" y="98798"/>
                  <a:pt x="22393" y="99858"/>
                  <a:pt x="21880" y="99858"/>
                </a:cubicBezTo>
                <a:cubicBezTo>
                  <a:pt x="21709" y="100282"/>
                  <a:pt x="22393" y="100918"/>
                  <a:pt x="22735" y="100918"/>
                </a:cubicBezTo>
                <a:cubicBezTo>
                  <a:pt x="23247" y="100494"/>
                  <a:pt x="23247" y="99858"/>
                  <a:pt x="23247" y="100494"/>
                </a:cubicBezTo>
                <a:cubicBezTo>
                  <a:pt x="23247" y="101130"/>
                  <a:pt x="23418" y="100918"/>
                  <a:pt x="23418" y="101130"/>
                </a:cubicBezTo>
                <a:cubicBezTo>
                  <a:pt x="23247" y="101554"/>
                  <a:pt x="23247" y="100494"/>
                  <a:pt x="22905" y="100918"/>
                </a:cubicBezTo>
                <a:cubicBezTo>
                  <a:pt x="22735" y="101130"/>
                  <a:pt x="23760" y="101766"/>
                  <a:pt x="23760" y="101554"/>
                </a:cubicBezTo>
                <a:cubicBezTo>
                  <a:pt x="23760" y="101130"/>
                  <a:pt x="23931" y="100918"/>
                  <a:pt x="23931" y="101554"/>
                </a:cubicBezTo>
                <a:cubicBezTo>
                  <a:pt x="23931" y="101766"/>
                  <a:pt x="24273" y="102190"/>
                  <a:pt x="24273" y="102614"/>
                </a:cubicBezTo>
                <a:cubicBezTo>
                  <a:pt x="23931" y="102826"/>
                  <a:pt x="24273" y="102826"/>
                  <a:pt x="24444" y="102614"/>
                </a:cubicBezTo>
                <a:cubicBezTo>
                  <a:pt x="24444" y="102190"/>
                  <a:pt x="24444" y="102614"/>
                  <a:pt x="24444" y="102826"/>
                </a:cubicBezTo>
                <a:cubicBezTo>
                  <a:pt x="62051" y="102826"/>
                  <a:pt x="62051" y="102826"/>
                  <a:pt x="62051" y="102826"/>
                </a:cubicBezTo>
                <a:close/>
                <a:moveTo>
                  <a:pt x="82735" y="69540"/>
                </a:moveTo>
                <a:cubicBezTo>
                  <a:pt x="83418" y="69328"/>
                  <a:pt x="83931" y="66996"/>
                  <a:pt x="82735" y="67208"/>
                </a:cubicBezTo>
                <a:cubicBezTo>
                  <a:pt x="81709" y="67632"/>
                  <a:pt x="82564" y="69540"/>
                  <a:pt x="82735" y="69540"/>
                </a:cubicBezTo>
                <a:close/>
                <a:moveTo>
                  <a:pt x="102564" y="68904"/>
                </a:moveTo>
                <a:cubicBezTo>
                  <a:pt x="103076" y="68904"/>
                  <a:pt x="103589" y="69328"/>
                  <a:pt x="103418" y="69964"/>
                </a:cubicBezTo>
                <a:cubicBezTo>
                  <a:pt x="103076" y="70600"/>
                  <a:pt x="101880" y="69328"/>
                  <a:pt x="102564" y="68904"/>
                </a:cubicBezTo>
                <a:close/>
                <a:moveTo>
                  <a:pt x="73675" y="49823"/>
                </a:moveTo>
                <a:cubicBezTo>
                  <a:pt x="73675" y="49399"/>
                  <a:pt x="72649" y="50035"/>
                  <a:pt x="73162" y="51095"/>
                </a:cubicBezTo>
                <a:cubicBezTo>
                  <a:pt x="74017" y="52367"/>
                  <a:pt x="74017" y="50035"/>
                  <a:pt x="73675" y="49823"/>
                </a:cubicBezTo>
                <a:close/>
                <a:moveTo>
                  <a:pt x="63589" y="20353"/>
                </a:moveTo>
                <a:cubicBezTo>
                  <a:pt x="65470" y="20353"/>
                  <a:pt x="64786" y="19505"/>
                  <a:pt x="63247" y="19505"/>
                </a:cubicBezTo>
                <a:cubicBezTo>
                  <a:pt x="61538" y="19081"/>
                  <a:pt x="60512" y="19505"/>
                  <a:pt x="60512" y="20141"/>
                </a:cubicBezTo>
                <a:cubicBezTo>
                  <a:pt x="60512" y="20777"/>
                  <a:pt x="61709" y="20353"/>
                  <a:pt x="63589" y="20353"/>
                </a:cubicBezTo>
                <a:close/>
                <a:moveTo>
                  <a:pt x="50598" y="27985"/>
                </a:moveTo>
                <a:cubicBezTo>
                  <a:pt x="50256" y="27349"/>
                  <a:pt x="49059" y="26713"/>
                  <a:pt x="49059" y="27985"/>
                </a:cubicBezTo>
                <a:cubicBezTo>
                  <a:pt x="49059" y="29045"/>
                  <a:pt x="50769" y="28621"/>
                  <a:pt x="50598" y="27985"/>
                </a:cubicBezTo>
                <a:close/>
                <a:moveTo>
                  <a:pt x="31282" y="25441"/>
                </a:moveTo>
                <a:cubicBezTo>
                  <a:pt x="30256" y="25653"/>
                  <a:pt x="28376" y="26713"/>
                  <a:pt x="29914" y="27137"/>
                </a:cubicBezTo>
                <a:cubicBezTo>
                  <a:pt x="31111" y="27137"/>
                  <a:pt x="32136" y="24805"/>
                  <a:pt x="31282" y="25441"/>
                </a:cubicBezTo>
                <a:close/>
                <a:moveTo>
                  <a:pt x="35384" y="22685"/>
                </a:moveTo>
                <a:cubicBezTo>
                  <a:pt x="35726" y="22049"/>
                  <a:pt x="37777" y="22473"/>
                  <a:pt x="37264" y="22685"/>
                </a:cubicBezTo>
                <a:cubicBezTo>
                  <a:pt x="36752" y="23109"/>
                  <a:pt x="35213" y="23109"/>
                  <a:pt x="35384" y="22685"/>
                </a:cubicBezTo>
                <a:close/>
                <a:moveTo>
                  <a:pt x="36410" y="18869"/>
                </a:moveTo>
                <a:cubicBezTo>
                  <a:pt x="35897" y="18233"/>
                  <a:pt x="35384" y="18445"/>
                  <a:pt x="35213" y="18869"/>
                </a:cubicBezTo>
                <a:cubicBezTo>
                  <a:pt x="34871" y="18869"/>
                  <a:pt x="35726" y="19505"/>
                  <a:pt x="36752" y="19505"/>
                </a:cubicBezTo>
                <a:cubicBezTo>
                  <a:pt x="37264" y="19505"/>
                  <a:pt x="37264" y="19505"/>
                  <a:pt x="36410" y="18869"/>
                </a:cubicBezTo>
                <a:close/>
                <a:moveTo>
                  <a:pt x="49572" y="24169"/>
                </a:moveTo>
                <a:cubicBezTo>
                  <a:pt x="50085" y="24805"/>
                  <a:pt x="52307" y="23745"/>
                  <a:pt x="51282" y="23745"/>
                </a:cubicBezTo>
                <a:cubicBezTo>
                  <a:pt x="50256" y="23533"/>
                  <a:pt x="50598" y="22473"/>
                  <a:pt x="49572" y="23109"/>
                </a:cubicBezTo>
                <a:cubicBezTo>
                  <a:pt x="49230" y="23533"/>
                  <a:pt x="49059" y="23533"/>
                  <a:pt x="49572" y="24169"/>
                </a:cubicBezTo>
                <a:close/>
                <a:moveTo>
                  <a:pt x="49572" y="25017"/>
                </a:moveTo>
                <a:cubicBezTo>
                  <a:pt x="49230" y="24805"/>
                  <a:pt x="51623" y="24169"/>
                  <a:pt x="52136" y="24381"/>
                </a:cubicBezTo>
                <a:cubicBezTo>
                  <a:pt x="52307" y="24805"/>
                  <a:pt x="50085" y="25441"/>
                  <a:pt x="49572" y="25017"/>
                </a:cubicBezTo>
                <a:close/>
                <a:moveTo>
                  <a:pt x="50598" y="25653"/>
                </a:moveTo>
                <a:cubicBezTo>
                  <a:pt x="50085" y="25441"/>
                  <a:pt x="51794" y="25017"/>
                  <a:pt x="52136" y="25017"/>
                </a:cubicBezTo>
                <a:cubicBezTo>
                  <a:pt x="52649" y="25441"/>
                  <a:pt x="50769" y="26077"/>
                  <a:pt x="50598" y="25653"/>
                </a:cubicBezTo>
                <a:close/>
                <a:moveTo>
                  <a:pt x="51111" y="26501"/>
                </a:moveTo>
                <a:cubicBezTo>
                  <a:pt x="50769" y="26077"/>
                  <a:pt x="52307" y="25441"/>
                  <a:pt x="52649" y="25441"/>
                </a:cubicBezTo>
                <a:cubicBezTo>
                  <a:pt x="52820" y="25441"/>
                  <a:pt x="51623" y="26501"/>
                  <a:pt x="51111" y="26501"/>
                </a:cubicBezTo>
                <a:close/>
                <a:moveTo>
                  <a:pt x="74017" y="15477"/>
                </a:moveTo>
                <a:cubicBezTo>
                  <a:pt x="74529" y="14840"/>
                  <a:pt x="75726" y="14416"/>
                  <a:pt x="75726" y="15265"/>
                </a:cubicBezTo>
                <a:cubicBezTo>
                  <a:pt x="75555" y="15477"/>
                  <a:pt x="73504" y="15901"/>
                  <a:pt x="74017" y="15477"/>
                </a:cubicBezTo>
                <a:close/>
                <a:moveTo>
                  <a:pt x="80512" y="92650"/>
                </a:moveTo>
                <a:cubicBezTo>
                  <a:pt x="81025" y="92862"/>
                  <a:pt x="81538" y="93286"/>
                  <a:pt x="81709" y="93286"/>
                </a:cubicBezTo>
                <a:cubicBezTo>
                  <a:pt x="82051" y="92862"/>
                  <a:pt x="81196" y="92226"/>
                  <a:pt x="81196" y="92014"/>
                </a:cubicBezTo>
                <a:cubicBezTo>
                  <a:pt x="81025" y="91590"/>
                  <a:pt x="80170" y="91590"/>
                  <a:pt x="80000" y="92226"/>
                </a:cubicBezTo>
                <a:cubicBezTo>
                  <a:pt x="79658" y="92226"/>
                  <a:pt x="80000" y="92226"/>
                  <a:pt x="80512" y="92650"/>
                </a:cubicBezTo>
                <a:close/>
                <a:moveTo>
                  <a:pt x="83076" y="84805"/>
                </a:moveTo>
                <a:cubicBezTo>
                  <a:pt x="83076" y="84381"/>
                  <a:pt x="83418" y="84169"/>
                  <a:pt x="83076" y="84805"/>
                </a:cubicBezTo>
                <a:cubicBezTo>
                  <a:pt x="82735" y="85441"/>
                  <a:pt x="82735" y="85017"/>
                  <a:pt x="83076" y="85017"/>
                </a:cubicBezTo>
                <a:cubicBezTo>
                  <a:pt x="83418" y="85017"/>
                  <a:pt x="83589" y="84169"/>
                  <a:pt x="83589" y="84169"/>
                </a:cubicBezTo>
                <a:cubicBezTo>
                  <a:pt x="83931" y="84169"/>
                  <a:pt x="83418" y="85017"/>
                  <a:pt x="83589" y="85017"/>
                </a:cubicBezTo>
                <a:cubicBezTo>
                  <a:pt x="83931" y="85017"/>
                  <a:pt x="83931" y="84805"/>
                  <a:pt x="83931" y="84169"/>
                </a:cubicBezTo>
                <a:cubicBezTo>
                  <a:pt x="84102" y="83321"/>
                  <a:pt x="84102" y="83745"/>
                  <a:pt x="83931" y="83321"/>
                </a:cubicBezTo>
                <a:cubicBezTo>
                  <a:pt x="83589" y="83109"/>
                  <a:pt x="83589" y="83109"/>
                  <a:pt x="83589" y="83321"/>
                </a:cubicBezTo>
                <a:cubicBezTo>
                  <a:pt x="83418" y="83745"/>
                  <a:pt x="83418" y="84169"/>
                  <a:pt x="83418" y="83745"/>
                </a:cubicBezTo>
                <a:cubicBezTo>
                  <a:pt x="83418" y="83321"/>
                  <a:pt x="83418" y="83109"/>
                  <a:pt x="83418" y="83321"/>
                </a:cubicBezTo>
                <a:cubicBezTo>
                  <a:pt x="83076" y="83321"/>
                  <a:pt x="83418" y="83321"/>
                  <a:pt x="83418" y="83745"/>
                </a:cubicBezTo>
                <a:cubicBezTo>
                  <a:pt x="83076" y="84169"/>
                  <a:pt x="83076" y="84169"/>
                  <a:pt x="82735" y="84381"/>
                </a:cubicBezTo>
                <a:cubicBezTo>
                  <a:pt x="82564" y="84805"/>
                  <a:pt x="82564" y="84805"/>
                  <a:pt x="82564" y="85017"/>
                </a:cubicBezTo>
                <a:cubicBezTo>
                  <a:pt x="82735" y="85441"/>
                  <a:pt x="82735" y="85017"/>
                  <a:pt x="83076" y="84805"/>
                </a:cubicBezTo>
                <a:close/>
                <a:moveTo>
                  <a:pt x="84444" y="84381"/>
                </a:moveTo>
                <a:cubicBezTo>
                  <a:pt x="84444" y="84169"/>
                  <a:pt x="84444" y="83321"/>
                  <a:pt x="84444" y="83321"/>
                </a:cubicBezTo>
                <a:cubicBezTo>
                  <a:pt x="84102" y="83321"/>
                  <a:pt x="84102" y="83745"/>
                  <a:pt x="84102" y="84381"/>
                </a:cubicBezTo>
                <a:cubicBezTo>
                  <a:pt x="83931" y="84381"/>
                  <a:pt x="84102" y="84381"/>
                  <a:pt x="84444" y="84381"/>
                </a:cubicBezTo>
                <a:close/>
                <a:moveTo>
                  <a:pt x="82735" y="84169"/>
                </a:moveTo>
                <a:cubicBezTo>
                  <a:pt x="83076" y="83745"/>
                  <a:pt x="83076" y="83321"/>
                  <a:pt x="83076" y="83321"/>
                </a:cubicBezTo>
                <a:cubicBezTo>
                  <a:pt x="82735" y="83745"/>
                  <a:pt x="82564" y="83745"/>
                  <a:pt x="82564" y="84169"/>
                </a:cubicBezTo>
                <a:cubicBezTo>
                  <a:pt x="82222" y="84381"/>
                  <a:pt x="82564" y="84381"/>
                  <a:pt x="82735" y="84169"/>
                </a:cubicBezTo>
                <a:close/>
                <a:moveTo>
                  <a:pt x="98632" y="73144"/>
                </a:moveTo>
                <a:cubicBezTo>
                  <a:pt x="98119" y="73144"/>
                  <a:pt x="98632" y="71872"/>
                  <a:pt x="98974" y="72296"/>
                </a:cubicBezTo>
                <a:cubicBezTo>
                  <a:pt x="99487" y="72508"/>
                  <a:pt x="98974" y="73144"/>
                  <a:pt x="98632" y="73144"/>
                </a:cubicBezTo>
                <a:close/>
              </a:path>
            </a:pathLst>
          </a:custGeom>
          <a:solidFill>
            <a:srgbClr val="00B050"/>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22" name="Shape 1785"/>
          <p:cNvSpPr/>
          <p:nvPr/>
        </p:nvSpPr>
        <p:spPr>
          <a:xfrm>
            <a:off x="4837868" y="3814916"/>
            <a:ext cx="25416" cy="11203"/>
          </a:xfrm>
          <a:custGeom>
            <a:avLst/>
            <a:gdLst/>
            <a:ahLst/>
            <a:cxnLst/>
            <a:rect l="0" t="0" r="0" b="0"/>
            <a:pathLst>
              <a:path w="120000" h="120000" extrusionOk="0">
                <a:moveTo>
                  <a:pt x="0" y="60000"/>
                </a:moveTo>
                <a:cubicBezTo>
                  <a:pt x="30000" y="0"/>
                  <a:pt x="120000" y="60000"/>
                  <a:pt x="90000" y="60000"/>
                </a:cubicBezTo>
                <a:cubicBezTo>
                  <a:pt x="75000" y="120000"/>
                  <a:pt x="0" y="120000"/>
                  <a:pt x="0" y="6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23" name="Shape 1786"/>
          <p:cNvSpPr/>
          <p:nvPr/>
        </p:nvSpPr>
        <p:spPr>
          <a:xfrm>
            <a:off x="4798900" y="3786103"/>
            <a:ext cx="15248" cy="9601"/>
          </a:xfrm>
          <a:custGeom>
            <a:avLst/>
            <a:gdLst/>
            <a:ahLst/>
            <a:cxnLst/>
            <a:rect l="0" t="0" r="0" b="0"/>
            <a:pathLst>
              <a:path w="120000" h="120000" extrusionOk="0">
                <a:moveTo>
                  <a:pt x="0" y="80000"/>
                </a:moveTo>
                <a:cubicBezTo>
                  <a:pt x="0" y="0"/>
                  <a:pt x="120000" y="0"/>
                  <a:pt x="72000" y="80000"/>
                </a:cubicBezTo>
                <a:cubicBezTo>
                  <a:pt x="72000" y="120000"/>
                  <a:pt x="0" y="80000"/>
                  <a:pt x="0" y="8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24" name="Shape 1787"/>
          <p:cNvSpPr/>
          <p:nvPr/>
        </p:nvSpPr>
        <p:spPr>
          <a:xfrm>
            <a:off x="4768402" y="3789304"/>
            <a:ext cx="20330" cy="12806"/>
          </a:xfrm>
          <a:custGeom>
            <a:avLst/>
            <a:gdLst/>
            <a:ahLst/>
            <a:cxnLst/>
            <a:rect l="0" t="0" r="0" b="0"/>
            <a:pathLst>
              <a:path w="120000" h="120000" extrusionOk="0">
                <a:moveTo>
                  <a:pt x="0" y="60000"/>
                </a:moveTo>
                <a:cubicBezTo>
                  <a:pt x="20000" y="0"/>
                  <a:pt x="120000" y="120000"/>
                  <a:pt x="80000" y="120000"/>
                </a:cubicBezTo>
                <a:cubicBezTo>
                  <a:pt x="20000" y="120000"/>
                  <a:pt x="0" y="120000"/>
                  <a:pt x="0" y="6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25" name="Shape 1788"/>
          <p:cNvSpPr/>
          <p:nvPr/>
        </p:nvSpPr>
        <p:spPr>
          <a:xfrm>
            <a:off x="1127387" y="2507184"/>
            <a:ext cx="2685437" cy="1955991"/>
          </a:xfrm>
          <a:custGeom>
            <a:avLst/>
            <a:gdLst/>
            <a:ahLst/>
            <a:cxnLst/>
            <a:rect l="0" t="0" r="0" b="0"/>
            <a:pathLst>
              <a:path w="120000" h="120000" extrusionOk="0">
                <a:moveTo>
                  <a:pt x="15862" y="37904"/>
                </a:moveTo>
                <a:cubicBezTo>
                  <a:pt x="15862" y="37333"/>
                  <a:pt x="15422" y="37142"/>
                  <a:pt x="15862" y="36571"/>
                </a:cubicBezTo>
                <a:cubicBezTo>
                  <a:pt x="16450" y="36190"/>
                  <a:pt x="16744" y="36761"/>
                  <a:pt x="16744" y="36190"/>
                </a:cubicBezTo>
                <a:cubicBezTo>
                  <a:pt x="16744" y="35809"/>
                  <a:pt x="16744" y="35619"/>
                  <a:pt x="16891" y="35809"/>
                </a:cubicBezTo>
                <a:cubicBezTo>
                  <a:pt x="17184" y="36190"/>
                  <a:pt x="17625" y="35809"/>
                  <a:pt x="17331" y="35619"/>
                </a:cubicBezTo>
                <a:cubicBezTo>
                  <a:pt x="17331" y="35238"/>
                  <a:pt x="17625" y="35619"/>
                  <a:pt x="17772" y="35619"/>
                </a:cubicBezTo>
                <a:cubicBezTo>
                  <a:pt x="18066" y="35809"/>
                  <a:pt x="18212" y="35619"/>
                  <a:pt x="18212" y="35809"/>
                </a:cubicBezTo>
                <a:cubicBezTo>
                  <a:pt x="18506" y="36190"/>
                  <a:pt x="18212" y="36190"/>
                  <a:pt x="18506" y="36190"/>
                </a:cubicBezTo>
                <a:cubicBezTo>
                  <a:pt x="18653" y="36571"/>
                  <a:pt x="18506" y="36761"/>
                  <a:pt x="18212" y="37142"/>
                </a:cubicBezTo>
                <a:cubicBezTo>
                  <a:pt x="18066" y="37333"/>
                  <a:pt x="18066" y="37333"/>
                  <a:pt x="17625" y="37333"/>
                </a:cubicBezTo>
                <a:cubicBezTo>
                  <a:pt x="17184" y="37333"/>
                  <a:pt x="16891" y="37714"/>
                  <a:pt x="16891" y="37904"/>
                </a:cubicBezTo>
                <a:cubicBezTo>
                  <a:pt x="16891" y="38285"/>
                  <a:pt x="16891" y="37904"/>
                  <a:pt x="16744" y="38285"/>
                </a:cubicBezTo>
                <a:cubicBezTo>
                  <a:pt x="16450" y="38476"/>
                  <a:pt x="16303" y="38476"/>
                  <a:pt x="16450" y="38285"/>
                </a:cubicBezTo>
                <a:cubicBezTo>
                  <a:pt x="16891" y="37714"/>
                  <a:pt x="16303" y="37904"/>
                  <a:pt x="16303" y="37904"/>
                </a:cubicBezTo>
                <a:cubicBezTo>
                  <a:pt x="16303" y="38285"/>
                  <a:pt x="16009" y="38285"/>
                  <a:pt x="15862" y="37904"/>
                </a:cubicBezTo>
                <a:close/>
                <a:moveTo>
                  <a:pt x="18066" y="35238"/>
                </a:moveTo>
                <a:cubicBezTo>
                  <a:pt x="18212" y="35047"/>
                  <a:pt x="18212" y="35047"/>
                  <a:pt x="18506" y="35047"/>
                </a:cubicBezTo>
                <a:cubicBezTo>
                  <a:pt x="18653" y="35047"/>
                  <a:pt x="18947" y="35047"/>
                  <a:pt x="18653" y="34476"/>
                </a:cubicBezTo>
                <a:cubicBezTo>
                  <a:pt x="18506" y="34095"/>
                  <a:pt x="18506" y="34666"/>
                  <a:pt x="18212" y="34476"/>
                </a:cubicBezTo>
                <a:cubicBezTo>
                  <a:pt x="18212" y="34476"/>
                  <a:pt x="17772" y="34095"/>
                  <a:pt x="17772" y="34666"/>
                </a:cubicBezTo>
                <a:cubicBezTo>
                  <a:pt x="18066" y="35047"/>
                  <a:pt x="17772" y="34666"/>
                  <a:pt x="17625" y="34666"/>
                </a:cubicBezTo>
                <a:cubicBezTo>
                  <a:pt x="17331" y="35047"/>
                  <a:pt x="17331" y="35238"/>
                  <a:pt x="17625" y="35238"/>
                </a:cubicBezTo>
                <a:cubicBezTo>
                  <a:pt x="17772" y="35619"/>
                  <a:pt x="17772" y="35619"/>
                  <a:pt x="18066" y="35238"/>
                </a:cubicBezTo>
                <a:close/>
                <a:moveTo>
                  <a:pt x="24088" y="31238"/>
                </a:moveTo>
                <a:cubicBezTo>
                  <a:pt x="24381" y="30857"/>
                  <a:pt x="24088" y="30857"/>
                  <a:pt x="24528" y="30285"/>
                </a:cubicBezTo>
                <a:cubicBezTo>
                  <a:pt x="24822" y="29714"/>
                  <a:pt x="24528" y="29714"/>
                  <a:pt x="24381" y="29904"/>
                </a:cubicBezTo>
                <a:cubicBezTo>
                  <a:pt x="24381" y="30285"/>
                  <a:pt x="23941" y="30476"/>
                  <a:pt x="23647" y="31238"/>
                </a:cubicBezTo>
                <a:cubicBezTo>
                  <a:pt x="23353" y="31238"/>
                  <a:pt x="23941" y="31238"/>
                  <a:pt x="24088" y="31238"/>
                </a:cubicBezTo>
                <a:close/>
                <a:moveTo>
                  <a:pt x="25410" y="29714"/>
                </a:moveTo>
                <a:cubicBezTo>
                  <a:pt x="25703" y="29714"/>
                  <a:pt x="25703" y="29714"/>
                  <a:pt x="25410" y="29333"/>
                </a:cubicBezTo>
                <a:cubicBezTo>
                  <a:pt x="24969" y="29333"/>
                  <a:pt x="24969" y="29714"/>
                  <a:pt x="24969" y="29904"/>
                </a:cubicBezTo>
                <a:cubicBezTo>
                  <a:pt x="24969" y="30285"/>
                  <a:pt x="25263" y="29904"/>
                  <a:pt x="25410" y="29714"/>
                </a:cubicBezTo>
                <a:close/>
                <a:moveTo>
                  <a:pt x="39510" y="37714"/>
                </a:moveTo>
                <a:cubicBezTo>
                  <a:pt x="39951" y="37333"/>
                  <a:pt x="39510" y="37142"/>
                  <a:pt x="39951" y="37142"/>
                </a:cubicBezTo>
                <a:cubicBezTo>
                  <a:pt x="40244" y="37142"/>
                  <a:pt x="39804" y="36571"/>
                  <a:pt x="39951" y="36571"/>
                </a:cubicBezTo>
                <a:cubicBezTo>
                  <a:pt x="40244" y="36571"/>
                  <a:pt x="39951" y="35619"/>
                  <a:pt x="39804" y="35238"/>
                </a:cubicBezTo>
                <a:cubicBezTo>
                  <a:pt x="39510" y="34666"/>
                  <a:pt x="39363" y="35238"/>
                  <a:pt x="39069" y="34666"/>
                </a:cubicBezTo>
                <a:cubicBezTo>
                  <a:pt x="38629" y="34476"/>
                  <a:pt x="38922" y="34666"/>
                  <a:pt x="38922" y="35238"/>
                </a:cubicBezTo>
                <a:cubicBezTo>
                  <a:pt x="39069" y="35809"/>
                  <a:pt x="39069" y="36190"/>
                  <a:pt x="39363" y="36761"/>
                </a:cubicBezTo>
                <a:cubicBezTo>
                  <a:pt x="39510" y="37333"/>
                  <a:pt x="39069" y="36761"/>
                  <a:pt x="39069" y="37714"/>
                </a:cubicBezTo>
                <a:cubicBezTo>
                  <a:pt x="39069" y="37904"/>
                  <a:pt x="39363" y="37714"/>
                  <a:pt x="39510" y="37714"/>
                </a:cubicBezTo>
                <a:close/>
                <a:moveTo>
                  <a:pt x="38922" y="39428"/>
                </a:moveTo>
                <a:cubicBezTo>
                  <a:pt x="39363" y="40380"/>
                  <a:pt x="39069" y="39809"/>
                  <a:pt x="39069" y="39238"/>
                </a:cubicBezTo>
                <a:cubicBezTo>
                  <a:pt x="39069" y="38857"/>
                  <a:pt x="39363" y="39238"/>
                  <a:pt x="39069" y="38285"/>
                </a:cubicBezTo>
                <a:cubicBezTo>
                  <a:pt x="38922" y="37333"/>
                  <a:pt x="38922" y="37142"/>
                  <a:pt x="38482" y="36761"/>
                </a:cubicBezTo>
                <a:cubicBezTo>
                  <a:pt x="37894" y="36190"/>
                  <a:pt x="37894" y="37142"/>
                  <a:pt x="37894" y="37333"/>
                </a:cubicBezTo>
                <a:cubicBezTo>
                  <a:pt x="38188" y="37333"/>
                  <a:pt x="38482" y="37714"/>
                  <a:pt x="38188" y="37904"/>
                </a:cubicBezTo>
                <a:cubicBezTo>
                  <a:pt x="38188" y="38476"/>
                  <a:pt x="38629" y="38285"/>
                  <a:pt x="38629" y="38476"/>
                </a:cubicBezTo>
                <a:cubicBezTo>
                  <a:pt x="38482" y="39238"/>
                  <a:pt x="38629" y="38476"/>
                  <a:pt x="38629" y="39238"/>
                </a:cubicBezTo>
                <a:cubicBezTo>
                  <a:pt x="38629" y="39428"/>
                  <a:pt x="38922" y="39428"/>
                  <a:pt x="38922" y="39428"/>
                </a:cubicBezTo>
                <a:close/>
                <a:moveTo>
                  <a:pt x="37747" y="37714"/>
                </a:moveTo>
                <a:cubicBezTo>
                  <a:pt x="37747" y="37714"/>
                  <a:pt x="37747" y="37904"/>
                  <a:pt x="37894" y="37904"/>
                </a:cubicBezTo>
                <a:cubicBezTo>
                  <a:pt x="37894" y="37714"/>
                  <a:pt x="37747" y="36761"/>
                  <a:pt x="37747" y="37142"/>
                </a:cubicBezTo>
                <a:cubicBezTo>
                  <a:pt x="37747" y="37142"/>
                  <a:pt x="37747" y="37333"/>
                  <a:pt x="37747" y="37714"/>
                </a:cubicBezTo>
                <a:close/>
                <a:moveTo>
                  <a:pt x="37894" y="36190"/>
                </a:moveTo>
                <a:cubicBezTo>
                  <a:pt x="37747" y="35809"/>
                  <a:pt x="37894" y="35809"/>
                  <a:pt x="38482" y="36571"/>
                </a:cubicBezTo>
                <a:cubicBezTo>
                  <a:pt x="38922" y="36761"/>
                  <a:pt x="39069" y="36761"/>
                  <a:pt x="38922" y="36190"/>
                </a:cubicBezTo>
                <a:cubicBezTo>
                  <a:pt x="38922" y="35809"/>
                  <a:pt x="38629" y="35809"/>
                  <a:pt x="38922" y="35619"/>
                </a:cubicBezTo>
                <a:cubicBezTo>
                  <a:pt x="38922" y="35238"/>
                  <a:pt x="38188" y="35047"/>
                  <a:pt x="37894" y="34666"/>
                </a:cubicBezTo>
                <a:cubicBezTo>
                  <a:pt x="37747" y="34666"/>
                  <a:pt x="37454" y="35047"/>
                  <a:pt x="37307" y="35047"/>
                </a:cubicBezTo>
                <a:cubicBezTo>
                  <a:pt x="37013" y="34666"/>
                  <a:pt x="37013" y="35047"/>
                  <a:pt x="37013" y="35238"/>
                </a:cubicBezTo>
                <a:cubicBezTo>
                  <a:pt x="36866" y="35619"/>
                  <a:pt x="36866" y="35619"/>
                  <a:pt x="37307" y="35809"/>
                </a:cubicBezTo>
                <a:cubicBezTo>
                  <a:pt x="37454" y="36190"/>
                  <a:pt x="37013" y="36190"/>
                  <a:pt x="37454" y="36761"/>
                </a:cubicBezTo>
                <a:cubicBezTo>
                  <a:pt x="37747" y="36761"/>
                  <a:pt x="38188" y="36571"/>
                  <a:pt x="37894" y="36190"/>
                </a:cubicBezTo>
                <a:close/>
                <a:moveTo>
                  <a:pt x="40832" y="38857"/>
                </a:moveTo>
                <a:cubicBezTo>
                  <a:pt x="41126" y="38476"/>
                  <a:pt x="41126" y="38285"/>
                  <a:pt x="41126" y="37904"/>
                </a:cubicBezTo>
                <a:cubicBezTo>
                  <a:pt x="40832" y="37714"/>
                  <a:pt x="40832" y="37904"/>
                  <a:pt x="40391" y="37714"/>
                </a:cubicBezTo>
                <a:cubicBezTo>
                  <a:pt x="40244" y="37714"/>
                  <a:pt x="39951" y="37714"/>
                  <a:pt x="39951" y="37904"/>
                </a:cubicBezTo>
                <a:cubicBezTo>
                  <a:pt x="39951" y="38476"/>
                  <a:pt x="40391" y="37904"/>
                  <a:pt x="40391" y="38476"/>
                </a:cubicBezTo>
                <a:cubicBezTo>
                  <a:pt x="40244" y="39428"/>
                  <a:pt x="40391" y="39238"/>
                  <a:pt x="40832" y="39238"/>
                </a:cubicBezTo>
                <a:cubicBezTo>
                  <a:pt x="41126" y="39428"/>
                  <a:pt x="40832" y="38857"/>
                  <a:pt x="40832" y="38857"/>
                </a:cubicBezTo>
                <a:close/>
                <a:moveTo>
                  <a:pt x="39804" y="39809"/>
                </a:moveTo>
                <a:cubicBezTo>
                  <a:pt x="39951" y="40380"/>
                  <a:pt x="39951" y="40000"/>
                  <a:pt x="39951" y="39809"/>
                </a:cubicBezTo>
                <a:cubicBezTo>
                  <a:pt x="40244" y="39428"/>
                  <a:pt x="39951" y="39428"/>
                  <a:pt x="40244" y="38857"/>
                </a:cubicBezTo>
                <a:cubicBezTo>
                  <a:pt x="40244" y="38285"/>
                  <a:pt x="39951" y="38476"/>
                  <a:pt x="39951" y="38285"/>
                </a:cubicBezTo>
                <a:cubicBezTo>
                  <a:pt x="39804" y="37904"/>
                  <a:pt x="39804" y="37904"/>
                  <a:pt x="39510" y="37904"/>
                </a:cubicBezTo>
                <a:cubicBezTo>
                  <a:pt x="39363" y="38285"/>
                  <a:pt x="39363" y="38285"/>
                  <a:pt x="39510" y="38857"/>
                </a:cubicBezTo>
                <a:cubicBezTo>
                  <a:pt x="39804" y="39238"/>
                  <a:pt x="39951" y="39428"/>
                  <a:pt x="39804" y="39428"/>
                </a:cubicBezTo>
                <a:cubicBezTo>
                  <a:pt x="39510" y="39238"/>
                  <a:pt x="39510" y="39428"/>
                  <a:pt x="39510" y="40000"/>
                </a:cubicBezTo>
                <a:cubicBezTo>
                  <a:pt x="39804" y="40571"/>
                  <a:pt x="39804" y="39428"/>
                  <a:pt x="39804" y="39809"/>
                </a:cubicBezTo>
                <a:close/>
                <a:moveTo>
                  <a:pt x="44063" y="43238"/>
                </a:moveTo>
                <a:cubicBezTo>
                  <a:pt x="44210" y="43047"/>
                  <a:pt x="44210" y="43047"/>
                  <a:pt x="44504" y="42666"/>
                </a:cubicBezTo>
                <a:cubicBezTo>
                  <a:pt x="44504" y="42666"/>
                  <a:pt x="44210" y="42666"/>
                  <a:pt x="44210" y="43047"/>
                </a:cubicBezTo>
                <a:cubicBezTo>
                  <a:pt x="44063" y="43047"/>
                  <a:pt x="43769" y="43238"/>
                  <a:pt x="44063" y="43238"/>
                </a:cubicBezTo>
                <a:cubicBezTo>
                  <a:pt x="44063" y="43238"/>
                  <a:pt x="44063" y="43238"/>
                  <a:pt x="44063" y="43238"/>
                </a:cubicBezTo>
                <a:close/>
                <a:moveTo>
                  <a:pt x="43035" y="42666"/>
                </a:moveTo>
                <a:cubicBezTo>
                  <a:pt x="43035" y="42666"/>
                  <a:pt x="43035" y="42666"/>
                  <a:pt x="42888" y="42666"/>
                </a:cubicBezTo>
                <a:cubicBezTo>
                  <a:pt x="42888" y="42666"/>
                  <a:pt x="42888" y="42666"/>
                  <a:pt x="42888" y="43047"/>
                </a:cubicBezTo>
                <a:cubicBezTo>
                  <a:pt x="43035" y="43047"/>
                  <a:pt x="43035" y="43047"/>
                  <a:pt x="43035" y="42666"/>
                </a:cubicBezTo>
                <a:close/>
                <a:moveTo>
                  <a:pt x="40685" y="40380"/>
                </a:moveTo>
                <a:cubicBezTo>
                  <a:pt x="40832" y="40380"/>
                  <a:pt x="40832" y="40000"/>
                  <a:pt x="40685" y="40000"/>
                </a:cubicBezTo>
                <a:cubicBezTo>
                  <a:pt x="40391" y="39809"/>
                  <a:pt x="40244" y="40000"/>
                  <a:pt x="40391" y="40000"/>
                </a:cubicBezTo>
                <a:cubicBezTo>
                  <a:pt x="40391" y="40000"/>
                  <a:pt x="40244" y="40000"/>
                  <a:pt x="40244" y="40380"/>
                </a:cubicBezTo>
                <a:cubicBezTo>
                  <a:pt x="40244" y="40380"/>
                  <a:pt x="39951" y="40571"/>
                  <a:pt x="40391" y="40380"/>
                </a:cubicBezTo>
                <a:cubicBezTo>
                  <a:pt x="40391" y="40380"/>
                  <a:pt x="40391" y="40380"/>
                  <a:pt x="40685" y="40380"/>
                </a:cubicBezTo>
                <a:close/>
                <a:moveTo>
                  <a:pt x="40832" y="40380"/>
                </a:moveTo>
                <a:cubicBezTo>
                  <a:pt x="40685" y="40571"/>
                  <a:pt x="40832" y="40380"/>
                  <a:pt x="40832" y="40571"/>
                </a:cubicBezTo>
                <a:cubicBezTo>
                  <a:pt x="40832" y="40952"/>
                  <a:pt x="40685" y="40571"/>
                  <a:pt x="40685" y="40952"/>
                </a:cubicBezTo>
                <a:cubicBezTo>
                  <a:pt x="40685" y="41142"/>
                  <a:pt x="40685" y="41142"/>
                  <a:pt x="40832" y="41142"/>
                </a:cubicBezTo>
                <a:cubicBezTo>
                  <a:pt x="41126" y="41142"/>
                  <a:pt x="40832" y="41142"/>
                  <a:pt x="41126" y="41523"/>
                </a:cubicBezTo>
                <a:cubicBezTo>
                  <a:pt x="41126" y="41904"/>
                  <a:pt x="40685" y="41904"/>
                  <a:pt x="40685" y="41904"/>
                </a:cubicBezTo>
                <a:cubicBezTo>
                  <a:pt x="40832" y="42095"/>
                  <a:pt x="40832" y="42095"/>
                  <a:pt x="41126" y="42095"/>
                </a:cubicBezTo>
                <a:cubicBezTo>
                  <a:pt x="41126" y="41904"/>
                  <a:pt x="41126" y="42095"/>
                  <a:pt x="41126" y="42095"/>
                </a:cubicBezTo>
                <a:cubicBezTo>
                  <a:pt x="41272" y="42095"/>
                  <a:pt x="41272" y="42095"/>
                  <a:pt x="41566" y="42476"/>
                </a:cubicBezTo>
                <a:cubicBezTo>
                  <a:pt x="41713" y="42666"/>
                  <a:pt x="41566" y="42666"/>
                  <a:pt x="41566" y="42666"/>
                </a:cubicBezTo>
                <a:cubicBezTo>
                  <a:pt x="41713" y="43047"/>
                  <a:pt x="41713" y="42476"/>
                  <a:pt x="41713" y="43047"/>
                </a:cubicBezTo>
                <a:cubicBezTo>
                  <a:pt x="41713" y="43238"/>
                  <a:pt x="42154" y="43619"/>
                  <a:pt x="42154" y="43238"/>
                </a:cubicBezTo>
                <a:cubicBezTo>
                  <a:pt x="42447" y="43047"/>
                  <a:pt x="42154" y="43047"/>
                  <a:pt x="42154" y="42666"/>
                </a:cubicBezTo>
                <a:cubicBezTo>
                  <a:pt x="42154" y="42476"/>
                  <a:pt x="42154" y="42666"/>
                  <a:pt x="42154" y="42095"/>
                </a:cubicBezTo>
                <a:cubicBezTo>
                  <a:pt x="42447" y="41904"/>
                  <a:pt x="42154" y="42095"/>
                  <a:pt x="42007" y="41904"/>
                </a:cubicBezTo>
                <a:cubicBezTo>
                  <a:pt x="42007" y="41523"/>
                  <a:pt x="42007" y="41904"/>
                  <a:pt x="41713" y="41523"/>
                </a:cubicBezTo>
                <a:cubicBezTo>
                  <a:pt x="41713" y="41523"/>
                  <a:pt x="41566" y="41904"/>
                  <a:pt x="41566" y="41523"/>
                </a:cubicBezTo>
                <a:cubicBezTo>
                  <a:pt x="41272" y="41523"/>
                  <a:pt x="41566" y="41142"/>
                  <a:pt x="41713" y="41523"/>
                </a:cubicBezTo>
                <a:cubicBezTo>
                  <a:pt x="42154" y="41904"/>
                  <a:pt x="42007" y="41523"/>
                  <a:pt x="41713" y="41142"/>
                </a:cubicBezTo>
                <a:cubicBezTo>
                  <a:pt x="41566" y="40952"/>
                  <a:pt x="41566" y="40571"/>
                  <a:pt x="41566" y="40380"/>
                </a:cubicBezTo>
                <a:cubicBezTo>
                  <a:pt x="41272" y="40000"/>
                  <a:pt x="41126" y="40380"/>
                  <a:pt x="40832" y="40000"/>
                </a:cubicBezTo>
                <a:cubicBezTo>
                  <a:pt x="40832" y="40000"/>
                  <a:pt x="41126" y="39809"/>
                  <a:pt x="40832" y="39428"/>
                </a:cubicBezTo>
                <a:cubicBezTo>
                  <a:pt x="40832" y="39238"/>
                  <a:pt x="40832" y="39428"/>
                  <a:pt x="40685" y="39428"/>
                </a:cubicBezTo>
                <a:cubicBezTo>
                  <a:pt x="40244" y="39428"/>
                  <a:pt x="40391" y="39428"/>
                  <a:pt x="40391" y="39428"/>
                </a:cubicBezTo>
                <a:cubicBezTo>
                  <a:pt x="40244" y="39809"/>
                  <a:pt x="40244" y="39809"/>
                  <a:pt x="40391" y="39809"/>
                </a:cubicBezTo>
                <a:cubicBezTo>
                  <a:pt x="40685" y="39809"/>
                  <a:pt x="40832" y="39809"/>
                  <a:pt x="40832" y="40380"/>
                </a:cubicBezTo>
                <a:close/>
                <a:moveTo>
                  <a:pt x="41126" y="43238"/>
                </a:moveTo>
                <a:cubicBezTo>
                  <a:pt x="41272" y="43619"/>
                  <a:pt x="41566" y="43619"/>
                  <a:pt x="41272" y="43238"/>
                </a:cubicBezTo>
                <a:cubicBezTo>
                  <a:pt x="41272" y="43047"/>
                  <a:pt x="41272" y="43047"/>
                  <a:pt x="41126" y="42666"/>
                </a:cubicBezTo>
                <a:cubicBezTo>
                  <a:pt x="40832" y="42476"/>
                  <a:pt x="41126" y="42476"/>
                  <a:pt x="41126" y="42476"/>
                </a:cubicBezTo>
                <a:cubicBezTo>
                  <a:pt x="40832" y="42095"/>
                  <a:pt x="40832" y="42095"/>
                  <a:pt x="40832" y="42095"/>
                </a:cubicBezTo>
                <a:cubicBezTo>
                  <a:pt x="40685" y="42476"/>
                  <a:pt x="40832" y="42476"/>
                  <a:pt x="40832" y="42666"/>
                </a:cubicBezTo>
                <a:cubicBezTo>
                  <a:pt x="40832" y="42666"/>
                  <a:pt x="40832" y="42666"/>
                  <a:pt x="41126" y="43238"/>
                </a:cubicBezTo>
                <a:close/>
                <a:moveTo>
                  <a:pt x="29228" y="4190"/>
                </a:moveTo>
                <a:cubicBezTo>
                  <a:pt x="27906" y="3809"/>
                  <a:pt x="27613" y="4761"/>
                  <a:pt x="26731" y="4190"/>
                </a:cubicBezTo>
                <a:cubicBezTo>
                  <a:pt x="25850" y="3619"/>
                  <a:pt x="24381" y="3809"/>
                  <a:pt x="22766" y="3047"/>
                </a:cubicBezTo>
                <a:cubicBezTo>
                  <a:pt x="21150" y="2476"/>
                  <a:pt x="21150" y="3619"/>
                  <a:pt x="19681" y="3047"/>
                </a:cubicBezTo>
                <a:cubicBezTo>
                  <a:pt x="18066" y="2476"/>
                  <a:pt x="19681" y="1904"/>
                  <a:pt x="17772" y="1904"/>
                </a:cubicBezTo>
                <a:cubicBezTo>
                  <a:pt x="16009" y="1904"/>
                  <a:pt x="16450" y="2095"/>
                  <a:pt x="16009" y="1523"/>
                </a:cubicBezTo>
                <a:cubicBezTo>
                  <a:pt x="15422" y="952"/>
                  <a:pt x="15422" y="1904"/>
                  <a:pt x="14687" y="1142"/>
                </a:cubicBezTo>
                <a:cubicBezTo>
                  <a:pt x="14247" y="952"/>
                  <a:pt x="14100" y="0"/>
                  <a:pt x="12925" y="1142"/>
                </a:cubicBezTo>
                <a:cubicBezTo>
                  <a:pt x="11750" y="2666"/>
                  <a:pt x="11162" y="952"/>
                  <a:pt x="9400" y="2666"/>
                </a:cubicBezTo>
                <a:cubicBezTo>
                  <a:pt x="7490" y="4571"/>
                  <a:pt x="7343" y="2095"/>
                  <a:pt x="6462" y="4571"/>
                </a:cubicBezTo>
                <a:cubicBezTo>
                  <a:pt x="5728" y="6857"/>
                  <a:pt x="5287" y="7428"/>
                  <a:pt x="3084" y="7428"/>
                </a:cubicBezTo>
                <a:cubicBezTo>
                  <a:pt x="1909" y="7428"/>
                  <a:pt x="3084" y="8380"/>
                  <a:pt x="1909" y="8571"/>
                </a:cubicBezTo>
                <a:cubicBezTo>
                  <a:pt x="1028" y="8952"/>
                  <a:pt x="4700" y="9904"/>
                  <a:pt x="5287" y="11619"/>
                </a:cubicBezTo>
                <a:cubicBezTo>
                  <a:pt x="6022" y="13142"/>
                  <a:pt x="6903" y="11619"/>
                  <a:pt x="6609" y="12761"/>
                </a:cubicBezTo>
                <a:cubicBezTo>
                  <a:pt x="6609" y="13714"/>
                  <a:pt x="7343" y="12761"/>
                  <a:pt x="7343" y="13714"/>
                </a:cubicBezTo>
                <a:cubicBezTo>
                  <a:pt x="7490" y="14476"/>
                  <a:pt x="8372" y="13714"/>
                  <a:pt x="8225" y="14476"/>
                </a:cubicBezTo>
                <a:cubicBezTo>
                  <a:pt x="8225" y="15238"/>
                  <a:pt x="8225" y="14285"/>
                  <a:pt x="7490" y="14857"/>
                </a:cubicBezTo>
                <a:cubicBezTo>
                  <a:pt x="7490" y="15238"/>
                  <a:pt x="7490" y="14476"/>
                  <a:pt x="6022" y="14857"/>
                </a:cubicBezTo>
                <a:cubicBezTo>
                  <a:pt x="4406" y="15238"/>
                  <a:pt x="6462" y="12761"/>
                  <a:pt x="4406" y="13714"/>
                </a:cubicBezTo>
                <a:cubicBezTo>
                  <a:pt x="2350" y="14476"/>
                  <a:pt x="1321" y="15809"/>
                  <a:pt x="587" y="15809"/>
                </a:cubicBezTo>
                <a:cubicBezTo>
                  <a:pt x="0" y="16000"/>
                  <a:pt x="440" y="16952"/>
                  <a:pt x="1468" y="16952"/>
                </a:cubicBezTo>
                <a:cubicBezTo>
                  <a:pt x="2790" y="16952"/>
                  <a:pt x="1321" y="17523"/>
                  <a:pt x="1909" y="17904"/>
                </a:cubicBezTo>
                <a:cubicBezTo>
                  <a:pt x="2643" y="18476"/>
                  <a:pt x="1762" y="19047"/>
                  <a:pt x="3084" y="19238"/>
                </a:cubicBezTo>
                <a:cubicBezTo>
                  <a:pt x="4406" y="19238"/>
                  <a:pt x="4847" y="18476"/>
                  <a:pt x="5728" y="19047"/>
                </a:cubicBezTo>
                <a:cubicBezTo>
                  <a:pt x="6903" y="19809"/>
                  <a:pt x="7931" y="17142"/>
                  <a:pt x="8665" y="18476"/>
                </a:cubicBezTo>
                <a:cubicBezTo>
                  <a:pt x="9400" y="19238"/>
                  <a:pt x="7050" y="18666"/>
                  <a:pt x="8225" y="19619"/>
                </a:cubicBezTo>
                <a:cubicBezTo>
                  <a:pt x="9547" y="20571"/>
                  <a:pt x="8372" y="21904"/>
                  <a:pt x="7490" y="21714"/>
                </a:cubicBezTo>
                <a:cubicBezTo>
                  <a:pt x="6462" y="21333"/>
                  <a:pt x="6609" y="23428"/>
                  <a:pt x="5581" y="22476"/>
                </a:cubicBezTo>
                <a:cubicBezTo>
                  <a:pt x="4406" y="21714"/>
                  <a:pt x="4259" y="24000"/>
                  <a:pt x="3525" y="24380"/>
                </a:cubicBezTo>
                <a:cubicBezTo>
                  <a:pt x="3084" y="24571"/>
                  <a:pt x="3231" y="25523"/>
                  <a:pt x="2643" y="26095"/>
                </a:cubicBezTo>
                <a:cubicBezTo>
                  <a:pt x="2203" y="26476"/>
                  <a:pt x="2643" y="26666"/>
                  <a:pt x="3525" y="27619"/>
                </a:cubicBezTo>
                <a:cubicBezTo>
                  <a:pt x="4406" y="28571"/>
                  <a:pt x="3231" y="29142"/>
                  <a:pt x="3671" y="29333"/>
                </a:cubicBezTo>
                <a:cubicBezTo>
                  <a:pt x="4259" y="29904"/>
                  <a:pt x="4847" y="31428"/>
                  <a:pt x="6022" y="30857"/>
                </a:cubicBezTo>
                <a:cubicBezTo>
                  <a:pt x="7050" y="30285"/>
                  <a:pt x="7490" y="30857"/>
                  <a:pt x="7343" y="32000"/>
                </a:cubicBezTo>
                <a:cubicBezTo>
                  <a:pt x="6903" y="33142"/>
                  <a:pt x="7784" y="32380"/>
                  <a:pt x="7343" y="33523"/>
                </a:cubicBezTo>
                <a:cubicBezTo>
                  <a:pt x="7050" y="34476"/>
                  <a:pt x="8225" y="34095"/>
                  <a:pt x="8665" y="33142"/>
                </a:cubicBezTo>
                <a:cubicBezTo>
                  <a:pt x="9106" y="32571"/>
                  <a:pt x="9987" y="33523"/>
                  <a:pt x="10428" y="34095"/>
                </a:cubicBezTo>
                <a:cubicBezTo>
                  <a:pt x="11162" y="35047"/>
                  <a:pt x="11162" y="33523"/>
                  <a:pt x="11603" y="33904"/>
                </a:cubicBezTo>
                <a:cubicBezTo>
                  <a:pt x="12044" y="34476"/>
                  <a:pt x="13365" y="32952"/>
                  <a:pt x="12631" y="33904"/>
                </a:cubicBezTo>
                <a:cubicBezTo>
                  <a:pt x="12190" y="34666"/>
                  <a:pt x="12190" y="35238"/>
                  <a:pt x="12190" y="36190"/>
                </a:cubicBezTo>
                <a:cubicBezTo>
                  <a:pt x="12190" y="37142"/>
                  <a:pt x="11603" y="36571"/>
                  <a:pt x="11162" y="37714"/>
                </a:cubicBezTo>
                <a:cubicBezTo>
                  <a:pt x="10722" y="38857"/>
                  <a:pt x="9840" y="38476"/>
                  <a:pt x="9400" y="39809"/>
                </a:cubicBezTo>
                <a:cubicBezTo>
                  <a:pt x="8665" y="41142"/>
                  <a:pt x="8959" y="40000"/>
                  <a:pt x="7784" y="40380"/>
                </a:cubicBezTo>
                <a:cubicBezTo>
                  <a:pt x="6609" y="40952"/>
                  <a:pt x="7343" y="41523"/>
                  <a:pt x="6462" y="41904"/>
                </a:cubicBezTo>
                <a:cubicBezTo>
                  <a:pt x="5728" y="42476"/>
                  <a:pt x="5581" y="43238"/>
                  <a:pt x="6462" y="42666"/>
                </a:cubicBezTo>
                <a:cubicBezTo>
                  <a:pt x="7490" y="42095"/>
                  <a:pt x="7784" y="40952"/>
                  <a:pt x="7931" y="41523"/>
                </a:cubicBezTo>
                <a:cubicBezTo>
                  <a:pt x="8225" y="42095"/>
                  <a:pt x="8665" y="41142"/>
                  <a:pt x="8665" y="41904"/>
                </a:cubicBezTo>
                <a:cubicBezTo>
                  <a:pt x="8959" y="42666"/>
                  <a:pt x="9400" y="42095"/>
                  <a:pt x="9400" y="41523"/>
                </a:cubicBezTo>
                <a:cubicBezTo>
                  <a:pt x="9106" y="40952"/>
                  <a:pt x="9987" y="40571"/>
                  <a:pt x="9987" y="41142"/>
                </a:cubicBezTo>
                <a:cubicBezTo>
                  <a:pt x="9987" y="41904"/>
                  <a:pt x="10869" y="40000"/>
                  <a:pt x="11603" y="40000"/>
                </a:cubicBezTo>
                <a:cubicBezTo>
                  <a:pt x="12190" y="40000"/>
                  <a:pt x="11162" y="39809"/>
                  <a:pt x="12631" y="38476"/>
                </a:cubicBezTo>
                <a:cubicBezTo>
                  <a:pt x="14100" y="37714"/>
                  <a:pt x="13806" y="37142"/>
                  <a:pt x="14687" y="36571"/>
                </a:cubicBezTo>
                <a:cubicBezTo>
                  <a:pt x="15422" y="35809"/>
                  <a:pt x="16450" y="35238"/>
                  <a:pt x="16744" y="34476"/>
                </a:cubicBezTo>
                <a:cubicBezTo>
                  <a:pt x="16891" y="33523"/>
                  <a:pt x="17331" y="33904"/>
                  <a:pt x="17625" y="33142"/>
                </a:cubicBezTo>
                <a:cubicBezTo>
                  <a:pt x="17625" y="32380"/>
                  <a:pt x="15422" y="33523"/>
                  <a:pt x="16744" y="32000"/>
                </a:cubicBezTo>
                <a:cubicBezTo>
                  <a:pt x="18212" y="30476"/>
                  <a:pt x="18506" y="30285"/>
                  <a:pt x="18947" y="28761"/>
                </a:cubicBezTo>
                <a:cubicBezTo>
                  <a:pt x="19681" y="27619"/>
                  <a:pt x="21150" y="26666"/>
                  <a:pt x="22325" y="28190"/>
                </a:cubicBezTo>
                <a:cubicBezTo>
                  <a:pt x="23353" y="29714"/>
                  <a:pt x="21444" y="27238"/>
                  <a:pt x="20269" y="28190"/>
                </a:cubicBezTo>
                <a:cubicBezTo>
                  <a:pt x="19388" y="29142"/>
                  <a:pt x="20269" y="29333"/>
                  <a:pt x="19388" y="30285"/>
                </a:cubicBezTo>
                <a:cubicBezTo>
                  <a:pt x="18506" y="31428"/>
                  <a:pt x="20122" y="31428"/>
                  <a:pt x="19388" y="31809"/>
                </a:cubicBezTo>
                <a:cubicBezTo>
                  <a:pt x="18212" y="32571"/>
                  <a:pt x="20122" y="32952"/>
                  <a:pt x="21003" y="31809"/>
                </a:cubicBezTo>
                <a:cubicBezTo>
                  <a:pt x="21884" y="30857"/>
                  <a:pt x="22031" y="30476"/>
                  <a:pt x="22766" y="30476"/>
                </a:cubicBezTo>
                <a:cubicBezTo>
                  <a:pt x="23647" y="30476"/>
                  <a:pt x="22766" y="29904"/>
                  <a:pt x="23353" y="29714"/>
                </a:cubicBezTo>
                <a:cubicBezTo>
                  <a:pt x="24088" y="29333"/>
                  <a:pt x="22913" y="28571"/>
                  <a:pt x="23941" y="28571"/>
                </a:cubicBezTo>
                <a:cubicBezTo>
                  <a:pt x="24822" y="28190"/>
                  <a:pt x="25263" y="27619"/>
                  <a:pt x="25263" y="28190"/>
                </a:cubicBezTo>
                <a:cubicBezTo>
                  <a:pt x="25263" y="29142"/>
                  <a:pt x="25850" y="28761"/>
                  <a:pt x="26585" y="29333"/>
                </a:cubicBezTo>
                <a:cubicBezTo>
                  <a:pt x="27172" y="29904"/>
                  <a:pt x="27025" y="28761"/>
                  <a:pt x="27466" y="29714"/>
                </a:cubicBezTo>
                <a:cubicBezTo>
                  <a:pt x="28053" y="30857"/>
                  <a:pt x="29228" y="30285"/>
                  <a:pt x="29963" y="30285"/>
                </a:cubicBezTo>
                <a:cubicBezTo>
                  <a:pt x="30844" y="30285"/>
                  <a:pt x="32166" y="31809"/>
                  <a:pt x="32753" y="31238"/>
                </a:cubicBezTo>
                <a:cubicBezTo>
                  <a:pt x="33782" y="30476"/>
                  <a:pt x="33782" y="31238"/>
                  <a:pt x="33341" y="31428"/>
                </a:cubicBezTo>
                <a:cubicBezTo>
                  <a:pt x="32753" y="31809"/>
                  <a:pt x="34222" y="32380"/>
                  <a:pt x="34810" y="32952"/>
                </a:cubicBezTo>
                <a:cubicBezTo>
                  <a:pt x="35544" y="33142"/>
                  <a:pt x="35544" y="33904"/>
                  <a:pt x="36425" y="34476"/>
                </a:cubicBezTo>
                <a:cubicBezTo>
                  <a:pt x="37013" y="35047"/>
                  <a:pt x="37747" y="34666"/>
                  <a:pt x="37307" y="34095"/>
                </a:cubicBezTo>
                <a:cubicBezTo>
                  <a:pt x="36866" y="33523"/>
                  <a:pt x="36866" y="32952"/>
                  <a:pt x="37454" y="33523"/>
                </a:cubicBezTo>
                <a:cubicBezTo>
                  <a:pt x="37894" y="34476"/>
                  <a:pt x="38922" y="35238"/>
                  <a:pt x="38629" y="34476"/>
                </a:cubicBezTo>
                <a:cubicBezTo>
                  <a:pt x="38629" y="33523"/>
                  <a:pt x="38482" y="32952"/>
                  <a:pt x="38922" y="34095"/>
                </a:cubicBezTo>
                <a:cubicBezTo>
                  <a:pt x="39363" y="35047"/>
                  <a:pt x="39804" y="34095"/>
                  <a:pt x="39951" y="35047"/>
                </a:cubicBezTo>
                <a:cubicBezTo>
                  <a:pt x="40391" y="36190"/>
                  <a:pt x="40244" y="36190"/>
                  <a:pt x="40685" y="36571"/>
                </a:cubicBezTo>
                <a:cubicBezTo>
                  <a:pt x="40832" y="36761"/>
                  <a:pt x="40244" y="37333"/>
                  <a:pt x="40832" y="37714"/>
                </a:cubicBezTo>
                <a:cubicBezTo>
                  <a:pt x="41566" y="37904"/>
                  <a:pt x="41126" y="37904"/>
                  <a:pt x="41713" y="38857"/>
                </a:cubicBezTo>
                <a:cubicBezTo>
                  <a:pt x="42594" y="40000"/>
                  <a:pt x="43035" y="39809"/>
                  <a:pt x="42594" y="40000"/>
                </a:cubicBezTo>
                <a:cubicBezTo>
                  <a:pt x="42154" y="40000"/>
                  <a:pt x="42447" y="40380"/>
                  <a:pt x="42007" y="40952"/>
                </a:cubicBezTo>
                <a:cubicBezTo>
                  <a:pt x="41713" y="41142"/>
                  <a:pt x="42154" y="41904"/>
                  <a:pt x="42447" y="40952"/>
                </a:cubicBezTo>
                <a:cubicBezTo>
                  <a:pt x="42594" y="40380"/>
                  <a:pt x="43035" y="39809"/>
                  <a:pt x="43329" y="40571"/>
                </a:cubicBezTo>
                <a:cubicBezTo>
                  <a:pt x="43769" y="41523"/>
                  <a:pt x="43329" y="42095"/>
                  <a:pt x="43329" y="42476"/>
                </a:cubicBezTo>
                <a:cubicBezTo>
                  <a:pt x="43623" y="43047"/>
                  <a:pt x="43623" y="43619"/>
                  <a:pt x="44063" y="43047"/>
                </a:cubicBezTo>
                <a:cubicBezTo>
                  <a:pt x="44210" y="42476"/>
                  <a:pt x="44651" y="42476"/>
                  <a:pt x="44504" y="41523"/>
                </a:cubicBezTo>
                <a:cubicBezTo>
                  <a:pt x="44210" y="40571"/>
                  <a:pt x="44504" y="40571"/>
                  <a:pt x="44651" y="40380"/>
                </a:cubicBezTo>
                <a:cubicBezTo>
                  <a:pt x="44651" y="40380"/>
                  <a:pt x="44651" y="40000"/>
                  <a:pt x="44504" y="40000"/>
                </a:cubicBezTo>
                <a:cubicBezTo>
                  <a:pt x="44063" y="40000"/>
                  <a:pt x="44504" y="39809"/>
                  <a:pt x="43769" y="39428"/>
                </a:cubicBezTo>
                <a:cubicBezTo>
                  <a:pt x="42888" y="39238"/>
                  <a:pt x="43035" y="38476"/>
                  <a:pt x="42594" y="38857"/>
                </a:cubicBezTo>
                <a:cubicBezTo>
                  <a:pt x="42154" y="38857"/>
                  <a:pt x="42594" y="38285"/>
                  <a:pt x="42447" y="38285"/>
                </a:cubicBezTo>
                <a:cubicBezTo>
                  <a:pt x="42007" y="38285"/>
                  <a:pt x="42447" y="37714"/>
                  <a:pt x="42154" y="37714"/>
                </a:cubicBezTo>
                <a:cubicBezTo>
                  <a:pt x="41713" y="37714"/>
                  <a:pt x="42154" y="37714"/>
                  <a:pt x="42007" y="37142"/>
                </a:cubicBezTo>
                <a:cubicBezTo>
                  <a:pt x="41713" y="36761"/>
                  <a:pt x="40832" y="34666"/>
                  <a:pt x="40391" y="34095"/>
                </a:cubicBezTo>
                <a:cubicBezTo>
                  <a:pt x="40244" y="33142"/>
                  <a:pt x="39804" y="33904"/>
                  <a:pt x="39510" y="32952"/>
                </a:cubicBezTo>
                <a:cubicBezTo>
                  <a:pt x="39363" y="32380"/>
                  <a:pt x="39069" y="32571"/>
                  <a:pt x="38922" y="32000"/>
                </a:cubicBezTo>
                <a:cubicBezTo>
                  <a:pt x="38629" y="31809"/>
                  <a:pt x="39069" y="32000"/>
                  <a:pt x="38629" y="31428"/>
                </a:cubicBezTo>
                <a:cubicBezTo>
                  <a:pt x="38482" y="30857"/>
                  <a:pt x="38482" y="30857"/>
                  <a:pt x="37454" y="31428"/>
                </a:cubicBezTo>
                <a:cubicBezTo>
                  <a:pt x="37013" y="31428"/>
                  <a:pt x="37747" y="31809"/>
                  <a:pt x="37307" y="31809"/>
                </a:cubicBezTo>
                <a:cubicBezTo>
                  <a:pt x="36866" y="32000"/>
                  <a:pt x="37454" y="32380"/>
                  <a:pt x="36866" y="32571"/>
                </a:cubicBezTo>
                <a:cubicBezTo>
                  <a:pt x="36132" y="32571"/>
                  <a:pt x="36132" y="33142"/>
                  <a:pt x="35985" y="32952"/>
                </a:cubicBezTo>
                <a:cubicBezTo>
                  <a:pt x="35691" y="32952"/>
                  <a:pt x="36132" y="32571"/>
                  <a:pt x="35250" y="31809"/>
                </a:cubicBezTo>
                <a:cubicBezTo>
                  <a:pt x="34222" y="31238"/>
                  <a:pt x="34810" y="30857"/>
                  <a:pt x="34222" y="30476"/>
                </a:cubicBezTo>
                <a:cubicBezTo>
                  <a:pt x="33782" y="30285"/>
                  <a:pt x="33929" y="30285"/>
                  <a:pt x="34222" y="29904"/>
                </a:cubicBezTo>
                <a:cubicBezTo>
                  <a:pt x="34222" y="29333"/>
                  <a:pt x="33488" y="29714"/>
                  <a:pt x="33341" y="29904"/>
                </a:cubicBezTo>
                <a:cubicBezTo>
                  <a:pt x="33047" y="29904"/>
                  <a:pt x="33047" y="29904"/>
                  <a:pt x="32607" y="29714"/>
                </a:cubicBezTo>
                <a:cubicBezTo>
                  <a:pt x="32313" y="29333"/>
                  <a:pt x="32753" y="30285"/>
                  <a:pt x="31872" y="29714"/>
                </a:cubicBezTo>
                <a:cubicBezTo>
                  <a:pt x="31872" y="5333"/>
                  <a:pt x="31872" y="5333"/>
                  <a:pt x="31872" y="5333"/>
                </a:cubicBezTo>
                <a:cubicBezTo>
                  <a:pt x="30550" y="5333"/>
                  <a:pt x="30550" y="4190"/>
                  <a:pt x="29228" y="4190"/>
                </a:cubicBezTo>
                <a:close/>
                <a:moveTo>
                  <a:pt x="107809" y="66476"/>
                </a:moveTo>
                <a:cubicBezTo>
                  <a:pt x="107809" y="66666"/>
                  <a:pt x="107515" y="67047"/>
                  <a:pt x="107221" y="67047"/>
                </a:cubicBezTo>
                <a:cubicBezTo>
                  <a:pt x="107074" y="67047"/>
                  <a:pt x="107074" y="67238"/>
                  <a:pt x="107221" y="67619"/>
                </a:cubicBezTo>
                <a:cubicBezTo>
                  <a:pt x="107515" y="67619"/>
                  <a:pt x="107221" y="67619"/>
                  <a:pt x="107221" y="68190"/>
                </a:cubicBezTo>
                <a:cubicBezTo>
                  <a:pt x="107221" y="68571"/>
                  <a:pt x="107074" y="68571"/>
                  <a:pt x="106780" y="68761"/>
                </a:cubicBezTo>
                <a:cubicBezTo>
                  <a:pt x="106634" y="69142"/>
                  <a:pt x="105899" y="69142"/>
                  <a:pt x="105458" y="69142"/>
                </a:cubicBezTo>
                <a:cubicBezTo>
                  <a:pt x="105312" y="68761"/>
                  <a:pt x="104430" y="68761"/>
                  <a:pt x="104430" y="69142"/>
                </a:cubicBezTo>
                <a:cubicBezTo>
                  <a:pt x="104137" y="69142"/>
                  <a:pt x="103696" y="69333"/>
                  <a:pt x="103696" y="69333"/>
                </a:cubicBezTo>
                <a:cubicBezTo>
                  <a:pt x="104137" y="69714"/>
                  <a:pt x="104137" y="69714"/>
                  <a:pt x="104137" y="69714"/>
                </a:cubicBezTo>
                <a:cubicBezTo>
                  <a:pt x="104430" y="69714"/>
                  <a:pt x="104137" y="70285"/>
                  <a:pt x="104137" y="70285"/>
                </a:cubicBezTo>
                <a:cubicBezTo>
                  <a:pt x="103990" y="70476"/>
                  <a:pt x="103255" y="71428"/>
                  <a:pt x="102815" y="71428"/>
                </a:cubicBezTo>
                <a:cubicBezTo>
                  <a:pt x="102668" y="71428"/>
                  <a:pt x="102080" y="72000"/>
                  <a:pt x="101199" y="72571"/>
                </a:cubicBezTo>
                <a:cubicBezTo>
                  <a:pt x="100318" y="73142"/>
                  <a:pt x="99436" y="73142"/>
                  <a:pt x="99436" y="72952"/>
                </a:cubicBezTo>
                <a:cubicBezTo>
                  <a:pt x="99290" y="72952"/>
                  <a:pt x="99730" y="72952"/>
                  <a:pt x="99730" y="72571"/>
                </a:cubicBezTo>
                <a:cubicBezTo>
                  <a:pt x="99436" y="72571"/>
                  <a:pt x="98849" y="72571"/>
                  <a:pt x="98849" y="72380"/>
                </a:cubicBezTo>
                <a:cubicBezTo>
                  <a:pt x="98849" y="72000"/>
                  <a:pt x="98996" y="72000"/>
                  <a:pt x="98996" y="71428"/>
                </a:cubicBezTo>
                <a:cubicBezTo>
                  <a:pt x="99290" y="70857"/>
                  <a:pt x="99436" y="71238"/>
                  <a:pt x="99436" y="70476"/>
                </a:cubicBezTo>
                <a:cubicBezTo>
                  <a:pt x="99730" y="70285"/>
                  <a:pt x="99730" y="70285"/>
                  <a:pt x="99877" y="70476"/>
                </a:cubicBezTo>
                <a:cubicBezTo>
                  <a:pt x="99877" y="70285"/>
                  <a:pt x="99877" y="70285"/>
                  <a:pt x="99877" y="70285"/>
                </a:cubicBezTo>
                <a:cubicBezTo>
                  <a:pt x="99877" y="69904"/>
                  <a:pt x="100171" y="69904"/>
                  <a:pt x="100171" y="69714"/>
                </a:cubicBezTo>
                <a:cubicBezTo>
                  <a:pt x="99877" y="69142"/>
                  <a:pt x="99877" y="67238"/>
                  <a:pt x="99290" y="67619"/>
                </a:cubicBezTo>
                <a:cubicBezTo>
                  <a:pt x="98849" y="67619"/>
                  <a:pt x="98849" y="68190"/>
                  <a:pt x="98555" y="68571"/>
                </a:cubicBezTo>
                <a:cubicBezTo>
                  <a:pt x="98408" y="68571"/>
                  <a:pt x="98115" y="67619"/>
                  <a:pt x="98555" y="67619"/>
                </a:cubicBezTo>
                <a:cubicBezTo>
                  <a:pt x="98849" y="67238"/>
                  <a:pt x="98996" y="67047"/>
                  <a:pt x="98996" y="66476"/>
                </a:cubicBezTo>
                <a:cubicBezTo>
                  <a:pt x="98996" y="65523"/>
                  <a:pt x="98555" y="65142"/>
                  <a:pt x="98996" y="65142"/>
                </a:cubicBezTo>
                <a:cubicBezTo>
                  <a:pt x="99290" y="65142"/>
                  <a:pt x="98849" y="64571"/>
                  <a:pt x="98408" y="64380"/>
                </a:cubicBezTo>
                <a:cubicBezTo>
                  <a:pt x="97968" y="64380"/>
                  <a:pt x="98115" y="64000"/>
                  <a:pt x="97968" y="64000"/>
                </a:cubicBezTo>
                <a:cubicBezTo>
                  <a:pt x="97380" y="64000"/>
                  <a:pt x="97380" y="63428"/>
                  <a:pt x="96940" y="63809"/>
                </a:cubicBezTo>
                <a:cubicBezTo>
                  <a:pt x="96499" y="64380"/>
                  <a:pt x="97380" y="64380"/>
                  <a:pt x="96793" y="64571"/>
                </a:cubicBezTo>
                <a:cubicBezTo>
                  <a:pt x="96352" y="64571"/>
                  <a:pt x="96499" y="65714"/>
                  <a:pt x="96352" y="65714"/>
                </a:cubicBezTo>
                <a:cubicBezTo>
                  <a:pt x="96058" y="65714"/>
                  <a:pt x="96499" y="64380"/>
                  <a:pt x="95911" y="65523"/>
                </a:cubicBezTo>
                <a:cubicBezTo>
                  <a:pt x="95618" y="66095"/>
                  <a:pt x="95471" y="65523"/>
                  <a:pt x="95618" y="66476"/>
                </a:cubicBezTo>
                <a:cubicBezTo>
                  <a:pt x="95618" y="67047"/>
                  <a:pt x="95177" y="67238"/>
                  <a:pt x="95471" y="67619"/>
                </a:cubicBezTo>
                <a:cubicBezTo>
                  <a:pt x="95471" y="68190"/>
                  <a:pt x="95177" y="67809"/>
                  <a:pt x="95471" y="68761"/>
                </a:cubicBezTo>
                <a:cubicBezTo>
                  <a:pt x="95618" y="69904"/>
                  <a:pt x="95618" y="70857"/>
                  <a:pt x="95177" y="71809"/>
                </a:cubicBezTo>
                <a:cubicBezTo>
                  <a:pt x="94736" y="72571"/>
                  <a:pt x="94296" y="72952"/>
                  <a:pt x="93855" y="72000"/>
                </a:cubicBezTo>
                <a:cubicBezTo>
                  <a:pt x="93414" y="71238"/>
                  <a:pt x="93855" y="70476"/>
                  <a:pt x="93708" y="69714"/>
                </a:cubicBezTo>
                <a:cubicBezTo>
                  <a:pt x="93708" y="68761"/>
                  <a:pt x="93855" y="69142"/>
                  <a:pt x="93855" y="67809"/>
                </a:cubicBezTo>
                <a:cubicBezTo>
                  <a:pt x="93855" y="67047"/>
                  <a:pt x="94296" y="67619"/>
                  <a:pt x="94149" y="67047"/>
                </a:cubicBezTo>
                <a:cubicBezTo>
                  <a:pt x="93855" y="66666"/>
                  <a:pt x="94589" y="65714"/>
                  <a:pt x="94149" y="65714"/>
                </a:cubicBezTo>
                <a:cubicBezTo>
                  <a:pt x="93855" y="65523"/>
                  <a:pt x="94149" y="65714"/>
                  <a:pt x="93708" y="66476"/>
                </a:cubicBezTo>
                <a:cubicBezTo>
                  <a:pt x="93414" y="66666"/>
                  <a:pt x="93708" y="65523"/>
                  <a:pt x="93855" y="65523"/>
                </a:cubicBezTo>
                <a:cubicBezTo>
                  <a:pt x="94149" y="65142"/>
                  <a:pt x="93855" y="65142"/>
                  <a:pt x="94149" y="64952"/>
                </a:cubicBezTo>
                <a:cubicBezTo>
                  <a:pt x="94296" y="64380"/>
                  <a:pt x="94736" y="63047"/>
                  <a:pt x="94736" y="63428"/>
                </a:cubicBezTo>
                <a:cubicBezTo>
                  <a:pt x="94736" y="64000"/>
                  <a:pt x="95177" y="63047"/>
                  <a:pt x="95177" y="63809"/>
                </a:cubicBezTo>
                <a:cubicBezTo>
                  <a:pt x="95030" y="64380"/>
                  <a:pt x="95471" y="63047"/>
                  <a:pt x="95618" y="63047"/>
                </a:cubicBezTo>
                <a:cubicBezTo>
                  <a:pt x="96499" y="63428"/>
                  <a:pt x="96058" y="62476"/>
                  <a:pt x="96940" y="63047"/>
                </a:cubicBezTo>
                <a:cubicBezTo>
                  <a:pt x="97674" y="63809"/>
                  <a:pt x="97233" y="62857"/>
                  <a:pt x="97380" y="63047"/>
                </a:cubicBezTo>
                <a:cubicBezTo>
                  <a:pt x="97968" y="63047"/>
                  <a:pt x="98408" y="63428"/>
                  <a:pt x="98408" y="62857"/>
                </a:cubicBezTo>
                <a:cubicBezTo>
                  <a:pt x="98115" y="62476"/>
                  <a:pt x="97968" y="62857"/>
                  <a:pt x="97968" y="62285"/>
                </a:cubicBezTo>
                <a:cubicBezTo>
                  <a:pt x="97968" y="61904"/>
                  <a:pt x="97674" y="62285"/>
                  <a:pt x="97233" y="61904"/>
                </a:cubicBezTo>
                <a:cubicBezTo>
                  <a:pt x="96793" y="61904"/>
                  <a:pt x="97233" y="61333"/>
                  <a:pt x="96940" y="61333"/>
                </a:cubicBezTo>
                <a:cubicBezTo>
                  <a:pt x="96499" y="61714"/>
                  <a:pt x="95618" y="61714"/>
                  <a:pt x="95471" y="61904"/>
                </a:cubicBezTo>
                <a:cubicBezTo>
                  <a:pt x="95030" y="62285"/>
                  <a:pt x="95030" y="61904"/>
                  <a:pt x="94589" y="61904"/>
                </a:cubicBezTo>
                <a:cubicBezTo>
                  <a:pt x="94149" y="61904"/>
                  <a:pt x="94149" y="61333"/>
                  <a:pt x="93708" y="61142"/>
                </a:cubicBezTo>
                <a:cubicBezTo>
                  <a:pt x="93268" y="60761"/>
                  <a:pt x="92974" y="61714"/>
                  <a:pt x="92974" y="61142"/>
                </a:cubicBezTo>
                <a:cubicBezTo>
                  <a:pt x="92974" y="60380"/>
                  <a:pt x="92827" y="60380"/>
                  <a:pt x="92239" y="61142"/>
                </a:cubicBezTo>
                <a:cubicBezTo>
                  <a:pt x="91799" y="61714"/>
                  <a:pt x="91799" y="61142"/>
                  <a:pt x="91211" y="61714"/>
                </a:cubicBezTo>
                <a:cubicBezTo>
                  <a:pt x="90771" y="62285"/>
                  <a:pt x="90771" y="61714"/>
                  <a:pt x="90330" y="61904"/>
                </a:cubicBezTo>
                <a:cubicBezTo>
                  <a:pt x="89889" y="61904"/>
                  <a:pt x="90477" y="61142"/>
                  <a:pt x="90330" y="61142"/>
                </a:cubicBezTo>
                <a:cubicBezTo>
                  <a:pt x="89889" y="61142"/>
                  <a:pt x="89449" y="61714"/>
                  <a:pt x="89008" y="61714"/>
                </a:cubicBezTo>
                <a:cubicBezTo>
                  <a:pt x="88567" y="61333"/>
                  <a:pt x="89155" y="61142"/>
                  <a:pt x="89596" y="60190"/>
                </a:cubicBezTo>
                <a:cubicBezTo>
                  <a:pt x="90330" y="59238"/>
                  <a:pt x="90477" y="59238"/>
                  <a:pt x="91652" y="58666"/>
                </a:cubicBezTo>
                <a:cubicBezTo>
                  <a:pt x="90917" y="58666"/>
                  <a:pt x="91358" y="58476"/>
                  <a:pt x="90771" y="58476"/>
                </a:cubicBezTo>
                <a:cubicBezTo>
                  <a:pt x="90036" y="58666"/>
                  <a:pt x="90477" y="58095"/>
                  <a:pt x="89596" y="58476"/>
                </a:cubicBezTo>
                <a:cubicBezTo>
                  <a:pt x="89155" y="59047"/>
                  <a:pt x="89008" y="57904"/>
                  <a:pt x="88567" y="58095"/>
                </a:cubicBezTo>
                <a:cubicBezTo>
                  <a:pt x="88274" y="58476"/>
                  <a:pt x="88714" y="57904"/>
                  <a:pt x="87833" y="57523"/>
                </a:cubicBezTo>
                <a:cubicBezTo>
                  <a:pt x="86952" y="56952"/>
                  <a:pt x="86952" y="57904"/>
                  <a:pt x="86658" y="57523"/>
                </a:cubicBezTo>
                <a:cubicBezTo>
                  <a:pt x="86511" y="56952"/>
                  <a:pt x="85777" y="57523"/>
                  <a:pt x="85777" y="56571"/>
                </a:cubicBezTo>
                <a:cubicBezTo>
                  <a:pt x="85630" y="56000"/>
                  <a:pt x="85630" y="55809"/>
                  <a:pt x="85336" y="55809"/>
                </a:cubicBezTo>
                <a:cubicBezTo>
                  <a:pt x="85189" y="55428"/>
                  <a:pt x="85336" y="56571"/>
                  <a:pt x="85189" y="56571"/>
                </a:cubicBezTo>
                <a:cubicBezTo>
                  <a:pt x="52876" y="56571"/>
                  <a:pt x="52876" y="56571"/>
                  <a:pt x="52876" y="56571"/>
                </a:cubicBezTo>
                <a:cubicBezTo>
                  <a:pt x="52876" y="57142"/>
                  <a:pt x="53463" y="56952"/>
                  <a:pt x="53463" y="57523"/>
                </a:cubicBezTo>
                <a:cubicBezTo>
                  <a:pt x="53463" y="57904"/>
                  <a:pt x="52876" y="57523"/>
                  <a:pt x="53170" y="58095"/>
                </a:cubicBezTo>
                <a:cubicBezTo>
                  <a:pt x="53610" y="58666"/>
                  <a:pt x="53610" y="58666"/>
                  <a:pt x="53610" y="59809"/>
                </a:cubicBezTo>
                <a:cubicBezTo>
                  <a:pt x="53463" y="61142"/>
                  <a:pt x="53463" y="59619"/>
                  <a:pt x="53170" y="58666"/>
                </a:cubicBezTo>
                <a:cubicBezTo>
                  <a:pt x="52876" y="58095"/>
                  <a:pt x="51848" y="58476"/>
                  <a:pt x="51113" y="58095"/>
                </a:cubicBezTo>
                <a:cubicBezTo>
                  <a:pt x="50673" y="57523"/>
                  <a:pt x="50673" y="58476"/>
                  <a:pt x="51113" y="59047"/>
                </a:cubicBezTo>
                <a:cubicBezTo>
                  <a:pt x="51407" y="59809"/>
                  <a:pt x="51554" y="61904"/>
                  <a:pt x="51554" y="63428"/>
                </a:cubicBezTo>
                <a:cubicBezTo>
                  <a:pt x="51554" y="64952"/>
                  <a:pt x="51554" y="67809"/>
                  <a:pt x="51113" y="69333"/>
                </a:cubicBezTo>
                <a:cubicBezTo>
                  <a:pt x="50673" y="70476"/>
                  <a:pt x="51848" y="72571"/>
                  <a:pt x="51407" y="74095"/>
                </a:cubicBezTo>
                <a:cubicBezTo>
                  <a:pt x="50966" y="75809"/>
                  <a:pt x="51848" y="75619"/>
                  <a:pt x="51848" y="77333"/>
                </a:cubicBezTo>
                <a:cubicBezTo>
                  <a:pt x="51995" y="79047"/>
                  <a:pt x="52729" y="78857"/>
                  <a:pt x="52729" y="79809"/>
                </a:cubicBezTo>
                <a:cubicBezTo>
                  <a:pt x="52876" y="80571"/>
                  <a:pt x="53463" y="80000"/>
                  <a:pt x="53463" y="81142"/>
                </a:cubicBezTo>
                <a:cubicBezTo>
                  <a:pt x="53610" y="82666"/>
                  <a:pt x="54345" y="82095"/>
                  <a:pt x="54051" y="83047"/>
                </a:cubicBezTo>
                <a:cubicBezTo>
                  <a:pt x="53904" y="83619"/>
                  <a:pt x="54345" y="83809"/>
                  <a:pt x="54932" y="85333"/>
                </a:cubicBezTo>
                <a:cubicBezTo>
                  <a:pt x="55813" y="86476"/>
                  <a:pt x="55373" y="87238"/>
                  <a:pt x="55667" y="87428"/>
                </a:cubicBezTo>
                <a:cubicBezTo>
                  <a:pt x="56107" y="87809"/>
                  <a:pt x="56695" y="87428"/>
                  <a:pt x="57576" y="88571"/>
                </a:cubicBezTo>
                <a:cubicBezTo>
                  <a:pt x="58310" y="89523"/>
                  <a:pt x="58310" y="88571"/>
                  <a:pt x="59045" y="89523"/>
                </a:cubicBezTo>
                <a:cubicBezTo>
                  <a:pt x="59632" y="90476"/>
                  <a:pt x="59485" y="90666"/>
                  <a:pt x="59632" y="91619"/>
                </a:cubicBezTo>
                <a:cubicBezTo>
                  <a:pt x="60367" y="91238"/>
                  <a:pt x="61835" y="91238"/>
                  <a:pt x="62276" y="91047"/>
                </a:cubicBezTo>
                <a:cubicBezTo>
                  <a:pt x="62276" y="91619"/>
                  <a:pt x="62276" y="91619"/>
                  <a:pt x="62276" y="91619"/>
                </a:cubicBezTo>
                <a:cubicBezTo>
                  <a:pt x="63011" y="91809"/>
                  <a:pt x="66389" y="93714"/>
                  <a:pt x="66829" y="93904"/>
                </a:cubicBezTo>
                <a:cubicBezTo>
                  <a:pt x="70208" y="93904"/>
                  <a:pt x="70208" y="93904"/>
                  <a:pt x="70208" y="93904"/>
                </a:cubicBezTo>
                <a:cubicBezTo>
                  <a:pt x="70208" y="93142"/>
                  <a:pt x="70208" y="93142"/>
                  <a:pt x="70208" y="93142"/>
                </a:cubicBezTo>
                <a:cubicBezTo>
                  <a:pt x="71970" y="93142"/>
                  <a:pt x="71970" y="93142"/>
                  <a:pt x="71970" y="93142"/>
                </a:cubicBezTo>
                <a:cubicBezTo>
                  <a:pt x="71970" y="93142"/>
                  <a:pt x="73292" y="94857"/>
                  <a:pt x="73733" y="95428"/>
                </a:cubicBezTo>
                <a:cubicBezTo>
                  <a:pt x="74467" y="96000"/>
                  <a:pt x="74173" y="97523"/>
                  <a:pt x="75348" y="98476"/>
                </a:cubicBezTo>
                <a:cubicBezTo>
                  <a:pt x="76670" y="99047"/>
                  <a:pt x="75789" y="96380"/>
                  <a:pt x="77258" y="96571"/>
                </a:cubicBezTo>
                <a:cubicBezTo>
                  <a:pt x="78727" y="96952"/>
                  <a:pt x="78873" y="99238"/>
                  <a:pt x="79755" y="100761"/>
                </a:cubicBezTo>
                <a:cubicBezTo>
                  <a:pt x="80636" y="102285"/>
                  <a:pt x="80048" y="104000"/>
                  <a:pt x="81958" y="104380"/>
                </a:cubicBezTo>
                <a:cubicBezTo>
                  <a:pt x="82252" y="104380"/>
                  <a:pt x="82692" y="104952"/>
                  <a:pt x="82692" y="104571"/>
                </a:cubicBezTo>
                <a:cubicBezTo>
                  <a:pt x="82692" y="104571"/>
                  <a:pt x="82692" y="104571"/>
                  <a:pt x="82986" y="104571"/>
                </a:cubicBezTo>
                <a:cubicBezTo>
                  <a:pt x="82986" y="103809"/>
                  <a:pt x="82399" y="102476"/>
                  <a:pt x="82692" y="101904"/>
                </a:cubicBezTo>
                <a:cubicBezTo>
                  <a:pt x="82692" y="101333"/>
                  <a:pt x="82986" y="101142"/>
                  <a:pt x="83133" y="100761"/>
                </a:cubicBezTo>
                <a:cubicBezTo>
                  <a:pt x="83427" y="100190"/>
                  <a:pt x="84014" y="99809"/>
                  <a:pt x="83867" y="99619"/>
                </a:cubicBezTo>
                <a:cubicBezTo>
                  <a:pt x="83574" y="99619"/>
                  <a:pt x="83427" y="99238"/>
                  <a:pt x="83574" y="99238"/>
                </a:cubicBezTo>
                <a:cubicBezTo>
                  <a:pt x="83867" y="99619"/>
                  <a:pt x="83867" y="99047"/>
                  <a:pt x="84014" y="99238"/>
                </a:cubicBezTo>
                <a:cubicBezTo>
                  <a:pt x="84308" y="99619"/>
                  <a:pt x="84895" y="99047"/>
                  <a:pt x="85189" y="98476"/>
                </a:cubicBezTo>
                <a:cubicBezTo>
                  <a:pt x="85630" y="98095"/>
                  <a:pt x="85630" y="98095"/>
                  <a:pt x="86070" y="97523"/>
                </a:cubicBezTo>
                <a:cubicBezTo>
                  <a:pt x="86511" y="97142"/>
                  <a:pt x="86511" y="97142"/>
                  <a:pt x="87099" y="96952"/>
                </a:cubicBezTo>
                <a:cubicBezTo>
                  <a:pt x="88127" y="96952"/>
                  <a:pt x="88127" y="97523"/>
                  <a:pt x="88567" y="97523"/>
                </a:cubicBezTo>
                <a:cubicBezTo>
                  <a:pt x="89008" y="97142"/>
                  <a:pt x="89008" y="97714"/>
                  <a:pt x="89155" y="97523"/>
                </a:cubicBezTo>
                <a:cubicBezTo>
                  <a:pt x="89449" y="97142"/>
                  <a:pt x="88567" y="97142"/>
                  <a:pt x="89008" y="96952"/>
                </a:cubicBezTo>
                <a:cubicBezTo>
                  <a:pt x="89155" y="96952"/>
                  <a:pt x="89449" y="97142"/>
                  <a:pt x="89449" y="97523"/>
                </a:cubicBezTo>
                <a:cubicBezTo>
                  <a:pt x="89596" y="97714"/>
                  <a:pt x="90036" y="97523"/>
                  <a:pt x="89889" y="97714"/>
                </a:cubicBezTo>
                <a:cubicBezTo>
                  <a:pt x="89596" y="98095"/>
                  <a:pt x="90477" y="98476"/>
                  <a:pt x="90477" y="98476"/>
                </a:cubicBezTo>
                <a:cubicBezTo>
                  <a:pt x="90477" y="98095"/>
                  <a:pt x="90771" y="97714"/>
                  <a:pt x="90917" y="98476"/>
                </a:cubicBezTo>
                <a:cubicBezTo>
                  <a:pt x="90917" y="98666"/>
                  <a:pt x="91358" y="98095"/>
                  <a:pt x="91211" y="97714"/>
                </a:cubicBezTo>
                <a:cubicBezTo>
                  <a:pt x="90917" y="97523"/>
                  <a:pt x="91358" y="97523"/>
                  <a:pt x="91652" y="98095"/>
                </a:cubicBezTo>
                <a:cubicBezTo>
                  <a:pt x="92093" y="98476"/>
                  <a:pt x="91799" y="99047"/>
                  <a:pt x="92093" y="98476"/>
                </a:cubicBezTo>
                <a:cubicBezTo>
                  <a:pt x="92533" y="98095"/>
                  <a:pt x="92239" y="98095"/>
                  <a:pt x="91799" y="97523"/>
                </a:cubicBezTo>
                <a:cubicBezTo>
                  <a:pt x="91358" y="97142"/>
                  <a:pt x="92239" y="97142"/>
                  <a:pt x="92093" y="96571"/>
                </a:cubicBezTo>
                <a:cubicBezTo>
                  <a:pt x="91799" y="96380"/>
                  <a:pt x="91799" y="96952"/>
                  <a:pt x="91652" y="96952"/>
                </a:cubicBezTo>
                <a:cubicBezTo>
                  <a:pt x="91358" y="96571"/>
                  <a:pt x="91799" y="96571"/>
                  <a:pt x="91358" y="96380"/>
                </a:cubicBezTo>
                <a:cubicBezTo>
                  <a:pt x="91211" y="96380"/>
                  <a:pt x="91358" y="96571"/>
                  <a:pt x="90917" y="96571"/>
                </a:cubicBezTo>
                <a:cubicBezTo>
                  <a:pt x="90477" y="96380"/>
                  <a:pt x="90917" y="95428"/>
                  <a:pt x="91358" y="96000"/>
                </a:cubicBezTo>
                <a:cubicBezTo>
                  <a:pt x="91799" y="96380"/>
                  <a:pt x="91799" y="96380"/>
                  <a:pt x="92239" y="96000"/>
                </a:cubicBezTo>
                <a:cubicBezTo>
                  <a:pt x="92533" y="95428"/>
                  <a:pt x="93414" y="96000"/>
                  <a:pt x="93414" y="95809"/>
                </a:cubicBezTo>
                <a:cubicBezTo>
                  <a:pt x="93708" y="95428"/>
                  <a:pt x="93414" y="94857"/>
                  <a:pt x="93855" y="95809"/>
                </a:cubicBezTo>
                <a:cubicBezTo>
                  <a:pt x="93855" y="96000"/>
                  <a:pt x="93268" y="96380"/>
                  <a:pt x="93855" y="96000"/>
                </a:cubicBezTo>
                <a:cubicBezTo>
                  <a:pt x="94589" y="96000"/>
                  <a:pt x="95177" y="95809"/>
                  <a:pt x="95618" y="96000"/>
                </a:cubicBezTo>
                <a:cubicBezTo>
                  <a:pt x="96058" y="96000"/>
                  <a:pt x="96352" y="96000"/>
                  <a:pt x="96352" y="96380"/>
                </a:cubicBezTo>
                <a:cubicBezTo>
                  <a:pt x="96352" y="96571"/>
                  <a:pt x="96499" y="96380"/>
                  <a:pt x="96499" y="96952"/>
                </a:cubicBezTo>
                <a:cubicBezTo>
                  <a:pt x="96499" y="97523"/>
                  <a:pt x="97380" y="96952"/>
                  <a:pt x="97674" y="96952"/>
                </a:cubicBezTo>
                <a:cubicBezTo>
                  <a:pt x="97968" y="96952"/>
                  <a:pt x="97674" y="96380"/>
                  <a:pt x="98115" y="96380"/>
                </a:cubicBezTo>
                <a:cubicBezTo>
                  <a:pt x="98555" y="96380"/>
                  <a:pt x="99290" y="98095"/>
                  <a:pt x="99436" y="98095"/>
                </a:cubicBezTo>
                <a:cubicBezTo>
                  <a:pt x="99730" y="98095"/>
                  <a:pt x="99877" y="99238"/>
                  <a:pt x="99730" y="99809"/>
                </a:cubicBezTo>
                <a:cubicBezTo>
                  <a:pt x="99436" y="100761"/>
                  <a:pt x="99730" y="101333"/>
                  <a:pt x="99877" y="101142"/>
                </a:cubicBezTo>
                <a:cubicBezTo>
                  <a:pt x="99877" y="100761"/>
                  <a:pt x="100318" y="100761"/>
                  <a:pt x="99877" y="101333"/>
                </a:cubicBezTo>
                <a:cubicBezTo>
                  <a:pt x="99730" y="101714"/>
                  <a:pt x="99877" y="102476"/>
                  <a:pt x="100171" y="102857"/>
                </a:cubicBezTo>
                <a:cubicBezTo>
                  <a:pt x="100611" y="103047"/>
                  <a:pt x="100318" y="102476"/>
                  <a:pt x="100611" y="103047"/>
                </a:cubicBezTo>
                <a:cubicBezTo>
                  <a:pt x="100611" y="103809"/>
                  <a:pt x="100758" y="103428"/>
                  <a:pt x="100758" y="104000"/>
                </a:cubicBezTo>
                <a:cubicBezTo>
                  <a:pt x="101052" y="104952"/>
                  <a:pt x="101199" y="104380"/>
                  <a:pt x="101493" y="105142"/>
                </a:cubicBezTo>
                <a:cubicBezTo>
                  <a:pt x="101493" y="106095"/>
                  <a:pt x="101640" y="105523"/>
                  <a:pt x="101640" y="105714"/>
                </a:cubicBezTo>
                <a:cubicBezTo>
                  <a:pt x="101493" y="106095"/>
                  <a:pt x="101640" y="106476"/>
                  <a:pt x="101933" y="106095"/>
                </a:cubicBezTo>
                <a:cubicBezTo>
                  <a:pt x="102374" y="105714"/>
                  <a:pt x="102080" y="106666"/>
                  <a:pt x="102374" y="106095"/>
                </a:cubicBezTo>
                <a:cubicBezTo>
                  <a:pt x="102815" y="105523"/>
                  <a:pt x="102374" y="105523"/>
                  <a:pt x="102668" y="105142"/>
                </a:cubicBezTo>
                <a:cubicBezTo>
                  <a:pt x="102815" y="104571"/>
                  <a:pt x="102815" y="104000"/>
                  <a:pt x="102815" y="103428"/>
                </a:cubicBezTo>
                <a:cubicBezTo>
                  <a:pt x="103108" y="102476"/>
                  <a:pt x="102080" y="100761"/>
                  <a:pt x="102374" y="99809"/>
                </a:cubicBezTo>
                <a:cubicBezTo>
                  <a:pt x="102374" y="99238"/>
                  <a:pt x="101493" y="98476"/>
                  <a:pt x="101199" y="96000"/>
                </a:cubicBezTo>
                <a:cubicBezTo>
                  <a:pt x="101052" y="93714"/>
                  <a:pt x="101933" y="92380"/>
                  <a:pt x="102080" y="91809"/>
                </a:cubicBezTo>
                <a:cubicBezTo>
                  <a:pt x="102668" y="91619"/>
                  <a:pt x="102080" y="91619"/>
                  <a:pt x="102668" y="91619"/>
                </a:cubicBezTo>
                <a:cubicBezTo>
                  <a:pt x="103108" y="91619"/>
                  <a:pt x="103255" y="90666"/>
                  <a:pt x="103549" y="90666"/>
                </a:cubicBezTo>
                <a:cubicBezTo>
                  <a:pt x="103990" y="90476"/>
                  <a:pt x="103696" y="89523"/>
                  <a:pt x="104430" y="88952"/>
                </a:cubicBezTo>
                <a:cubicBezTo>
                  <a:pt x="105018" y="88380"/>
                  <a:pt x="105312" y="88952"/>
                  <a:pt x="105458" y="88380"/>
                </a:cubicBezTo>
                <a:cubicBezTo>
                  <a:pt x="105458" y="87809"/>
                  <a:pt x="106193" y="87238"/>
                  <a:pt x="106634" y="87238"/>
                </a:cubicBezTo>
                <a:cubicBezTo>
                  <a:pt x="107221" y="86857"/>
                  <a:pt x="107221" y="86476"/>
                  <a:pt x="107221" y="86285"/>
                </a:cubicBezTo>
                <a:cubicBezTo>
                  <a:pt x="107074" y="86285"/>
                  <a:pt x="106780" y="86857"/>
                  <a:pt x="106634" y="86476"/>
                </a:cubicBezTo>
                <a:cubicBezTo>
                  <a:pt x="106340" y="86285"/>
                  <a:pt x="106634" y="86476"/>
                  <a:pt x="106780" y="86285"/>
                </a:cubicBezTo>
                <a:cubicBezTo>
                  <a:pt x="107074" y="85714"/>
                  <a:pt x="106193" y="85333"/>
                  <a:pt x="106780" y="85714"/>
                </a:cubicBezTo>
                <a:cubicBezTo>
                  <a:pt x="107221" y="85714"/>
                  <a:pt x="107221" y="85904"/>
                  <a:pt x="107515" y="85714"/>
                </a:cubicBezTo>
                <a:cubicBezTo>
                  <a:pt x="107809" y="85142"/>
                  <a:pt x="107809" y="85714"/>
                  <a:pt x="107809" y="85142"/>
                </a:cubicBezTo>
                <a:cubicBezTo>
                  <a:pt x="107955" y="84380"/>
                  <a:pt x="107809" y="84380"/>
                  <a:pt x="107809" y="84380"/>
                </a:cubicBezTo>
                <a:cubicBezTo>
                  <a:pt x="107515" y="84761"/>
                  <a:pt x="107809" y="84380"/>
                  <a:pt x="107074" y="84380"/>
                </a:cubicBezTo>
                <a:cubicBezTo>
                  <a:pt x="106634" y="84761"/>
                  <a:pt x="106634" y="84380"/>
                  <a:pt x="106634" y="84190"/>
                </a:cubicBezTo>
                <a:cubicBezTo>
                  <a:pt x="106634" y="83809"/>
                  <a:pt x="106780" y="84761"/>
                  <a:pt x="107221" y="84190"/>
                </a:cubicBezTo>
                <a:cubicBezTo>
                  <a:pt x="107809" y="83619"/>
                  <a:pt x="107955" y="84761"/>
                  <a:pt x="108249" y="84761"/>
                </a:cubicBezTo>
                <a:cubicBezTo>
                  <a:pt x="108249" y="84761"/>
                  <a:pt x="107955" y="84380"/>
                  <a:pt x="107809" y="82666"/>
                </a:cubicBezTo>
                <a:cubicBezTo>
                  <a:pt x="107515" y="82095"/>
                  <a:pt x="107221" y="82476"/>
                  <a:pt x="107074" y="82666"/>
                </a:cubicBezTo>
                <a:cubicBezTo>
                  <a:pt x="106780" y="82666"/>
                  <a:pt x="107515" y="82095"/>
                  <a:pt x="107074" y="81714"/>
                </a:cubicBezTo>
                <a:cubicBezTo>
                  <a:pt x="106780" y="81523"/>
                  <a:pt x="107221" y="82095"/>
                  <a:pt x="107221" y="81142"/>
                </a:cubicBezTo>
                <a:cubicBezTo>
                  <a:pt x="107074" y="80380"/>
                  <a:pt x="107515" y="80571"/>
                  <a:pt x="107074" y="80380"/>
                </a:cubicBezTo>
                <a:cubicBezTo>
                  <a:pt x="106634" y="79809"/>
                  <a:pt x="106340" y="79428"/>
                  <a:pt x="106780" y="80000"/>
                </a:cubicBezTo>
                <a:cubicBezTo>
                  <a:pt x="107221" y="80380"/>
                  <a:pt x="107074" y="80000"/>
                  <a:pt x="107074" y="79428"/>
                </a:cubicBezTo>
                <a:cubicBezTo>
                  <a:pt x="106780" y="78857"/>
                  <a:pt x="106780" y="78476"/>
                  <a:pt x="107074" y="78285"/>
                </a:cubicBezTo>
                <a:cubicBezTo>
                  <a:pt x="107074" y="77714"/>
                  <a:pt x="107074" y="77714"/>
                  <a:pt x="107221" y="77333"/>
                </a:cubicBezTo>
                <a:cubicBezTo>
                  <a:pt x="107515" y="77142"/>
                  <a:pt x="107221" y="77333"/>
                  <a:pt x="107221" y="77714"/>
                </a:cubicBezTo>
                <a:cubicBezTo>
                  <a:pt x="107074" y="77904"/>
                  <a:pt x="107074" y="78285"/>
                  <a:pt x="107221" y="78476"/>
                </a:cubicBezTo>
                <a:cubicBezTo>
                  <a:pt x="107221" y="78857"/>
                  <a:pt x="107074" y="78857"/>
                  <a:pt x="107221" y="79047"/>
                </a:cubicBezTo>
                <a:cubicBezTo>
                  <a:pt x="107221" y="79428"/>
                  <a:pt x="107074" y="79428"/>
                  <a:pt x="107221" y="79809"/>
                </a:cubicBezTo>
                <a:cubicBezTo>
                  <a:pt x="107515" y="80000"/>
                  <a:pt x="107515" y="79428"/>
                  <a:pt x="107809" y="79809"/>
                </a:cubicBezTo>
                <a:cubicBezTo>
                  <a:pt x="107809" y="80380"/>
                  <a:pt x="107515" y="80380"/>
                  <a:pt x="107809" y="80380"/>
                </a:cubicBezTo>
                <a:cubicBezTo>
                  <a:pt x="107955" y="80571"/>
                  <a:pt x="107221" y="81714"/>
                  <a:pt x="107515" y="82095"/>
                </a:cubicBezTo>
                <a:cubicBezTo>
                  <a:pt x="107809" y="82095"/>
                  <a:pt x="107955" y="80571"/>
                  <a:pt x="108396" y="80000"/>
                </a:cubicBezTo>
                <a:cubicBezTo>
                  <a:pt x="108837" y="79047"/>
                  <a:pt x="108690" y="78476"/>
                  <a:pt x="108396" y="78476"/>
                </a:cubicBezTo>
                <a:cubicBezTo>
                  <a:pt x="108249" y="78476"/>
                  <a:pt x="108249" y="77904"/>
                  <a:pt x="107955" y="77333"/>
                </a:cubicBezTo>
                <a:cubicBezTo>
                  <a:pt x="107955" y="76761"/>
                  <a:pt x="107955" y="76380"/>
                  <a:pt x="108396" y="76190"/>
                </a:cubicBezTo>
                <a:cubicBezTo>
                  <a:pt x="108837" y="75809"/>
                  <a:pt x="107809" y="76380"/>
                  <a:pt x="108249" y="77333"/>
                </a:cubicBezTo>
                <a:cubicBezTo>
                  <a:pt x="108690" y="78285"/>
                  <a:pt x="108837" y="77333"/>
                  <a:pt x="108837" y="77904"/>
                </a:cubicBezTo>
                <a:cubicBezTo>
                  <a:pt x="108690" y="78857"/>
                  <a:pt x="109130" y="77904"/>
                  <a:pt x="109571" y="77142"/>
                </a:cubicBezTo>
                <a:cubicBezTo>
                  <a:pt x="109718" y="76190"/>
                  <a:pt x="110159" y="75238"/>
                  <a:pt x="109718" y="75238"/>
                </a:cubicBezTo>
                <a:cubicBezTo>
                  <a:pt x="109571" y="75238"/>
                  <a:pt x="109571" y="75047"/>
                  <a:pt x="109718" y="74476"/>
                </a:cubicBezTo>
                <a:cubicBezTo>
                  <a:pt x="110159" y="74095"/>
                  <a:pt x="110893" y="73523"/>
                  <a:pt x="111334" y="73523"/>
                </a:cubicBezTo>
                <a:cubicBezTo>
                  <a:pt x="111774" y="73142"/>
                  <a:pt x="112949" y="73142"/>
                  <a:pt x="112949" y="72952"/>
                </a:cubicBezTo>
                <a:cubicBezTo>
                  <a:pt x="112949" y="72571"/>
                  <a:pt x="112949" y="72000"/>
                  <a:pt x="113096" y="72571"/>
                </a:cubicBezTo>
                <a:cubicBezTo>
                  <a:pt x="113096" y="72952"/>
                  <a:pt x="113096" y="73142"/>
                  <a:pt x="113537" y="72571"/>
                </a:cubicBezTo>
                <a:cubicBezTo>
                  <a:pt x="113977" y="72000"/>
                  <a:pt x="113537" y="73142"/>
                  <a:pt x="113977" y="72952"/>
                </a:cubicBezTo>
                <a:cubicBezTo>
                  <a:pt x="114271" y="72380"/>
                  <a:pt x="114712" y="72952"/>
                  <a:pt x="114712" y="72380"/>
                </a:cubicBezTo>
                <a:cubicBezTo>
                  <a:pt x="114418" y="71809"/>
                  <a:pt x="114418" y="71428"/>
                  <a:pt x="114271" y="71809"/>
                </a:cubicBezTo>
                <a:cubicBezTo>
                  <a:pt x="114271" y="71809"/>
                  <a:pt x="114418" y="71809"/>
                  <a:pt x="114418" y="72000"/>
                </a:cubicBezTo>
                <a:cubicBezTo>
                  <a:pt x="114418" y="72380"/>
                  <a:pt x="113977" y="72571"/>
                  <a:pt x="113977" y="72000"/>
                </a:cubicBezTo>
                <a:cubicBezTo>
                  <a:pt x="113831" y="71428"/>
                  <a:pt x="113831" y="71428"/>
                  <a:pt x="113537" y="71238"/>
                </a:cubicBezTo>
                <a:cubicBezTo>
                  <a:pt x="113096" y="71238"/>
                  <a:pt x="113977" y="70476"/>
                  <a:pt x="113831" y="70285"/>
                </a:cubicBezTo>
                <a:cubicBezTo>
                  <a:pt x="113537" y="70285"/>
                  <a:pt x="113831" y="69142"/>
                  <a:pt x="114271" y="68571"/>
                </a:cubicBezTo>
                <a:cubicBezTo>
                  <a:pt x="114418" y="68190"/>
                  <a:pt x="113977" y="68190"/>
                  <a:pt x="114271" y="67809"/>
                </a:cubicBezTo>
                <a:cubicBezTo>
                  <a:pt x="114418" y="67809"/>
                  <a:pt x="114418" y="68571"/>
                  <a:pt x="114859" y="68190"/>
                </a:cubicBezTo>
                <a:cubicBezTo>
                  <a:pt x="115152" y="67809"/>
                  <a:pt x="115152" y="67619"/>
                  <a:pt x="115299" y="67619"/>
                </a:cubicBezTo>
                <a:cubicBezTo>
                  <a:pt x="115740" y="67619"/>
                  <a:pt x="115593" y="66476"/>
                  <a:pt x="116034" y="66666"/>
                </a:cubicBezTo>
                <a:cubicBezTo>
                  <a:pt x="116474" y="67047"/>
                  <a:pt x="116181" y="66666"/>
                  <a:pt x="116474" y="66666"/>
                </a:cubicBezTo>
                <a:cubicBezTo>
                  <a:pt x="116621" y="66476"/>
                  <a:pt x="116621" y="67047"/>
                  <a:pt x="116915" y="66476"/>
                </a:cubicBezTo>
                <a:cubicBezTo>
                  <a:pt x="117356" y="66095"/>
                  <a:pt x="117649" y="66476"/>
                  <a:pt x="117796" y="66095"/>
                </a:cubicBezTo>
                <a:cubicBezTo>
                  <a:pt x="118090" y="65523"/>
                  <a:pt x="118090" y="65714"/>
                  <a:pt x="117796" y="65523"/>
                </a:cubicBezTo>
                <a:cubicBezTo>
                  <a:pt x="117796" y="65142"/>
                  <a:pt x="117796" y="64952"/>
                  <a:pt x="117649" y="64952"/>
                </a:cubicBezTo>
                <a:cubicBezTo>
                  <a:pt x="117356" y="64952"/>
                  <a:pt x="117356" y="64380"/>
                  <a:pt x="117356" y="64000"/>
                </a:cubicBezTo>
                <a:cubicBezTo>
                  <a:pt x="117356" y="64000"/>
                  <a:pt x="117356" y="64000"/>
                  <a:pt x="117209" y="63809"/>
                </a:cubicBezTo>
                <a:cubicBezTo>
                  <a:pt x="116915" y="63809"/>
                  <a:pt x="117209" y="63809"/>
                  <a:pt x="117209" y="63428"/>
                </a:cubicBezTo>
                <a:cubicBezTo>
                  <a:pt x="117209" y="63047"/>
                  <a:pt x="117209" y="61714"/>
                  <a:pt x="117209" y="61333"/>
                </a:cubicBezTo>
                <a:cubicBezTo>
                  <a:pt x="117209" y="60761"/>
                  <a:pt x="117209" y="60761"/>
                  <a:pt x="116621" y="60380"/>
                </a:cubicBezTo>
                <a:cubicBezTo>
                  <a:pt x="116474" y="59809"/>
                  <a:pt x="116181" y="60190"/>
                  <a:pt x="116034" y="60380"/>
                </a:cubicBezTo>
                <a:cubicBezTo>
                  <a:pt x="115740" y="60380"/>
                  <a:pt x="115593" y="60380"/>
                  <a:pt x="115593" y="60190"/>
                </a:cubicBezTo>
                <a:cubicBezTo>
                  <a:pt x="115593" y="59809"/>
                  <a:pt x="115299" y="59809"/>
                  <a:pt x="115299" y="59809"/>
                </a:cubicBezTo>
                <a:cubicBezTo>
                  <a:pt x="115299" y="59809"/>
                  <a:pt x="114859" y="60761"/>
                  <a:pt x="114712" y="61333"/>
                </a:cubicBezTo>
                <a:cubicBezTo>
                  <a:pt x="114271" y="61904"/>
                  <a:pt x="114712" y="61904"/>
                  <a:pt x="114418" y="62285"/>
                </a:cubicBezTo>
                <a:cubicBezTo>
                  <a:pt x="113977" y="62857"/>
                  <a:pt x="114418" y="63047"/>
                  <a:pt x="114271" y="63428"/>
                </a:cubicBezTo>
                <a:cubicBezTo>
                  <a:pt x="113831" y="63809"/>
                  <a:pt x="114271" y="63428"/>
                  <a:pt x="113831" y="64000"/>
                </a:cubicBezTo>
                <a:cubicBezTo>
                  <a:pt x="113390" y="64380"/>
                  <a:pt x="113977" y="64380"/>
                  <a:pt x="113831" y="64380"/>
                </a:cubicBezTo>
                <a:cubicBezTo>
                  <a:pt x="113537" y="64380"/>
                  <a:pt x="113537" y="64952"/>
                  <a:pt x="113390" y="64571"/>
                </a:cubicBezTo>
                <a:cubicBezTo>
                  <a:pt x="113390" y="64571"/>
                  <a:pt x="113390" y="64952"/>
                  <a:pt x="113096" y="64571"/>
                </a:cubicBezTo>
                <a:cubicBezTo>
                  <a:pt x="112949" y="64571"/>
                  <a:pt x="112949" y="64571"/>
                  <a:pt x="112949" y="65142"/>
                </a:cubicBezTo>
                <a:cubicBezTo>
                  <a:pt x="109571" y="65142"/>
                  <a:pt x="109571" y="65142"/>
                  <a:pt x="109571" y="65142"/>
                </a:cubicBezTo>
                <a:cubicBezTo>
                  <a:pt x="109277" y="65142"/>
                  <a:pt x="109130" y="65523"/>
                  <a:pt x="109130" y="65142"/>
                </a:cubicBezTo>
                <a:cubicBezTo>
                  <a:pt x="108837" y="65142"/>
                  <a:pt x="108249" y="65714"/>
                  <a:pt x="107809" y="66476"/>
                </a:cubicBezTo>
                <a:close/>
                <a:moveTo>
                  <a:pt x="118531" y="120000"/>
                </a:moveTo>
                <a:cubicBezTo>
                  <a:pt x="118971" y="119809"/>
                  <a:pt x="118678" y="120000"/>
                  <a:pt x="119412" y="120000"/>
                </a:cubicBezTo>
                <a:cubicBezTo>
                  <a:pt x="119853" y="119809"/>
                  <a:pt x="120000" y="119047"/>
                  <a:pt x="119118" y="119047"/>
                </a:cubicBezTo>
                <a:cubicBezTo>
                  <a:pt x="118237" y="118857"/>
                  <a:pt x="117796" y="118857"/>
                  <a:pt x="117796" y="119809"/>
                </a:cubicBezTo>
                <a:cubicBezTo>
                  <a:pt x="118090" y="120000"/>
                  <a:pt x="117796" y="120000"/>
                  <a:pt x="118531" y="120000"/>
                </a:cubicBezTo>
                <a:close/>
                <a:moveTo>
                  <a:pt x="14687" y="117904"/>
                </a:moveTo>
                <a:cubicBezTo>
                  <a:pt x="14981" y="117333"/>
                  <a:pt x="15569" y="117714"/>
                  <a:pt x="15569" y="117142"/>
                </a:cubicBezTo>
                <a:cubicBezTo>
                  <a:pt x="15569" y="117142"/>
                  <a:pt x="15569" y="117142"/>
                  <a:pt x="15569" y="117142"/>
                </a:cubicBezTo>
                <a:cubicBezTo>
                  <a:pt x="15569" y="117142"/>
                  <a:pt x="15569" y="117142"/>
                  <a:pt x="15569" y="116761"/>
                </a:cubicBezTo>
                <a:cubicBezTo>
                  <a:pt x="15422" y="116761"/>
                  <a:pt x="15422" y="116761"/>
                  <a:pt x="15422" y="116761"/>
                </a:cubicBezTo>
                <a:cubicBezTo>
                  <a:pt x="15422" y="116380"/>
                  <a:pt x="15422" y="116761"/>
                  <a:pt x="15422" y="116761"/>
                </a:cubicBezTo>
                <a:cubicBezTo>
                  <a:pt x="15422" y="116380"/>
                  <a:pt x="15422" y="116190"/>
                  <a:pt x="15128" y="116190"/>
                </a:cubicBezTo>
                <a:cubicBezTo>
                  <a:pt x="15128" y="116190"/>
                  <a:pt x="14687" y="115619"/>
                  <a:pt x="14541" y="115619"/>
                </a:cubicBezTo>
                <a:cubicBezTo>
                  <a:pt x="14541" y="115619"/>
                  <a:pt x="14541" y="115619"/>
                  <a:pt x="14541" y="115619"/>
                </a:cubicBezTo>
                <a:cubicBezTo>
                  <a:pt x="14247" y="115619"/>
                  <a:pt x="14541" y="116190"/>
                  <a:pt x="14541" y="116190"/>
                </a:cubicBezTo>
                <a:cubicBezTo>
                  <a:pt x="14541" y="116190"/>
                  <a:pt x="14247" y="116380"/>
                  <a:pt x="14247" y="116761"/>
                </a:cubicBezTo>
                <a:cubicBezTo>
                  <a:pt x="14247" y="117142"/>
                  <a:pt x="14247" y="117142"/>
                  <a:pt x="14247" y="117142"/>
                </a:cubicBezTo>
                <a:cubicBezTo>
                  <a:pt x="14247" y="117142"/>
                  <a:pt x="14247" y="117142"/>
                  <a:pt x="14247" y="117142"/>
                </a:cubicBezTo>
                <a:cubicBezTo>
                  <a:pt x="14247" y="117333"/>
                  <a:pt x="14247" y="117714"/>
                  <a:pt x="14247" y="117904"/>
                </a:cubicBezTo>
                <a:cubicBezTo>
                  <a:pt x="14541" y="117904"/>
                  <a:pt x="14687" y="118285"/>
                  <a:pt x="14687" y="117904"/>
                </a:cubicBezTo>
                <a:moveTo>
                  <a:pt x="14100" y="114476"/>
                </a:moveTo>
                <a:cubicBezTo>
                  <a:pt x="13806" y="114476"/>
                  <a:pt x="13806" y="114476"/>
                  <a:pt x="13806" y="114476"/>
                </a:cubicBezTo>
                <a:cubicBezTo>
                  <a:pt x="13512" y="114476"/>
                  <a:pt x="13512" y="114095"/>
                  <a:pt x="13512" y="114095"/>
                </a:cubicBezTo>
                <a:cubicBezTo>
                  <a:pt x="13512" y="114095"/>
                  <a:pt x="13512" y="114095"/>
                  <a:pt x="13512" y="114095"/>
                </a:cubicBezTo>
                <a:cubicBezTo>
                  <a:pt x="13365" y="114476"/>
                  <a:pt x="13365" y="114476"/>
                  <a:pt x="13365" y="114476"/>
                </a:cubicBezTo>
                <a:cubicBezTo>
                  <a:pt x="13512" y="114476"/>
                  <a:pt x="13512" y="114476"/>
                  <a:pt x="13806" y="114666"/>
                </a:cubicBezTo>
                <a:cubicBezTo>
                  <a:pt x="13806" y="114666"/>
                  <a:pt x="13512" y="115047"/>
                  <a:pt x="13806" y="115047"/>
                </a:cubicBezTo>
                <a:cubicBezTo>
                  <a:pt x="13806" y="115047"/>
                  <a:pt x="14541" y="115047"/>
                  <a:pt x="14100" y="114476"/>
                </a:cubicBezTo>
                <a:cubicBezTo>
                  <a:pt x="14100" y="114476"/>
                  <a:pt x="14100" y="114476"/>
                  <a:pt x="14100" y="114476"/>
                </a:cubicBezTo>
                <a:moveTo>
                  <a:pt x="12044" y="112952"/>
                </a:moveTo>
                <a:cubicBezTo>
                  <a:pt x="12044" y="112952"/>
                  <a:pt x="11750" y="112952"/>
                  <a:pt x="11750" y="113142"/>
                </a:cubicBezTo>
                <a:cubicBezTo>
                  <a:pt x="11750" y="113142"/>
                  <a:pt x="11603" y="112952"/>
                  <a:pt x="11603" y="113142"/>
                </a:cubicBezTo>
                <a:cubicBezTo>
                  <a:pt x="11750" y="114095"/>
                  <a:pt x="12044" y="113523"/>
                  <a:pt x="12044" y="113523"/>
                </a:cubicBezTo>
                <a:cubicBezTo>
                  <a:pt x="12044" y="113523"/>
                  <a:pt x="12044" y="113523"/>
                  <a:pt x="12044" y="113523"/>
                </a:cubicBezTo>
                <a:cubicBezTo>
                  <a:pt x="12190" y="113714"/>
                  <a:pt x="12190" y="113714"/>
                  <a:pt x="12190" y="113714"/>
                </a:cubicBezTo>
                <a:cubicBezTo>
                  <a:pt x="12190" y="113523"/>
                  <a:pt x="12190" y="113523"/>
                  <a:pt x="12190" y="113523"/>
                </a:cubicBezTo>
                <a:cubicBezTo>
                  <a:pt x="12190" y="113523"/>
                  <a:pt x="12190" y="113523"/>
                  <a:pt x="12190" y="113523"/>
                </a:cubicBezTo>
                <a:cubicBezTo>
                  <a:pt x="12190" y="113523"/>
                  <a:pt x="12190" y="113523"/>
                  <a:pt x="12190" y="113523"/>
                </a:cubicBezTo>
                <a:cubicBezTo>
                  <a:pt x="12190" y="113142"/>
                  <a:pt x="12190" y="113523"/>
                  <a:pt x="12190" y="113523"/>
                </a:cubicBezTo>
                <a:cubicBezTo>
                  <a:pt x="12044" y="113142"/>
                  <a:pt x="12044" y="112952"/>
                  <a:pt x="12044" y="112952"/>
                </a:cubicBezTo>
                <a:moveTo>
                  <a:pt x="10428" y="112380"/>
                </a:moveTo>
                <a:cubicBezTo>
                  <a:pt x="10428" y="111428"/>
                  <a:pt x="9840" y="112000"/>
                  <a:pt x="9840" y="112380"/>
                </a:cubicBezTo>
                <a:cubicBezTo>
                  <a:pt x="9840" y="112380"/>
                  <a:pt x="10428" y="112571"/>
                  <a:pt x="10428" y="112380"/>
                </a:cubicBezTo>
                <a:moveTo>
                  <a:pt x="13072" y="114476"/>
                </a:moveTo>
                <a:cubicBezTo>
                  <a:pt x="13072" y="114666"/>
                  <a:pt x="13072" y="115047"/>
                  <a:pt x="13365" y="114666"/>
                </a:cubicBezTo>
                <a:cubicBezTo>
                  <a:pt x="13365" y="114476"/>
                  <a:pt x="13365" y="114476"/>
                  <a:pt x="13365" y="114476"/>
                </a:cubicBezTo>
                <a:cubicBezTo>
                  <a:pt x="13072" y="114476"/>
                  <a:pt x="12925" y="114476"/>
                  <a:pt x="13072" y="114476"/>
                </a:cubicBezTo>
                <a:moveTo>
                  <a:pt x="13512" y="115047"/>
                </a:moveTo>
                <a:cubicBezTo>
                  <a:pt x="13806" y="115047"/>
                  <a:pt x="13512" y="115238"/>
                  <a:pt x="13365" y="115047"/>
                </a:cubicBezTo>
                <a:cubicBezTo>
                  <a:pt x="13512" y="115047"/>
                  <a:pt x="13512" y="115047"/>
                  <a:pt x="13512" y="115047"/>
                </a:cubicBezTo>
                <a:moveTo>
                  <a:pt x="13072" y="113714"/>
                </a:moveTo>
                <a:cubicBezTo>
                  <a:pt x="12925" y="113714"/>
                  <a:pt x="12925" y="113714"/>
                  <a:pt x="12631" y="113714"/>
                </a:cubicBezTo>
                <a:cubicBezTo>
                  <a:pt x="12631" y="114095"/>
                  <a:pt x="12631" y="114095"/>
                  <a:pt x="12631" y="114095"/>
                </a:cubicBezTo>
                <a:cubicBezTo>
                  <a:pt x="12925" y="114095"/>
                  <a:pt x="12925" y="114095"/>
                  <a:pt x="12925" y="114095"/>
                </a:cubicBezTo>
                <a:cubicBezTo>
                  <a:pt x="13072" y="114095"/>
                  <a:pt x="13072" y="114095"/>
                  <a:pt x="13072" y="114095"/>
                </a:cubicBezTo>
                <a:cubicBezTo>
                  <a:pt x="13365" y="114095"/>
                  <a:pt x="13365" y="113714"/>
                  <a:pt x="13365" y="113714"/>
                </a:cubicBezTo>
                <a:cubicBezTo>
                  <a:pt x="13072" y="113714"/>
                  <a:pt x="13072" y="113714"/>
                  <a:pt x="13072" y="113714"/>
                </a:cubicBezTo>
                <a:cubicBezTo>
                  <a:pt x="13072" y="113714"/>
                  <a:pt x="13072" y="113714"/>
                  <a:pt x="13072" y="113714"/>
                </a:cubicBezTo>
                <a:moveTo>
                  <a:pt x="9547" y="112380"/>
                </a:moveTo>
                <a:cubicBezTo>
                  <a:pt x="9547" y="112380"/>
                  <a:pt x="9106" y="112571"/>
                  <a:pt x="9400" y="112571"/>
                </a:cubicBezTo>
                <a:cubicBezTo>
                  <a:pt x="9547" y="112380"/>
                  <a:pt x="9547" y="112380"/>
                  <a:pt x="9547" y="112380"/>
                </a:cubicBezTo>
              </a:path>
            </a:pathLst>
          </a:custGeom>
          <a:solidFill>
            <a:srgbClr val="00B050"/>
          </a:solidFill>
          <a:ln w="3175" cap="flat" cmpd="sng" algn="ctr">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26" name="Shape 1789"/>
          <p:cNvSpPr/>
          <p:nvPr/>
        </p:nvSpPr>
        <p:spPr>
          <a:xfrm>
            <a:off x="3565460" y="4848935"/>
            <a:ext cx="1048761" cy="1216493"/>
          </a:xfrm>
          <a:custGeom>
            <a:avLst/>
            <a:gdLst/>
            <a:ahLst/>
            <a:cxnLst/>
            <a:rect l="0" t="0" r="0" b="0"/>
            <a:pathLst>
              <a:path w="120000" h="120000" extrusionOk="0">
                <a:moveTo>
                  <a:pt x="63197" y="119999"/>
                </a:moveTo>
                <a:cubicBezTo>
                  <a:pt x="62445" y="117857"/>
                  <a:pt x="65454" y="118163"/>
                  <a:pt x="63573" y="116326"/>
                </a:cubicBezTo>
                <a:cubicBezTo>
                  <a:pt x="62445" y="114795"/>
                  <a:pt x="63197" y="114795"/>
                  <a:pt x="61316" y="114489"/>
                </a:cubicBezTo>
                <a:cubicBezTo>
                  <a:pt x="60188" y="113571"/>
                  <a:pt x="60940" y="113571"/>
                  <a:pt x="59059" y="112653"/>
                </a:cubicBezTo>
                <a:cubicBezTo>
                  <a:pt x="57554" y="112040"/>
                  <a:pt x="57931" y="110510"/>
                  <a:pt x="56802" y="111428"/>
                </a:cubicBezTo>
                <a:cubicBezTo>
                  <a:pt x="54921" y="112040"/>
                  <a:pt x="56426" y="110510"/>
                  <a:pt x="54545" y="109285"/>
                </a:cubicBezTo>
                <a:cubicBezTo>
                  <a:pt x="52288" y="107755"/>
                  <a:pt x="52288" y="110204"/>
                  <a:pt x="51159" y="108673"/>
                </a:cubicBezTo>
                <a:cubicBezTo>
                  <a:pt x="51536" y="108367"/>
                  <a:pt x="51536" y="107755"/>
                  <a:pt x="52664" y="107142"/>
                </a:cubicBezTo>
                <a:cubicBezTo>
                  <a:pt x="53416" y="107142"/>
                  <a:pt x="53416" y="106224"/>
                  <a:pt x="55673" y="104081"/>
                </a:cubicBezTo>
                <a:cubicBezTo>
                  <a:pt x="57554" y="101632"/>
                  <a:pt x="59811" y="100714"/>
                  <a:pt x="61316" y="99489"/>
                </a:cubicBezTo>
                <a:cubicBezTo>
                  <a:pt x="63197" y="98571"/>
                  <a:pt x="63197" y="96734"/>
                  <a:pt x="62445" y="94897"/>
                </a:cubicBezTo>
                <a:cubicBezTo>
                  <a:pt x="61316" y="92448"/>
                  <a:pt x="60940" y="94285"/>
                  <a:pt x="59811" y="93979"/>
                </a:cubicBezTo>
                <a:cubicBezTo>
                  <a:pt x="60940" y="93367"/>
                  <a:pt x="61316" y="89693"/>
                  <a:pt x="60188" y="88775"/>
                </a:cubicBezTo>
                <a:cubicBezTo>
                  <a:pt x="59811" y="88163"/>
                  <a:pt x="59059" y="89081"/>
                  <a:pt x="57931" y="89081"/>
                </a:cubicBezTo>
                <a:cubicBezTo>
                  <a:pt x="56802" y="89081"/>
                  <a:pt x="57931" y="88163"/>
                  <a:pt x="56802" y="84489"/>
                </a:cubicBezTo>
                <a:cubicBezTo>
                  <a:pt x="56426" y="83571"/>
                  <a:pt x="54545" y="82959"/>
                  <a:pt x="53793" y="83571"/>
                </a:cubicBezTo>
                <a:cubicBezTo>
                  <a:pt x="53793" y="83877"/>
                  <a:pt x="50031" y="83571"/>
                  <a:pt x="50031" y="82959"/>
                </a:cubicBezTo>
                <a:cubicBezTo>
                  <a:pt x="50407" y="82040"/>
                  <a:pt x="50031" y="82040"/>
                  <a:pt x="50407" y="80510"/>
                </a:cubicBezTo>
                <a:cubicBezTo>
                  <a:pt x="51159" y="79591"/>
                  <a:pt x="49278" y="78061"/>
                  <a:pt x="49278" y="77142"/>
                </a:cubicBezTo>
                <a:cubicBezTo>
                  <a:pt x="50407" y="76836"/>
                  <a:pt x="50407" y="76836"/>
                  <a:pt x="50031" y="75918"/>
                </a:cubicBezTo>
                <a:cubicBezTo>
                  <a:pt x="50031" y="75306"/>
                  <a:pt x="51159" y="74387"/>
                  <a:pt x="50407" y="73469"/>
                </a:cubicBezTo>
                <a:cubicBezTo>
                  <a:pt x="50407" y="72857"/>
                  <a:pt x="52664" y="69489"/>
                  <a:pt x="50031" y="68571"/>
                </a:cubicBezTo>
                <a:cubicBezTo>
                  <a:pt x="48150" y="68265"/>
                  <a:pt x="48150" y="66734"/>
                  <a:pt x="48902" y="65816"/>
                </a:cubicBezTo>
                <a:cubicBezTo>
                  <a:pt x="49278" y="64897"/>
                  <a:pt x="45893" y="65204"/>
                  <a:pt x="44388" y="65204"/>
                </a:cubicBezTo>
                <a:cubicBezTo>
                  <a:pt x="42507" y="64897"/>
                  <a:pt x="43636" y="58775"/>
                  <a:pt x="41755" y="57244"/>
                </a:cubicBezTo>
                <a:cubicBezTo>
                  <a:pt x="40250" y="55714"/>
                  <a:pt x="39498" y="57857"/>
                  <a:pt x="37993" y="56326"/>
                </a:cubicBezTo>
                <a:cubicBezTo>
                  <a:pt x="36865" y="55408"/>
                  <a:pt x="37241" y="56326"/>
                  <a:pt x="35736" y="54795"/>
                </a:cubicBezTo>
                <a:cubicBezTo>
                  <a:pt x="33479" y="53571"/>
                  <a:pt x="32351" y="54489"/>
                  <a:pt x="30094" y="52346"/>
                </a:cubicBezTo>
                <a:cubicBezTo>
                  <a:pt x="27460" y="50510"/>
                  <a:pt x="27460" y="48673"/>
                  <a:pt x="28213" y="46224"/>
                </a:cubicBezTo>
                <a:cubicBezTo>
                  <a:pt x="29341" y="44387"/>
                  <a:pt x="24827" y="45306"/>
                  <a:pt x="21818" y="47142"/>
                </a:cubicBezTo>
                <a:cubicBezTo>
                  <a:pt x="18432" y="49591"/>
                  <a:pt x="19184" y="50204"/>
                  <a:pt x="15423" y="49285"/>
                </a:cubicBezTo>
                <a:cubicBezTo>
                  <a:pt x="13918" y="48673"/>
                  <a:pt x="13918" y="49591"/>
                  <a:pt x="12789" y="49285"/>
                </a:cubicBezTo>
                <a:cubicBezTo>
                  <a:pt x="11661" y="49285"/>
                  <a:pt x="12789" y="43775"/>
                  <a:pt x="11661" y="45306"/>
                </a:cubicBezTo>
                <a:cubicBezTo>
                  <a:pt x="10909" y="46224"/>
                  <a:pt x="7147" y="47755"/>
                  <a:pt x="7523" y="45306"/>
                </a:cubicBezTo>
                <a:cubicBezTo>
                  <a:pt x="7523" y="43469"/>
                  <a:pt x="4137" y="45306"/>
                  <a:pt x="4890" y="43775"/>
                </a:cubicBezTo>
                <a:cubicBezTo>
                  <a:pt x="5266" y="42551"/>
                  <a:pt x="0" y="38571"/>
                  <a:pt x="3761" y="36122"/>
                </a:cubicBezTo>
                <a:cubicBezTo>
                  <a:pt x="6018" y="35204"/>
                  <a:pt x="4890" y="33061"/>
                  <a:pt x="6394" y="30918"/>
                </a:cubicBezTo>
                <a:cubicBezTo>
                  <a:pt x="8652" y="29693"/>
                  <a:pt x="9404" y="29999"/>
                  <a:pt x="11661" y="28775"/>
                </a:cubicBezTo>
                <a:cubicBezTo>
                  <a:pt x="13918" y="27551"/>
                  <a:pt x="12789" y="29693"/>
                  <a:pt x="14294" y="28775"/>
                </a:cubicBezTo>
                <a:cubicBezTo>
                  <a:pt x="14294" y="28163"/>
                  <a:pt x="15047" y="23265"/>
                  <a:pt x="15423" y="21428"/>
                </a:cubicBezTo>
                <a:cubicBezTo>
                  <a:pt x="16175" y="18979"/>
                  <a:pt x="15047" y="18979"/>
                  <a:pt x="15423" y="18061"/>
                </a:cubicBezTo>
                <a:cubicBezTo>
                  <a:pt x="15423" y="17142"/>
                  <a:pt x="14294" y="18673"/>
                  <a:pt x="13918" y="14693"/>
                </a:cubicBezTo>
                <a:cubicBezTo>
                  <a:pt x="13918" y="13775"/>
                  <a:pt x="15047" y="14387"/>
                  <a:pt x="15423" y="13775"/>
                </a:cubicBezTo>
                <a:cubicBezTo>
                  <a:pt x="15423" y="13775"/>
                  <a:pt x="16175" y="14387"/>
                  <a:pt x="16927" y="14387"/>
                </a:cubicBezTo>
                <a:cubicBezTo>
                  <a:pt x="16927" y="14693"/>
                  <a:pt x="16927" y="12857"/>
                  <a:pt x="16175" y="12857"/>
                </a:cubicBezTo>
                <a:cubicBezTo>
                  <a:pt x="15047" y="12857"/>
                  <a:pt x="14294" y="12857"/>
                  <a:pt x="14294" y="12857"/>
                </a:cubicBezTo>
                <a:cubicBezTo>
                  <a:pt x="14294" y="11020"/>
                  <a:pt x="14294" y="11020"/>
                  <a:pt x="14294" y="11020"/>
                </a:cubicBezTo>
                <a:cubicBezTo>
                  <a:pt x="19561" y="11020"/>
                  <a:pt x="19561" y="11020"/>
                  <a:pt x="19561" y="11020"/>
                </a:cubicBezTo>
                <a:cubicBezTo>
                  <a:pt x="19184" y="10408"/>
                  <a:pt x="19184" y="9489"/>
                  <a:pt x="20313" y="10408"/>
                </a:cubicBezTo>
                <a:cubicBezTo>
                  <a:pt x="20689" y="11632"/>
                  <a:pt x="21442" y="9489"/>
                  <a:pt x="21818" y="9489"/>
                </a:cubicBezTo>
                <a:cubicBezTo>
                  <a:pt x="23699" y="11632"/>
                  <a:pt x="21818" y="12857"/>
                  <a:pt x="23699" y="12551"/>
                </a:cubicBezTo>
                <a:cubicBezTo>
                  <a:pt x="24827" y="14387"/>
                  <a:pt x="25956" y="13469"/>
                  <a:pt x="27084" y="13775"/>
                </a:cubicBezTo>
                <a:cubicBezTo>
                  <a:pt x="28589" y="14387"/>
                  <a:pt x="28213" y="12551"/>
                  <a:pt x="30470" y="11938"/>
                </a:cubicBezTo>
                <a:cubicBezTo>
                  <a:pt x="32727" y="11938"/>
                  <a:pt x="31222" y="10408"/>
                  <a:pt x="32727" y="10102"/>
                </a:cubicBezTo>
                <a:cubicBezTo>
                  <a:pt x="34608" y="9183"/>
                  <a:pt x="33855" y="8265"/>
                  <a:pt x="32727" y="8571"/>
                </a:cubicBezTo>
                <a:cubicBezTo>
                  <a:pt x="31598" y="9183"/>
                  <a:pt x="31598" y="5816"/>
                  <a:pt x="30470" y="4285"/>
                </a:cubicBezTo>
                <a:cubicBezTo>
                  <a:pt x="29341" y="3061"/>
                  <a:pt x="32351" y="3979"/>
                  <a:pt x="34608" y="4897"/>
                </a:cubicBezTo>
                <a:cubicBezTo>
                  <a:pt x="37241" y="6122"/>
                  <a:pt x="34984" y="3367"/>
                  <a:pt x="36865" y="3979"/>
                </a:cubicBezTo>
                <a:cubicBezTo>
                  <a:pt x="38369" y="3979"/>
                  <a:pt x="42507" y="2448"/>
                  <a:pt x="41755" y="612"/>
                </a:cubicBezTo>
                <a:cubicBezTo>
                  <a:pt x="41755" y="612"/>
                  <a:pt x="42507" y="612"/>
                  <a:pt x="43260" y="612"/>
                </a:cubicBezTo>
                <a:cubicBezTo>
                  <a:pt x="43636" y="0"/>
                  <a:pt x="44388" y="918"/>
                  <a:pt x="43636" y="1836"/>
                </a:cubicBezTo>
                <a:cubicBezTo>
                  <a:pt x="43260" y="3367"/>
                  <a:pt x="45893" y="3061"/>
                  <a:pt x="44764" y="4897"/>
                </a:cubicBezTo>
                <a:cubicBezTo>
                  <a:pt x="44764" y="5816"/>
                  <a:pt x="44764" y="5816"/>
                  <a:pt x="44388" y="7653"/>
                </a:cubicBezTo>
                <a:cubicBezTo>
                  <a:pt x="43636" y="9489"/>
                  <a:pt x="44764" y="8571"/>
                  <a:pt x="44764" y="10102"/>
                </a:cubicBezTo>
                <a:cubicBezTo>
                  <a:pt x="44764" y="11632"/>
                  <a:pt x="47021" y="12857"/>
                  <a:pt x="47774" y="12551"/>
                </a:cubicBezTo>
                <a:cubicBezTo>
                  <a:pt x="48902" y="11938"/>
                  <a:pt x="48150" y="11632"/>
                  <a:pt x="49278" y="11632"/>
                </a:cubicBezTo>
                <a:cubicBezTo>
                  <a:pt x="50407" y="11938"/>
                  <a:pt x="51159" y="10408"/>
                  <a:pt x="52288" y="10102"/>
                </a:cubicBezTo>
                <a:cubicBezTo>
                  <a:pt x="53416" y="10102"/>
                  <a:pt x="52664" y="10408"/>
                  <a:pt x="54545" y="10408"/>
                </a:cubicBezTo>
                <a:cubicBezTo>
                  <a:pt x="54921" y="10102"/>
                  <a:pt x="56802" y="11632"/>
                  <a:pt x="56426" y="10102"/>
                </a:cubicBezTo>
                <a:cubicBezTo>
                  <a:pt x="55673" y="9183"/>
                  <a:pt x="55673" y="8571"/>
                  <a:pt x="56802" y="9183"/>
                </a:cubicBezTo>
                <a:cubicBezTo>
                  <a:pt x="57554" y="9489"/>
                  <a:pt x="59059" y="7653"/>
                  <a:pt x="59059" y="8571"/>
                </a:cubicBezTo>
                <a:cubicBezTo>
                  <a:pt x="59059" y="9183"/>
                  <a:pt x="59811" y="8571"/>
                  <a:pt x="60188" y="9183"/>
                </a:cubicBezTo>
                <a:cubicBezTo>
                  <a:pt x="60940" y="10102"/>
                  <a:pt x="61316" y="10102"/>
                  <a:pt x="62068" y="9489"/>
                </a:cubicBezTo>
                <a:cubicBezTo>
                  <a:pt x="62445" y="8571"/>
                  <a:pt x="62445" y="10102"/>
                  <a:pt x="63573" y="9183"/>
                </a:cubicBezTo>
                <a:cubicBezTo>
                  <a:pt x="64326" y="8571"/>
                  <a:pt x="63573" y="9489"/>
                  <a:pt x="64702" y="9489"/>
                </a:cubicBezTo>
                <a:cubicBezTo>
                  <a:pt x="65830" y="9489"/>
                  <a:pt x="66583" y="7346"/>
                  <a:pt x="67335" y="6122"/>
                </a:cubicBezTo>
                <a:cubicBezTo>
                  <a:pt x="68463" y="4897"/>
                  <a:pt x="68463" y="4897"/>
                  <a:pt x="68840" y="4285"/>
                </a:cubicBezTo>
                <a:cubicBezTo>
                  <a:pt x="69592" y="3367"/>
                  <a:pt x="68840" y="3367"/>
                  <a:pt x="69592" y="3061"/>
                </a:cubicBezTo>
                <a:cubicBezTo>
                  <a:pt x="69592" y="3061"/>
                  <a:pt x="69968" y="3979"/>
                  <a:pt x="69968" y="4285"/>
                </a:cubicBezTo>
                <a:cubicBezTo>
                  <a:pt x="70721" y="4897"/>
                  <a:pt x="70721" y="4285"/>
                  <a:pt x="70721" y="4897"/>
                </a:cubicBezTo>
                <a:cubicBezTo>
                  <a:pt x="70721" y="5816"/>
                  <a:pt x="70721" y="7346"/>
                  <a:pt x="71097" y="7653"/>
                </a:cubicBezTo>
                <a:cubicBezTo>
                  <a:pt x="71097" y="7653"/>
                  <a:pt x="71097" y="8265"/>
                  <a:pt x="71097" y="8571"/>
                </a:cubicBezTo>
                <a:cubicBezTo>
                  <a:pt x="71097" y="9183"/>
                  <a:pt x="71849" y="9183"/>
                  <a:pt x="71849" y="9489"/>
                </a:cubicBezTo>
                <a:cubicBezTo>
                  <a:pt x="71849" y="10102"/>
                  <a:pt x="71849" y="9489"/>
                  <a:pt x="72225" y="10102"/>
                </a:cubicBezTo>
                <a:cubicBezTo>
                  <a:pt x="72225" y="10408"/>
                  <a:pt x="72225" y="11020"/>
                  <a:pt x="72978" y="11020"/>
                </a:cubicBezTo>
                <a:cubicBezTo>
                  <a:pt x="74106" y="10408"/>
                  <a:pt x="74482" y="12857"/>
                  <a:pt x="74106" y="13469"/>
                </a:cubicBezTo>
                <a:cubicBezTo>
                  <a:pt x="72225" y="13469"/>
                  <a:pt x="72225" y="15918"/>
                  <a:pt x="70721" y="16224"/>
                </a:cubicBezTo>
                <a:cubicBezTo>
                  <a:pt x="68840" y="16836"/>
                  <a:pt x="69968" y="17142"/>
                  <a:pt x="69592" y="18061"/>
                </a:cubicBezTo>
                <a:cubicBezTo>
                  <a:pt x="68463" y="18979"/>
                  <a:pt x="71097" y="17142"/>
                  <a:pt x="70721" y="18979"/>
                </a:cubicBezTo>
                <a:cubicBezTo>
                  <a:pt x="69592" y="20510"/>
                  <a:pt x="71097" y="18061"/>
                  <a:pt x="71849" y="19591"/>
                </a:cubicBezTo>
                <a:cubicBezTo>
                  <a:pt x="71849" y="21122"/>
                  <a:pt x="70721" y="16224"/>
                  <a:pt x="73354" y="16836"/>
                </a:cubicBezTo>
                <a:cubicBezTo>
                  <a:pt x="76363" y="17142"/>
                  <a:pt x="75235" y="16224"/>
                  <a:pt x="77492" y="16836"/>
                </a:cubicBezTo>
                <a:cubicBezTo>
                  <a:pt x="80501" y="17755"/>
                  <a:pt x="76739" y="18979"/>
                  <a:pt x="77492" y="20510"/>
                </a:cubicBezTo>
                <a:cubicBezTo>
                  <a:pt x="77868" y="21428"/>
                  <a:pt x="78620" y="18061"/>
                  <a:pt x="81630" y="18061"/>
                </a:cubicBezTo>
                <a:cubicBezTo>
                  <a:pt x="83887" y="18061"/>
                  <a:pt x="83887" y="18979"/>
                  <a:pt x="85015" y="18979"/>
                </a:cubicBezTo>
                <a:cubicBezTo>
                  <a:pt x="86144" y="18979"/>
                  <a:pt x="86144" y="20204"/>
                  <a:pt x="88401" y="20510"/>
                </a:cubicBezTo>
                <a:cubicBezTo>
                  <a:pt x="90658" y="21122"/>
                  <a:pt x="89529" y="21428"/>
                  <a:pt x="90658" y="22346"/>
                </a:cubicBezTo>
                <a:cubicBezTo>
                  <a:pt x="91034" y="22959"/>
                  <a:pt x="89529" y="24795"/>
                  <a:pt x="89905" y="25408"/>
                </a:cubicBezTo>
                <a:cubicBezTo>
                  <a:pt x="90658" y="25714"/>
                  <a:pt x="92163" y="22959"/>
                  <a:pt x="94043" y="23265"/>
                </a:cubicBezTo>
                <a:cubicBezTo>
                  <a:pt x="95924" y="23877"/>
                  <a:pt x="98181" y="24795"/>
                  <a:pt x="101567" y="24489"/>
                </a:cubicBezTo>
                <a:cubicBezTo>
                  <a:pt x="104200" y="23877"/>
                  <a:pt x="105705" y="25408"/>
                  <a:pt x="107962" y="26632"/>
                </a:cubicBezTo>
                <a:cubicBezTo>
                  <a:pt x="110219" y="28775"/>
                  <a:pt x="108338" y="28775"/>
                  <a:pt x="111724" y="30612"/>
                </a:cubicBezTo>
                <a:cubicBezTo>
                  <a:pt x="115109" y="32448"/>
                  <a:pt x="115109" y="30612"/>
                  <a:pt x="116990" y="31836"/>
                </a:cubicBezTo>
                <a:cubicBezTo>
                  <a:pt x="118871" y="33061"/>
                  <a:pt x="118871" y="34897"/>
                  <a:pt x="119247" y="37653"/>
                </a:cubicBezTo>
                <a:cubicBezTo>
                  <a:pt x="120000" y="40714"/>
                  <a:pt x="118871" y="41938"/>
                  <a:pt x="115862" y="45306"/>
                </a:cubicBezTo>
                <a:cubicBezTo>
                  <a:pt x="113605" y="49285"/>
                  <a:pt x="112852" y="47755"/>
                  <a:pt x="111347" y="51428"/>
                </a:cubicBezTo>
                <a:cubicBezTo>
                  <a:pt x="109467" y="54795"/>
                  <a:pt x="109090" y="56326"/>
                  <a:pt x="107962" y="54489"/>
                </a:cubicBezTo>
                <a:cubicBezTo>
                  <a:pt x="106833" y="52346"/>
                  <a:pt x="106833" y="58775"/>
                  <a:pt x="106833" y="60612"/>
                </a:cubicBezTo>
                <a:cubicBezTo>
                  <a:pt x="106081" y="62448"/>
                  <a:pt x="107962" y="63061"/>
                  <a:pt x="106833" y="65204"/>
                </a:cubicBezTo>
                <a:cubicBezTo>
                  <a:pt x="105705" y="67653"/>
                  <a:pt x="106833" y="70102"/>
                  <a:pt x="105705" y="71020"/>
                </a:cubicBezTo>
                <a:cubicBezTo>
                  <a:pt x="103824" y="71632"/>
                  <a:pt x="105705" y="73469"/>
                  <a:pt x="103824" y="76224"/>
                </a:cubicBezTo>
                <a:cubicBezTo>
                  <a:pt x="101943" y="79285"/>
                  <a:pt x="99686" y="80204"/>
                  <a:pt x="100815" y="82040"/>
                </a:cubicBezTo>
                <a:cubicBezTo>
                  <a:pt x="101567" y="83571"/>
                  <a:pt x="97429" y="84489"/>
                  <a:pt x="98181" y="85408"/>
                </a:cubicBezTo>
                <a:cubicBezTo>
                  <a:pt x="98557" y="86326"/>
                  <a:pt x="96300" y="85714"/>
                  <a:pt x="94043" y="86326"/>
                </a:cubicBezTo>
                <a:cubicBezTo>
                  <a:pt x="91034" y="86632"/>
                  <a:pt x="92915" y="85714"/>
                  <a:pt x="90658" y="86326"/>
                </a:cubicBezTo>
                <a:cubicBezTo>
                  <a:pt x="88777" y="86632"/>
                  <a:pt x="89529" y="88163"/>
                  <a:pt x="83887" y="89999"/>
                </a:cubicBezTo>
                <a:cubicBezTo>
                  <a:pt x="82006" y="90612"/>
                  <a:pt x="78620" y="93061"/>
                  <a:pt x="78620" y="95204"/>
                </a:cubicBezTo>
                <a:cubicBezTo>
                  <a:pt x="77868" y="98265"/>
                  <a:pt x="78996" y="100714"/>
                  <a:pt x="77868" y="102857"/>
                </a:cubicBezTo>
                <a:cubicBezTo>
                  <a:pt x="76363" y="104999"/>
                  <a:pt x="76363" y="103469"/>
                  <a:pt x="74482" y="106836"/>
                </a:cubicBezTo>
                <a:cubicBezTo>
                  <a:pt x="72978" y="109591"/>
                  <a:pt x="72225" y="112040"/>
                  <a:pt x="69968" y="113571"/>
                </a:cubicBezTo>
                <a:cubicBezTo>
                  <a:pt x="67335" y="115408"/>
                  <a:pt x="67335" y="115408"/>
                  <a:pt x="65830" y="117857"/>
                </a:cubicBezTo>
                <a:cubicBezTo>
                  <a:pt x="65830" y="119081"/>
                  <a:pt x="64326" y="118775"/>
                  <a:pt x="63197" y="119999"/>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27" name="Shape 1790"/>
          <p:cNvSpPr/>
          <p:nvPr/>
        </p:nvSpPr>
        <p:spPr>
          <a:xfrm>
            <a:off x="4200816" y="4944973"/>
            <a:ext cx="8471" cy="9601"/>
          </a:xfrm>
          <a:custGeom>
            <a:avLst/>
            <a:gdLst/>
            <a:ahLst/>
            <a:cxnLst/>
            <a:rect l="0" t="0" r="0" b="0"/>
            <a:pathLst>
              <a:path w="120000" h="120000" extrusionOk="0">
                <a:moveTo>
                  <a:pt x="0" y="0"/>
                </a:moveTo>
                <a:cubicBezTo>
                  <a:pt x="40000" y="0"/>
                  <a:pt x="120000" y="120000"/>
                  <a:pt x="40000" y="120000"/>
                </a:cubicBezTo>
                <a:cubicBezTo>
                  <a:pt x="40000" y="120000"/>
                  <a:pt x="0" y="80000"/>
                  <a:pt x="0"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28" name="Shape 1791"/>
          <p:cNvSpPr/>
          <p:nvPr/>
        </p:nvSpPr>
        <p:spPr>
          <a:xfrm>
            <a:off x="4200814" y="4991394"/>
            <a:ext cx="11859" cy="12806"/>
          </a:xfrm>
          <a:custGeom>
            <a:avLst/>
            <a:gdLst/>
            <a:ahLst/>
            <a:cxnLst/>
            <a:rect l="0" t="0" r="0" b="0"/>
            <a:pathLst>
              <a:path w="120000" h="120000" extrusionOk="0">
                <a:moveTo>
                  <a:pt x="90000" y="30000"/>
                </a:moveTo>
                <a:cubicBezTo>
                  <a:pt x="120000" y="0"/>
                  <a:pt x="90000" y="90000"/>
                  <a:pt x="90000" y="120000"/>
                </a:cubicBezTo>
                <a:cubicBezTo>
                  <a:pt x="30000" y="120000"/>
                  <a:pt x="0" y="90000"/>
                  <a:pt x="90000" y="3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29" name="Shape 1792"/>
          <p:cNvSpPr/>
          <p:nvPr/>
        </p:nvSpPr>
        <p:spPr>
          <a:xfrm>
            <a:off x="4194042" y="4994594"/>
            <a:ext cx="8471" cy="14402"/>
          </a:xfrm>
          <a:custGeom>
            <a:avLst/>
            <a:gdLst/>
            <a:ahLst/>
            <a:cxnLst/>
            <a:rect l="0" t="0" r="0" b="0"/>
            <a:pathLst>
              <a:path w="120000" h="120000" extrusionOk="0">
                <a:moveTo>
                  <a:pt x="120000" y="120000"/>
                </a:moveTo>
                <a:cubicBezTo>
                  <a:pt x="0" y="120000"/>
                  <a:pt x="80000" y="72000"/>
                  <a:pt x="80000" y="48000"/>
                </a:cubicBezTo>
                <a:cubicBezTo>
                  <a:pt x="80000" y="48000"/>
                  <a:pt x="80000" y="0"/>
                  <a:pt x="120000" y="48000"/>
                </a:cubicBezTo>
                <a:cubicBezTo>
                  <a:pt x="120000" y="72000"/>
                  <a:pt x="120000" y="120000"/>
                  <a:pt x="12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30" name="Shape 1793"/>
          <p:cNvSpPr/>
          <p:nvPr/>
        </p:nvSpPr>
        <p:spPr>
          <a:xfrm>
            <a:off x="4173707" y="5018602"/>
            <a:ext cx="10166" cy="9601"/>
          </a:xfrm>
          <a:custGeom>
            <a:avLst/>
            <a:gdLst/>
            <a:ahLst/>
            <a:cxnLst/>
            <a:rect l="0" t="0" r="0" b="0"/>
            <a:pathLst>
              <a:path w="120000" h="120000" extrusionOk="0">
                <a:moveTo>
                  <a:pt x="80000" y="120000"/>
                </a:moveTo>
                <a:cubicBezTo>
                  <a:pt x="0" y="120000"/>
                  <a:pt x="80000" y="0"/>
                  <a:pt x="80000" y="0"/>
                </a:cubicBezTo>
                <a:cubicBezTo>
                  <a:pt x="120000" y="0"/>
                  <a:pt x="80000" y="120000"/>
                  <a:pt x="8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31" name="Shape 1794"/>
          <p:cNvSpPr/>
          <p:nvPr/>
        </p:nvSpPr>
        <p:spPr>
          <a:xfrm>
            <a:off x="4180485" y="5028204"/>
            <a:ext cx="10166" cy="9601"/>
          </a:xfrm>
          <a:custGeom>
            <a:avLst/>
            <a:gdLst/>
            <a:ahLst/>
            <a:cxnLst/>
            <a:rect l="0" t="0" r="0" b="0"/>
            <a:pathLst>
              <a:path w="120000" h="120000" extrusionOk="0">
                <a:moveTo>
                  <a:pt x="40000" y="120000"/>
                </a:moveTo>
                <a:cubicBezTo>
                  <a:pt x="0" y="120000"/>
                  <a:pt x="120000" y="0"/>
                  <a:pt x="120000" y="40000"/>
                </a:cubicBezTo>
                <a:cubicBezTo>
                  <a:pt x="120000" y="40000"/>
                  <a:pt x="120000" y="120000"/>
                  <a:pt x="4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32" name="Shape 1795"/>
          <p:cNvSpPr/>
          <p:nvPr/>
        </p:nvSpPr>
        <p:spPr>
          <a:xfrm>
            <a:off x="4180485" y="5021807"/>
            <a:ext cx="10166" cy="6400"/>
          </a:xfrm>
          <a:custGeom>
            <a:avLst/>
            <a:gdLst/>
            <a:ahLst/>
            <a:cxnLst/>
            <a:rect l="0" t="0" r="0" b="0"/>
            <a:pathLst>
              <a:path w="120000" h="120000" extrusionOk="0">
                <a:moveTo>
                  <a:pt x="40000" y="120000"/>
                </a:moveTo>
                <a:cubicBezTo>
                  <a:pt x="0" y="120000"/>
                  <a:pt x="40000" y="0"/>
                  <a:pt x="120000" y="0"/>
                </a:cubicBezTo>
                <a:cubicBezTo>
                  <a:pt x="40000" y="120000"/>
                  <a:pt x="40000" y="120000"/>
                  <a:pt x="4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33" name="Shape 1796"/>
          <p:cNvSpPr/>
          <p:nvPr/>
        </p:nvSpPr>
        <p:spPr>
          <a:xfrm>
            <a:off x="4202511" y="4984989"/>
            <a:ext cx="10166" cy="9601"/>
          </a:xfrm>
          <a:custGeom>
            <a:avLst/>
            <a:gdLst/>
            <a:ahLst/>
            <a:cxnLst/>
            <a:rect l="0" t="0" r="0" b="0"/>
            <a:pathLst>
              <a:path w="120000" h="120000" extrusionOk="0">
                <a:moveTo>
                  <a:pt x="0" y="80000"/>
                </a:moveTo>
                <a:cubicBezTo>
                  <a:pt x="0" y="80000"/>
                  <a:pt x="80000" y="0"/>
                  <a:pt x="120000" y="80000"/>
                </a:cubicBezTo>
                <a:cubicBezTo>
                  <a:pt x="120000" y="80000"/>
                  <a:pt x="0" y="120000"/>
                  <a:pt x="0" y="8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34" name="Shape 1797"/>
          <p:cNvSpPr/>
          <p:nvPr/>
        </p:nvSpPr>
        <p:spPr>
          <a:xfrm>
            <a:off x="3345202" y="4717682"/>
            <a:ext cx="160957" cy="78431"/>
          </a:xfrm>
          <a:custGeom>
            <a:avLst/>
            <a:gdLst/>
            <a:ahLst/>
            <a:cxnLst/>
            <a:rect l="0" t="0" r="0" b="0"/>
            <a:pathLst>
              <a:path w="120000" h="120000" extrusionOk="0">
                <a:moveTo>
                  <a:pt x="112653" y="48000"/>
                </a:moveTo>
                <a:cubicBezTo>
                  <a:pt x="105306" y="28800"/>
                  <a:pt x="97959" y="9600"/>
                  <a:pt x="88163" y="9600"/>
                </a:cubicBezTo>
                <a:cubicBezTo>
                  <a:pt x="75918" y="14400"/>
                  <a:pt x="88163" y="9600"/>
                  <a:pt x="75918" y="0"/>
                </a:cubicBezTo>
                <a:cubicBezTo>
                  <a:pt x="63673" y="0"/>
                  <a:pt x="71020" y="9600"/>
                  <a:pt x="61224" y="14400"/>
                </a:cubicBezTo>
                <a:cubicBezTo>
                  <a:pt x="39183" y="38400"/>
                  <a:pt x="56326" y="28800"/>
                  <a:pt x="39183" y="48000"/>
                </a:cubicBezTo>
                <a:cubicBezTo>
                  <a:pt x="34285" y="48000"/>
                  <a:pt x="31836" y="38400"/>
                  <a:pt x="31836" y="28800"/>
                </a:cubicBezTo>
                <a:cubicBezTo>
                  <a:pt x="26938" y="24000"/>
                  <a:pt x="26938" y="28800"/>
                  <a:pt x="26938" y="24000"/>
                </a:cubicBezTo>
                <a:cubicBezTo>
                  <a:pt x="26938" y="24000"/>
                  <a:pt x="24489" y="24000"/>
                  <a:pt x="24489" y="28800"/>
                </a:cubicBezTo>
                <a:cubicBezTo>
                  <a:pt x="24489" y="38400"/>
                  <a:pt x="19591" y="28800"/>
                  <a:pt x="19591" y="28800"/>
                </a:cubicBezTo>
                <a:cubicBezTo>
                  <a:pt x="19591" y="24000"/>
                  <a:pt x="19591" y="24000"/>
                  <a:pt x="19591" y="24000"/>
                </a:cubicBezTo>
                <a:cubicBezTo>
                  <a:pt x="19591" y="14400"/>
                  <a:pt x="17142" y="24000"/>
                  <a:pt x="17142" y="14400"/>
                </a:cubicBezTo>
                <a:cubicBezTo>
                  <a:pt x="17142" y="9600"/>
                  <a:pt x="17142" y="9600"/>
                  <a:pt x="12244" y="9600"/>
                </a:cubicBezTo>
                <a:cubicBezTo>
                  <a:pt x="9795" y="9600"/>
                  <a:pt x="9795" y="0"/>
                  <a:pt x="9795" y="0"/>
                </a:cubicBezTo>
                <a:cubicBezTo>
                  <a:pt x="4897" y="0"/>
                  <a:pt x="4897" y="14400"/>
                  <a:pt x="4897" y="28800"/>
                </a:cubicBezTo>
                <a:cubicBezTo>
                  <a:pt x="4897" y="28800"/>
                  <a:pt x="12244" y="28800"/>
                  <a:pt x="9795" y="38400"/>
                </a:cubicBezTo>
                <a:cubicBezTo>
                  <a:pt x="4897" y="48000"/>
                  <a:pt x="9795" y="48000"/>
                  <a:pt x="4897" y="52800"/>
                </a:cubicBezTo>
                <a:cubicBezTo>
                  <a:pt x="4897" y="62400"/>
                  <a:pt x="0" y="62400"/>
                  <a:pt x="4897" y="76800"/>
                </a:cubicBezTo>
                <a:cubicBezTo>
                  <a:pt x="4897" y="67200"/>
                  <a:pt x="9795" y="62400"/>
                  <a:pt x="9795" y="67200"/>
                </a:cubicBezTo>
                <a:cubicBezTo>
                  <a:pt x="19591" y="67200"/>
                  <a:pt x="26938" y="76800"/>
                  <a:pt x="26938" y="76800"/>
                </a:cubicBezTo>
                <a:cubicBezTo>
                  <a:pt x="31836" y="67200"/>
                  <a:pt x="26938" y="76800"/>
                  <a:pt x="31836" y="81600"/>
                </a:cubicBezTo>
                <a:cubicBezTo>
                  <a:pt x="31836" y="81600"/>
                  <a:pt x="31836" y="91200"/>
                  <a:pt x="34285" y="91200"/>
                </a:cubicBezTo>
                <a:cubicBezTo>
                  <a:pt x="39183" y="96000"/>
                  <a:pt x="39183" y="96000"/>
                  <a:pt x="39183" y="91200"/>
                </a:cubicBezTo>
                <a:cubicBezTo>
                  <a:pt x="39183" y="81600"/>
                  <a:pt x="41632" y="81600"/>
                  <a:pt x="41632" y="91200"/>
                </a:cubicBezTo>
                <a:cubicBezTo>
                  <a:pt x="41632" y="91200"/>
                  <a:pt x="46530" y="105600"/>
                  <a:pt x="46530" y="115200"/>
                </a:cubicBezTo>
                <a:cubicBezTo>
                  <a:pt x="41632" y="120000"/>
                  <a:pt x="48979" y="115200"/>
                  <a:pt x="53877" y="115200"/>
                </a:cubicBezTo>
                <a:cubicBezTo>
                  <a:pt x="56326" y="115200"/>
                  <a:pt x="53877" y="105600"/>
                  <a:pt x="56326" y="105600"/>
                </a:cubicBezTo>
                <a:cubicBezTo>
                  <a:pt x="61224" y="105600"/>
                  <a:pt x="63673" y="105600"/>
                  <a:pt x="61224" y="91200"/>
                </a:cubicBezTo>
                <a:cubicBezTo>
                  <a:pt x="53877" y="76800"/>
                  <a:pt x="56326" y="76800"/>
                  <a:pt x="53877" y="76800"/>
                </a:cubicBezTo>
                <a:cubicBezTo>
                  <a:pt x="53877" y="76800"/>
                  <a:pt x="48979" y="67200"/>
                  <a:pt x="53877" y="67200"/>
                </a:cubicBezTo>
                <a:cubicBezTo>
                  <a:pt x="63673" y="62400"/>
                  <a:pt x="63673" y="52800"/>
                  <a:pt x="68571" y="48000"/>
                </a:cubicBezTo>
                <a:cubicBezTo>
                  <a:pt x="68571" y="48000"/>
                  <a:pt x="63673" y="38400"/>
                  <a:pt x="68571" y="38400"/>
                </a:cubicBezTo>
                <a:cubicBezTo>
                  <a:pt x="71020" y="38400"/>
                  <a:pt x="71020" y="28800"/>
                  <a:pt x="75918" y="28800"/>
                </a:cubicBezTo>
                <a:cubicBezTo>
                  <a:pt x="83265" y="28800"/>
                  <a:pt x="90612" y="48000"/>
                  <a:pt x="90612" y="52800"/>
                </a:cubicBezTo>
                <a:cubicBezTo>
                  <a:pt x="90612" y="52800"/>
                  <a:pt x="90612" y="62400"/>
                  <a:pt x="95510" y="62400"/>
                </a:cubicBezTo>
                <a:cubicBezTo>
                  <a:pt x="95510" y="52800"/>
                  <a:pt x="95510" y="62400"/>
                  <a:pt x="97959" y="62400"/>
                </a:cubicBezTo>
                <a:cubicBezTo>
                  <a:pt x="97959" y="52800"/>
                  <a:pt x="90612" y="76800"/>
                  <a:pt x="95510" y="81600"/>
                </a:cubicBezTo>
                <a:cubicBezTo>
                  <a:pt x="97959" y="91200"/>
                  <a:pt x="97959" y="105600"/>
                  <a:pt x="102857" y="115200"/>
                </a:cubicBezTo>
                <a:cubicBezTo>
                  <a:pt x="105306" y="96000"/>
                  <a:pt x="102857" y="105600"/>
                  <a:pt x="105306" y="91200"/>
                </a:cubicBezTo>
                <a:cubicBezTo>
                  <a:pt x="105306" y="91200"/>
                  <a:pt x="110204" y="105600"/>
                  <a:pt x="112653" y="96000"/>
                </a:cubicBezTo>
                <a:cubicBezTo>
                  <a:pt x="117551" y="91200"/>
                  <a:pt x="112653" y="81600"/>
                  <a:pt x="117551" y="81600"/>
                </a:cubicBezTo>
                <a:cubicBezTo>
                  <a:pt x="119999" y="81600"/>
                  <a:pt x="110204" y="62400"/>
                  <a:pt x="112653" y="48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35" name="Shape 1798"/>
          <p:cNvSpPr/>
          <p:nvPr/>
        </p:nvSpPr>
        <p:spPr>
          <a:xfrm>
            <a:off x="3382479" y="4776905"/>
            <a:ext cx="8471" cy="16008"/>
          </a:xfrm>
          <a:custGeom>
            <a:avLst/>
            <a:gdLst/>
            <a:ahLst/>
            <a:cxnLst/>
            <a:rect l="0" t="0" r="0" b="0"/>
            <a:pathLst>
              <a:path w="120000" h="120000" extrusionOk="0">
                <a:moveTo>
                  <a:pt x="80000" y="72000"/>
                </a:moveTo>
                <a:cubicBezTo>
                  <a:pt x="0" y="72000"/>
                  <a:pt x="0" y="48000"/>
                  <a:pt x="0" y="48000"/>
                </a:cubicBezTo>
                <a:cubicBezTo>
                  <a:pt x="80000" y="0"/>
                  <a:pt x="80000" y="48000"/>
                  <a:pt x="80000" y="72000"/>
                </a:cubicBezTo>
                <a:cubicBezTo>
                  <a:pt x="120000" y="72000"/>
                  <a:pt x="120000" y="120000"/>
                  <a:pt x="80000" y="72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36" name="Shape 1799"/>
          <p:cNvSpPr/>
          <p:nvPr/>
        </p:nvSpPr>
        <p:spPr>
          <a:xfrm>
            <a:off x="3457028" y="4751293"/>
            <a:ext cx="6774" cy="9601"/>
          </a:xfrm>
          <a:custGeom>
            <a:avLst/>
            <a:gdLst/>
            <a:ahLst/>
            <a:cxnLst/>
            <a:rect l="0" t="0" r="0" b="0"/>
            <a:pathLst>
              <a:path w="120000" h="120000" extrusionOk="0">
                <a:moveTo>
                  <a:pt x="0" y="120000"/>
                </a:moveTo>
                <a:cubicBezTo>
                  <a:pt x="0" y="80000"/>
                  <a:pt x="0" y="0"/>
                  <a:pt x="120000" y="0"/>
                </a:cubicBezTo>
                <a:cubicBezTo>
                  <a:pt x="120000" y="80000"/>
                  <a:pt x="120000" y="120000"/>
                  <a:pt x="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37" name="Shape 1800"/>
          <p:cNvSpPr/>
          <p:nvPr/>
        </p:nvSpPr>
        <p:spPr>
          <a:xfrm>
            <a:off x="6104052" y="3307807"/>
            <a:ext cx="475882" cy="301835"/>
          </a:xfrm>
          <a:custGeom>
            <a:avLst/>
            <a:gdLst/>
            <a:ahLst/>
            <a:cxnLst/>
            <a:rect l="0" t="0" r="0" b="0"/>
            <a:pathLst>
              <a:path w="120000" h="120000" extrusionOk="0">
                <a:moveTo>
                  <a:pt x="10000" y="15918"/>
                </a:moveTo>
                <a:cubicBezTo>
                  <a:pt x="11666" y="19591"/>
                  <a:pt x="9166" y="17142"/>
                  <a:pt x="11666" y="23265"/>
                </a:cubicBezTo>
                <a:cubicBezTo>
                  <a:pt x="16666" y="29387"/>
                  <a:pt x="11666" y="25714"/>
                  <a:pt x="12500" y="26938"/>
                </a:cubicBezTo>
                <a:cubicBezTo>
                  <a:pt x="14166" y="29387"/>
                  <a:pt x="15000" y="30612"/>
                  <a:pt x="11666" y="33061"/>
                </a:cubicBezTo>
                <a:cubicBezTo>
                  <a:pt x="10000" y="33061"/>
                  <a:pt x="6666" y="39183"/>
                  <a:pt x="5000" y="42857"/>
                </a:cubicBezTo>
                <a:cubicBezTo>
                  <a:pt x="2500" y="46530"/>
                  <a:pt x="5000" y="47755"/>
                  <a:pt x="5000" y="50204"/>
                </a:cubicBezTo>
                <a:cubicBezTo>
                  <a:pt x="4166" y="51428"/>
                  <a:pt x="7500" y="53877"/>
                  <a:pt x="2500" y="51428"/>
                </a:cubicBezTo>
                <a:cubicBezTo>
                  <a:pt x="4166" y="53877"/>
                  <a:pt x="2500" y="53877"/>
                  <a:pt x="2500" y="56326"/>
                </a:cubicBezTo>
                <a:cubicBezTo>
                  <a:pt x="2500" y="57551"/>
                  <a:pt x="1666" y="56326"/>
                  <a:pt x="0" y="61224"/>
                </a:cubicBezTo>
                <a:cubicBezTo>
                  <a:pt x="4166" y="63673"/>
                  <a:pt x="2500" y="67346"/>
                  <a:pt x="4166" y="64897"/>
                </a:cubicBezTo>
                <a:cubicBezTo>
                  <a:pt x="5000" y="64897"/>
                  <a:pt x="5000" y="67346"/>
                  <a:pt x="5000" y="67346"/>
                </a:cubicBezTo>
                <a:cubicBezTo>
                  <a:pt x="5000" y="67346"/>
                  <a:pt x="5000" y="67346"/>
                  <a:pt x="5000" y="67346"/>
                </a:cubicBezTo>
                <a:cubicBezTo>
                  <a:pt x="6666" y="67346"/>
                  <a:pt x="6666" y="68571"/>
                  <a:pt x="6666" y="67346"/>
                </a:cubicBezTo>
                <a:cubicBezTo>
                  <a:pt x="7500" y="64897"/>
                  <a:pt x="7500" y="67346"/>
                  <a:pt x="10000" y="67346"/>
                </a:cubicBezTo>
                <a:cubicBezTo>
                  <a:pt x="14166" y="67346"/>
                  <a:pt x="14166" y="68571"/>
                  <a:pt x="15000" y="68571"/>
                </a:cubicBezTo>
                <a:cubicBezTo>
                  <a:pt x="17500" y="67346"/>
                  <a:pt x="17500" y="73469"/>
                  <a:pt x="20000" y="71020"/>
                </a:cubicBezTo>
                <a:cubicBezTo>
                  <a:pt x="21666" y="68571"/>
                  <a:pt x="20000" y="68571"/>
                  <a:pt x="24166" y="68571"/>
                </a:cubicBezTo>
                <a:cubicBezTo>
                  <a:pt x="28333" y="67346"/>
                  <a:pt x="26666" y="64897"/>
                  <a:pt x="30833" y="63673"/>
                </a:cubicBezTo>
                <a:cubicBezTo>
                  <a:pt x="31666" y="61224"/>
                  <a:pt x="34166" y="61224"/>
                  <a:pt x="35833" y="61224"/>
                </a:cubicBezTo>
                <a:cubicBezTo>
                  <a:pt x="36666" y="59999"/>
                  <a:pt x="41666" y="64897"/>
                  <a:pt x="43333" y="64897"/>
                </a:cubicBezTo>
                <a:cubicBezTo>
                  <a:pt x="44166" y="63673"/>
                  <a:pt x="44166" y="68571"/>
                  <a:pt x="46666" y="67346"/>
                </a:cubicBezTo>
                <a:cubicBezTo>
                  <a:pt x="48333" y="67346"/>
                  <a:pt x="48333" y="68571"/>
                  <a:pt x="46666" y="71020"/>
                </a:cubicBezTo>
                <a:cubicBezTo>
                  <a:pt x="45833" y="74693"/>
                  <a:pt x="48333" y="77142"/>
                  <a:pt x="49166" y="77142"/>
                </a:cubicBezTo>
                <a:cubicBezTo>
                  <a:pt x="50833" y="77142"/>
                  <a:pt x="48333" y="80816"/>
                  <a:pt x="50833" y="82040"/>
                </a:cubicBezTo>
                <a:cubicBezTo>
                  <a:pt x="53333" y="84489"/>
                  <a:pt x="50833" y="88163"/>
                  <a:pt x="51666" y="90612"/>
                </a:cubicBezTo>
                <a:cubicBezTo>
                  <a:pt x="54166" y="90612"/>
                  <a:pt x="51666" y="91836"/>
                  <a:pt x="51666" y="90612"/>
                </a:cubicBezTo>
                <a:cubicBezTo>
                  <a:pt x="50833" y="90612"/>
                  <a:pt x="48333" y="91836"/>
                  <a:pt x="46666" y="90612"/>
                </a:cubicBezTo>
                <a:cubicBezTo>
                  <a:pt x="45833" y="88163"/>
                  <a:pt x="44166" y="90612"/>
                  <a:pt x="45833" y="91836"/>
                </a:cubicBezTo>
                <a:cubicBezTo>
                  <a:pt x="46666" y="95510"/>
                  <a:pt x="41666" y="99183"/>
                  <a:pt x="43333" y="101632"/>
                </a:cubicBezTo>
                <a:cubicBezTo>
                  <a:pt x="43333" y="102857"/>
                  <a:pt x="41666" y="102857"/>
                  <a:pt x="40833" y="102857"/>
                </a:cubicBezTo>
                <a:cubicBezTo>
                  <a:pt x="43333" y="107755"/>
                  <a:pt x="44166" y="107755"/>
                  <a:pt x="44166" y="107755"/>
                </a:cubicBezTo>
                <a:cubicBezTo>
                  <a:pt x="44166" y="105306"/>
                  <a:pt x="45833" y="107755"/>
                  <a:pt x="46666" y="105306"/>
                </a:cubicBezTo>
                <a:cubicBezTo>
                  <a:pt x="46666" y="102857"/>
                  <a:pt x="49166" y="102857"/>
                  <a:pt x="50833" y="107755"/>
                </a:cubicBezTo>
                <a:cubicBezTo>
                  <a:pt x="50833" y="102857"/>
                  <a:pt x="50833" y="105306"/>
                  <a:pt x="49166" y="101632"/>
                </a:cubicBezTo>
                <a:cubicBezTo>
                  <a:pt x="49166" y="97959"/>
                  <a:pt x="50833" y="101632"/>
                  <a:pt x="53333" y="99183"/>
                </a:cubicBezTo>
                <a:cubicBezTo>
                  <a:pt x="55833" y="95510"/>
                  <a:pt x="56666" y="94285"/>
                  <a:pt x="56666" y="90612"/>
                </a:cubicBezTo>
                <a:cubicBezTo>
                  <a:pt x="56666" y="85714"/>
                  <a:pt x="60833" y="88163"/>
                  <a:pt x="62500" y="85714"/>
                </a:cubicBezTo>
                <a:cubicBezTo>
                  <a:pt x="63333" y="85714"/>
                  <a:pt x="65000" y="88163"/>
                  <a:pt x="65000" y="85714"/>
                </a:cubicBezTo>
                <a:cubicBezTo>
                  <a:pt x="65000" y="82040"/>
                  <a:pt x="65000" y="78367"/>
                  <a:pt x="65833" y="82040"/>
                </a:cubicBezTo>
                <a:cubicBezTo>
                  <a:pt x="65833" y="85714"/>
                  <a:pt x="65000" y="88163"/>
                  <a:pt x="68333" y="88163"/>
                </a:cubicBezTo>
                <a:cubicBezTo>
                  <a:pt x="65833" y="90612"/>
                  <a:pt x="63333" y="85714"/>
                  <a:pt x="63333" y="88163"/>
                </a:cubicBezTo>
                <a:cubicBezTo>
                  <a:pt x="62500" y="90612"/>
                  <a:pt x="67500" y="91836"/>
                  <a:pt x="67500" y="94285"/>
                </a:cubicBezTo>
                <a:cubicBezTo>
                  <a:pt x="67500" y="95510"/>
                  <a:pt x="72500" y="94285"/>
                  <a:pt x="73333" y="94285"/>
                </a:cubicBezTo>
                <a:cubicBezTo>
                  <a:pt x="75000" y="95510"/>
                  <a:pt x="75833" y="91836"/>
                  <a:pt x="75833" y="95510"/>
                </a:cubicBezTo>
                <a:cubicBezTo>
                  <a:pt x="77500" y="99183"/>
                  <a:pt x="68333" y="101632"/>
                  <a:pt x="68333" y="105306"/>
                </a:cubicBezTo>
                <a:cubicBezTo>
                  <a:pt x="70000" y="107755"/>
                  <a:pt x="75833" y="105306"/>
                  <a:pt x="75833" y="111428"/>
                </a:cubicBezTo>
                <a:cubicBezTo>
                  <a:pt x="75833" y="116326"/>
                  <a:pt x="73333" y="112653"/>
                  <a:pt x="75833" y="116326"/>
                </a:cubicBezTo>
                <a:cubicBezTo>
                  <a:pt x="78333" y="119999"/>
                  <a:pt x="80833" y="115102"/>
                  <a:pt x="83333" y="112653"/>
                </a:cubicBezTo>
                <a:cubicBezTo>
                  <a:pt x="85833" y="111428"/>
                  <a:pt x="85000" y="115102"/>
                  <a:pt x="87500" y="111428"/>
                </a:cubicBezTo>
                <a:cubicBezTo>
                  <a:pt x="90000" y="105306"/>
                  <a:pt x="90000" y="111428"/>
                  <a:pt x="94166" y="108979"/>
                </a:cubicBezTo>
                <a:cubicBezTo>
                  <a:pt x="97500" y="107755"/>
                  <a:pt x="94166" y="108979"/>
                  <a:pt x="95000" y="105306"/>
                </a:cubicBezTo>
                <a:cubicBezTo>
                  <a:pt x="96666" y="102857"/>
                  <a:pt x="95000" y="101632"/>
                  <a:pt x="92500" y="102857"/>
                </a:cubicBezTo>
                <a:cubicBezTo>
                  <a:pt x="88333" y="105306"/>
                  <a:pt x="88333" y="108979"/>
                  <a:pt x="85833" y="101632"/>
                </a:cubicBezTo>
                <a:cubicBezTo>
                  <a:pt x="82500" y="94285"/>
                  <a:pt x="83333" y="94285"/>
                  <a:pt x="85000" y="91836"/>
                </a:cubicBezTo>
                <a:cubicBezTo>
                  <a:pt x="88333" y="90612"/>
                  <a:pt x="85000" y="95510"/>
                  <a:pt x="87500" y="94285"/>
                </a:cubicBezTo>
                <a:cubicBezTo>
                  <a:pt x="88333" y="91836"/>
                  <a:pt x="91666" y="85714"/>
                  <a:pt x="92500" y="85714"/>
                </a:cubicBezTo>
                <a:cubicBezTo>
                  <a:pt x="96666" y="88163"/>
                  <a:pt x="102500" y="80816"/>
                  <a:pt x="104166" y="80816"/>
                </a:cubicBezTo>
                <a:cubicBezTo>
                  <a:pt x="106666" y="80816"/>
                  <a:pt x="105000" y="82040"/>
                  <a:pt x="106666" y="80816"/>
                </a:cubicBezTo>
                <a:cubicBezTo>
                  <a:pt x="105000" y="68571"/>
                  <a:pt x="110000" y="74693"/>
                  <a:pt x="110000" y="71020"/>
                </a:cubicBezTo>
                <a:cubicBezTo>
                  <a:pt x="111666" y="67346"/>
                  <a:pt x="116666" y="71020"/>
                  <a:pt x="117500" y="67346"/>
                </a:cubicBezTo>
                <a:cubicBezTo>
                  <a:pt x="119166" y="64897"/>
                  <a:pt x="117500" y="61224"/>
                  <a:pt x="116666" y="59999"/>
                </a:cubicBezTo>
                <a:cubicBezTo>
                  <a:pt x="115000" y="57551"/>
                  <a:pt x="116666" y="56326"/>
                  <a:pt x="117500" y="56326"/>
                </a:cubicBezTo>
                <a:cubicBezTo>
                  <a:pt x="120000" y="56326"/>
                  <a:pt x="119166" y="53877"/>
                  <a:pt x="117500" y="53877"/>
                </a:cubicBezTo>
                <a:cubicBezTo>
                  <a:pt x="116666" y="53877"/>
                  <a:pt x="116666" y="51428"/>
                  <a:pt x="119166" y="50204"/>
                </a:cubicBezTo>
                <a:cubicBezTo>
                  <a:pt x="120000" y="47755"/>
                  <a:pt x="119166" y="47755"/>
                  <a:pt x="119166" y="44081"/>
                </a:cubicBezTo>
                <a:cubicBezTo>
                  <a:pt x="119166" y="42857"/>
                  <a:pt x="116666" y="46530"/>
                  <a:pt x="115000" y="42857"/>
                </a:cubicBezTo>
                <a:cubicBezTo>
                  <a:pt x="114166" y="39183"/>
                  <a:pt x="111666" y="42857"/>
                  <a:pt x="110000" y="40408"/>
                </a:cubicBezTo>
                <a:cubicBezTo>
                  <a:pt x="107500" y="34285"/>
                  <a:pt x="106666" y="40408"/>
                  <a:pt x="104166" y="36734"/>
                </a:cubicBezTo>
                <a:cubicBezTo>
                  <a:pt x="101666" y="34285"/>
                  <a:pt x="102500" y="29387"/>
                  <a:pt x="99166" y="33061"/>
                </a:cubicBezTo>
                <a:cubicBezTo>
                  <a:pt x="94166" y="36734"/>
                  <a:pt x="94166" y="30612"/>
                  <a:pt x="90000" y="33061"/>
                </a:cubicBezTo>
                <a:cubicBezTo>
                  <a:pt x="87500" y="34285"/>
                  <a:pt x="90000" y="26938"/>
                  <a:pt x="87500" y="23265"/>
                </a:cubicBezTo>
                <a:cubicBezTo>
                  <a:pt x="85000" y="17142"/>
                  <a:pt x="85000" y="20816"/>
                  <a:pt x="82500" y="19591"/>
                </a:cubicBezTo>
                <a:cubicBezTo>
                  <a:pt x="80000" y="19591"/>
                  <a:pt x="82500" y="19591"/>
                  <a:pt x="80000" y="15918"/>
                </a:cubicBezTo>
                <a:cubicBezTo>
                  <a:pt x="78333" y="13469"/>
                  <a:pt x="83333" y="12244"/>
                  <a:pt x="80833" y="9795"/>
                </a:cubicBezTo>
                <a:cubicBezTo>
                  <a:pt x="77500" y="8571"/>
                  <a:pt x="80000" y="0"/>
                  <a:pt x="77500" y="3673"/>
                </a:cubicBezTo>
                <a:cubicBezTo>
                  <a:pt x="75000" y="6122"/>
                  <a:pt x="75833" y="0"/>
                  <a:pt x="73333" y="3673"/>
                </a:cubicBezTo>
                <a:cubicBezTo>
                  <a:pt x="70833" y="6122"/>
                  <a:pt x="68333" y="2448"/>
                  <a:pt x="68333" y="6122"/>
                </a:cubicBezTo>
                <a:cubicBezTo>
                  <a:pt x="67500" y="9795"/>
                  <a:pt x="65000" y="8571"/>
                  <a:pt x="63333" y="6122"/>
                </a:cubicBezTo>
                <a:cubicBezTo>
                  <a:pt x="58333" y="6122"/>
                  <a:pt x="56666" y="9795"/>
                  <a:pt x="56666" y="15918"/>
                </a:cubicBezTo>
                <a:cubicBezTo>
                  <a:pt x="56666" y="20816"/>
                  <a:pt x="55833" y="20816"/>
                  <a:pt x="54166" y="17142"/>
                </a:cubicBezTo>
                <a:cubicBezTo>
                  <a:pt x="53333" y="17142"/>
                  <a:pt x="50833" y="17142"/>
                  <a:pt x="49166" y="17142"/>
                </a:cubicBezTo>
                <a:cubicBezTo>
                  <a:pt x="46666" y="19591"/>
                  <a:pt x="48333" y="12244"/>
                  <a:pt x="44166" y="15918"/>
                </a:cubicBezTo>
                <a:cubicBezTo>
                  <a:pt x="41666" y="19591"/>
                  <a:pt x="45833" y="13469"/>
                  <a:pt x="38333" y="13469"/>
                </a:cubicBezTo>
                <a:cubicBezTo>
                  <a:pt x="33333" y="13469"/>
                  <a:pt x="35833" y="12244"/>
                  <a:pt x="31666" y="12244"/>
                </a:cubicBezTo>
                <a:cubicBezTo>
                  <a:pt x="29166" y="13469"/>
                  <a:pt x="28333" y="8571"/>
                  <a:pt x="19166" y="9795"/>
                </a:cubicBezTo>
                <a:cubicBezTo>
                  <a:pt x="11666" y="12244"/>
                  <a:pt x="15000" y="15918"/>
                  <a:pt x="12500" y="13469"/>
                </a:cubicBezTo>
                <a:cubicBezTo>
                  <a:pt x="11666" y="13469"/>
                  <a:pt x="10000" y="15918"/>
                  <a:pt x="10000" y="15918"/>
                </a:cubicBezTo>
              </a:path>
            </a:pathLst>
          </a:custGeom>
          <a:solidFill>
            <a:srgbClr val="FFFFFF">
              <a:alpha val="35000"/>
            </a:srgbClr>
          </a:solidFill>
          <a:ln w="3175" cap="flat" cmpd="sng" algn="ctr">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38" name="Shape 1801"/>
          <p:cNvSpPr/>
          <p:nvPr/>
        </p:nvSpPr>
        <p:spPr>
          <a:xfrm>
            <a:off x="5244391" y="3199783"/>
            <a:ext cx="121100" cy="157271"/>
          </a:xfrm>
          <a:custGeom>
            <a:avLst/>
            <a:gdLst/>
            <a:ahLst/>
            <a:cxnLst/>
            <a:rect l="0" t="0" r="0" b="0"/>
            <a:pathLst>
              <a:path w="120000" h="120000" extrusionOk="0">
                <a:moveTo>
                  <a:pt x="77837" y="21176"/>
                </a:moveTo>
                <a:cubicBezTo>
                  <a:pt x="68108" y="21176"/>
                  <a:pt x="81081" y="25882"/>
                  <a:pt x="71351" y="28235"/>
                </a:cubicBezTo>
                <a:cubicBezTo>
                  <a:pt x="58378" y="32941"/>
                  <a:pt x="90810" y="44705"/>
                  <a:pt x="90810" y="37647"/>
                </a:cubicBezTo>
                <a:cubicBezTo>
                  <a:pt x="90810" y="32941"/>
                  <a:pt x="97297" y="28235"/>
                  <a:pt x="97297" y="32941"/>
                </a:cubicBezTo>
                <a:cubicBezTo>
                  <a:pt x="100540" y="40000"/>
                  <a:pt x="100540" y="37647"/>
                  <a:pt x="100540" y="40000"/>
                </a:cubicBezTo>
                <a:cubicBezTo>
                  <a:pt x="107027" y="44705"/>
                  <a:pt x="107027" y="40000"/>
                  <a:pt x="110270" y="40000"/>
                </a:cubicBezTo>
                <a:cubicBezTo>
                  <a:pt x="116756" y="40000"/>
                  <a:pt x="116756" y="44705"/>
                  <a:pt x="110270" y="44705"/>
                </a:cubicBezTo>
                <a:cubicBezTo>
                  <a:pt x="110270" y="44705"/>
                  <a:pt x="110270" y="47058"/>
                  <a:pt x="116756" y="54117"/>
                </a:cubicBezTo>
                <a:cubicBezTo>
                  <a:pt x="120000" y="61176"/>
                  <a:pt x="120000" y="72941"/>
                  <a:pt x="116756" y="84705"/>
                </a:cubicBezTo>
                <a:cubicBezTo>
                  <a:pt x="107027" y="94117"/>
                  <a:pt x="116756" y="94117"/>
                  <a:pt x="107027" y="94117"/>
                </a:cubicBezTo>
                <a:cubicBezTo>
                  <a:pt x="97297" y="94117"/>
                  <a:pt x="100540" y="94117"/>
                  <a:pt x="90810" y="94117"/>
                </a:cubicBezTo>
                <a:cubicBezTo>
                  <a:pt x="77837" y="98823"/>
                  <a:pt x="68108" y="110588"/>
                  <a:pt x="61621" y="105882"/>
                </a:cubicBezTo>
                <a:cubicBezTo>
                  <a:pt x="61621" y="98823"/>
                  <a:pt x="61621" y="105882"/>
                  <a:pt x="58378" y="110588"/>
                </a:cubicBezTo>
                <a:cubicBezTo>
                  <a:pt x="58378" y="112941"/>
                  <a:pt x="12972" y="120000"/>
                  <a:pt x="22702" y="112941"/>
                </a:cubicBezTo>
                <a:cubicBezTo>
                  <a:pt x="38918" y="103529"/>
                  <a:pt x="9729" y="117647"/>
                  <a:pt x="19459" y="110588"/>
                </a:cubicBezTo>
                <a:cubicBezTo>
                  <a:pt x="22702" y="103529"/>
                  <a:pt x="0" y="110588"/>
                  <a:pt x="12972" y="103529"/>
                </a:cubicBezTo>
                <a:cubicBezTo>
                  <a:pt x="22702" y="91764"/>
                  <a:pt x="0" y="103529"/>
                  <a:pt x="9729" y="94117"/>
                </a:cubicBezTo>
                <a:cubicBezTo>
                  <a:pt x="19459" y="87058"/>
                  <a:pt x="29189" y="94117"/>
                  <a:pt x="22702" y="91764"/>
                </a:cubicBezTo>
                <a:cubicBezTo>
                  <a:pt x="19459" y="87058"/>
                  <a:pt x="22702" y="84705"/>
                  <a:pt x="38918" y="84705"/>
                </a:cubicBezTo>
                <a:cubicBezTo>
                  <a:pt x="51891" y="84705"/>
                  <a:pt x="48648" y="80000"/>
                  <a:pt x="42162" y="80000"/>
                </a:cubicBezTo>
                <a:cubicBezTo>
                  <a:pt x="38918" y="80000"/>
                  <a:pt x="9729" y="87058"/>
                  <a:pt x="22702" y="80000"/>
                </a:cubicBezTo>
                <a:cubicBezTo>
                  <a:pt x="38918" y="72941"/>
                  <a:pt x="22702" y="70588"/>
                  <a:pt x="38918" y="70588"/>
                </a:cubicBezTo>
                <a:cubicBezTo>
                  <a:pt x="51891" y="65882"/>
                  <a:pt x="38918" y="61176"/>
                  <a:pt x="32432" y="65882"/>
                </a:cubicBezTo>
                <a:cubicBezTo>
                  <a:pt x="29189" y="65882"/>
                  <a:pt x="9729" y="58823"/>
                  <a:pt x="19459" y="54117"/>
                </a:cubicBezTo>
                <a:cubicBezTo>
                  <a:pt x="22702" y="51764"/>
                  <a:pt x="19459" y="51764"/>
                  <a:pt x="29189" y="47058"/>
                </a:cubicBezTo>
                <a:cubicBezTo>
                  <a:pt x="38918" y="44705"/>
                  <a:pt x="9729" y="47058"/>
                  <a:pt x="19459" y="40000"/>
                </a:cubicBezTo>
                <a:cubicBezTo>
                  <a:pt x="22702" y="37647"/>
                  <a:pt x="12972" y="40000"/>
                  <a:pt x="12972" y="37647"/>
                </a:cubicBezTo>
                <a:cubicBezTo>
                  <a:pt x="19459" y="32941"/>
                  <a:pt x="29189" y="32941"/>
                  <a:pt x="38918" y="37647"/>
                </a:cubicBezTo>
                <a:cubicBezTo>
                  <a:pt x="42162" y="37647"/>
                  <a:pt x="42162" y="32941"/>
                  <a:pt x="48648" y="37647"/>
                </a:cubicBezTo>
                <a:cubicBezTo>
                  <a:pt x="58378" y="37647"/>
                  <a:pt x="51891" y="32941"/>
                  <a:pt x="61621" y="28235"/>
                </a:cubicBezTo>
                <a:cubicBezTo>
                  <a:pt x="71351" y="21176"/>
                  <a:pt x="51891" y="25882"/>
                  <a:pt x="48648" y="25882"/>
                </a:cubicBezTo>
                <a:cubicBezTo>
                  <a:pt x="48648" y="21176"/>
                  <a:pt x="61621" y="21176"/>
                  <a:pt x="58378" y="14117"/>
                </a:cubicBezTo>
                <a:cubicBezTo>
                  <a:pt x="58378" y="11764"/>
                  <a:pt x="71351" y="7058"/>
                  <a:pt x="77837" y="7058"/>
                </a:cubicBezTo>
                <a:cubicBezTo>
                  <a:pt x="87567" y="7058"/>
                  <a:pt x="81081" y="0"/>
                  <a:pt x="90810" y="2352"/>
                </a:cubicBezTo>
                <a:cubicBezTo>
                  <a:pt x="100540" y="7058"/>
                  <a:pt x="90810" y="7058"/>
                  <a:pt x="90810" y="11764"/>
                </a:cubicBezTo>
                <a:cubicBezTo>
                  <a:pt x="81081" y="14117"/>
                  <a:pt x="87567" y="21176"/>
                  <a:pt x="77837" y="21176"/>
                </a:cubicBezTo>
              </a:path>
            </a:pathLst>
          </a:custGeom>
          <a:solidFill>
            <a:schemeClr val="accent2"/>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39" name="Shape 1802"/>
          <p:cNvSpPr/>
          <p:nvPr/>
        </p:nvSpPr>
        <p:spPr>
          <a:xfrm>
            <a:off x="7828489" y="3323694"/>
            <a:ext cx="849426" cy="381263"/>
          </a:xfrm>
          <a:custGeom>
            <a:avLst/>
            <a:gdLst/>
            <a:ahLst/>
            <a:cxnLst/>
            <a:rect l="0" t="0" r="0" b="0"/>
            <a:pathLst>
              <a:path w="120000" h="120000" extrusionOk="0">
                <a:moveTo>
                  <a:pt x="107392" y="27096"/>
                </a:moveTo>
                <a:cubicBezTo>
                  <a:pt x="102256" y="48387"/>
                  <a:pt x="105058" y="43548"/>
                  <a:pt x="103657" y="46451"/>
                </a:cubicBezTo>
                <a:cubicBezTo>
                  <a:pt x="102256" y="48387"/>
                  <a:pt x="104124" y="53225"/>
                  <a:pt x="105058" y="51290"/>
                </a:cubicBezTo>
                <a:cubicBezTo>
                  <a:pt x="105992" y="50322"/>
                  <a:pt x="107859" y="50322"/>
                  <a:pt x="109260" y="51290"/>
                </a:cubicBezTo>
                <a:cubicBezTo>
                  <a:pt x="110661" y="54193"/>
                  <a:pt x="109260" y="48387"/>
                  <a:pt x="112062" y="48387"/>
                </a:cubicBezTo>
                <a:cubicBezTo>
                  <a:pt x="114863" y="48387"/>
                  <a:pt x="115797" y="51290"/>
                  <a:pt x="117198" y="54193"/>
                </a:cubicBezTo>
                <a:cubicBezTo>
                  <a:pt x="118599" y="57096"/>
                  <a:pt x="120000" y="61935"/>
                  <a:pt x="119066" y="62903"/>
                </a:cubicBezTo>
                <a:cubicBezTo>
                  <a:pt x="117665" y="64838"/>
                  <a:pt x="115797" y="61935"/>
                  <a:pt x="114863" y="62903"/>
                </a:cubicBezTo>
                <a:cubicBezTo>
                  <a:pt x="114396" y="64838"/>
                  <a:pt x="113463" y="61935"/>
                  <a:pt x="111595" y="62903"/>
                </a:cubicBezTo>
                <a:cubicBezTo>
                  <a:pt x="110194" y="66774"/>
                  <a:pt x="107859" y="64838"/>
                  <a:pt x="106459" y="67741"/>
                </a:cubicBezTo>
                <a:cubicBezTo>
                  <a:pt x="105058" y="72580"/>
                  <a:pt x="106459" y="72580"/>
                  <a:pt x="105058" y="73548"/>
                </a:cubicBezTo>
                <a:cubicBezTo>
                  <a:pt x="103657" y="77419"/>
                  <a:pt x="102256" y="78387"/>
                  <a:pt x="100856" y="77419"/>
                </a:cubicBezTo>
                <a:cubicBezTo>
                  <a:pt x="98521" y="77419"/>
                  <a:pt x="99455" y="81290"/>
                  <a:pt x="96653" y="84193"/>
                </a:cubicBezTo>
                <a:cubicBezTo>
                  <a:pt x="92918" y="87096"/>
                  <a:pt x="91517" y="80322"/>
                  <a:pt x="89649" y="81290"/>
                </a:cubicBezTo>
                <a:cubicBezTo>
                  <a:pt x="88249" y="81290"/>
                  <a:pt x="88249" y="84193"/>
                  <a:pt x="88249" y="89032"/>
                </a:cubicBezTo>
                <a:cubicBezTo>
                  <a:pt x="88249" y="91935"/>
                  <a:pt x="91050" y="94838"/>
                  <a:pt x="89649" y="96774"/>
                </a:cubicBezTo>
                <a:cubicBezTo>
                  <a:pt x="87315" y="99677"/>
                  <a:pt x="86381" y="99677"/>
                  <a:pt x="84513" y="103548"/>
                </a:cubicBezTo>
                <a:cubicBezTo>
                  <a:pt x="83112" y="108387"/>
                  <a:pt x="81712" y="107419"/>
                  <a:pt x="80778" y="110322"/>
                </a:cubicBezTo>
                <a:cubicBezTo>
                  <a:pt x="80311" y="111290"/>
                  <a:pt x="79377" y="108387"/>
                  <a:pt x="78910" y="110322"/>
                </a:cubicBezTo>
                <a:cubicBezTo>
                  <a:pt x="77509" y="111290"/>
                  <a:pt x="77509" y="110322"/>
                  <a:pt x="74708" y="110322"/>
                </a:cubicBezTo>
                <a:cubicBezTo>
                  <a:pt x="72373" y="110322"/>
                  <a:pt x="73774" y="108387"/>
                  <a:pt x="71906" y="111290"/>
                </a:cubicBezTo>
                <a:cubicBezTo>
                  <a:pt x="70505" y="114193"/>
                  <a:pt x="70505" y="111290"/>
                  <a:pt x="64435" y="119032"/>
                </a:cubicBezTo>
                <a:cubicBezTo>
                  <a:pt x="63968" y="120000"/>
                  <a:pt x="63968" y="117096"/>
                  <a:pt x="62568" y="119032"/>
                </a:cubicBezTo>
                <a:cubicBezTo>
                  <a:pt x="61634" y="119032"/>
                  <a:pt x="63035" y="114193"/>
                  <a:pt x="61167" y="116129"/>
                </a:cubicBezTo>
                <a:cubicBezTo>
                  <a:pt x="58832" y="119032"/>
                  <a:pt x="56031" y="113225"/>
                  <a:pt x="54630" y="113225"/>
                </a:cubicBezTo>
                <a:cubicBezTo>
                  <a:pt x="53229" y="113225"/>
                  <a:pt x="51828" y="107419"/>
                  <a:pt x="46692" y="107419"/>
                </a:cubicBezTo>
                <a:cubicBezTo>
                  <a:pt x="42023" y="108387"/>
                  <a:pt x="41089" y="108387"/>
                  <a:pt x="35019" y="107419"/>
                </a:cubicBezTo>
                <a:cubicBezTo>
                  <a:pt x="33618" y="105483"/>
                  <a:pt x="32217" y="108387"/>
                  <a:pt x="32217" y="105483"/>
                </a:cubicBezTo>
                <a:cubicBezTo>
                  <a:pt x="31284" y="100645"/>
                  <a:pt x="30350" y="103548"/>
                  <a:pt x="29883" y="96774"/>
                </a:cubicBezTo>
                <a:cubicBezTo>
                  <a:pt x="28949" y="90000"/>
                  <a:pt x="29883" y="96774"/>
                  <a:pt x="25680" y="89032"/>
                </a:cubicBezTo>
                <a:cubicBezTo>
                  <a:pt x="21945" y="81290"/>
                  <a:pt x="20077" y="81290"/>
                  <a:pt x="17743" y="81290"/>
                </a:cubicBezTo>
                <a:cubicBezTo>
                  <a:pt x="15875" y="81290"/>
                  <a:pt x="14474" y="80322"/>
                  <a:pt x="12607" y="80322"/>
                </a:cubicBezTo>
                <a:cubicBezTo>
                  <a:pt x="10739" y="80322"/>
                  <a:pt x="10739" y="75483"/>
                  <a:pt x="11206" y="73548"/>
                </a:cubicBezTo>
                <a:cubicBezTo>
                  <a:pt x="12607" y="69677"/>
                  <a:pt x="11206" y="70645"/>
                  <a:pt x="12140" y="64838"/>
                </a:cubicBezTo>
                <a:cubicBezTo>
                  <a:pt x="12607" y="59032"/>
                  <a:pt x="9338" y="53225"/>
                  <a:pt x="8404" y="50322"/>
                </a:cubicBezTo>
                <a:cubicBezTo>
                  <a:pt x="8404" y="48387"/>
                  <a:pt x="7937" y="51290"/>
                  <a:pt x="7003" y="48387"/>
                </a:cubicBezTo>
                <a:cubicBezTo>
                  <a:pt x="6536" y="45483"/>
                  <a:pt x="5603" y="50322"/>
                  <a:pt x="4202" y="46451"/>
                </a:cubicBezTo>
                <a:cubicBezTo>
                  <a:pt x="2334" y="45483"/>
                  <a:pt x="0" y="39677"/>
                  <a:pt x="933" y="34838"/>
                </a:cubicBezTo>
                <a:cubicBezTo>
                  <a:pt x="2801" y="29032"/>
                  <a:pt x="2334" y="33870"/>
                  <a:pt x="5603" y="30000"/>
                </a:cubicBezTo>
                <a:cubicBezTo>
                  <a:pt x="8404" y="29032"/>
                  <a:pt x="5603" y="27096"/>
                  <a:pt x="9805" y="23225"/>
                </a:cubicBezTo>
                <a:cubicBezTo>
                  <a:pt x="14474" y="18387"/>
                  <a:pt x="17276" y="15483"/>
                  <a:pt x="19143" y="18387"/>
                </a:cubicBezTo>
                <a:cubicBezTo>
                  <a:pt x="21478" y="21290"/>
                  <a:pt x="24280" y="15483"/>
                  <a:pt x="24747" y="21290"/>
                </a:cubicBezTo>
                <a:cubicBezTo>
                  <a:pt x="25680" y="26129"/>
                  <a:pt x="37821" y="30000"/>
                  <a:pt x="39221" y="23225"/>
                </a:cubicBezTo>
                <a:cubicBezTo>
                  <a:pt x="39688" y="16451"/>
                  <a:pt x="35486" y="16451"/>
                  <a:pt x="38287" y="9677"/>
                </a:cubicBezTo>
                <a:cubicBezTo>
                  <a:pt x="41089" y="0"/>
                  <a:pt x="39688" y="0"/>
                  <a:pt x="46225" y="4838"/>
                </a:cubicBezTo>
                <a:cubicBezTo>
                  <a:pt x="51828" y="10645"/>
                  <a:pt x="54163" y="4838"/>
                  <a:pt x="54163" y="12580"/>
                </a:cubicBezTo>
                <a:cubicBezTo>
                  <a:pt x="54163" y="20322"/>
                  <a:pt x="57431" y="26129"/>
                  <a:pt x="61167" y="23225"/>
                </a:cubicBezTo>
                <a:cubicBezTo>
                  <a:pt x="65369" y="20322"/>
                  <a:pt x="65836" y="20322"/>
                  <a:pt x="70972" y="24193"/>
                </a:cubicBezTo>
                <a:cubicBezTo>
                  <a:pt x="76108" y="27096"/>
                  <a:pt x="73307" y="30000"/>
                  <a:pt x="79377" y="33870"/>
                </a:cubicBezTo>
                <a:cubicBezTo>
                  <a:pt x="88715" y="37741"/>
                  <a:pt x="84980" y="30000"/>
                  <a:pt x="91050" y="31935"/>
                </a:cubicBezTo>
                <a:cubicBezTo>
                  <a:pt x="96653" y="31935"/>
                  <a:pt x="95252" y="16451"/>
                  <a:pt x="99922" y="23225"/>
                </a:cubicBezTo>
                <a:cubicBezTo>
                  <a:pt x="104124" y="29032"/>
                  <a:pt x="104124" y="23225"/>
                  <a:pt x="107392" y="27096"/>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40" name="Shape 1803"/>
          <p:cNvSpPr/>
          <p:nvPr/>
        </p:nvSpPr>
        <p:spPr>
          <a:xfrm>
            <a:off x="7449825" y="3271268"/>
            <a:ext cx="1622097" cy="1129494"/>
          </a:xfrm>
          <a:custGeom>
            <a:avLst/>
            <a:gdLst/>
            <a:ahLst/>
            <a:cxnLst/>
            <a:rect l="0" t="0" r="0" b="0"/>
            <a:pathLst>
              <a:path w="120000" h="120000" extrusionOk="0">
                <a:moveTo>
                  <a:pt x="110938" y="42833"/>
                </a:moveTo>
                <a:cubicBezTo>
                  <a:pt x="110938" y="41852"/>
                  <a:pt x="110938" y="42833"/>
                  <a:pt x="110693" y="42179"/>
                </a:cubicBezTo>
                <a:cubicBezTo>
                  <a:pt x="110204" y="41852"/>
                  <a:pt x="110693" y="41198"/>
                  <a:pt x="109959" y="40871"/>
                </a:cubicBezTo>
                <a:cubicBezTo>
                  <a:pt x="109224" y="40871"/>
                  <a:pt x="109959" y="43160"/>
                  <a:pt x="109224" y="42833"/>
                </a:cubicBezTo>
                <a:cubicBezTo>
                  <a:pt x="108489" y="42833"/>
                  <a:pt x="108734" y="43814"/>
                  <a:pt x="108000" y="44468"/>
                </a:cubicBezTo>
                <a:cubicBezTo>
                  <a:pt x="107755" y="44795"/>
                  <a:pt x="108000" y="44468"/>
                  <a:pt x="107265" y="44468"/>
                </a:cubicBezTo>
                <a:cubicBezTo>
                  <a:pt x="106775" y="44795"/>
                  <a:pt x="106040" y="43814"/>
                  <a:pt x="106040" y="44795"/>
                </a:cubicBezTo>
                <a:cubicBezTo>
                  <a:pt x="106040" y="45776"/>
                  <a:pt x="106775" y="45776"/>
                  <a:pt x="106530" y="46430"/>
                </a:cubicBezTo>
                <a:cubicBezTo>
                  <a:pt x="106040" y="46757"/>
                  <a:pt x="106040" y="46430"/>
                  <a:pt x="105795" y="46430"/>
                </a:cubicBezTo>
                <a:cubicBezTo>
                  <a:pt x="105306" y="46757"/>
                  <a:pt x="105061" y="46430"/>
                  <a:pt x="104571" y="46430"/>
                </a:cubicBezTo>
                <a:cubicBezTo>
                  <a:pt x="104326" y="46430"/>
                  <a:pt x="104326" y="44795"/>
                  <a:pt x="103836" y="45449"/>
                </a:cubicBezTo>
                <a:cubicBezTo>
                  <a:pt x="103591" y="45776"/>
                  <a:pt x="103836" y="45449"/>
                  <a:pt x="103591" y="45776"/>
                </a:cubicBezTo>
                <a:cubicBezTo>
                  <a:pt x="103102" y="46430"/>
                  <a:pt x="103591" y="46430"/>
                  <a:pt x="103102" y="46757"/>
                </a:cubicBezTo>
                <a:cubicBezTo>
                  <a:pt x="102857" y="47411"/>
                  <a:pt x="102367" y="48392"/>
                  <a:pt x="102122" y="48392"/>
                </a:cubicBezTo>
                <a:cubicBezTo>
                  <a:pt x="101387" y="48392"/>
                  <a:pt x="101632" y="49046"/>
                  <a:pt x="101387" y="49046"/>
                </a:cubicBezTo>
                <a:cubicBezTo>
                  <a:pt x="100897" y="49046"/>
                  <a:pt x="101387" y="49373"/>
                  <a:pt x="100897" y="49373"/>
                </a:cubicBezTo>
                <a:cubicBezTo>
                  <a:pt x="100163" y="50027"/>
                  <a:pt x="100653" y="50027"/>
                  <a:pt x="100163" y="50027"/>
                </a:cubicBezTo>
                <a:cubicBezTo>
                  <a:pt x="99918" y="50027"/>
                  <a:pt x="99428" y="51008"/>
                  <a:pt x="99183" y="51335"/>
                </a:cubicBezTo>
                <a:cubicBezTo>
                  <a:pt x="99183" y="51989"/>
                  <a:pt x="99183" y="51989"/>
                  <a:pt x="99183" y="51989"/>
                </a:cubicBezTo>
                <a:cubicBezTo>
                  <a:pt x="98204" y="52970"/>
                  <a:pt x="97959" y="51989"/>
                  <a:pt x="97469" y="52316"/>
                </a:cubicBezTo>
                <a:cubicBezTo>
                  <a:pt x="97224" y="52970"/>
                  <a:pt x="97224" y="51989"/>
                  <a:pt x="96734" y="52970"/>
                </a:cubicBezTo>
                <a:cubicBezTo>
                  <a:pt x="96734" y="53623"/>
                  <a:pt x="96000" y="52970"/>
                  <a:pt x="95755" y="53623"/>
                </a:cubicBezTo>
                <a:cubicBezTo>
                  <a:pt x="95265" y="53950"/>
                  <a:pt x="95020" y="53950"/>
                  <a:pt x="94530" y="54931"/>
                </a:cubicBezTo>
                <a:cubicBezTo>
                  <a:pt x="94530" y="55912"/>
                  <a:pt x="93795" y="55585"/>
                  <a:pt x="93795" y="55585"/>
                </a:cubicBezTo>
                <a:cubicBezTo>
                  <a:pt x="93795" y="55585"/>
                  <a:pt x="94285" y="55912"/>
                  <a:pt x="93795" y="55912"/>
                </a:cubicBezTo>
                <a:cubicBezTo>
                  <a:pt x="93061" y="55912"/>
                  <a:pt x="92816" y="56893"/>
                  <a:pt x="92816" y="55912"/>
                </a:cubicBezTo>
                <a:cubicBezTo>
                  <a:pt x="92816" y="54931"/>
                  <a:pt x="92816" y="55912"/>
                  <a:pt x="93061" y="55585"/>
                </a:cubicBezTo>
                <a:cubicBezTo>
                  <a:pt x="93551" y="54604"/>
                  <a:pt x="93551" y="55585"/>
                  <a:pt x="93795" y="54931"/>
                </a:cubicBezTo>
                <a:cubicBezTo>
                  <a:pt x="93795" y="53950"/>
                  <a:pt x="93061" y="53623"/>
                  <a:pt x="93061" y="53623"/>
                </a:cubicBezTo>
                <a:cubicBezTo>
                  <a:pt x="92816" y="53623"/>
                  <a:pt x="93551" y="52970"/>
                  <a:pt x="93551" y="52316"/>
                </a:cubicBezTo>
                <a:cubicBezTo>
                  <a:pt x="93061" y="52316"/>
                  <a:pt x="93795" y="52316"/>
                  <a:pt x="94530" y="51008"/>
                </a:cubicBezTo>
                <a:cubicBezTo>
                  <a:pt x="95020" y="50027"/>
                  <a:pt x="95020" y="50027"/>
                  <a:pt x="94530" y="49373"/>
                </a:cubicBezTo>
                <a:cubicBezTo>
                  <a:pt x="93795" y="48392"/>
                  <a:pt x="94285" y="48392"/>
                  <a:pt x="93795" y="48392"/>
                </a:cubicBezTo>
                <a:cubicBezTo>
                  <a:pt x="93551" y="49046"/>
                  <a:pt x="93061" y="47738"/>
                  <a:pt x="92816" y="48392"/>
                </a:cubicBezTo>
                <a:cubicBezTo>
                  <a:pt x="92081" y="49046"/>
                  <a:pt x="92816" y="49046"/>
                  <a:pt x="92081" y="49373"/>
                </a:cubicBezTo>
                <a:cubicBezTo>
                  <a:pt x="91591" y="50354"/>
                  <a:pt x="92081" y="51008"/>
                  <a:pt x="91346" y="51008"/>
                </a:cubicBezTo>
                <a:cubicBezTo>
                  <a:pt x="90857" y="51335"/>
                  <a:pt x="88897" y="52316"/>
                  <a:pt x="88897" y="53623"/>
                </a:cubicBezTo>
                <a:cubicBezTo>
                  <a:pt x="88897" y="54604"/>
                  <a:pt x="88653" y="54931"/>
                  <a:pt x="87918" y="54931"/>
                </a:cubicBezTo>
                <a:cubicBezTo>
                  <a:pt x="87428" y="54604"/>
                  <a:pt x="87428" y="55912"/>
                  <a:pt x="87183" y="54931"/>
                </a:cubicBezTo>
                <a:cubicBezTo>
                  <a:pt x="86693" y="54604"/>
                  <a:pt x="85959" y="54604"/>
                  <a:pt x="85959" y="54931"/>
                </a:cubicBezTo>
                <a:cubicBezTo>
                  <a:pt x="85959" y="55585"/>
                  <a:pt x="85714" y="55912"/>
                  <a:pt x="85959" y="56893"/>
                </a:cubicBezTo>
                <a:cubicBezTo>
                  <a:pt x="85959" y="58201"/>
                  <a:pt x="86448" y="58201"/>
                  <a:pt x="86693" y="58201"/>
                </a:cubicBezTo>
                <a:cubicBezTo>
                  <a:pt x="86693" y="58528"/>
                  <a:pt x="87428" y="58528"/>
                  <a:pt x="87918" y="58528"/>
                </a:cubicBezTo>
                <a:cubicBezTo>
                  <a:pt x="88163" y="58201"/>
                  <a:pt x="88897" y="59509"/>
                  <a:pt x="88653" y="60163"/>
                </a:cubicBezTo>
                <a:cubicBezTo>
                  <a:pt x="88163" y="60490"/>
                  <a:pt x="88653" y="62125"/>
                  <a:pt x="89387" y="62125"/>
                </a:cubicBezTo>
                <a:cubicBezTo>
                  <a:pt x="90612" y="62125"/>
                  <a:pt x="90612" y="62125"/>
                  <a:pt x="90612" y="61471"/>
                </a:cubicBezTo>
                <a:cubicBezTo>
                  <a:pt x="90122" y="61144"/>
                  <a:pt x="90857" y="61144"/>
                  <a:pt x="91346" y="60490"/>
                </a:cubicBezTo>
                <a:cubicBezTo>
                  <a:pt x="91346" y="59509"/>
                  <a:pt x="92326" y="59509"/>
                  <a:pt x="92816" y="60163"/>
                </a:cubicBezTo>
                <a:cubicBezTo>
                  <a:pt x="92816" y="60163"/>
                  <a:pt x="92816" y="60490"/>
                  <a:pt x="93061" y="60490"/>
                </a:cubicBezTo>
                <a:cubicBezTo>
                  <a:pt x="93551" y="60163"/>
                  <a:pt x="93061" y="60490"/>
                  <a:pt x="93795" y="61144"/>
                </a:cubicBezTo>
                <a:cubicBezTo>
                  <a:pt x="95020" y="61144"/>
                  <a:pt x="94285" y="60163"/>
                  <a:pt x="95020" y="60490"/>
                </a:cubicBezTo>
                <a:cubicBezTo>
                  <a:pt x="95020" y="61144"/>
                  <a:pt x="96000" y="61144"/>
                  <a:pt x="95755" y="61471"/>
                </a:cubicBezTo>
                <a:cubicBezTo>
                  <a:pt x="95020" y="62779"/>
                  <a:pt x="96000" y="62779"/>
                  <a:pt x="95265" y="63106"/>
                </a:cubicBezTo>
                <a:cubicBezTo>
                  <a:pt x="94530" y="63760"/>
                  <a:pt x="95020" y="62779"/>
                  <a:pt x="94530" y="62779"/>
                </a:cubicBezTo>
                <a:cubicBezTo>
                  <a:pt x="94285" y="63106"/>
                  <a:pt x="94530" y="62125"/>
                  <a:pt x="94285" y="63106"/>
                </a:cubicBezTo>
                <a:cubicBezTo>
                  <a:pt x="93551" y="63760"/>
                  <a:pt x="93551" y="63106"/>
                  <a:pt x="93061" y="63760"/>
                </a:cubicBezTo>
                <a:cubicBezTo>
                  <a:pt x="92326" y="64087"/>
                  <a:pt x="92326" y="64741"/>
                  <a:pt x="92326" y="64741"/>
                </a:cubicBezTo>
                <a:cubicBezTo>
                  <a:pt x="92081" y="64741"/>
                  <a:pt x="92081" y="65722"/>
                  <a:pt x="91591" y="65722"/>
                </a:cubicBezTo>
                <a:cubicBezTo>
                  <a:pt x="90857" y="66049"/>
                  <a:pt x="91346" y="65068"/>
                  <a:pt x="90857" y="65068"/>
                </a:cubicBezTo>
                <a:cubicBezTo>
                  <a:pt x="90612" y="65722"/>
                  <a:pt x="91346" y="66049"/>
                  <a:pt x="90857" y="66702"/>
                </a:cubicBezTo>
                <a:cubicBezTo>
                  <a:pt x="90612" y="66702"/>
                  <a:pt x="90857" y="67356"/>
                  <a:pt x="90122" y="67356"/>
                </a:cubicBezTo>
                <a:cubicBezTo>
                  <a:pt x="89632" y="67683"/>
                  <a:pt x="88163" y="70626"/>
                  <a:pt x="88897" y="70299"/>
                </a:cubicBezTo>
                <a:cubicBezTo>
                  <a:pt x="90122" y="70299"/>
                  <a:pt x="89387" y="71280"/>
                  <a:pt x="90612" y="71934"/>
                </a:cubicBezTo>
                <a:cubicBezTo>
                  <a:pt x="91591" y="72261"/>
                  <a:pt x="91346" y="74223"/>
                  <a:pt x="92081" y="75858"/>
                </a:cubicBezTo>
                <a:cubicBezTo>
                  <a:pt x="92816" y="77493"/>
                  <a:pt x="92081" y="77493"/>
                  <a:pt x="92816" y="78474"/>
                </a:cubicBezTo>
                <a:cubicBezTo>
                  <a:pt x="93551" y="78801"/>
                  <a:pt x="93061" y="78801"/>
                  <a:pt x="93551" y="79782"/>
                </a:cubicBezTo>
                <a:cubicBezTo>
                  <a:pt x="94285" y="80435"/>
                  <a:pt x="94530" y="81416"/>
                  <a:pt x="93795" y="80762"/>
                </a:cubicBezTo>
                <a:cubicBezTo>
                  <a:pt x="92816" y="80435"/>
                  <a:pt x="92816" y="80762"/>
                  <a:pt x="92326" y="80435"/>
                </a:cubicBezTo>
                <a:cubicBezTo>
                  <a:pt x="92081" y="80435"/>
                  <a:pt x="92326" y="79782"/>
                  <a:pt x="92081" y="79782"/>
                </a:cubicBezTo>
                <a:cubicBezTo>
                  <a:pt x="91591" y="79455"/>
                  <a:pt x="91346" y="80435"/>
                  <a:pt x="90857" y="80435"/>
                </a:cubicBezTo>
                <a:cubicBezTo>
                  <a:pt x="90612" y="79782"/>
                  <a:pt x="90122" y="78474"/>
                  <a:pt x="90122" y="78801"/>
                </a:cubicBezTo>
                <a:cubicBezTo>
                  <a:pt x="89632" y="79455"/>
                  <a:pt x="90857" y="80762"/>
                  <a:pt x="91591" y="79782"/>
                </a:cubicBezTo>
                <a:cubicBezTo>
                  <a:pt x="91591" y="79782"/>
                  <a:pt x="92326" y="80435"/>
                  <a:pt x="92081" y="80435"/>
                </a:cubicBezTo>
                <a:cubicBezTo>
                  <a:pt x="92081" y="80762"/>
                  <a:pt x="92326" y="80762"/>
                  <a:pt x="93061" y="82070"/>
                </a:cubicBezTo>
                <a:cubicBezTo>
                  <a:pt x="93795" y="83051"/>
                  <a:pt x="94530" y="84032"/>
                  <a:pt x="93795" y="84032"/>
                </a:cubicBezTo>
                <a:cubicBezTo>
                  <a:pt x="93551" y="84032"/>
                  <a:pt x="92326" y="85013"/>
                  <a:pt x="92326" y="85340"/>
                </a:cubicBezTo>
                <a:cubicBezTo>
                  <a:pt x="92326" y="85994"/>
                  <a:pt x="91591" y="85013"/>
                  <a:pt x="91346" y="85994"/>
                </a:cubicBezTo>
                <a:cubicBezTo>
                  <a:pt x="91346" y="86648"/>
                  <a:pt x="91591" y="85340"/>
                  <a:pt x="91591" y="85994"/>
                </a:cubicBezTo>
                <a:cubicBezTo>
                  <a:pt x="92081" y="87629"/>
                  <a:pt x="92816" y="85013"/>
                  <a:pt x="93551" y="86648"/>
                </a:cubicBezTo>
                <a:cubicBezTo>
                  <a:pt x="94285" y="87629"/>
                  <a:pt x="95020" y="86975"/>
                  <a:pt x="94530" y="87629"/>
                </a:cubicBezTo>
                <a:cubicBezTo>
                  <a:pt x="93551" y="88610"/>
                  <a:pt x="94285" y="87629"/>
                  <a:pt x="94285" y="88937"/>
                </a:cubicBezTo>
                <a:cubicBezTo>
                  <a:pt x="94530" y="90572"/>
                  <a:pt x="93061" y="89591"/>
                  <a:pt x="93795" y="89918"/>
                </a:cubicBezTo>
                <a:cubicBezTo>
                  <a:pt x="94285" y="90572"/>
                  <a:pt x="93551" y="90572"/>
                  <a:pt x="93795" y="91226"/>
                </a:cubicBezTo>
                <a:cubicBezTo>
                  <a:pt x="93795" y="91553"/>
                  <a:pt x="93061" y="91226"/>
                  <a:pt x="93551" y="92207"/>
                </a:cubicBezTo>
                <a:cubicBezTo>
                  <a:pt x="93795" y="93188"/>
                  <a:pt x="93551" y="92534"/>
                  <a:pt x="93061" y="93188"/>
                </a:cubicBezTo>
                <a:cubicBezTo>
                  <a:pt x="93061" y="93514"/>
                  <a:pt x="93061" y="91553"/>
                  <a:pt x="92816" y="93188"/>
                </a:cubicBezTo>
                <a:cubicBezTo>
                  <a:pt x="92326" y="94495"/>
                  <a:pt x="91591" y="94495"/>
                  <a:pt x="91591" y="95149"/>
                </a:cubicBezTo>
                <a:cubicBezTo>
                  <a:pt x="92081" y="95803"/>
                  <a:pt x="91346" y="97111"/>
                  <a:pt x="90857" y="97765"/>
                </a:cubicBezTo>
                <a:cubicBezTo>
                  <a:pt x="90612" y="97765"/>
                  <a:pt x="91346" y="98092"/>
                  <a:pt x="90612" y="98746"/>
                </a:cubicBezTo>
                <a:cubicBezTo>
                  <a:pt x="90122" y="98746"/>
                  <a:pt x="90612" y="97765"/>
                  <a:pt x="90122" y="98092"/>
                </a:cubicBezTo>
                <a:cubicBezTo>
                  <a:pt x="89387" y="98092"/>
                  <a:pt x="90122" y="98092"/>
                  <a:pt x="90122" y="98746"/>
                </a:cubicBezTo>
                <a:cubicBezTo>
                  <a:pt x="90612" y="99727"/>
                  <a:pt x="90857" y="99073"/>
                  <a:pt x="90122" y="99073"/>
                </a:cubicBezTo>
                <a:cubicBezTo>
                  <a:pt x="89632" y="99727"/>
                  <a:pt x="89387" y="100708"/>
                  <a:pt x="89632" y="100381"/>
                </a:cubicBezTo>
                <a:cubicBezTo>
                  <a:pt x="90612" y="100381"/>
                  <a:pt x="89387" y="101362"/>
                  <a:pt x="89632" y="102343"/>
                </a:cubicBezTo>
                <a:cubicBezTo>
                  <a:pt x="90122" y="102670"/>
                  <a:pt x="89632" y="103324"/>
                  <a:pt x="89387" y="102343"/>
                </a:cubicBezTo>
                <a:cubicBezTo>
                  <a:pt x="88897" y="101689"/>
                  <a:pt x="88653" y="102343"/>
                  <a:pt x="88897" y="102670"/>
                </a:cubicBezTo>
                <a:cubicBezTo>
                  <a:pt x="88897" y="102670"/>
                  <a:pt x="89632" y="102670"/>
                  <a:pt x="88897" y="103324"/>
                </a:cubicBezTo>
                <a:cubicBezTo>
                  <a:pt x="88653" y="103651"/>
                  <a:pt x="88653" y="102670"/>
                  <a:pt x="88163" y="103324"/>
                </a:cubicBezTo>
                <a:cubicBezTo>
                  <a:pt x="88163" y="103651"/>
                  <a:pt x="88897" y="103651"/>
                  <a:pt x="88653" y="104305"/>
                </a:cubicBezTo>
                <a:cubicBezTo>
                  <a:pt x="87918" y="104632"/>
                  <a:pt x="87918" y="105940"/>
                  <a:pt x="87428" y="105286"/>
                </a:cubicBezTo>
                <a:cubicBezTo>
                  <a:pt x="87183" y="104632"/>
                  <a:pt x="87183" y="105940"/>
                  <a:pt x="87183" y="105286"/>
                </a:cubicBezTo>
                <a:cubicBezTo>
                  <a:pt x="86693" y="104632"/>
                  <a:pt x="86693" y="105940"/>
                  <a:pt x="86693" y="105940"/>
                </a:cubicBezTo>
                <a:cubicBezTo>
                  <a:pt x="87183" y="106267"/>
                  <a:pt x="86448" y="107247"/>
                  <a:pt x="85959" y="107901"/>
                </a:cubicBezTo>
                <a:cubicBezTo>
                  <a:pt x="85714" y="108228"/>
                  <a:pt x="85959" y="107247"/>
                  <a:pt x="85224" y="107901"/>
                </a:cubicBezTo>
                <a:cubicBezTo>
                  <a:pt x="84979" y="108882"/>
                  <a:pt x="84979" y="107901"/>
                  <a:pt x="84489" y="108882"/>
                </a:cubicBezTo>
                <a:cubicBezTo>
                  <a:pt x="84244" y="109536"/>
                  <a:pt x="83755" y="109536"/>
                  <a:pt x="84244" y="109536"/>
                </a:cubicBezTo>
                <a:cubicBezTo>
                  <a:pt x="84489" y="109863"/>
                  <a:pt x="83755" y="109863"/>
                  <a:pt x="83755" y="110517"/>
                </a:cubicBezTo>
                <a:cubicBezTo>
                  <a:pt x="83755" y="110844"/>
                  <a:pt x="83510" y="110844"/>
                  <a:pt x="82775" y="111498"/>
                </a:cubicBezTo>
                <a:cubicBezTo>
                  <a:pt x="82285" y="111825"/>
                  <a:pt x="82285" y="110844"/>
                  <a:pt x="82040" y="110844"/>
                </a:cubicBezTo>
                <a:cubicBezTo>
                  <a:pt x="82040" y="110844"/>
                  <a:pt x="82285" y="111825"/>
                  <a:pt x="82040" y="111825"/>
                </a:cubicBezTo>
                <a:cubicBezTo>
                  <a:pt x="81551" y="111498"/>
                  <a:pt x="81061" y="110844"/>
                  <a:pt x="80816" y="111825"/>
                </a:cubicBezTo>
                <a:cubicBezTo>
                  <a:pt x="80326" y="112479"/>
                  <a:pt x="80326" y="110844"/>
                  <a:pt x="80081" y="111498"/>
                </a:cubicBezTo>
                <a:cubicBezTo>
                  <a:pt x="79591" y="111498"/>
                  <a:pt x="80326" y="111825"/>
                  <a:pt x="80081" y="112479"/>
                </a:cubicBezTo>
                <a:cubicBezTo>
                  <a:pt x="79591" y="112479"/>
                  <a:pt x="79591" y="111498"/>
                  <a:pt x="79591" y="111825"/>
                </a:cubicBezTo>
                <a:cubicBezTo>
                  <a:pt x="79346" y="112479"/>
                  <a:pt x="79591" y="112479"/>
                  <a:pt x="79591" y="112806"/>
                </a:cubicBezTo>
                <a:cubicBezTo>
                  <a:pt x="79346" y="112806"/>
                  <a:pt x="79346" y="112806"/>
                  <a:pt x="78857" y="112806"/>
                </a:cubicBezTo>
                <a:cubicBezTo>
                  <a:pt x="78612" y="112479"/>
                  <a:pt x="78857" y="112479"/>
                  <a:pt x="78612" y="111825"/>
                </a:cubicBezTo>
                <a:cubicBezTo>
                  <a:pt x="78122" y="111498"/>
                  <a:pt x="78122" y="110517"/>
                  <a:pt x="77877" y="110844"/>
                </a:cubicBezTo>
                <a:cubicBezTo>
                  <a:pt x="77877" y="110844"/>
                  <a:pt x="78122" y="112479"/>
                  <a:pt x="78122" y="112806"/>
                </a:cubicBezTo>
                <a:cubicBezTo>
                  <a:pt x="77877" y="113787"/>
                  <a:pt x="77877" y="112806"/>
                  <a:pt x="77387" y="113460"/>
                </a:cubicBezTo>
                <a:cubicBezTo>
                  <a:pt x="77387" y="113787"/>
                  <a:pt x="77142" y="112806"/>
                  <a:pt x="77142" y="113787"/>
                </a:cubicBezTo>
                <a:cubicBezTo>
                  <a:pt x="77142" y="115095"/>
                  <a:pt x="76653" y="113460"/>
                  <a:pt x="76408" y="114441"/>
                </a:cubicBezTo>
                <a:cubicBezTo>
                  <a:pt x="75918" y="115095"/>
                  <a:pt x="75918" y="113787"/>
                  <a:pt x="75673" y="114441"/>
                </a:cubicBezTo>
                <a:cubicBezTo>
                  <a:pt x="75183" y="115422"/>
                  <a:pt x="75673" y="115095"/>
                  <a:pt x="75183" y="114441"/>
                </a:cubicBezTo>
                <a:cubicBezTo>
                  <a:pt x="74448" y="114441"/>
                  <a:pt x="75183" y="115095"/>
                  <a:pt x="74204" y="115422"/>
                </a:cubicBezTo>
                <a:cubicBezTo>
                  <a:pt x="72979" y="116076"/>
                  <a:pt x="73469" y="115422"/>
                  <a:pt x="72489" y="116076"/>
                </a:cubicBezTo>
                <a:cubicBezTo>
                  <a:pt x="71755" y="116403"/>
                  <a:pt x="71510" y="117057"/>
                  <a:pt x="71510" y="117384"/>
                </a:cubicBezTo>
                <a:cubicBezTo>
                  <a:pt x="71510" y="118038"/>
                  <a:pt x="71755" y="117057"/>
                  <a:pt x="71755" y="118038"/>
                </a:cubicBezTo>
                <a:cubicBezTo>
                  <a:pt x="71755" y="119019"/>
                  <a:pt x="72489" y="119019"/>
                  <a:pt x="71510" y="119673"/>
                </a:cubicBezTo>
                <a:cubicBezTo>
                  <a:pt x="70775" y="120000"/>
                  <a:pt x="71020" y="119673"/>
                  <a:pt x="71020" y="119019"/>
                </a:cubicBezTo>
                <a:cubicBezTo>
                  <a:pt x="70775" y="118692"/>
                  <a:pt x="70285" y="118692"/>
                  <a:pt x="70775" y="118038"/>
                </a:cubicBezTo>
                <a:cubicBezTo>
                  <a:pt x="70775" y="117384"/>
                  <a:pt x="70285" y="118038"/>
                  <a:pt x="70285" y="117057"/>
                </a:cubicBezTo>
                <a:cubicBezTo>
                  <a:pt x="70775" y="116076"/>
                  <a:pt x="71020" y="116076"/>
                  <a:pt x="70775" y="115422"/>
                </a:cubicBezTo>
                <a:cubicBezTo>
                  <a:pt x="70775" y="115422"/>
                  <a:pt x="70775" y="116076"/>
                  <a:pt x="70285" y="115422"/>
                </a:cubicBezTo>
                <a:cubicBezTo>
                  <a:pt x="70040" y="114441"/>
                  <a:pt x="70040" y="115095"/>
                  <a:pt x="70285" y="115422"/>
                </a:cubicBezTo>
                <a:cubicBezTo>
                  <a:pt x="70285" y="116076"/>
                  <a:pt x="70040" y="115422"/>
                  <a:pt x="69551" y="116076"/>
                </a:cubicBezTo>
                <a:cubicBezTo>
                  <a:pt x="68816" y="116076"/>
                  <a:pt x="70040" y="115095"/>
                  <a:pt x="69306" y="115095"/>
                </a:cubicBezTo>
                <a:cubicBezTo>
                  <a:pt x="68571" y="115095"/>
                  <a:pt x="68571" y="113787"/>
                  <a:pt x="68081" y="114441"/>
                </a:cubicBezTo>
                <a:cubicBezTo>
                  <a:pt x="68081" y="115095"/>
                  <a:pt x="68571" y="115095"/>
                  <a:pt x="68081" y="115422"/>
                </a:cubicBezTo>
                <a:cubicBezTo>
                  <a:pt x="68081" y="115422"/>
                  <a:pt x="67836" y="114441"/>
                  <a:pt x="67836" y="115422"/>
                </a:cubicBezTo>
                <a:cubicBezTo>
                  <a:pt x="67836" y="116076"/>
                  <a:pt x="67346" y="115422"/>
                  <a:pt x="67346" y="115422"/>
                </a:cubicBezTo>
                <a:cubicBezTo>
                  <a:pt x="66612" y="115095"/>
                  <a:pt x="66367" y="115422"/>
                  <a:pt x="65877" y="115095"/>
                </a:cubicBezTo>
                <a:cubicBezTo>
                  <a:pt x="65877" y="114441"/>
                  <a:pt x="65632" y="115095"/>
                  <a:pt x="65632" y="114441"/>
                </a:cubicBezTo>
                <a:cubicBezTo>
                  <a:pt x="65142" y="113460"/>
                  <a:pt x="64897" y="113787"/>
                  <a:pt x="64897" y="113460"/>
                </a:cubicBezTo>
                <a:cubicBezTo>
                  <a:pt x="64897" y="112479"/>
                  <a:pt x="64163" y="112806"/>
                  <a:pt x="64897" y="111825"/>
                </a:cubicBezTo>
                <a:cubicBezTo>
                  <a:pt x="65142" y="110844"/>
                  <a:pt x="64897" y="110844"/>
                  <a:pt x="64408" y="110844"/>
                </a:cubicBezTo>
                <a:cubicBezTo>
                  <a:pt x="63673" y="111498"/>
                  <a:pt x="64163" y="110517"/>
                  <a:pt x="63183" y="110844"/>
                </a:cubicBezTo>
                <a:cubicBezTo>
                  <a:pt x="62448" y="110844"/>
                  <a:pt x="62204" y="108882"/>
                  <a:pt x="61714" y="109536"/>
                </a:cubicBezTo>
                <a:cubicBezTo>
                  <a:pt x="61469" y="110517"/>
                  <a:pt x="60979" y="109863"/>
                  <a:pt x="60979" y="110517"/>
                </a:cubicBezTo>
                <a:cubicBezTo>
                  <a:pt x="61469" y="110844"/>
                  <a:pt x="60244" y="111825"/>
                  <a:pt x="60000" y="111498"/>
                </a:cubicBezTo>
                <a:cubicBezTo>
                  <a:pt x="60000" y="110844"/>
                  <a:pt x="59510" y="110844"/>
                  <a:pt x="59510" y="111825"/>
                </a:cubicBezTo>
                <a:cubicBezTo>
                  <a:pt x="59510" y="112806"/>
                  <a:pt x="59265" y="111825"/>
                  <a:pt x="58775" y="111498"/>
                </a:cubicBezTo>
                <a:cubicBezTo>
                  <a:pt x="58775" y="111498"/>
                  <a:pt x="58775" y="111825"/>
                  <a:pt x="58530" y="111498"/>
                </a:cubicBezTo>
                <a:cubicBezTo>
                  <a:pt x="58040" y="110517"/>
                  <a:pt x="58040" y="112479"/>
                  <a:pt x="57795" y="112479"/>
                </a:cubicBezTo>
                <a:cubicBezTo>
                  <a:pt x="57306" y="112479"/>
                  <a:pt x="57795" y="111825"/>
                  <a:pt x="57061" y="111498"/>
                </a:cubicBezTo>
                <a:cubicBezTo>
                  <a:pt x="56326" y="110844"/>
                  <a:pt x="56571" y="112479"/>
                  <a:pt x="55836" y="112479"/>
                </a:cubicBezTo>
                <a:cubicBezTo>
                  <a:pt x="55591" y="112479"/>
                  <a:pt x="54367" y="112479"/>
                  <a:pt x="55102" y="113787"/>
                </a:cubicBezTo>
                <a:cubicBezTo>
                  <a:pt x="55591" y="116076"/>
                  <a:pt x="55102" y="115422"/>
                  <a:pt x="55102" y="116076"/>
                </a:cubicBezTo>
                <a:cubicBezTo>
                  <a:pt x="55591" y="116403"/>
                  <a:pt x="55102" y="117057"/>
                  <a:pt x="55102" y="116403"/>
                </a:cubicBezTo>
                <a:cubicBezTo>
                  <a:pt x="54612" y="116076"/>
                  <a:pt x="54367" y="117384"/>
                  <a:pt x="53877" y="115422"/>
                </a:cubicBezTo>
                <a:cubicBezTo>
                  <a:pt x="53877" y="115095"/>
                  <a:pt x="53877" y="113787"/>
                  <a:pt x="53142" y="115095"/>
                </a:cubicBezTo>
                <a:cubicBezTo>
                  <a:pt x="52408" y="116403"/>
                  <a:pt x="52408" y="115422"/>
                  <a:pt x="52163" y="115422"/>
                </a:cubicBezTo>
                <a:cubicBezTo>
                  <a:pt x="51673" y="116076"/>
                  <a:pt x="52163" y="115095"/>
                  <a:pt x="51673" y="115095"/>
                </a:cubicBezTo>
                <a:cubicBezTo>
                  <a:pt x="51428" y="114441"/>
                  <a:pt x="51673" y="113787"/>
                  <a:pt x="51428" y="113460"/>
                </a:cubicBezTo>
                <a:cubicBezTo>
                  <a:pt x="50938" y="113460"/>
                  <a:pt x="49959" y="113787"/>
                  <a:pt x="50204" y="112806"/>
                </a:cubicBezTo>
                <a:cubicBezTo>
                  <a:pt x="50693" y="111498"/>
                  <a:pt x="50204" y="111825"/>
                  <a:pt x="50204" y="110844"/>
                </a:cubicBezTo>
                <a:cubicBezTo>
                  <a:pt x="50693" y="110517"/>
                  <a:pt x="51428" y="110517"/>
                  <a:pt x="50204" y="110517"/>
                </a:cubicBezTo>
                <a:cubicBezTo>
                  <a:pt x="49224" y="110517"/>
                  <a:pt x="49469" y="109536"/>
                  <a:pt x="49224" y="108228"/>
                </a:cubicBezTo>
                <a:cubicBezTo>
                  <a:pt x="48734" y="107247"/>
                  <a:pt x="49959" y="106267"/>
                  <a:pt x="49224" y="106920"/>
                </a:cubicBezTo>
                <a:cubicBezTo>
                  <a:pt x="48734" y="107247"/>
                  <a:pt x="48489" y="106267"/>
                  <a:pt x="47755" y="107247"/>
                </a:cubicBezTo>
                <a:cubicBezTo>
                  <a:pt x="47020" y="107901"/>
                  <a:pt x="47020" y="107247"/>
                  <a:pt x="47265" y="106920"/>
                </a:cubicBezTo>
                <a:cubicBezTo>
                  <a:pt x="47755" y="106267"/>
                  <a:pt x="46040" y="105286"/>
                  <a:pt x="47265" y="104632"/>
                </a:cubicBezTo>
                <a:cubicBezTo>
                  <a:pt x="47755" y="104305"/>
                  <a:pt x="47020" y="103324"/>
                  <a:pt x="47755" y="102670"/>
                </a:cubicBezTo>
                <a:cubicBezTo>
                  <a:pt x="48489" y="102670"/>
                  <a:pt x="48000" y="101689"/>
                  <a:pt x="48489" y="101689"/>
                </a:cubicBezTo>
                <a:cubicBezTo>
                  <a:pt x="48734" y="102343"/>
                  <a:pt x="48489" y="101362"/>
                  <a:pt x="49224" y="101362"/>
                </a:cubicBezTo>
                <a:cubicBezTo>
                  <a:pt x="49469" y="101362"/>
                  <a:pt x="48734" y="100381"/>
                  <a:pt x="49224" y="98746"/>
                </a:cubicBezTo>
                <a:cubicBezTo>
                  <a:pt x="49469" y="97111"/>
                  <a:pt x="48734" y="96784"/>
                  <a:pt x="49224" y="96130"/>
                </a:cubicBezTo>
                <a:cubicBezTo>
                  <a:pt x="49469" y="95803"/>
                  <a:pt x="49224" y="94495"/>
                  <a:pt x="48734" y="95149"/>
                </a:cubicBezTo>
                <a:cubicBezTo>
                  <a:pt x="48000" y="95803"/>
                  <a:pt x="48734" y="93514"/>
                  <a:pt x="47755" y="92534"/>
                </a:cubicBezTo>
                <a:cubicBezTo>
                  <a:pt x="46530" y="91226"/>
                  <a:pt x="47020" y="92534"/>
                  <a:pt x="46530" y="93188"/>
                </a:cubicBezTo>
                <a:cubicBezTo>
                  <a:pt x="46040" y="92534"/>
                  <a:pt x="46040" y="92207"/>
                  <a:pt x="45061" y="92534"/>
                </a:cubicBezTo>
                <a:cubicBezTo>
                  <a:pt x="43591" y="92534"/>
                  <a:pt x="45306" y="92207"/>
                  <a:pt x="45061" y="90572"/>
                </a:cubicBezTo>
                <a:cubicBezTo>
                  <a:pt x="45061" y="89591"/>
                  <a:pt x="43836" y="91226"/>
                  <a:pt x="44571" y="89918"/>
                </a:cubicBezTo>
                <a:cubicBezTo>
                  <a:pt x="45061" y="88937"/>
                  <a:pt x="44571" y="89918"/>
                  <a:pt x="44326" y="88937"/>
                </a:cubicBezTo>
                <a:cubicBezTo>
                  <a:pt x="44326" y="88610"/>
                  <a:pt x="43102" y="88937"/>
                  <a:pt x="43102" y="89591"/>
                </a:cubicBezTo>
                <a:cubicBezTo>
                  <a:pt x="42857" y="89918"/>
                  <a:pt x="42367" y="89918"/>
                  <a:pt x="41632" y="89591"/>
                </a:cubicBezTo>
                <a:cubicBezTo>
                  <a:pt x="41387" y="88937"/>
                  <a:pt x="40897" y="89591"/>
                  <a:pt x="40163" y="90572"/>
                </a:cubicBezTo>
                <a:cubicBezTo>
                  <a:pt x="39428" y="91553"/>
                  <a:pt x="38693" y="91226"/>
                  <a:pt x="38448" y="92207"/>
                </a:cubicBezTo>
                <a:cubicBezTo>
                  <a:pt x="38448" y="93188"/>
                  <a:pt x="37469" y="92534"/>
                  <a:pt x="37469" y="93514"/>
                </a:cubicBezTo>
                <a:cubicBezTo>
                  <a:pt x="37469" y="94168"/>
                  <a:pt x="36734" y="94495"/>
                  <a:pt x="35265" y="94495"/>
                </a:cubicBezTo>
                <a:cubicBezTo>
                  <a:pt x="35755" y="93514"/>
                  <a:pt x="35265" y="93514"/>
                  <a:pt x="35020" y="93514"/>
                </a:cubicBezTo>
                <a:cubicBezTo>
                  <a:pt x="34530" y="93188"/>
                  <a:pt x="34530" y="94168"/>
                  <a:pt x="34285" y="93514"/>
                </a:cubicBezTo>
                <a:cubicBezTo>
                  <a:pt x="33795" y="93188"/>
                  <a:pt x="32816" y="93514"/>
                  <a:pt x="33061" y="93188"/>
                </a:cubicBezTo>
                <a:cubicBezTo>
                  <a:pt x="33551" y="92534"/>
                  <a:pt x="32081" y="92207"/>
                  <a:pt x="31591" y="93514"/>
                </a:cubicBezTo>
                <a:cubicBezTo>
                  <a:pt x="31346" y="94495"/>
                  <a:pt x="30857" y="93514"/>
                  <a:pt x="30857" y="94495"/>
                </a:cubicBezTo>
                <a:cubicBezTo>
                  <a:pt x="30612" y="95803"/>
                  <a:pt x="30612" y="95149"/>
                  <a:pt x="30122" y="96130"/>
                </a:cubicBezTo>
                <a:cubicBezTo>
                  <a:pt x="29877" y="94495"/>
                  <a:pt x="31346" y="92207"/>
                  <a:pt x="28653" y="94168"/>
                </a:cubicBezTo>
                <a:cubicBezTo>
                  <a:pt x="28653" y="94168"/>
                  <a:pt x="28163" y="94168"/>
                  <a:pt x="27918" y="94168"/>
                </a:cubicBezTo>
                <a:cubicBezTo>
                  <a:pt x="27918" y="94495"/>
                  <a:pt x="27918" y="94168"/>
                  <a:pt x="27183" y="94168"/>
                </a:cubicBezTo>
                <a:cubicBezTo>
                  <a:pt x="26693" y="94495"/>
                  <a:pt x="25959" y="92534"/>
                  <a:pt x="25714" y="93514"/>
                </a:cubicBezTo>
                <a:cubicBezTo>
                  <a:pt x="25714" y="94168"/>
                  <a:pt x="25224" y="94168"/>
                  <a:pt x="24979" y="93514"/>
                </a:cubicBezTo>
                <a:cubicBezTo>
                  <a:pt x="24489" y="92534"/>
                  <a:pt x="24979" y="94168"/>
                  <a:pt x="24489" y="94168"/>
                </a:cubicBezTo>
                <a:cubicBezTo>
                  <a:pt x="24244" y="94168"/>
                  <a:pt x="24244" y="92534"/>
                  <a:pt x="23755" y="92534"/>
                </a:cubicBezTo>
                <a:cubicBezTo>
                  <a:pt x="23020" y="92534"/>
                  <a:pt x="22775" y="93188"/>
                  <a:pt x="23020" y="92207"/>
                </a:cubicBezTo>
                <a:cubicBezTo>
                  <a:pt x="23020" y="91553"/>
                  <a:pt x="23020" y="91553"/>
                  <a:pt x="22775" y="91553"/>
                </a:cubicBezTo>
                <a:cubicBezTo>
                  <a:pt x="22285" y="92207"/>
                  <a:pt x="21306" y="91226"/>
                  <a:pt x="21306" y="89918"/>
                </a:cubicBezTo>
                <a:cubicBezTo>
                  <a:pt x="21306" y="88937"/>
                  <a:pt x="20816" y="89591"/>
                  <a:pt x="20081" y="89591"/>
                </a:cubicBezTo>
                <a:cubicBezTo>
                  <a:pt x="19591" y="89918"/>
                  <a:pt x="19346" y="87956"/>
                  <a:pt x="18857" y="87956"/>
                </a:cubicBezTo>
                <a:cubicBezTo>
                  <a:pt x="18122" y="87956"/>
                  <a:pt x="18122" y="86975"/>
                  <a:pt x="17387" y="86975"/>
                </a:cubicBezTo>
                <a:cubicBezTo>
                  <a:pt x="16653" y="86648"/>
                  <a:pt x="17877" y="85994"/>
                  <a:pt x="16408" y="85340"/>
                </a:cubicBezTo>
                <a:cubicBezTo>
                  <a:pt x="15183" y="85013"/>
                  <a:pt x="15673" y="87956"/>
                  <a:pt x="14938" y="85994"/>
                </a:cubicBezTo>
                <a:cubicBezTo>
                  <a:pt x="14938" y="85340"/>
                  <a:pt x="13714" y="85013"/>
                  <a:pt x="12979" y="84032"/>
                </a:cubicBezTo>
                <a:cubicBezTo>
                  <a:pt x="12244" y="83051"/>
                  <a:pt x="12244" y="84359"/>
                  <a:pt x="11510" y="82397"/>
                </a:cubicBezTo>
                <a:cubicBezTo>
                  <a:pt x="11020" y="81416"/>
                  <a:pt x="10285" y="83378"/>
                  <a:pt x="10285" y="82070"/>
                </a:cubicBezTo>
                <a:cubicBezTo>
                  <a:pt x="10775" y="80435"/>
                  <a:pt x="10285" y="79455"/>
                  <a:pt x="10040" y="78801"/>
                </a:cubicBezTo>
                <a:cubicBezTo>
                  <a:pt x="9551" y="77820"/>
                  <a:pt x="10285" y="77820"/>
                  <a:pt x="10775" y="78474"/>
                </a:cubicBezTo>
                <a:cubicBezTo>
                  <a:pt x="11020" y="79455"/>
                  <a:pt x="11020" y="78474"/>
                  <a:pt x="11510" y="78474"/>
                </a:cubicBezTo>
                <a:cubicBezTo>
                  <a:pt x="12734" y="77820"/>
                  <a:pt x="11510" y="76839"/>
                  <a:pt x="11755" y="76512"/>
                </a:cubicBezTo>
                <a:cubicBezTo>
                  <a:pt x="11755" y="75858"/>
                  <a:pt x="10285" y="75858"/>
                  <a:pt x="10775" y="74223"/>
                </a:cubicBezTo>
                <a:cubicBezTo>
                  <a:pt x="11020" y="73896"/>
                  <a:pt x="10040" y="73242"/>
                  <a:pt x="11510" y="72915"/>
                </a:cubicBezTo>
                <a:cubicBezTo>
                  <a:pt x="12734" y="72915"/>
                  <a:pt x="11510" y="72261"/>
                  <a:pt x="12979" y="70626"/>
                </a:cubicBezTo>
                <a:cubicBezTo>
                  <a:pt x="13714" y="69645"/>
                  <a:pt x="12979" y="69645"/>
                  <a:pt x="13469" y="68664"/>
                </a:cubicBezTo>
                <a:cubicBezTo>
                  <a:pt x="14204" y="67683"/>
                  <a:pt x="13469" y="67356"/>
                  <a:pt x="13469" y="67683"/>
                </a:cubicBezTo>
                <a:cubicBezTo>
                  <a:pt x="12979" y="68664"/>
                  <a:pt x="12979" y="67356"/>
                  <a:pt x="12734" y="67683"/>
                </a:cubicBezTo>
                <a:cubicBezTo>
                  <a:pt x="12244" y="67683"/>
                  <a:pt x="12734" y="66049"/>
                  <a:pt x="11020" y="66049"/>
                </a:cubicBezTo>
                <a:cubicBezTo>
                  <a:pt x="9551" y="66702"/>
                  <a:pt x="10040" y="67356"/>
                  <a:pt x="8816" y="67683"/>
                </a:cubicBezTo>
                <a:cubicBezTo>
                  <a:pt x="8571" y="67683"/>
                  <a:pt x="8571" y="67683"/>
                  <a:pt x="8571" y="67683"/>
                </a:cubicBezTo>
                <a:cubicBezTo>
                  <a:pt x="7836" y="67683"/>
                  <a:pt x="6612" y="67356"/>
                  <a:pt x="6367" y="66702"/>
                </a:cubicBezTo>
                <a:cubicBezTo>
                  <a:pt x="6367" y="66049"/>
                  <a:pt x="5877" y="67356"/>
                  <a:pt x="5142" y="66049"/>
                </a:cubicBezTo>
                <a:cubicBezTo>
                  <a:pt x="4897" y="65068"/>
                  <a:pt x="5632" y="65722"/>
                  <a:pt x="5142" y="64087"/>
                </a:cubicBezTo>
                <a:cubicBezTo>
                  <a:pt x="4408" y="62779"/>
                  <a:pt x="4163" y="64087"/>
                  <a:pt x="4163" y="63106"/>
                </a:cubicBezTo>
                <a:cubicBezTo>
                  <a:pt x="3673" y="62125"/>
                  <a:pt x="2938" y="63106"/>
                  <a:pt x="2204" y="62125"/>
                </a:cubicBezTo>
                <a:cubicBezTo>
                  <a:pt x="1714" y="62125"/>
                  <a:pt x="1714" y="61471"/>
                  <a:pt x="2448" y="61471"/>
                </a:cubicBezTo>
                <a:cubicBezTo>
                  <a:pt x="3183" y="61471"/>
                  <a:pt x="3673" y="61144"/>
                  <a:pt x="3183" y="60490"/>
                </a:cubicBezTo>
                <a:cubicBezTo>
                  <a:pt x="2448" y="60163"/>
                  <a:pt x="3183" y="59182"/>
                  <a:pt x="2938" y="58528"/>
                </a:cubicBezTo>
                <a:cubicBezTo>
                  <a:pt x="2448" y="58201"/>
                  <a:pt x="2938" y="57547"/>
                  <a:pt x="2938" y="56893"/>
                </a:cubicBezTo>
                <a:cubicBezTo>
                  <a:pt x="2448" y="56566"/>
                  <a:pt x="1469" y="55912"/>
                  <a:pt x="1469" y="56893"/>
                </a:cubicBezTo>
                <a:cubicBezTo>
                  <a:pt x="1469" y="57547"/>
                  <a:pt x="734" y="56566"/>
                  <a:pt x="979" y="55585"/>
                </a:cubicBezTo>
                <a:cubicBezTo>
                  <a:pt x="979" y="54931"/>
                  <a:pt x="244" y="54931"/>
                  <a:pt x="734" y="53950"/>
                </a:cubicBezTo>
                <a:cubicBezTo>
                  <a:pt x="2204" y="53623"/>
                  <a:pt x="0" y="51989"/>
                  <a:pt x="1714" y="51335"/>
                </a:cubicBezTo>
                <a:cubicBezTo>
                  <a:pt x="3183" y="51008"/>
                  <a:pt x="2448" y="50027"/>
                  <a:pt x="3183" y="50027"/>
                </a:cubicBezTo>
                <a:cubicBezTo>
                  <a:pt x="4408" y="50354"/>
                  <a:pt x="4163" y="48392"/>
                  <a:pt x="4408" y="50027"/>
                </a:cubicBezTo>
                <a:cubicBezTo>
                  <a:pt x="4897" y="51335"/>
                  <a:pt x="5142" y="50027"/>
                  <a:pt x="5632" y="50354"/>
                </a:cubicBezTo>
                <a:cubicBezTo>
                  <a:pt x="6367" y="51008"/>
                  <a:pt x="6367" y="50027"/>
                  <a:pt x="6612" y="48392"/>
                </a:cubicBezTo>
                <a:cubicBezTo>
                  <a:pt x="7102" y="47411"/>
                  <a:pt x="9306" y="49046"/>
                  <a:pt x="9551" y="46757"/>
                </a:cubicBezTo>
                <a:cubicBezTo>
                  <a:pt x="10040" y="45776"/>
                  <a:pt x="11755" y="45449"/>
                  <a:pt x="12734" y="44795"/>
                </a:cubicBezTo>
                <a:cubicBezTo>
                  <a:pt x="12979" y="44468"/>
                  <a:pt x="12979" y="44795"/>
                  <a:pt x="13714" y="43814"/>
                </a:cubicBezTo>
                <a:cubicBezTo>
                  <a:pt x="13714" y="43160"/>
                  <a:pt x="12979" y="41852"/>
                  <a:pt x="13714" y="41198"/>
                </a:cubicBezTo>
                <a:cubicBezTo>
                  <a:pt x="14448" y="41198"/>
                  <a:pt x="13469" y="40871"/>
                  <a:pt x="14204" y="40217"/>
                </a:cubicBezTo>
                <a:cubicBezTo>
                  <a:pt x="15183" y="39891"/>
                  <a:pt x="13469" y="35640"/>
                  <a:pt x="13714" y="34659"/>
                </a:cubicBezTo>
                <a:cubicBezTo>
                  <a:pt x="14204" y="33678"/>
                  <a:pt x="11510" y="33678"/>
                  <a:pt x="13469" y="33024"/>
                </a:cubicBezTo>
                <a:cubicBezTo>
                  <a:pt x="14448" y="32697"/>
                  <a:pt x="15918" y="32043"/>
                  <a:pt x="16408" y="32043"/>
                </a:cubicBezTo>
                <a:cubicBezTo>
                  <a:pt x="17142" y="32697"/>
                  <a:pt x="17877" y="33024"/>
                  <a:pt x="18122" y="32043"/>
                </a:cubicBezTo>
                <a:cubicBezTo>
                  <a:pt x="18122" y="31062"/>
                  <a:pt x="17142" y="31716"/>
                  <a:pt x="17387" y="30735"/>
                </a:cubicBezTo>
                <a:cubicBezTo>
                  <a:pt x="18122" y="29754"/>
                  <a:pt x="18612" y="26485"/>
                  <a:pt x="18612" y="25504"/>
                </a:cubicBezTo>
                <a:cubicBezTo>
                  <a:pt x="18857" y="23869"/>
                  <a:pt x="20081" y="26158"/>
                  <a:pt x="21306" y="26158"/>
                </a:cubicBezTo>
                <a:cubicBezTo>
                  <a:pt x="22285" y="25504"/>
                  <a:pt x="22040" y="26485"/>
                  <a:pt x="22775" y="26158"/>
                </a:cubicBezTo>
                <a:cubicBezTo>
                  <a:pt x="23755" y="25504"/>
                  <a:pt x="24244" y="24850"/>
                  <a:pt x="23755" y="23869"/>
                </a:cubicBezTo>
                <a:cubicBezTo>
                  <a:pt x="23510" y="22888"/>
                  <a:pt x="23020" y="20926"/>
                  <a:pt x="25224" y="19945"/>
                </a:cubicBezTo>
                <a:cubicBezTo>
                  <a:pt x="27183" y="19291"/>
                  <a:pt x="24979" y="17329"/>
                  <a:pt x="27183" y="17983"/>
                </a:cubicBezTo>
                <a:cubicBezTo>
                  <a:pt x="28163" y="17329"/>
                  <a:pt x="28163" y="17329"/>
                  <a:pt x="28163" y="17329"/>
                </a:cubicBezTo>
                <a:cubicBezTo>
                  <a:pt x="27918" y="18964"/>
                  <a:pt x="28897" y="20926"/>
                  <a:pt x="30122" y="21580"/>
                </a:cubicBezTo>
                <a:cubicBezTo>
                  <a:pt x="30857" y="22561"/>
                  <a:pt x="31346" y="20926"/>
                  <a:pt x="31591" y="21907"/>
                </a:cubicBezTo>
                <a:cubicBezTo>
                  <a:pt x="32081" y="22888"/>
                  <a:pt x="32326" y="21907"/>
                  <a:pt x="32326" y="22561"/>
                </a:cubicBezTo>
                <a:cubicBezTo>
                  <a:pt x="32816" y="23542"/>
                  <a:pt x="34530" y="25504"/>
                  <a:pt x="34285" y="27465"/>
                </a:cubicBezTo>
                <a:cubicBezTo>
                  <a:pt x="33795" y="29754"/>
                  <a:pt x="34530" y="29100"/>
                  <a:pt x="33795" y="30735"/>
                </a:cubicBezTo>
                <a:cubicBezTo>
                  <a:pt x="33551" y="31062"/>
                  <a:pt x="33551" y="32697"/>
                  <a:pt x="34530" y="32697"/>
                </a:cubicBezTo>
                <a:cubicBezTo>
                  <a:pt x="35265" y="32697"/>
                  <a:pt x="36000" y="33024"/>
                  <a:pt x="37224" y="33024"/>
                </a:cubicBezTo>
                <a:cubicBezTo>
                  <a:pt x="38448" y="33024"/>
                  <a:pt x="39428" y="33024"/>
                  <a:pt x="41387" y="35640"/>
                </a:cubicBezTo>
                <a:cubicBezTo>
                  <a:pt x="43591" y="38256"/>
                  <a:pt x="43102" y="36294"/>
                  <a:pt x="43591" y="38256"/>
                </a:cubicBezTo>
                <a:cubicBezTo>
                  <a:pt x="43836" y="40871"/>
                  <a:pt x="44326" y="39891"/>
                  <a:pt x="44571" y="41198"/>
                </a:cubicBezTo>
                <a:cubicBezTo>
                  <a:pt x="44571" y="42179"/>
                  <a:pt x="45306" y="41198"/>
                  <a:pt x="46040" y="41852"/>
                </a:cubicBezTo>
                <a:cubicBezTo>
                  <a:pt x="49469" y="42179"/>
                  <a:pt x="49959" y="42179"/>
                  <a:pt x="52408" y="41852"/>
                </a:cubicBezTo>
                <a:cubicBezTo>
                  <a:pt x="55102" y="41852"/>
                  <a:pt x="55836" y="43814"/>
                  <a:pt x="56571" y="43814"/>
                </a:cubicBezTo>
                <a:cubicBezTo>
                  <a:pt x="57306" y="43814"/>
                  <a:pt x="58775" y="45776"/>
                  <a:pt x="60000" y="44795"/>
                </a:cubicBezTo>
                <a:cubicBezTo>
                  <a:pt x="60979" y="44468"/>
                  <a:pt x="60244" y="45776"/>
                  <a:pt x="60734" y="45776"/>
                </a:cubicBezTo>
                <a:cubicBezTo>
                  <a:pt x="61469" y="45449"/>
                  <a:pt x="61469" y="46430"/>
                  <a:pt x="61714" y="45776"/>
                </a:cubicBezTo>
                <a:cubicBezTo>
                  <a:pt x="64897" y="43160"/>
                  <a:pt x="64897" y="44468"/>
                  <a:pt x="65632" y="43160"/>
                </a:cubicBezTo>
                <a:cubicBezTo>
                  <a:pt x="66612" y="42179"/>
                  <a:pt x="65877" y="42833"/>
                  <a:pt x="67102" y="42833"/>
                </a:cubicBezTo>
                <a:cubicBezTo>
                  <a:pt x="68571" y="42833"/>
                  <a:pt x="68571" y="43160"/>
                  <a:pt x="69306" y="42833"/>
                </a:cubicBezTo>
                <a:cubicBezTo>
                  <a:pt x="69551" y="42179"/>
                  <a:pt x="70040" y="43160"/>
                  <a:pt x="70285" y="42833"/>
                </a:cubicBezTo>
                <a:cubicBezTo>
                  <a:pt x="70775" y="41852"/>
                  <a:pt x="71510" y="42179"/>
                  <a:pt x="72244" y="40871"/>
                </a:cubicBezTo>
                <a:cubicBezTo>
                  <a:pt x="73469" y="39237"/>
                  <a:pt x="73714" y="39237"/>
                  <a:pt x="74938" y="38256"/>
                </a:cubicBezTo>
                <a:cubicBezTo>
                  <a:pt x="75673" y="37602"/>
                  <a:pt x="74204" y="36621"/>
                  <a:pt x="74204" y="35640"/>
                </a:cubicBezTo>
                <a:cubicBezTo>
                  <a:pt x="74204" y="34005"/>
                  <a:pt x="74204" y="33024"/>
                  <a:pt x="74938" y="33024"/>
                </a:cubicBezTo>
                <a:cubicBezTo>
                  <a:pt x="75918" y="32697"/>
                  <a:pt x="76653" y="35313"/>
                  <a:pt x="78612" y="34005"/>
                </a:cubicBezTo>
                <a:cubicBezTo>
                  <a:pt x="80081" y="33024"/>
                  <a:pt x="79591" y="31716"/>
                  <a:pt x="80816" y="31716"/>
                </a:cubicBezTo>
                <a:cubicBezTo>
                  <a:pt x="81551" y="32043"/>
                  <a:pt x="82285" y="31716"/>
                  <a:pt x="83020" y="30735"/>
                </a:cubicBezTo>
                <a:cubicBezTo>
                  <a:pt x="83755" y="30081"/>
                  <a:pt x="83020" y="30081"/>
                  <a:pt x="83755" y="28446"/>
                </a:cubicBezTo>
                <a:cubicBezTo>
                  <a:pt x="84489" y="27465"/>
                  <a:pt x="85714" y="28119"/>
                  <a:pt x="86448" y="27138"/>
                </a:cubicBezTo>
                <a:cubicBezTo>
                  <a:pt x="87428" y="26485"/>
                  <a:pt x="87918" y="27465"/>
                  <a:pt x="88163" y="27138"/>
                </a:cubicBezTo>
                <a:cubicBezTo>
                  <a:pt x="88653" y="26485"/>
                  <a:pt x="89632" y="27465"/>
                  <a:pt x="90612" y="27138"/>
                </a:cubicBezTo>
                <a:cubicBezTo>
                  <a:pt x="90857" y="26485"/>
                  <a:pt x="90122" y="24850"/>
                  <a:pt x="89387" y="23869"/>
                </a:cubicBezTo>
                <a:cubicBezTo>
                  <a:pt x="88653" y="22888"/>
                  <a:pt x="88163" y="21907"/>
                  <a:pt x="86693" y="21907"/>
                </a:cubicBezTo>
                <a:cubicBezTo>
                  <a:pt x="85224" y="21907"/>
                  <a:pt x="85959" y="23869"/>
                  <a:pt x="85224" y="22888"/>
                </a:cubicBezTo>
                <a:cubicBezTo>
                  <a:pt x="84489" y="22561"/>
                  <a:pt x="83510" y="22561"/>
                  <a:pt x="83020" y="22888"/>
                </a:cubicBezTo>
                <a:cubicBezTo>
                  <a:pt x="82775" y="23542"/>
                  <a:pt x="81551" y="21907"/>
                  <a:pt x="82285" y="21580"/>
                </a:cubicBezTo>
                <a:cubicBezTo>
                  <a:pt x="83020" y="20599"/>
                  <a:pt x="81551" y="21907"/>
                  <a:pt x="84244" y="15040"/>
                </a:cubicBezTo>
                <a:cubicBezTo>
                  <a:pt x="85959" y="16348"/>
                  <a:pt x="86693" y="16348"/>
                  <a:pt x="88163" y="14386"/>
                </a:cubicBezTo>
                <a:cubicBezTo>
                  <a:pt x="89632" y="12425"/>
                  <a:pt x="89387" y="10790"/>
                  <a:pt x="91346" y="7847"/>
                </a:cubicBezTo>
                <a:cubicBezTo>
                  <a:pt x="92816" y="5231"/>
                  <a:pt x="92081" y="4250"/>
                  <a:pt x="90857" y="4250"/>
                </a:cubicBezTo>
                <a:cubicBezTo>
                  <a:pt x="89632" y="4250"/>
                  <a:pt x="91346" y="980"/>
                  <a:pt x="95020" y="653"/>
                </a:cubicBezTo>
                <a:cubicBezTo>
                  <a:pt x="98204" y="0"/>
                  <a:pt x="99428" y="1634"/>
                  <a:pt x="100653" y="1634"/>
                </a:cubicBezTo>
                <a:cubicBezTo>
                  <a:pt x="101632" y="1634"/>
                  <a:pt x="103836" y="5885"/>
                  <a:pt x="104571" y="10790"/>
                </a:cubicBezTo>
                <a:cubicBezTo>
                  <a:pt x="105061" y="16348"/>
                  <a:pt x="105795" y="16021"/>
                  <a:pt x="108000" y="16348"/>
                </a:cubicBezTo>
                <a:cubicBezTo>
                  <a:pt x="110204" y="17002"/>
                  <a:pt x="109469" y="18310"/>
                  <a:pt x="110693" y="18310"/>
                </a:cubicBezTo>
                <a:cubicBezTo>
                  <a:pt x="111673" y="18964"/>
                  <a:pt x="110693" y="19945"/>
                  <a:pt x="111428" y="20599"/>
                </a:cubicBezTo>
                <a:cubicBezTo>
                  <a:pt x="112163" y="20926"/>
                  <a:pt x="110693" y="21580"/>
                  <a:pt x="111673" y="22561"/>
                </a:cubicBezTo>
                <a:cubicBezTo>
                  <a:pt x="112897" y="23869"/>
                  <a:pt x="114367" y="23542"/>
                  <a:pt x="115346" y="21907"/>
                </a:cubicBezTo>
                <a:cubicBezTo>
                  <a:pt x="116571" y="20926"/>
                  <a:pt x="116571" y="22561"/>
                  <a:pt x="117795" y="20926"/>
                </a:cubicBezTo>
                <a:cubicBezTo>
                  <a:pt x="118775" y="19291"/>
                  <a:pt x="120000" y="21907"/>
                  <a:pt x="118775" y="23869"/>
                </a:cubicBezTo>
                <a:cubicBezTo>
                  <a:pt x="117795" y="26485"/>
                  <a:pt x="117061" y="34005"/>
                  <a:pt x="115346" y="33024"/>
                </a:cubicBezTo>
                <a:cubicBezTo>
                  <a:pt x="113877" y="32043"/>
                  <a:pt x="113632" y="31716"/>
                  <a:pt x="113142" y="32697"/>
                </a:cubicBezTo>
                <a:cubicBezTo>
                  <a:pt x="112897" y="34005"/>
                  <a:pt x="111428" y="32697"/>
                  <a:pt x="112163" y="34659"/>
                </a:cubicBezTo>
                <a:cubicBezTo>
                  <a:pt x="112408" y="36621"/>
                  <a:pt x="112897" y="38910"/>
                  <a:pt x="112163" y="40217"/>
                </a:cubicBezTo>
                <a:cubicBezTo>
                  <a:pt x="111673" y="42179"/>
                  <a:pt x="111428" y="40217"/>
                  <a:pt x="110938" y="42179"/>
                </a:cubicBezTo>
                <a:cubicBezTo>
                  <a:pt x="110938" y="42833"/>
                  <a:pt x="110938" y="42833"/>
                  <a:pt x="110938" y="42833"/>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41" name="Shape 1804"/>
          <p:cNvSpPr/>
          <p:nvPr/>
        </p:nvSpPr>
        <p:spPr>
          <a:xfrm>
            <a:off x="9888945" y="6083085"/>
            <a:ext cx="324080" cy="422568"/>
          </a:xfrm>
          <a:custGeom>
            <a:avLst/>
            <a:gdLst/>
            <a:ahLst/>
            <a:cxnLst/>
            <a:rect l="0" t="0" r="0" b="0"/>
            <a:pathLst>
              <a:path w="120000" h="120000" extrusionOk="0">
                <a:moveTo>
                  <a:pt x="57551" y="59562"/>
                </a:moveTo>
                <a:cubicBezTo>
                  <a:pt x="62448" y="56058"/>
                  <a:pt x="66122" y="58686"/>
                  <a:pt x="64897" y="59562"/>
                </a:cubicBezTo>
                <a:cubicBezTo>
                  <a:pt x="61224" y="59562"/>
                  <a:pt x="62448" y="61313"/>
                  <a:pt x="64897" y="61313"/>
                </a:cubicBezTo>
                <a:cubicBezTo>
                  <a:pt x="66122" y="61313"/>
                  <a:pt x="62448" y="69197"/>
                  <a:pt x="68571" y="64817"/>
                </a:cubicBezTo>
                <a:cubicBezTo>
                  <a:pt x="75918" y="61313"/>
                  <a:pt x="79591" y="62189"/>
                  <a:pt x="75918" y="66569"/>
                </a:cubicBezTo>
                <a:cubicBezTo>
                  <a:pt x="73469" y="69197"/>
                  <a:pt x="80816" y="68321"/>
                  <a:pt x="75918" y="71824"/>
                </a:cubicBezTo>
                <a:cubicBezTo>
                  <a:pt x="69795" y="77080"/>
                  <a:pt x="68571" y="83211"/>
                  <a:pt x="64897" y="83211"/>
                </a:cubicBezTo>
                <a:cubicBezTo>
                  <a:pt x="62448" y="83211"/>
                  <a:pt x="61224" y="88467"/>
                  <a:pt x="64897" y="88467"/>
                </a:cubicBezTo>
                <a:cubicBezTo>
                  <a:pt x="68571" y="89343"/>
                  <a:pt x="66122" y="91970"/>
                  <a:pt x="62448" y="91094"/>
                </a:cubicBezTo>
                <a:cubicBezTo>
                  <a:pt x="61224" y="91094"/>
                  <a:pt x="47755" y="91970"/>
                  <a:pt x="47755" y="98978"/>
                </a:cubicBezTo>
                <a:cubicBezTo>
                  <a:pt x="47755" y="105109"/>
                  <a:pt x="40408" y="107737"/>
                  <a:pt x="44081" y="110364"/>
                </a:cubicBezTo>
                <a:cubicBezTo>
                  <a:pt x="46530" y="112992"/>
                  <a:pt x="40408" y="110364"/>
                  <a:pt x="36734" y="115620"/>
                </a:cubicBezTo>
                <a:cubicBezTo>
                  <a:pt x="30612" y="120000"/>
                  <a:pt x="26938" y="120000"/>
                  <a:pt x="22040" y="118248"/>
                </a:cubicBezTo>
                <a:cubicBezTo>
                  <a:pt x="15918" y="118248"/>
                  <a:pt x="19591" y="115620"/>
                  <a:pt x="15918" y="115620"/>
                </a:cubicBezTo>
                <a:cubicBezTo>
                  <a:pt x="12244" y="116496"/>
                  <a:pt x="14693" y="112992"/>
                  <a:pt x="11020" y="113868"/>
                </a:cubicBezTo>
                <a:cubicBezTo>
                  <a:pt x="7346" y="116496"/>
                  <a:pt x="3673" y="115620"/>
                  <a:pt x="1224" y="112992"/>
                </a:cubicBezTo>
                <a:cubicBezTo>
                  <a:pt x="0" y="110364"/>
                  <a:pt x="7346" y="111240"/>
                  <a:pt x="4897" y="108613"/>
                </a:cubicBezTo>
                <a:cubicBezTo>
                  <a:pt x="3673" y="105985"/>
                  <a:pt x="7346" y="103357"/>
                  <a:pt x="11020" y="100729"/>
                </a:cubicBezTo>
                <a:cubicBezTo>
                  <a:pt x="15918" y="98102"/>
                  <a:pt x="18367" y="91970"/>
                  <a:pt x="23265" y="91970"/>
                </a:cubicBezTo>
                <a:cubicBezTo>
                  <a:pt x="26938" y="91970"/>
                  <a:pt x="26938" y="89343"/>
                  <a:pt x="29387" y="88467"/>
                </a:cubicBezTo>
                <a:cubicBezTo>
                  <a:pt x="33061" y="88467"/>
                  <a:pt x="36734" y="84087"/>
                  <a:pt x="42857" y="83211"/>
                </a:cubicBezTo>
                <a:cubicBezTo>
                  <a:pt x="46530" y="80583"/>
                  <a:pt x="47755" y="70948"/>
                  <a:pt x="53877" y="69197"/>
                </a:cubicBezTo>
                <a:cubicBezTo>
                  <a:pt x="58775" y="68321"/>
                  <a:pt x="53877" y="62189"/>
                  <a:pt x="57551" y="59562"/>
                </a:cubicBezTo>
                <a:close/>
                <a:moveTo>
                  <a:pt x="90612" y="68321"/>
                </a:moveTo>
                <a:cubicBezTo>
                  <a:pt x="93061" y="66569"/>
                  <a:pt x="107755" y="51678"/>
                  <a:pt x="104081" y="49051"/>
                </a:cubicBezTo>
                <a:cubicBezTo>
                  <a:pt x="101632" y="47299"/>
                  <a:pt x="105306" y="42043"/>
                  <a:pt x="111428" y="46423"/>
                </a:cubicBezTo>
                <a:cubicBezTo>
                  <a:pt x="116326" y="49051"/>
                  <a:pt x="108979" y="41167"/>
                  <a:pt x="115102" y="41167"/>
                </a:cubicBezTo>
                <a:cubicBezTo>
                  <a:pt x="118775" y="39416"/>
                  <a:pt x="116326" y="34160"/>
                  <a:pt x="118775" y="32408"/>
                </a:cubicBezTo>
                <a:cubicBezTo>
                  <a:pt x="119999" y="29781"/>
                  <a:pt x="112653" y="28905"/>
                  <a:pt x="111428" y="31532"/>
                </a:cubicBezTo>
                <a:cubicBezTo>
                  <a:pt x="108979" y="35036"/>
                  <a:pt x="104081" y="34160"/>
                  <a:pt x="97959" y="31532"/>
                </a:cubicBezTo>
                <a:cubicBezTo>
                  <a:pt x="93061" y="28905"/>
                  <a:pt x="94285" y="22773"/>
                  <a:pt x="90612" y="20145"/>
                </a:cubicBezTo>
                <a:cubicBezTo>
                  <a:pt x="86938" y="16642"/>
                  <a:pt x="86938" y="20145"/>
                  <a:pt x="90612" y="24525"/>
                </a:cubicBezTo>
                <a:cubicBezTo>
                  <a:pt x="93061" y="28905"/>
                  <a:pt x="80816" y="22773"/>
                  <a:pt x="83265" y="19270"/>
                </a:cubicBezTo>
                <a:cubicBezTo>
                  <a:pt x="83265" y="16642"/>
                  <a:pt x="79591" y="16642"/>
                  <a:pt x="79591" y="14014"/>
                </a:cubicBezTo>
                <a:cubicBezTo>
                  <a:pt x="79591" y="10510"/>
                  <a:pt x="79591" y="10510"/>
                  <a:pt x="77142" y="7883"/>
                </a:cubicBezTo>
                <a:cubicBezTo>
                  <a:pt x="75918" y="5255"/>
                  <a:pt x="73469" y="5255"/>
                  <a:pt x="69795" y="4379"/>
                </a:cubicBezTo>
                <a:cubicBezTo>
                  <a:pt x="66122" y="4379"/>
                  <a:pt x="68571" y="0"/>
                  <a:pt x="62448" y="0"/>
                </a:cubicBezTo>
                <a:cubicBezTo>
                  <a:pt x="58775" y="0"/>
                  <a:pt x="61224" y="0"/>
                  <a:pt x="64897" y="4379"/>
                </a:cubicBezTo>
                <a:cubicBezTo>
                  <a:pt x="68571" y="7007"/>
                  <a:pt x="64897" y="5255"/>
                  <a:pt x="68571" y="7883"/>
                </a:cubicBezTo>
                <a:cubicBezTo>
                  <a:pt x="69795" y="12262"/>
                  <a:pt x="73469" y="20145"/>
                  <a:pt x="75918" y="17518"/>
                </a:cubicBezTo>
                <a:cubicBezTo>
                  <a:pt x="77142" y="14890"/>
                  <a:pt x="79591" y="21897"/>
                  <a:pt x="77142" y="20145"/>
                </a:cubicBezTo>
                <a:cubicBezTo>
                  <a:pt x="75918" y="19270"/>
                  <a:pt x="75918" y="20145"/>
                  <a:pt x="80816" y="27153"/>
                </a:cubicBezTo>
                <a:cubicBezTo>
                  <a:pt x="85714" y="34160"/>
                  <a:pt x="80816" y="34160"/>
                  <a:pt x="80816" y="37664"/>
                </a:cubicBezTo>
                <a:cubicBezTo>
                  <a:pt x="80816" y="43795"/>
                  <a:pt x="73469" y="43795"/>
                  <a:pt x="72244" y="46423"/>
                </a:cubicBezTo>
                <a:cubicBezTo>
                  <a:pt x="72244" y="49051"/>
                  <a:pt x="79591" y="51678"/>
                  <a:pt x="83265" y="52554"/>
                </a:cubicBezTo>
                <a:cubicBezTo>
                  <a:pt x="89387" y="54306"/>
                  <a:pt x="85714" y="62189"/>
                  <a:pt x="83265" y="63941"/>
                </a:cubicBezTo>
                <a:cubicBezTo>
                  <a:pt x="80816" y="64817"/>
                  <a:pt x="77142" y="64817"/>
                  <a:pt x="83265" y="66569"/>
                </a:cubicBezTo>
                <a:cubicBezTo>
                  <a:pt x="86938" y="66569"/>
                  <a:pt x="85714" y="70948"/>
                  <a:pt x="90612" y="68321"/>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42" name="Shape 1805"/>
          <p:cNvSpPr/>
          <p:nvPr/>
        </p:nvSpPr>
        <p:spPr>
          <a:xfrm>
            <a:off x="6656689" y="5365040"/>
            <a:ext cx="197857" cy="438456"/>
          </a:xfrm>
          <a:custGeom>
            <a:avLst/>
            <a:gdLst/>
            <a:ahLst/>
            <a:cxnLst/>
            <a:rect l="0" t="0" r="0" b="0"/>
            <a:pathLst>
              <a:path w="120000" h="120000" extrusionOk="0">
                <a:moveTo>
                  <a:pt x="92000" y="10140"/>
                </a:moveTo>
                <a:cubicBezTo>
                  <a:pt x="92000" y="5070"/>
                  <a:pt x="92000" y="6760"/>
                  <a:pt x="96000" y="3380"/>
                </a:cubicBezTo>
                <a:cubicBezTo>
                  <a:pt x="102000" y="0"/>
                  <a:pt x="102000" y="7605"/>
                  <a:pt x="108000" y="9295"/>
                </a:cubicBezTo>
                <a:cubicBezTo>
                  <a:pt x="114000" y="10140"/>
                  <a:pt x="114000" y="24507"/>
                  <a:pt x="116000" y="27042"/>
                </a:cubicBezTo>
                <a:cubicBezTo>
                  <a:pt x="120000" y="31267"/>
                  <a:pt x="114000" y="38028"/>
                  <a:pt x="110000" y="35492"/>
                </a:cubicBezTo>
                <a:cubicBezTo>
                  <a:pt x="104000" y="28732"/>
                  <a:pt x="102000" y="32957"/>
                  <a:pt x="104000" y="36338"/>
                </a:cubicBezTo>
                <a:cubicBezTo>
                  <a:pt x="110000" y="38873"/>
                  <a:pt x="104000" y="38873"/>
                  <a:pt x="108000" y="43098"/>
                </a:cubicBezTo>
                <a:cubicBezTo>
                  <a:pt x="108000" y="45633"/>
                  <a:pt x="98000" y="43098"/>
                  <a:pt x="102000" y="49859"/>
                </a:cubicBezTo>
                <a:cubicBezTo>
                  <a:pt x="104000" y="55774"/>
                  <a:pt x="98000" y="57464"/>
                  <a:pt x="90000" y="70140"/>
                </a:cubicBezTo>
                <a:cubicBezTo>
                  <a:pt x="80000" y="88732"/>
                  <a:pt x="68000" y="114084"/>
                  <a:pt x="58000" y="114084"/>
                </a:cubicBezTo>
                <a:cubicBezTo>
                  <a:pt x="52000" y="114084"/>
                  <a:pt x="38000" y="120000"/>
                  <a:pt x="32000" y="116619"/>
                </a:cubicBezTo>
                <a:cubicBezTo>
                  <a:pt x="26000" y="114084"/>
                  <a:pt x="20000" y="116619"/>
                  <a:pt x="14000" y="109859"/>
                </a:cubicBezTo>
                <a:cubicBezTo>
                  <a:pt x="4000" y="102253"/>
                  <a:pt x="14000" y="100563"/>
                  <a:pt x="10000" y="98028"/>
                </a:cubicBezTo>
                <a:cubicBezTo>
                  <a:pt x="4000" y="93802"/>
                  <a:pt x="0" y="92957"/>
                  <a:pt x="4000" y="85352"/>
                </a:cubicBezTo>
                <a:cubicBezTo>
                  <a:pt x="6000" y="78591"/>
                  <a:pt x="10000" y="83661"/>
                  <a:pt x="14000" y="78591"/>
                </a:cubicBezTo>
                <a:cubicBezTo>
                  <a:pt x="16000" y="74366"/>
                  <a:pt x="26000" y="73521"/>
                  <a:pt x="22000" y="67605"/>
                </a:cubicBezTo>
                <a:cubicBezTo>
                  <a:pt x="20000" y="62535"/>
                  <a:pt x="16000" y="62535"/>
                  <a:pt x="20000" y="60000"/>
                </a:cubicBezTo>
                <a:cubicBezTo>
                  <a:pt x="20000" y="57464"/>
                  <a:pt x="14000" y="57464"/>
                  <a:pt x="16000" y="53239"/>
                </a:cubicBezTo>
                <a:cubicBezTo>
                  <a:pt x="20000" y="48169"/>
                  <a:pt x="10000" y="50704"/>
                  <a:pt x="20000" y="44788"/>
                </a:cubicBezTo>
                <a:cubicBezTo>
                  <a:pt x="26000" y="38028"/>
                  <a:pt x="16000" y="36338"/>
                  <a:pt x="26000" y="38028"/>
                </a:cubicBezTo>
                <a:cubicBezTo>
                  <a:pt x="34000" y="38028"/>
                  <a:pt x="28000" y="35492"/>
                  <a:pt x="38000" y="35492"/>
                </a:cubicBezTo>
                <a:cubicBezTo>
                  <a:pt x="58000" y="33802"/>
                  <a:pt x="52000" y="31267"/>
                  <a:pt x="64000" y="26197"/>
                </a:cubicBezTo>
                <a:cubicBezTo>
                  <a:pt x="78000" y="21126"/>
                  <a:pt x="80000" y="21126"/>
                  <a:pt x="78000" y="17746"/>
                </a:cubicBezTo>
                <a:cubicBezTo>
                  <a:pt x="72000" y="14366"/>
                  <a:pt x="90000" y="19436"/>
                  <a:pt x="92000" y="1014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43" name="Shape 1806"/>
          <p:cNvSpPr/>
          <p:nvPr/>
        </p:nvSpPr>
        <p:spPr>
          <a:xfrm>
            <a:off x="7311671" y="3895588"/>
            <a:ext cx="774376" cy="891202"/>
          </a:xfrm>
          <a:custGeom>
            <a:avLst/>
            <a:gdLst/>
            <a:ahLst/>
            <a:cxnLst/>
            <a:rect l="0" t="0" r="0" b="0"/>
            <a:pathLst>
              <a:path w="120000" h="120000" extrusionOk="0">
                <a:moveTo>
                  <a:pt x="2564" y="51487"/>
                </a:moveTo>
                <a:cubicBezTo>
                  <a:pt x="2564" y="50242"/>
                  <a:pt x="4102" y="50657"/>
                  <a:pt x="4615" y="50657"/>
                </a:cubicBezTo>
                <a:cubicBezTo>
                  <a:pt x="7179" y="50242"/>
                  <a:pt x="7179" y="51903"/>
                  <a:pt x="7692" y="50657"/>
                </a:cubicBezTo>
                <a:cubicBezTo>
                  <a:pt x="8717" y="50242"/>
                  <a:pt x="9743" y="49411"/>
                  <a:pt x="10256" y="50657"/>
                </a:cubicBezTo>
                <a:cubicBezTo>
                  <a:pt x="10256" y="51487"/>
                  <a:pt x="12820" y="50242"/>
                  <a:pt x="11794" y="50242"/>
                </a:cubicBezTo>
                <a:cubicBezTo>
                  <a:pt x="11282" y="49411"/>
                  <a:pt x="12820" y="48996"/>
                  <a:pt x="11794" y="48166"/>
                </a:cubicBezTo>
                <a:cubicBezTo>
                  <a:pt x="8717" y="44844"/>
                  <a:pt x="11794" y="44844"/>
                  <a:pt x="9743" y="44429"/>
                </a:cubicBezTo>
                <a:cubicBezTo>
                  <a:pt x="6153" y="44429"/>
                  <a:pt x="10256" y="41107"/>
                  <a:pt x="7179" y="40276"/>
                </a:cubicBezTo>
                <a:cubicBezTo>
                  <a:pt x="4102" y="40276"/>
                  <a:pt x="5641" y="38615"/>
                  <a:pt x="7179" y="37370"/>
                </a:cubicBezTo>
                <a:cubicBezTo>
                  <a:pt x="8717" y="36124"/>
                  <a:pt x="8717" y="33217"/>
                  <a:pt x="10256" y="35294"/>
                </a:cubicBezTo>
                <a:cubicBezTo>
                  <a:pt x="11282" y="36539"/>
                  <a:pt x="11794" y="35294"/>
                  <a:pt x="14871" y="35294"/>
                </a:cubicBezTo>
                <a:cubicBezTo>
                  <a:pt x="16410" y="35294"/>
                  <a:pt x="14871" y="34048"/>
                  <a:pt x="16410" y="33217"/>
                </a:cubicBezTo>
                <a:cubicBezTo>
                  <a:pt x="17435" y="32802"/>
                  <a:pt x="16410" y="31557"/>
                  <a:pt x="18974" y="30726"/>
                </a:cubicBezTo>
                <a:cubicBezTo>
                  <a:pt x="21025" y="30311"/>
                  <a:pt x="19487" y="26989"/>
                  <a:pt x="22564" y="25743"/>
                </a:cubicBezTo>
                <a:cubicBezTo>
                  <a:pt x="26153" y="24913"/>
                  <a:pt x="22564" y="25743"/>
                  <a:pt x="24615" y="23252"/>
                </a:cubicBezTo>
                <a:cubicBezTo>
                  <a:pt x="28205" y="18685"/>
                  <a:pt x="23589" y="18685"/>
                  <a:pt x="27692" y="17024"/>
                </a:cubicBezTo>
                <a:cubicBezTo>
                  <a:pt x="30769" y="15778"/>
                  <a:pt x="29743" y="15778"/>
                  <a:pt x="27692" y="15363"/>
                </a:cubicBezTo>
                <a:cubicBezTo>
                  <a:pt x="26153" y="15363"/>
                  <a:pt x="28205" y="13287"/>
                  <a:pt x="26153" y="14117"/>
                </a:cubicBezTo>
                <a:cubicBezTo>
                  <a:pt x="25128" y="14117"/>
                  <a:pt x="26153" y="13287"/>
                  <a:pt x="24615" y="12871"/>
                </a:cubicBezTo>
                <a:cubicBezTo>
                  <a:pt x="22564" y="11626"/>
                  <a:pt x="26153" y="11626"/>
                  <a:pt x="24615" y="9965"/>
                </a:cubicBezTo>
                <a:cubicBezTo>
                  <a:pt x="22051" y="8719"/>
                  <a:pt x="27692" y="8719"/>
                  <a:pt x="24615" y="8304"/>
                </a:cubicBezTo>
                <a:cubicBezTo>
                  <a:pt x="22051" y="8304"/>
                  <a:pt x="25128" y="8304"/>
                  <a:pt x="23589" y="7058"/>
                </a:cubicBezTo>
                <a:cubicBezTo>
                  <a:pt x="22051" y="6228"/>
                  <a:pt x="24615" y="4152"/>
                  <a:pt x="29230" y="6228"/>
                </a:cubicBezTo>
                <a:cubicBezTo>
                  <a:pt x="32307" y="7058"/>
                  <a:pt x="32820" y="4982"/>
                  <a:pt x="34358" y="4982"/>
                </a:cubicBezTo>
                <a:cubicBezTo>
                  <a:pt x="36923" y="5813"/>
                  <a:pt x="35384" y="3737"/>
                  <a:pt x="38974" y="1660"/>
                </a:cubicBezTo>
                <a:cubicBezTo>
                  <a:pt x="40000" y="1660"/>
                  <a:pt x="40000" y="1660"/>
                  <a:pt x="40000" y="1660"/>
                </a:cubicBezTo>
                <a:cubicBezTo>
                  <a:pt x="42564" y="1245"/>
                  <a:pt x="41538" y="415"/>
                  <a:pt x="44615" y="0"/>
                </a:cubicBezTo>
                <a:cubicBezTo>
                  <a:pt x="47692" y="0"/>
                  <a:pt x="47179" y="1660"/>
                  <a:pt x="47692" y="1660"/>
                </a:cubicBezTo>
                <a:cubicBezTo>
                  <a:pt x="48717" y="1245"/>
                  <a:pt x="48717" y="2906"/>
                  <a:pt x="49230" y="1660"/>
                </a:cubicBezTo>
                <a:cubicBezTo>
                  <a:pt x="49230" y="1245"/>
                  <a:pt x="50769" y="1660"/>
                  <a:pt x="49230" y="2906"/>
                </a:cubicBezTo>
                <a:cubicBezTo>
                  <a:pt x="48717" y="4152"/>
                  <a:pt x="50256" y="4152"/>
                  <a:pt x="48717" y="5813"/>
                </a:cubicBezTo>
                <a:cubicBezTo>
                  <a:pt x="45641" y="7474"/>
                  <a:pt x="47692" y="8304"/>
                  <a:pt x="45641" y="8304"/>
                </a:cubicBezTo>
                <a:cubicBezTo>
                  <a:pt x="42564" y="8719"/>
                  <a:pt x="44615" y="9550"/>
                  <a:pt x="44102" y="9965"/>
                </a:cubicBezTo>
                <a:cubicBezTo>
                  <a:pt x="43076" y="12041"/>
                  <a:pt x="46153" y="12041"/>
                  <a:pt x="46153" y="12871"/>
                </a:cubicBezTo>
                <a:cubicBezTo>
                  <a:pt x="45641" y="13287"/>
                  <a:pt x="47692" y="14532"/>
                  <a:pt x="45641" y="15363"/>
                </a:cubicBezTo>
                <a:cubicBezTo>
                  <a:pt x="44615" y="15363"/>
                  <a:pt x="44615" y="16608"/>
                  <a:pt x="44102" y="15363"/>
                </a:cubicBezTo>
                <a:cubicBezTo>
                  <a:pt x="43076" y="14532"/>
                  <a:pt x="41538" y="14532"/>
                  <a:pt x="42564" y="15778"/>
                </a:cubicBezTo>
                <a:cubicBezTo>
                  <a:pt x="43076" y="16608"/>
                  <a:pt x="44102" y="17854"/>
                  <a:pt x="43076" y="19930"/>
                </a:cubicBezTo>
                <a:cubicBezTo>
                  <a:pt x="43076" y="21591"/>
                  <a:pt x="44615" y="19100"/>
                  <a:pt x="45641" y="20346"/>
                </a:cubicBezTo>
                <a:cubicBezTo>
                  <a:pt x="47179" y="23252"/>
                  <a:pt x="47179" y="21176"/>
                  <a:pt x="48717" y="22422"/>
                </a:cubicBezTo>
                <a:cubicBezTo>
                  <a:pt x="50256" y="23667"/>
                  <a:pt x="52307" y="24498"/>
                  <a:pt x="52307" y="24913"/>
                </a:cubicBezTo>
                <a:cubicBezTo>
                  <a:pt x="48717" y="26989"/>
                  <a:pt x="50769" y="27404"/>
                  <a:pt x="49230" y="28235"/>
                </a:cubicBezTo>
                <a:cubicBezTo>
                  <a:pt x="48717" y="29480"/>
                  <a:pt x="50256" y="29480"/>
                  <a:pt x="49230" y="30311"/>
                </a:cubicBezTo>
                <a:cubicBezTo>
                  <a:pt x="47692" y="30726"/>
                  <a:pt x="50256" y="32802"/>
                  <a:pt x="50769" y="31972"/>
                </a:cubicBezTo>
                <a:cubicBezTo>
                  <a:pt x="50769" y="30726"/>
                  <a:pt x="53333" y="33217"/>
                  <a:pt x="54871" y="34878"/>
                </a:cubicBezTo>
                <a:cubicBezTo>
                  <a:pt x="57435" y="36124"/>
                  <a:pt x="55384" y="34048"/>
                  <a:pt x="57948" y="36124"/>
                </a:cubicBezTo>
                <a:cubicBezTo>
                  <a:pt x="59487" y="37370"/>
                  <a:pt x="58974" y="35294"/>
                  <a:pt x="59487" y="36539"/>
                </a:cubicBezTo>
                <a:cubicBezTo>
                  <a:pt x="60512" y="37785"/>
                  <a:pt x="62564" y="36539"/>
                  <a:pt x="64102" y="37370"/>
                </a:cubicBezTo>
                <a:cubicBezTo>
                  <a:pt x="65128" y="37785"/>
                  <a:pt x="64102" y="36539"/>
                  <a:pt x="66666" y="37370"/>
                </a:cubicBezTo>
                <a:cubicBezTo>
                  <a:pt x="68717" y="38615"/>
                  <a:pt x="66666" y="39031"/>
                  <a:pt x="68205" y="39031"/>
                </a:cubicBezTo>
                <a:cubicBezTo>
                  <a:pt x="70769" y="39861"/>
                  <a:pt x="68717" y="40276"/>
                  <a:pt x="70769" y="39861"/>
                </a:cubicBezTo>
                <a:cubicBezTo>
                  <a:pt x="72307" y="39031"/>
                  <a:pt x="71282" y="41107"/>
                  <a:pt x="72820" y="40276"/>
                </a:cubicBezTo>
                <a:cubicBezTo>
                  <a:pt x="74358" y="39861"/>
                  <a:pt x="75384" y="42352"/>
                  <a:pt x="76923" y="41107"/>
                </a:cubicBezTo>
                <a:cubicBezTo>
                  <a:pt x="78461" y="40276"/>
                  <a:pt x="76923" y="42352"/>
                  <a:pt x="78974" y="41937"/>
                </a:cubicBezTo>
                <a:cubicBezTo>
                  <a:pt x="81538" y="41107"/>
                  <a:pt x="80512" y="42352"/>
                  <a:pt x="81538" y="41107"/>
                </a:cubicBezTo>
                <a:cubicBezTo>
                  <a:pt x="82051" y="39031"/>
                  <a:pt x="80512" y="39031"/>
                  <a:pt x="81538" y="37370"/>
                </a:cubicBezTo>
                <a:cubicBezTo>
                  <a:pt x="82051" y="35294"/>
                  <a:pt x="82051" y="36124"/>
                  <a:pt x="81538" y="35294"/>
                </a:cubicBezTo>
                <a:cubicBezTo>
                  <a:pt x="87179" y="32802"/>
                  <a:pt x="83589" y="36124"/>
                  <a:pt x="84615" y="37785"/>
                </a:cubicBezTo>
                <a:cubicBezTo>
                  <a:pt x="83076" y="38615"/>
                  <a:pt x="85641" y="39861"/>
                  <a:pt x="86153" y="39861"/>
                </a:cubicBezTo>
                <a:cubicBezTo>
                  <a:pt x="87692" y="39031"/>
                  <a:pt x="87692" y="41107"/>
                  <a:pt x="90256" y="39861"/>
                </a:cubicBezTo>
                <a:cubicBezTo>
                  <a:pt x="92307" y="39031"/>
                  <a:pt x="91794" y="41107"/>
                  <a:pt x="93846" y="39861"/>
                </a:cubicBezTo>
                <a:cubicBezTo>
                  <a:pt x="96410" y="39031"/>
                  <a:pt x="95384" y="40276"/>
                  <a:pt x="96410" y="39861"/>
                </a:cubicBezTo>
                <a:cubicBezTo>
                  <a:pt x="96923" y="39031"/>
                  <a:pt x="97948" y="40276"/>
                  <a:pt x="97948" y="39031"/>
                </a:cubicBezTo>
                <a:cubicBezTo>
                  <a:pt x="96923" y="37785"/>
                  <a:pt x="98461" y="36539"/>
                  <a:pt x="96923" y="37370"/>
                </a:cubicBezTo>
                <a:cubicBezTo>
                  <a:pt x="95384" y="37370"/>
                  <a:pt x="95384" y="36124"/>
                  <a:pt x="95384" y="36124"/>
                </a:cubicBezTo>
                <a:cubicBezTo>
                  <a:pt x="98461" y="36124"/>
                  <a:pt x="100000" y="35294"/>
                  <a:pt x="100000" y="34878"/>
                </a:cubicBezTo>
                <a:cubicBezTo>
                  <a:pt x="100000" y="33217"/>
                  <a:pt x="102051" y="34048"/>
                  <a:pt x="102051" y="32802"/>
                </a:cubicBezTo>
                <a:cubicBezTo>
                  <a:pt x="102564" y="31557"/>
                  <a:pt x="104102" y="31972"/>
                  <a:pt x="105641" y="30726"/>
                </a:cubicBezTo>
                <a:cubicBezTo>
                  <a:pt x="107179" y="29480"/>
                  <a:pt x="108205" y="28650"/>
                  <a:pt x="108717" y="29480"/>
                </a:cubicBezTo>
                <a:cubicBezTo>
                  <a:pt x="110256" y="30311"/>
                  <a:pt x="111282" y="30311"/>
                  <a:pt x="111794" y="29480"/>
                </a:cubicBezTo>
                <a:cubicBezTo>
                  <a:pt x="111794" y="28650"/>
                  <a:pt x="114358" y="28235"/>
                  <a:pt x="114358" y="28650"/>
                </a:cubicBezTo>
                <a:cubicBezTo>
                  <a:pt x="114871" y="30311"/>
                  <a:pt x="115897" y="28650"/>
                  <a:pt x="114871" y="30311"/>
                </a:cubicBezTo>
                <a:cubicBezTo>
                  <a:pt x="113333" y="31557"/>
                  <a:pt x="115897" y="29480"/>
                  <a:pt x="115897" y="30726"/>
                </a:cubicBezTo>
                <a:cubicBezTo>
                  <a:pt x="116410" y="32802"/>
                  <a:pt x="112820" y="33217"/>
                  <a:pt x="115897" y="33217"/>
                </a:cubicBezTo>
                <a:cubicBezTo>
                  <a:pt x="118461" y="32802"/>
                  <a:pt x="118461" y="33217"/>
                  <a:pt x="118974" y="34048"/>
                </a:cubicBezTo>
                <a:cubicBezTo>
                  <a:pt x="120000" y="36124"/>
                  <a:pt x="116410" y="36124"/>
                  <a:pt x="117435" y="37370"/>
                </a:cubicBezTo>
                <a:cubicBezTo>
                  <a:pt x="118974" y="39031"/>
                  <a:pt x="118461" y="39031"/>
                  <a:pt x="117435" y="37785"/>
                </a:cubicBezTo>
                <a:cubicBezTo>
                  <a:pt x="115897" y="36539"/>
                  <a:pt x="113333" y="38615"/>
                  <a:pt x="111794" y="39861"/>
                </a:cubicBezTo>
                <a:cubicBezTo>
                  <a:pt x="110256" y="41107"/>
                  <a:pt x="110256" y="39861"/>
                  <a:pt x="110256" y="41107"/>
                </a:cubicBezTo>
                <a:cubicBezTo>
                  <a:pt x="109743" y="42352"/>
                  <a:pt x="111282" y="41937"/>
                  <a:pt x="110256" y="43598"/>
                </a:cubicBezTo>
                <a:cubicBezTo>
                  <a:pt x="108717" y="46089"/>
                  <a:pt x="107179" y="46089"/>
                  <a:pt x="108205" y="46920"/>
                </a:cubicBezTo>
                <a:cubicBezTo>
                  <a:pt x="109743" y="48166"/>
                  <a:pt x="107179" y="48166"/>
                  <a:pt x="106666" y="50657"/>
                </a:cubicBezTo>
                <a:cubicBezTo>
                  <a:pt x="105641" y="53979"/>
                  <a:pt x="105641" y="51903"/>
                  <a:pt x="104102" y="51903"/>
                </a:cubicBezTo>
                <a:cubicBezTo>
                  <a:pt x="102564" y="51487"/>
                  <a:pt x="102564" y="50242"/>
                  <a:pt x="102564" y="53564"/>
                </a:cubicBezTo>
                <a:cubicBezTo>
                  <a:pt x="103589" y="58546"/>
                  <a:pt x="102051" y="53979"/>
                  <a:pt x="102051" y="57301"/>
                </a:cubicBezTo>
                <a:cubicBezTo>
                  <a:pt x="102051" y="58546"/>
                  <a:pt x="102564" y="57716"/>
                  <a:pt x="102051" y="59792"/>
                </a:cubicBezTo>
                <a:cubicBezTo>
                  <a:pt x="100000" y="61868"/>
                  <a:pt x="101025" y="58546"/>
                  <a:pt x="99487" y="60622"/>
                </a:cubicBezTo>
                <a:cubicBezTo>
                  <a:pt x="99487" y="56470"/>
                  <a:pt x="97948" y="56470"/>
                  <a:pt x="98461" y="53979"/>
                </a:cubicBezTo>
                <a:cubicBezTo>
                  <a:pt x="98461" y="52733"/>
                  <a:pt x="96923" y="52733"/>
                  <a:pt x="96923" y="53979"/>
                </a:cubicBezTo>
                <a:cubicBezTo>
                  <a:pt x="96410" y="57301"/>
                  <a:pt x="94871" y="56470"/>
                  <a:pt x="93846" y="53564"/>
                </a:cubicBezTo>
                <a:cubicBezTo>
                  <a:pt x="93333" y="50657"/>
                  <a:pt x="97948" y="51487"/>
                  <a:pt x="97948" y="48996"/>
                </a:cubicBezTo>
                <a:cubicBezTo>
                  <a:pt x="97948" y="46920"/>
                  <a:pt x="100000" y="48996"/>
                  <a:pt x="99487" y="47750"/>
                </a:cubicBezTo>
                <a:cubicBezTo>
                  <a:pt x="97948" y="46089"/>
                  <a:pt x="88717" y="47750"/>
                  <a:pt x="88717" y="46089"/>
                </a:cubicBezTo>
                <a:cubicBezTo>
                  <a:pt x="88717" y="44429"/>
                  <a:pt x="88717" y="41937"/>
                  <a:pt x="87692" y="43183"/>
                </a:cubicBezTo>
                <a:cubicBezTo>
                  <a:pt x="87179" y="44844"/>
                  <a:pt x="86153" y="41937"/>
                  <a:pt x="85641" y="41937"/>
                </a:cubicBezTo>
                <a:cubicBezTo>
                  <a:pt x="83076" y="43183"/>
                  <a:pt x="83589" y="41107"/>
                  <a:pt x="83076" y="41107"/>
                </a:cubicBezTo>
                <a:cubicBezTo>
                  <a:pt x="82051" y="40276"/>
                  <a:pt x="82051" y="41107"/>
                  <a:pt x="83076" y="41937"/>
                </a:cubicBezTo>
                <a:cubicBezTo>
                  <a:pt x="83589" y="41937"/>
                  <a:pt x="80000" y="43598"/>
                  <a:pt x="81538" y="44429"/>
                </a:cubicBezTo>
                <a:cubicBezTo>
                  <a:pt x="83076" y="44429"/>
                  <a:pt x="83076" y="45674"/>
                  <a:pt x="83589" y="45674"/>
                </a:cubicBezTo>
                <a:cubicBezTo>
                  <a:pt x="84615" y="45674"/>
                  <a:pt x="84615" y="45674"/>
                  <a:pt x="84615" y="46089"/>
                </a:cubicBezTo>
                <a:cubicBezTo>
                  <a:pt x="86153" y="47750"/>
                  <a:pt x="82051" y="45674"/>
                  <a:pt x="83076" y="46920"/>
                </a:cubicBezTo>
                <a:cubicBezTo>
                  <a:pt x="83076" y="48996"/>
                  <a:pt x="81538" y="46920"/>
                  <a:pt x="81538" y="48996"/>
                </a:cubicBezTo>
                <a:cubicBezTo>
                  <a:pt x="80512" y="50657"/>
                  <a:pt x="83589" y="49411"/>
                  <a:pt x="83589" y="51487"/>
                </a:cubicBezTo>
                <a:cubicBezTo>
                  <a:pt x="84615" y="53564"/>
                  <a:pt x="82051" y="52733"/>
                  <a:pt x="83589" y="53564"/>
                </a:cubicBezTo>
                <a:cubicBezTo>
                  <a:pt x="84615" y="54809"/>
                  <a:pt x="83076" y="55224"/>
                  <a:pt x="84615" y="55224"/>
                </a:cubicBezTo>
                <a:cubicBezTo>
                  <a:pt x="85641" y="55224"/>
                  <a:pt x="84615" y="55224"/>
                  <a:pt x="84615" y="57716"/>
                </a:cubicBezTo>
                <a:cubicBezTo>
                  <a:pt x="85641" y="59377"/>
                  <a:pt x="85641" y="59792"/>
                  <a:pt x="85641" y="60622"/>
                </a:cubicBezTo>
                <a:cubicBezTo>
                  <a:pt x="84615" y="60622"/>
                  <a:pt x="84615" y="60622"/>
                  <a:pt x="85641" y="61038"/>
                </a:cubicBezTo>
                <a:cubicBezTo>
                  <a:pt x="86153" y="62283"/>
                  <a:pt x="85641" y="62283"/>
                  <a:pt x="84615" y="61868"/>
                </a:cubicBezTo>
                <a:cubicBezTo>
                  <a:pt x="83076" y="61868"/>
                  <a:pt x="82051" y="63114"/>
                  <a:pt x="82051" y="61038"/>
                </a:cubicBezTo>
                <a:cubicBezTo>
                  <a:pt x="81538" y="59377"/>
                  <a:pt x="81538" y="61038"/>
                  <a:pt x="78461" y="62283"/>
                </a:cubicBezTo>
                <a:cubicBezTo>
                  <a:pt x="74358" y="63529"/>
                  <a:pt x="78974" y="64359"/>
                  <a:pt x="75897" y="67681"/>
                </a:cubicBezTo>
                <a:cubicBezTo>
                  <a:pt x="72820" y="71003"/>
                  <a:pt x="73846" y="68927"/>
                  <a:pt x="71282" y="70173"/>
                </a:cubicBezTo>
                <a:cubicBezTo>
                  <a:pt x="67179" y="72249"/>
                  <a:pt x="66666" y="75155"/>
                  <a:pt x="61025" y="79307"/>
                </a:cubicBezTo>
                <a:cubicBezTo>
                  <a:pt x="55384" y="83044"/>
                  <a:pt x="59487" y="80968"/>
                  <a:pt x="57435" y="83875"/>
                </a:cubicBezTo>
                <a:cubicBezTo>
                  <a:pt x="54871" y="85536"/>
                  <a:pt x="53846" y="82629"/>
                  <a:pt x="53333" y="85121"/>
                </a:cubicBezTo>
                <a:cubicBezTo>
                  <a:pt x="52307" y="87612"/>
                  <a:pt x="47179" y="84290"/>
                  <a:pt x="48717" y="89688"/>
                </a:cubicBezTo>
                <a:cubicBezTo>
                  <a:pt x="50256" y="92595"/>
                  <a:pt x="48717" y="92179"/>
                  <a:pt x="49230" y="93425"/>
                </a:cubicBezTo>
                <a:cubicBezTo>
                  <a:pt x="50256" y="97993"/>
                  <a:pt x="49230" y="98408"/>
                  <a:pt x="47692" y="101314"/>
                </a:cubicBezTo>
                <a:cubicBezTo>
                  <a:pt x="46153" y="105467"/>
                  <a:pt x="49230" y="108788"/>
                  <a:pt x="47179" y="108788"/>
                </a:cubicBezTo>
                <a:cubicBezTo>
                  <a:pt x="44102" y="108788"/>
                  <a:pt x="46153" y="108788"/>
                  <a:pt x="44615" y="110865"/>
                </a:cubicBezTo>
                <a:cubicBezTo>
                  <a:pt x="43076" y="112941"/>
                  <a:pt x="46153" y="112941"/>
                  <a:pt x="46153" y="113356"/>
                </a:cubicBezTo>
                <a:cubicBezTo>
                  <a:pt x="46153" y="113356"/>
                  <a:pt x="45641" y="112941"/>
                  <a:pt x="42564" y="113356"/>
                </a:cubicBezTo>
                <a:cubicBezTo>
                  <a:pt x="40000" y="114186"/>
                  <a:pt x="42564" y="115432"/>
                  <a:pt x="38974" y="117093"/>
                </a:cubicBezTo>
                <a:cubicBezTo>
                  <a:pt x="36923" y="120000"/>
                  <a:pt x="33846" y="114602"/>
                  <a:pt x="32307" y="108373"/>
                </a:cubicBezTo>
                <a:cubicBezTo>
                  <a:pt x="30769" y="101730"/>
                  <a:pt x="27692" y="101730"/>
                  <a:pt x="27692" y="97993"/>
                </a:cubicBezTo>
                <a:cubicBezTo>
                  <a:pt x="26666" y="94256"/>
                  <a:pt x="23589" y="87612"/>
                  <a:pt x="22051" y="85536"/>
                </a:cubicBezTo>
                <a:cubicBezTo>
                  <a:pt x="21025" y="84290"/>
                  <a:pt x="20512" y="80553"/>
                  <a:pt x="18974" y="73494"/>
                </a:cubicBezTo>
                <a:cubicBezTo>
                  <a:pt x="17435" y="66435"/>
                  <a:pt x="20512" y="66851"/>
                  <a:pt x="18974" y="64359"/>
                </a:cubicBezTo>
                <a:cubicBezTo>
                  <a:pt x="17435" y="61868"/>
                  <a:pt x="18974" y="62283"/>
                  <a:pt x="17948" y="61038"/>
                </a:cubicBezTo>
                <a:cubicBezTo>
                  <a:pt x="17435" y="59792"/>
                  <a:pt x="19487" y="58546"/>
                  <a:pt x="17435" y="59377"/>
                </a:cubicBezTo>
                <a:cubicBezTo>
                  <a:pt x="15897" y="59792"/>
                  <a:pt x="17948" y="62283"/>
                  <a:pt x="15897" y="63529"/>
                </a:cubicBezTo>
                <a:cubicBezTo>
                  <a:pt x="11282" y="66851"/>
                  <a:pt x="10256" y="66435"/>
                  <a:pt x="5641" y="61868"/>
                </a:cubicBezTo>
                <a:cubicBezTo>
                  <a:pt x="1025" y="56470"/>
                  <a:pt x="3076" y="59377"/>
                  <a:pt x="6153" y="58546"/>
                </a:cubicBezTo>
                <a:cubicBezTo>
                  <a:pt x="10256" y="57716"/>
                  <a:pt x="9743" y="55224"/>
                  <a:pt x="7179" y="56470"/>
                </a:cubicBezTo>
                <a:cubicBezTo>
                  <a:pt x="5641" y="57716"/>
                  <a:pt x="2564" y="56055"/>
                  <a:pt x="1538" y="54809"/>
                </a:cubicBezTo>
                <a:cubicBezTo>
                  <a:pt x="1025" y="53564"/>
                  <a:pt x="0" y="53979"/>
                  <a:pt x="0" y="53564"/>
                </a:cubicBezTo>
                <a:cubicBezTo>
                  <a:pt x="0" y="51487"/>
                  <a:pt x="3076" y="52733"/>
                  <a:pt x="2564" y="51487"/>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44" name="Shape 1807"/>
          <p:cNvSpPr/>
          <p:nvPr/>
        </p:nvSpPr>
        <p:spPr>
          <a:xfrm>
            <a:off x="7618692" y="4071923"/>
            <a:ext cx="225150" cy="138209"/>
          </a:xfrm>
          <a:custGeom>
            <a:avLst/>
            <a:gdLst/>
            <a:ahLst/>
            <a:cxnLst/>
            <a:rect l="0" t="0" r="0" b="0"/>
            <a:pathLst>
              <a:path w="120000" h="120000" extrusionOk="0">
                <a:moveTo>
                  <a:pt x="15882" y="8000"/>
                </a:moveTo>
                <a:cubicBezTo>
                  <a:pt x="3529" y="21333"/>
                  <a:pt x="10588" y="24000"/>
                  <a:pt x="5294" y="29333"/>
                </a:cubicBezTo>
                <a:cubicBezTo>
                  <a:pt x="3529" y="37333"/>
                  <a:pt x="8823" y="37333"/>
                  <a:pt x="5294" y="42666"/>
                </a:cubicBezTo>
                <a:cubicBezTo>
                  <a:pt x="0" y="45333"/>
                  <a:pt x="8823" y="58666"/>
                  <a:pt x="10588" y="53333"/>
                </a:cubicBezTo>
                <a:cubicBezTo>
                  <a:pt x="10588" y="45333"/>
                  <a:pt x="19411" y="61333"/>
                  <a:pt x="24705" y="72000"/>
                </a:cubicBezTo>
                <a:cubicBezTo>
                  <a:pt x="33529" y="80000"/>
                  <a:pt x="26470" y="66666"/>
                  <a:pt x="35294" y="80000"/>
                </a:cubicBezTo>
                <a:cubicBezTo>
                  <a:pt x="40588" y="88000"/>
                  <a:pt x="38823" y="74666"/>
                  <a:pt x="40588" y="82666"/>
                </a:cubicBezTo>
                <a:cubicBezTo>
                  <a:pt x="44117" y="90666"/>
                  <a:pt x="51176" y="82666"/>
                  <a:pt x="56470" y="88000"/>
                </a:cubicBezTo>
                <a:cubicBezTo>
                  <a:pt x="60000" y="90666"/>
                  <a:pt x="56470" y="82666"/>
                  <a:pt x="65294" y="88000"/>
                </a:cubicBezTo>
                <a:cubicBezTo>
                  <a:pt x="74117" y="96000"/>
                  <a:pt x="65294" y="98666"/>
                  <a:pt x="70588" y="98666"/>
                </a:cubicBezTo>
                <a:cubicBezTo>
                  <a:pt x="79411" y="104000"/>
                  <a:pt x="74117" y="106666"/>
                  <a:pt x="79411" y="104000"/>
                </a:cubicBezTo>
                <a:cubicBezTo>
                  <a:pt x="84705" y="98666"/>
                  <a:pt x="81176" y="112000"/>
                  <a:pt x="86470" y="106666"/>
                </a:cubicBezTo>
                <a:cubicBezTo>
                  <a:pt x="91764" y="104000"/>
                  <a:pt x="95294" y="120000"/>
                  <a:pt x="100588" y="112000"/>
                </a:cubicBezTo>
                <a:cubicBezTo>
                  <a:pt x="105882" y="106666"/>
                  <a:pt x="100588" y="120000"/>
                  <a:pt x="109411" y="117333"/>
                </a:cubicBezTo>
                <a:cubicBezTo>
                  <a:pt x="116470" y="112000"/>
                  <a:pt x="114705" y="120000"/>
                  <a:pt x="116470" y="112000"/>
                </a:cubicBezTo>
                <a:cubicBezTo>
                  <a:pt x="120000" y="98666"/>
                  <a:pt x="114705" y="98666"/>
                  <a:pt x="116470" y="88000"/>
                </a:cubicBezTo>
                <a:cubicBezTo>
                  <a:pt x="120000" y="74666"/>
                  <a:pt x="120000" y="80000"/>
                  <a:pt x="116470" y="74666"/>
                </a:cubicBezTo>
                <a:cubicBezTo>
                  <a:pt x="116470" y="74666"/>
                  <a:pt x="114705" y="74666"/>
                  <a:pt x="111176" y="74666"/>
                </a:cubicBezTo>
                <a:cubicBezTo>
                  <a:pt x="111176" y="80000"/>
                  <a:pt x="111176" y="74666"/>
                  <a:pt x="105882" y="74666"/>
                </a:cubicBezTo>
                <a:cubicBezTo>
                  <a:pt x="102352" y="80000"/>
                  <a:pt x="97058" y="61333"/>
                  <a:pt x="95294" y="72000"/>
                </a:cubicBezTo>
                <a:cubicBezTo>
                  <a:pt x="95294" y="74666"/>
                  <a:pt x="91764" y="74666"/>
                  <a:pt x="90000" y="72000"/>
                </a:cubicBezTo>
                <a:cubicBezTo>
                  <a:pt x="86470" y="61333"/>
                  <a:pt x="90000" y="74666"/>
                  <a:pt x="86470" y="74666"/>
                </a:cubicBezTo>
                <a:cubicBezTo>
                  <a:pt x="84705" y="74666"/>
                  <a:pt x="84705" y="61333"/>
                  <a:pt x="81176" y="61333"/>
                </a:cubicBezTo>
                <a:cubicBezTo>
                  <a:pt x="75882" y="61333"/>
                  <a:pt x="74117" y="66666"/>
                  <a:pt x="75882" y="58666"/>
                </a:cubicBezTo>
                <a:cubicBezTo>
                  <a:pt x="75882" y="53333"/>
                  <a:pt x="75882" y="53333"/>
                  <a:pt x="74117" y="53333"/>
                </a:cubicBezTo>
                <a:cubicBezTo>
                  <a:pt x="70588" y="58666"/>
                  <a:pt x="61764" y="50666"/>
                  <a:pt x="61764" y="42666"/>
                </a:cubicBezTo>
                <a:cubicBezTo>
                  <a:pt x="61764" y="32000"/>
                  <a:pt x="60000" y="37333"/>
                  <a:pt x="54705" y="37333"/>
                </a:cubicBezTo>
                <a:cubicBezTo>
                  <a:pt x="51176" y="42666"/>
                  <a:pt x="49411" y="24000"/>
                  <a:pt x="45882" y="24000"/>
                </a:cubicBezTo>
                <a:cubicBezTo>
                  <a:pt x="40588" y="24000"/>
                  <a:pt x="40588" y="16000"/>
                  <a:pt x="35294" y="16000"/>
                </a:cubicBezTo>
                <a:cubicBezTo>
                  <a:pt x="30000" y="13333"/>
                  <a:pt x="38823" y="8000"/>
                  <a:pt x="26470" y="5333"/>
                </a:cubicBezTo>
                <a:cubicBezTo>
                  <a:pt x="19411" y="0"/>
                  <a:pt x="21176" y="24000"/>
                  <a:pt x="15882" y="8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45" name="Shape 1808"/>
          <p:cNvSpPr/>
          <p:nvPr/>
        </p:nvSpPr>
        <p:spPr>
          <a:xfrm>
            <a:off x="7847252" y="4140232"/>
            <a:ext cx="98929" cy="60367"/>
          </a:xfrm>
          <a:custGeom>
            <a:avLst/>
            <a:gdLst/>
            <a:ahLst/>
            <a:cxnLst/>
            <a:rect l="0" t="0" r="0" b="0"/>
            <a:pathLst>
              <a:path w="120000" h="120000" extrusionOk="0">
                <a:moveTo>
                  <a:pt x="12000" y="72000"/>
                </a:moveTo>
                <a:cubicBezTo>
                  <a:pt x="0" y="84000"/>
                  <a:pt x="20000" y="102000"/>
                  <a:pt x="24000" y="102000"/>
                </a:cubicBezTo>
                <a:cubicBezTo>
                  <a:pt x="36000" y="90000"/>
                  <a:pt x="36000" y="120000"/>
                  <a:pt x="56000" y="102000"/>
                </a:cubicBezTo>
                <a:cubicBezTo>
                  <a:pt x="72000" y="90000"/>
                  <a:pt x="68000" y="120000"/>
                  <a:pt x="84000" y="102000"/>
                </a:cubicBezTo>
                <a:cubicBezTo>
                  <a:pt x="104000" y="90000"/>
                  <a:pt x="96000" y="114000"/>
                  <a:pt x="104000" y="102000"/>
                </a:cubicBezTo>
                <a:cubicBezTo>
                  <a:pt x="108000" y="90000"/>
                  <a:pt x="116000" y="114000"/>
                  <a:pt x="116000" y="90000"/>
                </a:cubicBezTo>
                <a:cubicBezTo>
                  <a:pt x="108000" y="72000"/>
                  <a:pt x="120000" y="54000"/>
                  <a:pt x="108000" y="66000"/>
                </a:cubicBezTo>
                <a:cubicBezTo>
                  <a:pt x="96000" y="66000"/>
                  <a:pt x="96000" y="48000"/>
                  <a:pt x="96000" y="48000"/>
                </a:cubicBezTo>
                <a:cubicBezTo>
                  <a:pt x="104000" y="24000"/>
                  <a:pt x="96000" y="24000"/>
                  <a:pt x="92000" y="24000"/>
                </a:cubicBezTo>
                <a:cubicBezTo>
                  <a:pt x="84000" y="18000"/>
                  <a:pt x="84000" y="36000"/>
                  <a:pt x="80000" y="24000"/>
                </a:cubicBezTo>
                <a:cubicBezTo>
                  <a:pt x="72000" y="18000"/>
                  <a:pt x="56000" y="24000"/>
                  <a:pt x="60000" y="18000"/>
                </a:cubicBezTo>
                <a:cubicBezTo>
                  <a:pt x="68000" y="6000"/>
                  <a:pt x="44000" y="0"/>
                  <a:pt x="36000" y="24000"/>
                </a:cubicBezTo>
                <a:cubicBezTo>
                  <a:pt x="32000" y="48000"/>
                  <a:pt x="24000" y="24000"/>
                  <a:pt x="24000" y="48000"/>
                </a:cubicBezTo>
                <a:cubicBezTo>
                  <a:pt x="20000" y="66000"/>
                  <a:pt x="20000" y="54000"/>
                  <a:pt x="12000" y="72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46" name="Shape 1809"/>
          <p:cNvSpPr/>
          <p:nvPr/>
        </p:nvSpPr>
        <p:spPr>
          <a:xfrm>
            <a:off x="7828490" y="4197423"/>
            <a:ext cx="127927" cy="195398"/>
          </a:xfrm>
          <a:custGeom>
            <a:avLst/>
            <a:gdLst/>
            <a:ahLst/>
            <a:cxnLst/>
            <a:rect l="0" t="0" r="0" b="0"/>
            <a:pathLst>
              <a:path w="120000" h="120000" extrusionOk="0">
                <a:moveTo>
                  <a:pt x="27692" y="78095"/>
                </a:moveTo>
                <a:cubicBezTo>
                  <a:pt x="27692" y="66666"/>
                  <a:pt x="33846" y="66666"/>
                  <a:pt x="27692" y="66666"/>
                </a:cubicBezTo>
                <a:cubicBezTo>
                  <a:pt x="18461" y="66666"/>
                  <a:pt x="27692" y="64761"/>
                  <a:pt x="24615" y="59047"/>
                </a:cubicBezTo>
                <a:cubicBezTo>
                  <a:pt x="15384" y="55238"/>
                  <a:pt x="27692" y="59047"/>
                  <a:pt x="24615" y="49523"/>
                </a:cubicBezTo>
                <a:cubicBezTo>
                  <a:pt x="24615" y="40000"/>
                  <a:pt x="6153" y="45714"/>
                  <a:pt x="9230" y="38095"/>
                </a:cubicBezTo>
                <a:cubicBezTo>
                  <a:pt x="9230" y="28571"/>
                  <a:pt x="18461" y="38095"/>
                  <a:pt x="18461" y="28571"/>
                </a:cubicBezTo>
                <a:cubicBezTo>
                  <a:pt x="15384" y="22857"/>
                  <a:pt x="36923" y="32380"/>
                  <a:pt x="27692" y="24761"/>
                </a:cubicBezTo>
                <a:cubicBezTo>
                  <a:pt x="27692" y="22857"/>
                  <a:pt x="27692" y="22857"/>
                  <a:pt x="24615" y="22857"/>
                </a:cubicBezTo>
                <a:cubicBezTo>
                  <a:pt x="18461" y="22857"/>
                  <a:pt x="18461" y="17142"/>
                  <a:pt x="9230" y="17142"/>
                </a:cubicBezTo>
                <a:cubicBezTo>
                  <a:pt x="0" y="13333"/>
                  <a:pt x="24615" y="5714"/>
                  <a:pt x="18461" y="5714"/>
                </a:cubicBezTo>
                <a:cubicBezTo>
                  <a:pt x="15384" y="1904"/>
                  <a:pt x="15384" y="0"/>
                  <a:pt x="18461" y="1904"/>
                </a:cubicBezTo>
                <a:cubicBezTo>
                  <a:pt x="24615" y="1904"/>
                  <a:pt x="18461" y="11428"/>
                  <a:pt x="33846" y="5714"/>
                </a:cubicBezTo>
                <a:cubicBezTo>
                  <a:pt x="36923" y="5714"/>
                  <a:pt x="43076" y="19047"/>
                  <a:pt x="46153" y="11428"/>
                </a:cubicBezTo>
                <a:cubicBezTo>
                  <a:pt x="52307" y="5714"/>
                  <a:pt x="52307" y="17142"/>
                  <a:pt x="52307" y="24761"/>
                </a:cubicBezTo>
                <a:cubicBezTo>
                  <a:pt x="52307" y="32380"/>
                  <a:pt x="107692" y="24761"/>
                  <a:pt x="116923" y="32380"/>
                </a:cubicBezTo>
                <a:cubicBezTo>
                  <a:pt x="120000" y="38095"/>
                  <a:pt x="107692" y="28571"/>
                  <a:pt x="107692" y="38095"/>
                </a:cubicBezTo>
                <a:cubicBezTo>
                  <a:pt x="107692" y="49523"/>
                  <a:pt x="80000" y="45714"/>
                  <a:pt x="83076" y="59047"/>
                </a:cubicBezTo>
                <a:cubicBezTo>
                  <a:pt x="89230" y="72380"/>
                  <a:pt x="98461" y="76190"/>
                  <a:pt x="101538" y="60952"/>
                </a:cubicBezTo>
                <a:cubicBezTo>
                  <a:pt x="101538" y="55238"/>
                  <a:pt x="110769" y="55238"/>
                  <a:pt x="110769" y="60952"/>
                </a:cubicBezTo>
                <a:cubicBezTo>
                  <a:pt x="107692" y="72380"/>
                  <a:pt x="116923" y="72380"/>
                  <a:pt x="116923" y="91428"/>
                </a:cubicBezTo>
                <a:cubicBezTo>
                  <a:pt x="120000" y="120000"/>
                  <a:pt x="107692" y="87619"/>
                  <a:pt x="107692" y="108571"/>
                </a:cubicBezTo>
                <a:cubicBezTo>
                  <a:pt x="110769" y="114285"/>
                  <a:pt x="107692" y="112380"/>
                  <a:pt x="107692" y="108571"/>
                </a:cubicBezTo>
                <a:cubicBezTo>
                  <a:pt x="101538" y="104761"/>
                  <a:pt x="101538" y="102857"/>
                  <a:pt x="101538" y="99047"/>
                </a:cubicBezTo>
                <a:cubicBezTo>
                  <a:pt x="107692" y="97142"/>
                  <a:pt x="101538" y="97142"/>
                  <a:pt x="101538" y="91428"/>
                </a:cubicBezTo>
                <a:cubicBezTo>
                  <a:pt x="92307" y="78095"/>
                  <a:pt x="92307" y="72380"/>
                  <a:pt x="89230" y="76190"/>
                </a:cubicBezTo>
                <a:cubicBezTo>
                  <a:pt x="80000" y="81904"/>
                  <a:pt x="73846" y="78095"/>
                  <a:pt x="73846" y="72380"/>
                </a:cubicBezTo>
                <a:cubicBezTo>
                  <a:pt x="70769" y="66666"/>
                  <a:pt x="70769" y="59047"/>
                  <a:pt x="70769" y="60952"/>
                </a:cubicBezTo>
                <a:cubicBezTo>
                  <a:pt x="64615" y="64761"/>
                  <a:pt x="64615" y="60952"/>
                  <a:pt x="64615" y="64761"/>
                </a:cubicBezTo>
                <a:cubicBezTo>
                  <a:pt x="70769" y="70476"/>
                  <a:pt x="64615" y="72380"/>
                  <a:pt x="70769" y="78095"/>
                </a:cubicBezTo>
                <a:cubicBezTo>
                  <a:pt x="70769" y="85714"/>
                  <a:pt x="61538" y="97142"/>
                  <a:pt x="55384" y="93333"/>
                </a:cubicBezTo>
                <a:cubicBezTo>
                  <a:pt x="52307" y="87619"/>
                  <a:pt x="46153" y="99047"/>
                  <a:pt x="46153" y="93333"/>
                </a:cubicBezTo>
                <a:cubicBezTo>
                  <a:pt x="43076" y="91428"/>
                  <a:pt x="36923" y="99047"/>
                  <a:pt x="33846" y="91428"/>
                </a:cubicBezTo>
                <a:cubicBezTo>
                  <a:pt x="33846" y="87619"/>
                  <a:pt x="33846" y="85714"/>
                  <a:pt x="27692" y="78095"/>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47" name="Shape 1810"/>
          <p:cNvSpPr/>
          <p:nvPr/>
        </p:nvSpPr>
        <p:spPr>
          <a:xfrm>
            <a:off x="7113808" y="3806625"/>
            <a:ext cx="376955" cy="314541"/>
          </a:xfrm>
          <a:custGeom>
            <a:avLst/>
            <a:gdLst/>
            <a:ahLst/>
            <a:cxnLst/>
            <a:rect l="0" t="0" r="0" b="0"/>
            <a:pathLst>
              <a:path w="120000" h="120000" extrusionOk="0">
                <a:moveTo>
                  <a:pt x="6315" y="38823"/>
                </a:moveTo>
                <a:cubicBezTo>
                  <a:pt x="4210" y="55294"/>
                  <a:pt x="0" y="50588"/>
                  <a:pt x="0" y="58823"/>
                </a:cubicBezTo>
                <a:cubicBezTo>
                  <a:pt x="1052" y="68235"/>
                  <a:pt x="3157" y="77647"/>
                  <a:pt x="3157" y="87058"/>
                </a:cubicBezTo>
                <a:cubicBezTo>
                  <a:pt x="1052" y="95294"/>
                  <a:pt x="10526" y="87058"/>
                  <a:pt x="10526" y="94117"/>
                </a:cubicBezTo>
                <a:cubicBezTo>
                  <a:pt x="12631" y="101176"/>
                  <a:pt x="3157" y="104705"/>
                  <a:pt x="3157" y="110588"/>
                </a:cubicBezTo>
                <a:cubicBezTo>
                  <a:pt x="7368" y="108235"/>
                  <a:pt x="14736" y="120000"/>
                  <a:pt x="30526" y="114117"/>
                </a:cubicBezTo>
                <a:cubicBezTo>
                  <a:pt x="48421" y="110588"/>
                  <a:pt x="49473" y="110588"/>
                  <a:pt x="49473" y="103529"/>
                </a:cubicBezTo>
                <a:cubicBezTo>
                  <a:pt x="48421" y="94117"/>
                  <a:pt x="57894" y="91764"/>
                  <a:pt x="62105" y="88235"/>
                </a:cubicBezTo>
                <a:cubicBezTo>
                  <a:pt x="67368" y="82352"/>
                  <a:pt x="70526" y="90588"/>
                  <a:pt x="72631" y="87058"/>
                </a:cubicBezTo>
                <a:cubicBezTo>
                  <a:pt x="73684" y="84705"/>
                  <a:pt x="72631" y="82352"/>
                  <a:pt x="73684" y="75294"/>
                </a:cubicBezTo>
                <a:cubicBezTo>
                  <a:pt x="76842" y="65882"/>
                  <a:pt x="85263" y="71764"/>
                  <a:pt x="80000" y="62352"/>
                </a:cubicBezTo>
                <a:cubicBezTo>
                  <a:pt x="73684" y="51764"/>
                  <a:pt x="89473" y="64705"/>
                  <a:pt x="89473" y="54117"/>
                </a:cubicBezTo>
                <a:cubicBezTo>
                  <a:pt x="89473" y="48235"/>
                  <a:pt x="94736" y="45882"/>
                  <a:pt x="91578" y="38823"/>
                </a:cubicBezTo>
                <a:cubicBezTo>
                  <a:pt x="88421" y="31764"/>
                  <a:pt x="89473" y="28235"/>
                  <a:pt x="101052" y="24705"/>
                </a:cubicBezTo>
                <a:cubicBezTo>
                  <a:pt x="110526" y="18823"/>
                  <a:pt x="113684" y="25882"/>
                  <a:pt x="116842" y="18823"/>
                </a:cubicBezTo>
                <a:cubicBezTo>
                  <a:pt x="115789" y="18823"/>
                  <a:pt x="115789" y="17647"/>
                  <a:pt x="118947" y="17647"/>
                </a:cubicBezTo>
                <a:cubicBezTo>
                  <a:pt x="119999" y="15294"/>
                  <a:pt x="116842" y="12941"/>
                  <a:pt x="113684" y="15294"/>
                </a:cubicBezTo>
                <a:cubicBezTo>
                  <a:pt x="110526" y="18823"/>
                  <a:pt x="109473" y="18823"/>
                  <a:pt x="110526" y="15294"/>
                </a:cubicBezTo>
                <a:cubicBezTo>
                  <a:pt x="112631" y="12941"/>
                  <a:pt x="107368" y="12941"/>
                  <a:pt x="106315" y="15294"/>
                </a:cubicBezTo>
                <a:cubicBezTo>
                  <a:pt x="104210" y="17647"/>
                  <a:pt x="102105" y="17647"/>
                  <a:pt x="102105" y="18823"/>
                </a:cubicBezTo>
                <a:cubicBezTo>
                  <a:pt x="102105" y="21176"/>
                  <a:pt x="98947" y="21176"/>
                  <a:pt x="95789" y="22352"/>
                </a:cubicBezTo>
                <a:cubicBezTo>
                  <a:pt x="92631" y="25882"/>
                  <a:pt x="91578" y="22352"/>
                  <a:pt x="92631" y="11764"/>
                </a:cubicBezTo>
                <a:cubicBezTo>
                  <a:pt x="92631" y="4705"/>
                  <a:pt x="91578" y="9411"/>
                  <a:pt x="89473" y="8235"/>
                </a:cubicBezTo>
                <a:cubicBezTo>
                  <a:pt x="89473" y="5882"/>
                  <a:pt x="92631" y="4705"/>
                  <a:pt x="88421" y="2352"/>
                </a:cubicBezTo>
                <a:cubicBezTo>
                  <a:pt x="83157" y="0"/>
                  <a:pt x="85263" y="5882"/>
                  <a:pt x="82105" y="8235"/>
                </a:cubicBezTo>
                <a:cubicBezTo>
                  <a:pt x="80000" y="9411"/>
                  <a:pt x="83157" y="11764"/>
                  <a:pt x="82105" y="12941"/>
                </a:cubicBezTo>
                <a:cubicBezTo>
                  <a:pt x="80000" y="15294"/>
                  <a:pt x="78947" y="11764"/>
                  <a:pt x="75789" y="12941"/>
                </a:cubicBezTo>
                <a:cubicBezTo>
                  <a:pt x="73684" y="15294"/>
                  <a:pt x="75789" y="18823"/>
                  <a:pt x="73684" y="18823"/>
                </a:cubicBezTo>
                <a:cubicBezTo>
                  <a:pt x="73684" y="18823"/>
                  <a:pt x="72631" y="15294"/>
                  <a:pt x="70526" y="17647"/>
                </a:cubicBezTo>
                <a:cubicBezTo>
                  <a:pt x="67368" y="17647"/>
                  <a:pt x="65263" y="17647"/>
                  <a:pt x="64210" y="18823"/>
                </a:cubicBezTo>
                <a:cubicBezTo>
                  <a:pt x="64210" y="22352"/>
                  <a:pt x="62105" y="22352"/>
                  <a:pt x="61052" y="18823"/>
                </a:cubicBezTo>
                <a:cubicBezTo>
                  <a:pt x="58947" y="17647"/>
                  <a:pt x="58947" y="17647"/>
                  <a:pt x="57894" y="17647"/>
                </a:cubicBezTo>
                <a:cubicBezTo>
                  <a:pt x="55789" y="18823"/>
                  <a:pt x="55789" y="12941"/>
                  <a:pt x="51578" y="15294"/>
                </a:cubicBezTo>
                <a:cubicBezTo>
                  <a:pt x="46315" y="17647"/>
                  <a:pt x="45263" y="11764"/>
                  <a:pt x="43157" y="15294"/>
                </a:cubicBezTo>
                <a:cubicBezTo>
                  <a:pt x="40000" y="18823"/>
                  <a:pt x="36842" y="15294"/>
                  <a:pt x="34736" y="24705"/>
                </a:cubicBezTo>
                <a:cubicBezTo>
                  <a:pt x="33684" y="32941"/>
                  <a:pt x="28421" y="31764"/>
                  <a:pt x="25263" y="32941"/>
                </a:cubicBezTo>
                <a:cubicBezTo>
                  <a:pt x="22105" y="35294"/>
                  <a:pt x="22105" y="41176"/>
                  <a:pt x="17894" y="42352"/>
                </a:cubicBezTo>
                <a:cubicBezTo>
                  <a:pt x="12631" y="44705"/>
                  <a:pt x="15789" y="38823"/>
                  <a:pt x="10526" y="41176"/>
                </a:cubicBezTo>
                <a:cubicBezTo>
                  <a:pt x="7368" y="41176"/>
                  <a:pt x="9473" y="38823"/>
                  <a:pt x="6315" y="38823"/>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48" name="Shape 1811"/>
          <p:cNvSpPr/>
          <p:nvPr/>
        </p:nvSpPr>
        <p:spPr>
          <a:xfrm>
            <a:off x="7122338" y="3855874"/>
            <a:ext cx="443475" cy="436863"/>
          </a:xfrm>
          <a:custGeom>
            <a:avLst/>
            <a:gdLst/>
            <a:ahLst/>
            <a:cxnLst/>
            <a:rect l="0" t="0" r="0" b="0"/>
            <a:pathLst>
              <a:path w="120000" h="120000" extrusionOk="0">
                <a:moveTo>
                  <a:pt x="96716" y="0"/>
                </a:moveTo>
                <a:cubicBezTo>
                  <a:pt x="99402" y="2535"/>
                  <a:pt x="102089" y="0"/>
                  <a:pt x="103880" y="2535"/>
                </a:cubicBezTo>
                <a:cubicBezTo>
                  <a:pt x="103880" y="5070"/>
                  <a:pt x="104776" y="1690"/>
                  <a:pt x="107462" y="5070"/>
                </a:cubicBezTo>
                <a:cubicBezTo>
                  <a:pt x="109253" y="9295"/>
                  <a:pt x="106567" y="7605"/>
                  <a:pt x="107462" y="10140"/>
                </a:cubicBezTo>
                <a:cubicBezTo>
                  <a:pt x="110149" y="13521"/>
                  <a:pt x="111940" y="10140"/>
                  <a:pt x="111940" y="11830"/>
                </a:cubicBezTo>
                <a:cubicBezTo>
                  <a:pt x="112835" y="13521"/>
                  <a:pt x="117313" y="14366"/>
                  <a:pt x="120000" y="14366"/>
                </a:cubicBezTo>
                <a:cubicBezTo>
                  <a:pt x="112835" y="18591"/>
                  <a:pt x="115522" y="22816"/>
                  <a:pt x="111940" y="21126"/>
                </a:cubicBezTo>
                <a:cubicBezTo>
                  <a:pt x="109253" y="21126"/>
                  <a:pt x="107462" y="25352"/>
                  <a:pt x="102089" y="23661"/>
                </a:cubicBezTo>
                <a:cubicBezTo>
                  <a:pt x="94029" y="19436"/>
                  <a:pt x="89552" y="23661"/>
                  <a:pt x="92238" y="25352"/>
                </a:cubicBezTo>
                <a:cubicBezTo>
                  <a:pt x="94925" y="27887"/>
                  <a:pt x="89552" y="27887"/>
                  <a:pt x="94029" y="27887"/>
                </a:cubicBezTo>
                <a:cubicBezTo>
                  <a:pt x="99402" y="28732"/>
                  <a:pt x="89552" y="28732"/>
                  <a:pt x="94029" y="31267"/>
                </a:cubicBezTo>
                <a:cubicBezTo>
                  <a:pt x="96716" y="33802"/>
                  <a:pt x="91343" y="33802"/>
                  <a:pt x="94029" y="37183"/>
                </a:cubicBezTo>
                <a:cubicBezTo>
                  <a:pt x="96716" y="38028"/>
                  <a:pt x="94925" y="39718"/>
                  <a:pt x="96716" y="39718"/>
                </a:cubicBezTo>
                <a:cubicBezTo>
                  <a:pt x="100298" y="38028"/>
                  <a:pt x="96716" y="42253"/>
                  <a:pt x="99402" y="42253"/>
                </a:cubicBezTo>
                <a:cubicBezTo>
                  <a:pt x="103880" y="43098"/>
                  <a:pt x="104776" y="43098"/>
                  <a:pt x="99402" y="45633"/>
                </a:cubicBezTo>
                <a:cubicBezTo>
                  <a:pt x="92238" y="49014"/>
                  <a:pt x="100298" y="49014"/>
                  <a:pt x="94029" y="58309"/>
                </a:cubicBezTo>
                <a:cubicBezTo>
                  <a:pt x="91343" y="63380"/>
                  <a:pt x="96716" y="61690"/>
                  <a:pt x="91343" y="63380"/>
                </a:cubicBezTo>
                <a:cubicBezTo>
                  <a:pt x="85970" y="65915"/>
                  <a:pt x="88656" y="72676"/>
                  <a:pt x="84179" y="73521"/>
                </a:cubicBezTo>
                <a:cubicBezTo>
                  <a:pt x="80597" y="75211"/>
                  <a:pt x="81492" y="77746"/>
                  <a:pt x="80597" y="78591"/>
                </a:cubicBezTo>
                <a:cubicBezTo>
                  <a:pt x="77014" y="80281"/>
                  <a:pt x="80597" y="82816"/>
                  <a:pt x="77014" y="82816"/>
                </a:cubicBezTo>
                <a:cubicBezTo>
                  <a:pt x="72537" y="82816"/>
                  <a:pt x="70746" y="85352"/>
                  <a:pt x="68955" y="82816"/>
                </a:cubicBezTo>
                <a:cubicBezTo>
                  <a:pt x="66268" y="78591"/>
                  <a:pt x="66268" y="84507"/>
                  <a:pt x="63582" y="87042"/>
                </a:cubicBezTo>
                <a:cubicBezTo>
                  <a:pt x="60895" y="89577"/>
                  <a:pt x="58208" y="92957"/>
                  <a:pt x="63582" y="92957"/>
                </a:cubicBezTo>
                <a:cubicBezTo>
                  <a:pt x="68955" y="94647"/>
                  <a:pt x="62686" y="101408"/>
                  <a:pt x="68059" y="101408"/>
                </a:cubicBezTo>
                <a:cubicBezTo>
                  <a:pt x="72537" y="102253"/>
                  <a:pt x="66268" y="102253"/>
                  <a:pt x="72537" y="109014"/>
                </a:cubicBezTo>
                <a:cubicBezTo>
                  <a:pt x="73432" y="110704"/>
                  <a:pt x="70746" y="111549"/>
                  <a:pt x="72537" y="113239"/>
                </a:cubicBezTo>
                <a:cubicBezTo>
                  <a:pt x="73432" y="113239"/>
                  <a:pt x="68955" y="115774"/>
                  <a:pt x="68955" y="114084"/>
                </a:cubicBezTo>
                <a:cubicBezTo>
                  <a:pt x="68059" y="111549"/>
                  <a:pt x="66268" y="113239"/>
                  <a:pt x="65373" y="114084"/>
                </a:cubicBezTo>
                <a:cubicBezTo>
                  <a:pt x="63582" y="117464"/>
                  <a:pt x="63582" y="113239"/>
                  <a:pt x="60000" y="114084"/>
                </a:cubicBezTo>
                <a:cubicBezTo>
                  <a:pt x="58208" y="114084"/>
                  <a:pt x="55522" y="113239"/>
                  <a:pt x="55522" y="115774"/>
                </a:cubicBezTo>
                <a:cubicBezTo>
                  <a:pt x="57313" y="118309"/>
                  <a:pt x="51940" y="115774"/>
                  <a:pt x="51940" y="120000"/>
                </a:cubicBezTo>
                <a:cubicBezTo>
                  <a:pt x="49253" y="117464"/>
                  <a:pt x="49253" y="120000"/>
                  <a:pt x="47462" y="118309"/>
                </a:cubicBezTo>
                <a:cubicBezTo>
                  <a:pt x="46567" y="117464"/>
                  <a:pt x="47462" y="117464"/>
                  <a:pt x="46567" y="115774"/>
                </a:cubicBezTo>
                <a:cubicBezTo>
                  <a:pt x="44776" y="114084"/>
                  <a:pt x="46567" y="114084"/>
                  <a:pt x="44776" y="113239"/>
                </a:cubicBezTo>
                <a:cubicBezTo>
                  <a:pt x="42985" y="111549"/>
                  <a:pt x="46567" y="109014"/>
                  <a:pt x="42985" y="109014"/>
                </a:cubicBezTo>
                <a:cubicBezTo>
                  <a:pt x="39402" y="109014"/>
                  <a:pt x="42089" y="108169"/>
                  <a:pt x="40298" y="104788"/>
                </a:cubicBezTo>
                <a:cubicBezTo>
                  <a:pt x="40298" y="103943"/>
                  <a:pt x="28656" y="104788"/>
                  <a:pt x="26865" y="104788"/>
                </a:cubicBezTo>
                <a:cubicBezTo>
                  <a:pt x="26865" y="108169"/>
                  <a:pt x="26865" y="106478"/>
                  <a:pt x="21492" y="104788"/>
                </a:cubicBezTo>
                <a:cubicBezTo>
                  <a:pt x="16119" y="103943"/>
                  <a:pt x="20597" y="108169"/>
                  <a:pt x="16119" y="106478"/>
                </a:cubicBezTo>
                <a:cubicBezTo>
                  <a:pt x="10746" y="103943"/>
                  <a:pt x="11641" y="108169"/>
                  <a:pt x="10746" y="106478"/>
                </a:cubicBezTo>
                <a:cubicBezTo>
                  <a:pt x="8955" y="104788"/>
                  <a:pt x="6268" y="110704"/>
                  <a:pt x="5373" y="106478"/>
                </a:cubicBezTo>
                <a:cubicBezTo>
                  <a:pt x="5373" y="103943"/>
                  <a:pt x="5373" y="101408"/>
                  <a:pt x="6268" y="98873"/>
                </a:cubicBezTo>
                <a:cubicBezTo>
                  <a:pt x="8059" y="96338"/>
                  <a:pt x="10746" y="97183"/>
                  <a:pt x="10746" y="94647"/>
                </a:cubicBezTo>
                <a:cubicBezTo>
                  <a:pt x="10746" y="92957"/>
                  <a:pt x="16119" y="94647"/>
                  <a:pt x="16119" y="92957"/>
                </a:cubicBezTo>
                <a:cubicBezTo>
                  <a:pt x="16119" y="90422"/>
                  <a:pt x="17910" y="89577"/>
                  <a:pt x="17910" y="87887"/>
                </a:cubicBezTo>
                <a:cubicBezTo>
                  <a:pt x="16119" y="87887"/>
                  <a:pt x="11641" y="89577"/>
                  <a:pt x="13432" y="87042"/>
                </a:cubicBezTo>
                <a:cubicBezTo>
                  <a:pt x="15223" y="85352"/>
                  <a:pt x="13432" y="82816"/>
                  <a:pt x="13432" y="80281"/>
                </a:cubicBezTo>
                <a:cubicBezTo>
                  <a:pt x="13432" y="77746"/>
                  <a:pt x="13432" y="81971"/>
                  <a:pt x="11641" y="78591"/>
                </a:cubicBezTo>
                <a:cubicBezTo>
                  <a:pt x="10746" y="76056"/>
                  <a:pt x="6268" y="78591"/>
                  <a:pt x="5373" y="73521"/>
                </a:cubicBezTo>
                <a:cubicBezTo>
                  <a:pt x="3582" y="69295"/>
                  <a:pt x="2686" y="68450"/>
                  <a:pt x="0" y="65915"/>
                </a:cubicBezTo>
                <a:cubicBezTo>
                  <a:pt x="3582" y="64225"/>
                  <a:pt x="8955" y="72676"/>
                  <a:pt x="23283" y="68450"/>
                </a:cubicBezTo>
                <a:cubicBezTo>
                  <a:pt x="37611" y="65915"/>
                  <a:pt x="39402" y="65915"/>
                  <a:pt x="39402" y="60845"/>
                </a:cubicBezTo>
                <a:cubicBezTo>
                  <a:pt x="37611" y="54084"/>
                  <a:pt x="46567" y="52394"/>
                  <a:pt x="50149" y="49859"/>
                </a:cubicBezTo>
                <a:cubicBezTo>
                  <a:pt x="54626" y="45633"/>
                  <a:pt x="57313" y="51549"/>
                  <a:pt x="58208" y="49014"/>
                </a:cubicBezTo>
                <a:cubicBezTo>
                  <a:pt x="60000" y="47323"/>
                  <a:pt x="58208" y="45633"/>
                  <a:pt x="60000" y="40563"/>
                </a:cubicBezTo>
                <a:cubicBezTo>
                  <a:pt x="62686" y="33802"/>
                  <a:pt x="68955" y="38028"/>
                  <a:pt x="65373" y="31267"/>
                </a:cubicBezTo>
                <a:cubicBezTo>
                  <a:pt x="60000" y="23661"/>
                  <a:pt x="73432" y="32957"/>
                  <a:pt x="73432" y="25352"/>
                </a:cubicBezTo>
                <a:cubicBezTo>
                  <a:pt x="73432" y="21126"/>
                  <a:pt x="77014" y="19436"/>
                  <a:pt x="74328" y="14366"/>
                </a:cubicBezTo>
                <a:cubicBezTo>
                  <a:pt x="72537" y="9295"/>
                  <a:pt x="73432" y="6760"/>
                  <a:pt x="83283" y="4225"/>
                </a:cubicBezTo>
                <a:cubicBezTo>
                  <a:pt x="91343" y="0"/>
                  <a:pt x="94029" y="5070"/>
                  <a:pt x="96716"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49" name="Shape 1812"/>
          <p:cNvSpPr/>
          <p:nvPr/>
        </p:nvSpPr>
        <p:spPr>
          <a:xfrm>
            <a:off x="6678866" y="3760557"/>
            <a:ext cx="506584" cy="486111"/>
          </a:xfrm>
          <a:custGeom>
            <a:avLst/>
            <a:gdLst/>
            <a:ahLst/>
            <a:cxnLst/>
            <a:rect l="0" t="0" r="0" b="0"/>
            <a:pathLst>
              <a:path w="120000" h="120000" extrusionOk="0">
                <a:moveTo>
                  <a:pt x="30588" y="12911"/>
                </a:moveTo>
                <a:cubicBezTo>
                  <a:pt x="30588" y="25063"/>
                  <a:pt x="36862" y="17468"/>
                  <a:pt x="39215" y="22025"/>
                </a:cubicBezTo>
                <a:cubicBezTo>
                  <a:pt x="40784" y="25822"/>
                  <a:pt x="48627" y="28101"/>
                  <a:pt x="50196" y="28101"/>
                </a:cubicBezTo>
                <a:cubicBezTo>
                  <a:pt x="52549" y="27341"/>
                  <a:pt x="60392" y="25063"/>
                  <a:pt x="61960" y="25063"/>
                </a:cubicBezTo>
                <a:cubicBezTo>
                  <a:pt x="61960" y="25822"/>
                  <a:pt x="58039" y="25822"/>
                  <a:pt x="61960" y="25822"/>
                </a:cubicBezTo>
                <a:cubicBezTo>
                  <a:pt x="64313" y="25822"/>
                  <a:pt x="61960" y="23544"/>
                  <a:pt x="61960" y="21265"/>
                </a:cubicBezTo>
                <a:cubicBezTo>
                  <a:pt x="70588" y="21265"/>
                  <a:pt x="64313" y="18987"/>
                  <a:pt x="70588" y="16708"/>
                </a:cubicBezTo>
                <a:cubicBezTo>
                  <a:pt x="73725" y="14430"/>
                  <a:pt x="76078" y="17468"/>
                  <a:pt x="77647" y="15189"/>
                </a:cubicBezTo>
                <a:cubicBezTo>
                  <a:pt x="77647" y="14430"/>
                  <a:pt x="80000" y="12911"/>
                  <a:pt x="80784" y="14430"/>
                </a:cubicBezTo>
                <a:cubicBezTo>
                  <a:pt x="80784" y="15189"/>
                  <a:pt x="82352" y="12911"/>
                  <a:pt x="83137" y="15189"/>
                </a:cubicBezTo>
                <a:cubicBezTo>
                  <a:pt x="83137" y="17468"/>
                  <a:pt x="87843" y="16708"/>
                  <a:pt x="87843" y="18987"/>
                </a:cubicBezTo>
                <a:cubicBezTo>
                  <a:pt x="89411" y="19746"/>
                  <a:pt x="89411" y="17468"/>
                  <a:pt x="92549" y="18987"/>
                </a:cubicBezTo>
                <a:cubicBezTo>
                  <a:pt x="97254" y="19746"/>
                  <a:pt x="94117" y="22025"/>
                  <a:pt x="97254" y="23544"/>
                </a:cubicBezTo>
                <a:cubicBezTo>
                  <a:pt x="101176" y="25063"/>
                  <a:pt x="99607" y="27341"/>
                  <a:pt x="102745" y="27341"/>
                </a:cubicBezTo>
                <a:cubicBezTo>
                  <a:pt x="105098" y="27341"/>
                  <a:pt x="105882" y="27341"/>
                  <a:pt x="107450" y="28101"/>
                </a:cubicBezTo>
                <a:cubicBezTo>
                  <a:pt x="107450" y="29620"/>
                  <a:pt x="105882" y="28101"/>
                  <a:pt x="107450" y="30379"/>
                </a:cubicBezTo>
                <a:cubicBezTo>
                  <a:pt x="107450" y="31898"/>
                  <a:pt x="105882" y="32658"/>
                  <a:pt x="107450" y="32658"/>
                </a:cubicBezTo>
                <a:cubicBezTo>
                  <a:pt x="108235" y="34177"/>
                  <a:pt x="107450" y="34936"/>
                  <a:pt x="107450" y="36455"/>
                </a:cubicBezTo>
                <a:cubicBezTo>
                  <a:pt x="105882" y="47088"/>
                  <a:pt x="102745" y="43291"/>
                  <a:pt x="102745" y="49367"/>
                </a:cubicBezTo>
                <a:cubicBezTo>
                  <a:pt x="103529" y="55443"/>
                  <a:pt x="105098" y="61518"/>
                  <a:pt x="105098" y="66835"/>
                </a:cubicBezTo>
                <a:cubicBezTo>
                  <a:pt x="103529" y="72911"/>
                  <a:pt x="110588" y="66835"/>
                  <a:pt x="110588" y="72151"/>
                </a:cubicBezTo>
                <a:cubicBezTo>
                  <a:pt x="112156" y="76708"/>
                  <a:pt x="105098" y="78987"/>
                  <a:pt x="105098" y="82025"/>
                </a:cubicBezTo>
                <a:cubicBezTo>
                  <a:pt x="107450" y="85063"/>
                  <a:pt x="108235" y="85822"/>
                  <a:pt x="109803" y="89620"/>
                </a:cubicBezTo>
                <a:cubicBezTo>
                  <a:pt x="110588" y="94177"/>
                  <a:pt x="114509" y="91898"/>
                  <a:pt x="115294" y="94177"/>
                </a:cubicBezTo>
                <a:cubicBezTo>
                  <a:pt x="116862" y="96455"/>
                  <a:pt x="116862" y="92658"/>
                  <a:pt x="116862" y="95696"/>
                </a:cubicBezTo>
                <a:cubicBezTo>
                  <a:pt x="116862" y="97974"/>
                  <a:pt x="117647" y="100253"/>
                  <a:pt x="116862" y="101012"/>
                </a:cubicBezTo>
                <a:cubicBezTo>
                  <a:pt x="115294" y="103291"/>
                  <a:pt x="119215" y="102531"/>
                  <a:pt x="120000" y="102531"/>
                </a:cubicBezTo>
                <a:cubicBezTo>
                  <a:pt x="120000" y="103291"/>
                  <a:pt x="119215" y="104810"/>
                  <a:pt x="119215" y="107088"/>
                </a:cubicBezTo>
                <a:cubicBezTo>
                  <a:pt x="119215" y="108607"/>
                  <a:pt x="114509" y="107088"/>
                  <a:pt x="114509" y="108607"/>
                </a:cubicBezTo>
                <a:cubicBezTo>
                  <a:pt x="114509" y="110886"/>
                  <a:pt x="112156" y="109367"/>
                  <a:pt x="110588" y="111645"/>
                </a:cubicBezTo>
                <a:cubicBezTo>
                  <a:pt x="109803" y="113924"/>
                  <a:pt x="109803" y="116202"/>
                  <a:pt x="109803" y="119240"/>
                </a:cubicBezTo>
                <a:cubicBezTo>
                  <a:pt x="108235" y="117721"/>
                  <a:pt x="109803" y="120000"/>
                  <a:pt x="107450" y="119240"/>
                </a:cubicBezTo>
                <a:cubicBezTo>
                  <a:pt x="105098" y="117721"/>
                  <a:pt x="103529" y="119240"/>
                  <a:pt x="103529" y="117721"/>
                </a:cubicBezTo>
                <a:cubicBezTo>
                  <a:pt x="102745" y="116202"/>
                  <a:pt x="102745" y="116202"/>
                  <a:pt x="102745" y="117721"/>
                </a:cubicBezTo>
                <a:cubicBezTo>
                  <a:pt x="102745" y="119240"/>
                  <a:pt x="96470" y="116202"/>
                  <a:pt x="94901" y="116202"/>
                </a:cubicBezTo>
                <a:cubicBezTo>
                  <a:pt x="92549" y="117721"/>
                  <a:pt x="94117" y="116202"/>
                  <a:pt x="90196" y="115443"/>
                </a:cubicBezTo>
                <a:cubicBezTo>
                  <a:pt x="87843" y="115443"/>
                  <a:pt x="89411" y="116202"/>
                  <a:pt x="87058" y="115443"/>
                </a:cubicBezTo>
                <a:cubicBezTo>
                  <a:pt x="85490" y="113924"/>
                  <a:pt x="83137" y="115443"/>
                  <a:pt x="82352" y="113164"/>
                </a:cubicBezTo>
                <a:cubicBezTo>
                  <a:pt x="82352" y="111645"/>
                  <a:pt x="82352" y="104810"/>
                  <a:pt x="78431" y="103291"/>
                </a:cubicBezTo>
                <a:cubicBezTo>
                  <a:pt x="75294" y="102531"/>
                  <a:pt x="75294" y="104810"/>
                  <a:pt x="73725" y="104810"/>
                </a:cubicBezTo>
                <a:cubicBezTo>
                  <a:pt x="71372" y="104810"/>
                  <a:pt x="72941" y="105569"/>
                  <a:pt x="71372" y="105569"/>
                </a:cubicBezTo>
                <a:cubicBezTo>
                  <a:pt x="69019" y="105569"/>
                  <a:pt x="67450" y="109367"/>
                  <a:pt x="65098" y="108607"/>
                </a:cubicBezTo>
                <a:cubicBezTo>
                  <a:pt x="62745" y="105569"/>
                  <a:pt x="61960" y="108607"/>
                  <a:pt x="58039" y="104810"/>
                </a:cubicBezTo>
                <a:cubicBezTo>
                  <a:pt x="57254" y="103291"/>
                  <a:pt x="53333" y="102531"/>
                  <a:pt x="53333" y="101012"/>
                </a:cubicBezTo>
                <a:cubicBezTo>
                  <a:pt x="54901" y="98734"/>
                  <a:pt x="47843" y="98734"/>
                  <a:pt x="45490" y="96455"/>
                </a:cubicBezTo>
                <a:cubicBezTo>
                  <a:pt x="43137" y="92658"/>
                  <a:pt x="45490" y="92658"/>
                  <a:pt x="43137" y="90379"/>
                </a:cubicBezTo>
                <a:cubicBezTo>
                  <a:pt x="41568" y="88101"/>
                  <a:pt x="43137" y="85822"/>
                  <a:pt x="40784" y="83544"/>
                </a:cubicBezTo>
                <a:cubicBezTo>
                  <a:pt x="36862" y="81265"/>
                  <a:pt x="39215" y="77468"/>
                  <a:pt x="35294" y="79746"/>
                </a:cubicBezTo>
                <a:cubicBezTo>
                  <a:pt x="32941" y="82025"/>
                  <a:pt x="30588" y="76708"/>
                  <a:pt x="30588" y="78987"/>
                </a:cubicBezTo>
                <a:cubicBezTo>
                  <a:pt x="30588" y="81265"/>
                  <a:pt x="29803" y="79746"/>
                  <a:pt x="28235" y="81265"/>
                </a:cubicBezTo>
                <a:cubicBezTo>
                  <a:pt x="28235" y="78987"/>
                  <a:pt x="27450" y="78987"/>
                  <a:pt x="25882" y="77468"/>
                </a:cubicBezTo>
                <a:cubicBezTo>
                  <a:pt x="25098" y="77468"/>
                  <a:pt x="25098" y="75189"/>
                  <a:pt x="23529" y="72911"/>
                </a:cubicBezTo>
                <a:cubicBezTo>
                  <a:pt x="22745" y="70632"/>
                  <a:pt x="25098" y="68354"/>
                  <a:pt x="22745" y="63797"/>
                </a:cubicBezTo>
                <a:cubicBezTo>
                  <a:pt x="20392" y="60000"/>
                  <a:pt x="14117" y="58481"/>
                  <a:pt x="14117" y="55443"/>
                </a:cubicBezTo>
                <a:cubicBezTo>
                  <a:pt x="13333" y="50886"/>
                  <a:pt x="8627" y="51645"/>
                  <a:pt x="9411" y="47088"/>
                </a:cubicBezTo>
                <a:cubicBezTo>
                  <a:pt x="9411" y="42531"/>
                  <a:pt x="15686" y="41012"/>
                  <a:pt x="13333" y="37974"/>
                </a:cubicBezTo>
                <a:cubicBezTo>
                  <a:pt x="11764" y="34177"/>
                  <a:pt x="15686" y="34936"/>
                  <a:pt x="15686" y="34177"/>
                </a:cubicBezTo>
                <a:cubicBezTo>
                  <a:pt x="14117" y="32658"/>
                  <a:pt x="8627" y="34177"/>
                  <a:pt x="8627" y="31898"/>
                </a:cubicBezTo>
                <a:cubicBezTo>
                  <a:pt x="8627" y="29620"/>
                  <a:pt x="6274" y="27341"/>
                  <a:pt x="4705" y="23544"/>
                </a:cubicBezTo>
                <a:cubicBezTo>
                  <a:pt x="4705" y="21265"/>
                  <a:pt x="3137" y="21265"/>
                  <a:pt x="3137" y="18987"/>
                </a:cubicBezTo>
                <a:cubicBezTo>
                  <a:pt x="4705" y="17468"/>
                  <a:pt x="784" y="17468"/>
                  <a:pt x="784" y="16708"/>
                </a:cubicBezTo>
                <a:cubicBezTo>
                  <a:pt x="784" y="15189"/>
                  <a:pt x="3137" y="15189"/>
                  <a:pt x="3137" y="14430"/>
                </a:cubicBezTo>
                <a:cubicBezTo>
                  <a:pt x="3137" y="12911"/>
                  <a:pt x="2352" y="12911"/>
                  <a:pt x="2352" y="12911"/>
                </a:cubicBezTo>
                <a:cubicBezTo>
                  <a:pt x="2352" y="11392"/>
                  <a:pt x="2352" y="10632"/>
                  <a:pt x="2352" y="9113"/>
                </a:cubicBezTo>
                <a:cubicBezTo>
                  <a:pt x="2352" y="8354"/>
                  <a:pt x="784" y="8354"/>
                  <a:pt x="784" y="8354"/>
                </a:cubicBezTo>
                <a:cubicBezTo>
                  <a:pt x="784" y="6835"/>
                  <a:pt x="784" y="6835"/>
                  <a:pt x="784" y="6835"/>
                </a:cubicBezTo>
                <a:cubicBezTo>
                  <a:pt x="784" y="6075"/>
                  <a:pt x="0" y="6075"/>
                  <a:pt x="0" y="4556"/>
                </a:cubicBezTo>
                <a:cubicBezTo>
                  <a:pt x="0" y="3797"/>
                  <a:pt x="2352" y="4556"/>
                  <a:pt x="2352" y="4556"/>
                </a:cubicBezTo>
                <a:cubicBezTo>
                  <a:pt x="3137" y="3797"/>
                  <a:pt x="2352" y="0"/>
                  <a:pt x="4705" y="2278"/>
                </a:cubicBezTo>
                <a:cubicBezTo>
                  <a:pt x="4705" y="2278"/>
                  <a:pt x="4705" y="2278"/>
                  <a:pt x="4705" y="2278"/>
                </a:cubicBezTo>
                <a:cubicBezTo>
                  <a:pt x="7058" y="4556"/>
                  <a:pt x="8627" y="8354"/>
                  <a:pt x="11764" y="9113"/>
                </a:cubicBezTo>
                <a:cubicBezTo>
                  <a:pt x="13333" y="9113"/>
                  <a:pt x="13333" y="9113"/>
                  <a:pt x="14117" y="9113"/>
                </a:cubicBezTo>
                <a:cubicBezTo>
                  <a:pt x="14117" y="9113"/>
                  <a:pt x="14117" y="8354"/>
                  <a:pt x="15686" y="8354"/>
                </a:cubicBezTo>
                <a:cubicBezTo>
                  <a:pt x="15686" y="9113"/>
                  <a:pt x="15686" y="9113"/>
                  <a:pt x="15686" y="9113"/>
                </a:cubicBezTo>
                <a:cubicBezTo>
                  <a:pt x="16470" y="9113"/>
                  <a:pt x="16470" y="9113"/>
                  <a:pt x="16470" y="8354"/>
                </a:cubicBezTo>
                <a:cubicBezTo>
                  <a:pt x="18039" y="6835"/>
                  <a:pt x="18039" y="6835"/>
                  <a:pt x="18039" y="6835"/>
                </a:cubicBezTo>
                <a:cubicBezTo>
                  <a:pt x="18823" y="6075"/>
                  <a:pt x="18823" y="6075"/>
                  <a:pt x="18823" y="6075"/>
                </a:cubicBezTo>
                <a:cubicBezTo>
                  <a:pt x="18823" y="6075"/>
                  <a:pt x="20392" y="4556"/>
                  <a:pt x="21176" y="4556"/>
                </a:cubicBezTo>
                <a:cubicBezTo>
                  <a:pt x="21176" y="3797"/>
                  <a:pt x="23529" y="1518"/>
                  <a:pt x="25098" y="2278"/>
                </a:cubicBezTo>
                <a:cubicBezTo>
                  <a:pt x="27450" y="4556"/>
                  <a:pt x="27450" y="4556"/>
                  <a:pt x="27450" y="4556"/>
                </a:cubicBezTo>
                <a:cubicBezTo>
                  <a:pt x="27450" y="4556"/>
                  <a:pt x="25882" y="4556"/>
                  <a:pt x="25882" y="6075"/>
                </a:cubicBezTo>
                <a:cubicBezTo>
                  <a:pt x="25882" y="6835"/>
                  <a:pt x="27450" y="6835"/>
                  <a:pt x="27450" y="6835"/>
                </a:cubicBezTo>
                <a:cubicBezTo>
                  <a:pt x="27450" y="8354"/>
                  <a:pt x="25098" y="8354"/>
                  <a:pt x="25098" y="8354"/>
                </a:cubicBezTo>
                <a:cubicBezTo>
                  <a:pt x="25098" y="9113"/>
                  <a:pt x="25098" y="9113"/>
                  <a:pt x="25098" y="9113"/>
                </a:cubicBezTo>
                <a:cubicBezTo>
                  <a:pt x="25882" y="9113"/>
                  <a:pt x="25882" y="9113"/>
                  <a:pt x="25882" y="10632"/>
                </a:cubicBezTo>
                <a:cubicBezTo>
                  <a:pt x="25882" y="10632"/>
                  <a:pt x="25882" y="11392"/>
                  <a:pt x="27450" y="11392"/>
                </a:cubicBezTo>
                <a:cubicBezTo>
                  <a:pt x="27450" y="10632"/>
                  <a:pt x="27450" y="10632"/>
                  <a:pt x="27450" y="10632"/>
                </a:cubicBezTo>
                <a:cubicBezTo>
                  <a:pt x="28235" y="11392"/>
                  <a:pt x="27450" y="14430"/>
                  <a:pt x="30588" y="12911"/>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50" name="Shape 1813"/>
          <p:cNvSpPr/>
          <p:nvPr/>
        </p:nvSpPr>
        <p:spPr>
          <a:xfrm>
            <a:off x="6209801" y="3677951"/>
            <a:ext cx="489528" cy="220816"/>
          </a:xfrm>
          <a:custGeom>
            <a:avLst/>
            <a:gdLst/>
            <a:ahLst/>
            <a:cxnLst/>
            <a:rect l="0" t="0" r="0" b="0"/>
            <a:pathLst>
              <a:path w="120000" h="120000" extrusionOk="0">
                <a:moveTo>
                  <a:pt x="112702" y="23333"/>
                </a:moveTo>
                <a:cubicBezTo>
                  <a:pt x="112702" y="23333"/>
                  <a:pt x="112702" y="23333"/>
                  <a:pt x="112702" y="23333"/>
                </a:cubicBezTo>
                <a:cubicBezTo>
                  <a:pt x="112702" y="23333"/>
                  <a:pt x="111081" y="23333"/>
                  <a:pt x="112702" y="23333"/>
                </a:cubicBezTo>
                <a:cubicBezTo>
                  <a:pt x="112702" y="26666"/>
                  <a:pt x="113513" y="30000"/>
                  <a:pt x="113513" y="31666"/>
                </a:cubicBezTo>
                <a:cubicBezTo>
                  <a:pt x="113513" y="35000"/>
                  <a:pt x="112702" y="35000"/>
                  <a:pt x="112702" y="36666"/>
                </a:cubicBezTo>
                <a:cubicBezTo>
                  <a:pt x="112702" y="40000"/>
                  <a:pt x="113513" y="40000"/>
                  <a:pt x="113513" y="40000"/>
                </a:cubicBezTo>
                <a:cubicBezTo>
                  <a:pt x="113513" y="41666"/>
                  <a:pt x="112702" y="41666"/>
                  <a:pt x="112702" y="41666"/>
                </a:cubicBezTo>
                <a:cubicBezTo>
                  <a:pt x="115135" y="45000"/>
                  <a:pt x="117567" y="41666"/>
                  <a:pt x="118378" y="45000"/>
                </a:cubicBezTo>
                <a:cubicBezTo>
                  <a:pt x="120000" y="46666"/>
                  <a:pt x="120000" y="46666"/>
                  <a:pt x="120000" y="50000"/>
                </a:cubicBezTo>
                <a:cubicBezTo>
                  <a:pt x="120000" y="50000"/>
                  <a:pt x="120000" y="50000"/>
                  <a:pt x="120000" y="50000"/>
                </a:cubicBezTo>
                <a:cubicBezTo>
                  <a:pt x="117567" y="45000"/>
                  <a:pt x="118378" y="53333"/>
                  <a:pt x="117567" y="55000"/>
                </a:cubicBezTo>
                <a:cubicBezTo>
                  <a:pt x="117567" y="55000"/>
                  <a:pt x="115135" y="53333"/>
                  <a:pt x="115135" y="55000"/>
                </a:cubicBezTo>
                <a:cubicBezTo>
                  <a:pt x="115135" y="58333"/>
                  <a:pt x="115945" y="58333"/>
                  <a:pt x="115945" y="60000"/>
                </a:cubicBezTo>
                <a:cubicBezTo>
                  <a:pt x="115945" y="63333"/>
                  <a:pt x="115945" y="63333"/>
                  <a:pt x="115945" y="63333"/>
                </a:cubicBezTo>
                <a:cubicBezTo>
                  <a:pt x="115945" y="63333"/>
                  <a:pt x="117567" y="63333"/>
                  <a:pt x="117567" y="65000"/>
                </a:cubicBezTo>
                <a:cubicBezTo>
                  <a:pt x="117567" y="68333"/>
                  <a:pt x="117567" y="70000"/>
                  <a:pt x="117567" y="73333"/>
                </a:cubicBezTo>
                <a:cubicBezTo>
                  <a:pt x="117567" y="73333"/>
                  <a:pt x="118378" y="73333"/>
                  <a:pt x="118378" y="76666"/>
                </a:cubicBezTo>
                <a:cubicBezTo>
                  <a:pt x="118378" y="78333"/>
                  <a:pt x="115945" y="78333"/>
                  <a:pt x="115945" y="81666"/>
                </a:cubicBezTo>
                <a:cubicBezTo>
                  <a:pt x="115945" y="83333"/>
                  <a:pt x="120000" y="83333"/>
                  <a:pt x="118378" y="86666"/>
                </a:cubicBezTo>
                <a:cubicBezTo>
                  <a:pt x="118378" y="91666"/>
                  <a:pt x="120000" y="91666"/>
                  <a:pt x="120000" y="96666"/>
                </a:cubicBezTo>
                <a:cubicBezTo>
                  <a:pt x="120000" y="96666"/>
                  <a:pt x="120000" y="96666"/>
                  <a:pt x="118378" y="96666"/>
                </a:cubicBezTo>
                <a:cubicBezTo>
                  <a:pt x="117567" y="100000"/>
                  <a:pt x="117567" y="100000"/>
                  <a:pt x="117567" y="100000"/>
                </a:cubicBezTo>
                <a:cubicBezTo>
                  <a:pt x="115945" y="96666"/>
                  <a:pt x="117567" y="93333"/>
                  <a:pt x="115945" y="93333"/>
                </a:cubicBezTo>
                <a:cubicBezTo>
                  <a:pt x="115135" y="91666"/>
                  <a:pt x="115135" y="96666"/>
                  <a:pt x="112702" y="93333"/>
                </a:cubicBezTo>
                <a:cubicBezTo>
                  <a:pt x="111081" y="93333"/>
                  <a:pt x="111081" y="91666"/>
                  <a:pt x="110270" y="91666"/>
                </a:cubicBezTo>
                <a:cubicBezTo>
                  <a:pt x="110270" y="91666"/>
                  <a:pt x="110270" y="91666"/>
                  <a:pt x="108648" y="91666"/>
                </a:cubicBezTo>
                <a:cubicBezTo>
                  <a:pt x="108648" y="93333"/>
                  <a:pt x="108648" y="93333"/>
                  <a:pt x="108648" y="93333"/>
                </a:cubicBezTo>
                <a:cubicBezTo>
                  <a:pt x="108648" y="93333"/>
                  <a:pt x="108648" y="91666"/>
                  <a:pt x="107837" y="91666"/>
                </a:cubicBezTo>
                <a:cubicBezTo>
                  <a:pt x="107837" y="91666"/>
                  <a:pt x="107837" y="91666"/>
                  <a:pt x="107837" y="91666"/>
                </a:cubicBezTo>
                <a:cubicBezTo>
                  <a:pt x="107837" y="91666"/>
                  <a:pt x="107837" y="91666"/>
                  <a:pt x="107837" y="91666"/>
                </a:cubicBezTo>
                <a:cubicBezTo>
                  <a:pt x="106216" y="93333"/>
                  <a:pt x="106216" y="96666"/>
                  <a:pt x="105405" y="96666"/>
                </a:cubicBezTo>
                <a:cubicBezTo>
                  <a:pt x="105405" y="93333"/>
                  <a:pt x="105405" y="93333"/>
                  <a:pt x="105405" y="93333"/>
                </a:cubicBezTo>
                <a:cubicBezTo>
                  <a:pt x="105405" y="93333"/>
                  <a:pt x="103783" y="91666"/>
                  <a:pt x="103783" y="93333"/>
                </a:cubicBezTo>
                <a:cubicBezTo>
                  <a:pt x="102972" y="96666"/>
                  <a:pt x="101351" y="96666"/>
                  <a:pt x="100540" y="96666"/>
                </a:cubicBezTo>
                <a:cubicBezTo>
                  <a:pt x="98108" y="96666"/>
                  <a:pt x="96486" y="96666"/>
                  <a:pt x="94864" y="96666"/>
                </a:cubicBezTo>
                <a:cubicBezTo>
                  <a:pt x="91621" y="100000"/>
                  <a:pt x="89189" y="105000"/>
                  <a:pt x="84324" y="105000"/>
                </a:cubicBezTo>
                <a:cubicBezTo>
                  <a:pt x="81891" y="105000"/>
                  <a:pt x="81891" y="101666"/>
                  <a:pt x="79459" y="100000"/>
                </a:cubicBezTo>
                <a:cubicBezTo>
                  <a:pt x="77027" y="100000"/>
                  <a:pt x="75405" y="105000"/>
                  <a:pt x="72972" y="105000"/>
                </a:cubicBezTo>
                <a:cubicBezTo>
                  <a:pt x="72162" y="105000"/>
                  <a:pt x="72162" y="105000"/>
                  <a:pt x="72162" y="105000"/>
                </a:cubicBezTo>
                <a:cubicBezTo>
                  <a:pt x="70540" y="105000"/>
                  <a:pt x="68108" y="101666"/>
                  <a:pt x="68108" y="101666"/>
                </a:cubicBezTo>
                <a:cubicBezTo>
                  <a:pt x="68108" y="101666"/>
                  <a:pt x="66486" y="106666"/>
                  <a:pt x="68108" y="110000"/>
                </a:cubicBezTo>
                <a:cubicBezTo>
                  <a:pt x="68108" y="111666"/>
                  <a:pt x="68108" y="111666"/>
                  <a:pt x="68108" y="111666"/>
                </a:cubicBezTo>
                <a:cubicBezTo>
                  <a:pt x="66486" y="111666"/>
                  <a:pt x="66486" y="111666"/>
                  <a:pt x="66486" y="111666"/>
                </a:cubicBezTo>
                <a:cubicBezTo>
                  <a:pt x="65675" y="111666"/>
                  <a:pt x="65675" y="120000"/>
                  <a:pt x="64054" y="120000"/>
                </a:cubicBezTo>
                <a:cubicBezTo>
                  <a:pt x="64054" y="120000"/>
                  <a:pt x="64054" y="116666"/>
                  <a:pt x="63243" y="116666"/>
                </a:cubicBezTo>
                <a:cubicBezTo>
                  <a:pt x="64054" y="115000"/>
                  <a:pt x="63243" y="115000"/>
                  <a:pt x="63243" y="111666"/>
                </a:cubicBezTo>
                <a:cubicBezTo>
                  <a:pt x="61621" y="110000"/>
                  <a:pt x="65675" y="106666"/>
                  <a:pt x="65675" y="101666"/>
                </a:cubicBezTo>
                <a:cubicBezTo>
                  <a:pt x="64054" y="100000"/>
                  <a:pt x="64054" y="100000"/>
                  <a:pt x="60810" y="105000"/>
                </a:cubicBezTo>
                <a:cubicBezTo>
                  <a:pt x="58378" y="111666"/>
                  <a:pt x="58378" y="93333"/>
                  <a:pt x="51891" y="106666"/>
                </a:cubicBezTo>
                <a:cubicBezTo>
                  <a:pt x="48648" y="116666"/>
                  <a:pt x="48648" y="111666"/>
                  <a:pt x="44594" y="116666"/>
                </a:cubicBezTo>
                <a:cubicBezTo>
                  <a:pt x="40540" y="120000"/>
                  <a:pt x="40540" y="106666"/>
                  <a:pt x="33243" y="101666"/>
                </a:cubicBezTo>
                <a:cubicBezTo>
                  <a:pt x="25945" y="96666"/>
                  <a:pt x="30000" y="110000"/>
                  <a:pt x="28378" y="111666"/>
                </a:cubicBezTo>
                <a:cubicBezTo>
                  <a:pt x="27567" y="115000"/>
                  <a:pt x="27567" y="110000"/>
                  <a:pt x="25135" y="115000"/>
                </a:cubicBezTo>
                <a:cubicBezTo>
                  <a:pt x="23513" y="116666"/>
                  <a:pt x="19459" y="111666"/>
                  <a:pt x="19459" y="106666"/>
                </a:cubicBezTo>
                <a:cubicBezTo>
                  <a:pt x="18648" y="100000"/>
                  <a:pt x="18648" y="106666"/>
                  <a:pt x="16216" y="105000"/>
                </a:cubicBezTo>
                <a:cubicBezTo>
                  <a:pt x="14594" y="100000"/>
                  <a:pt x="12162" y="110000"/>
                  <a:pt x="12162" y="105000"/>
                </a:cubicBezTo>
                <a:cubicBezTo>
                  <a:pt x="12162" y="101666"/>
                  <a:pt x="8918" y="106666"/>
                  <a:pt x="8918" y="105000"/>
                </a:cubicBezTo>
                <a:cubicBezTo>
                  <a:pt x="7297" y="101666"/>
                  <a:pt x="11351" y="105000"/>
                  <a:pt x="12162" y="100000"/>
                </a:cubicBezTo>
                <a:cubicBezTo>
                  <a:pt x="13783" y="96666"/>
                  <a:pt x="8918" y="101666"/>
                  <a:pt x="7297" y="100000"/>
                </a:cubicBezTo>
                <a:cubicBezTo>
                  <a:pt x="6486" y="93333"/>
                  <a:pt x="9729" y="100000"/>
                  <a:pt x="8918" y="93333"/>
                </a:cubicBezTo>
                <a:cubicBezTo>
                  <a:pt x="8918" y="91666"/>
                  <a:pt x="7297" y="93333"/>
                  <a:pt x="7297" y="91666"/>
                </a:cubicBezTo>
                <a:cubicBezTo>
                  <a:pt x="7297" y="86666"/>
                  <a:pt x="6486" y="88333"/>
                  <a:pt x="7297" y="83333"/>
                </a:cubicBezTo>
                <a:cubicBezTo>
                  <a:pt x="8918" y="78333"/>
                  <a:pt x="6486" y="81666"/>
                  <a:pt x="4864" y="78333"/>
                </a:cubicBezTo>
                <a:cubicBezTo>
                  <a:pt x="4054" y="76666"/>
                  <a:pt x="4054" y="81666"/>
                  <a:pt x="2432" y="76666"/>
                </a:cubicBezTo>
                <a:cubicBezTo>
                  <a:pt x="1621" y="73333"/>
                  <a:pt x="2432" y="65000"/>
                  <a:pt x="4054" y="70000"/>
                </a:cubicBezTo>
                <a:cubicBezTo>
                  <a:pt x="4054" y="78333"/>
                  <a:pt x="7297" y="73333"/>
                  <a:pt x="4864" y="70000"/>
                </a:cubicBezTo>
                <a:cubicBezTo>
                  <a:pt x="2432" y="68333"/>
                  <a:pt x="7297" y="65000"/>
                  <a:pt x="4864" y="63333"/>
                </a:cubicBezTo>
                <a:cubicBezTo>
                  <a:pt x="4054" y="63333"/>
                  <a:pt x="6486" y="60000"/>
                  <a:pt x="4054" y="58333"/>
                </a:cubicBezTo>
                <a:cubicBezTo>
                  <a:pt x="2432" y="55000"/>
                  <a:pt x="7297" y="50000"/>
                  <a:pt x="4054" y="53333"/>
                </a:cubicBezTo>
                <a:cubicBezTo>
                  <a:pt x="0" y="55000"/>
                  <a:pt x="0" y="55000"/>
                  <a:pt x="0" y="46666"/>
                </a:cubicBezTo>
                <a:cubicBezTo>
                  <a:pt x="1621" y="41666"/>
                  <a:pt x="1621" y="45000"/>
                  <a:pt x="2432" y="41666"/>
                </a:cubicBezTo>
                <a:cubicBezTo>
                  <a:pt x="4864" y="35000"/>
                  <a:pt x="7297" y="35000"/>
                  <a:pt x="8918" y="36666"/>
                </a:cubicBezTo>
                <a:cubicBezTo>
                  <a:pt x="8918" y="40000"/>
                  <a:pt x="11351" y="40000"/>
                  <a:pt x="9729" y="36666"/>
                </a:cubicBezTo>
                <a:cubicBezTo>
                  <a:pt x="8918" y="35000"/>
                  <a:pt x="13783" y="31666"/>
                  <a:pt x="12162" y="35000"/>
                </a:cubicBezTo>
                <a:cubicBezTo>
                  <a:pt x="12162" y="36666"/>
                  <a:pt x="18648" y="36666"/>
                  <a:pt x="18648" y="36666"/>
                </a:cubicBezTo>
                <a:cubicBezTo>
                  <a:pt x="19459" y="35000"/>
                  <a:pt x="13783" y="35000"/>
                  <a:pt x="21081" y="31666"/>
                </a:cubicBezTo>
                <a:cubicBezTo>
                  <a:pt x="27567" y="30000"/>
                  <a:pt x="22702" y="31666"/>
                  <a:pt x="21081" y="30000"/>
                </a:cubicBezTo>
                <a:cubicBezTo>
                  <a:pt x="19459" y="26666"/>
                  <a:pt x="18648" y="26666"/>
                  <a:pt x="19459" y="23333"/>
                </a:cubicBezTo>
                <a:cubicBezTo>
                  <a:pt x="19459" y="21666"/>
                  <a:pt x="19459" y="21666"/>
                  <a:pt x="23513" y="21666"/>
                </a:cubicBezTo>
                <a:cubicBezTo>
                  <a:pt x="25945" y="23333"/>
                  <a:pt x="25945" y="18333"/>
                  <a:pt x="30000" y="21666"/>
                </a:cubicBezTo>
                <a:cubicBezTo>
                  <a:pt x="32432" y="23333"/>
                  <a:pt x="33243" y="23333"/>
                  <a:pt x="34864" y="21666"/>
                </a:cubicBezTo>
                <a:cubicBezTo>
                  <a:pt x="34864" y="18333"/>
                  <a:pt x="37297" y="13333"/>
                  <a:pt x="44594" y="8333"/>
                </a:cubicBezTo>
                <a:cubicBezTo>
                  <a:pt x="51081" y="3333"/>
                  <a:pt x="53513" y="11666"/>
                  <a:pt x="56756" y="6666"/>
                </a:cubicBezTo>
                <a:cubicBezTo>
                  <a:pt x="60810" y="0"/>
                  <a:pt x="56756" y="16666"/>
                  <a:pt x="61621" y="11666"/>
                </a:cubicBezTo>
                <a:cubicBezTo>
                  <a:pt x="66486" y="8333"/>
                  <a:pt x="64054" y="21666"/>
                  <a:pt x="68108" y="18333"/>
                </a:cubicBezTo>
                <a:cubicBezTo>
                  <a:pt x="70540" y="16666"/>
                  <a:pt x="68108" y="18333"/>
                  <a:pt x="72162" y="23333"/>
                </a:cubicBezTo>
                <a:cubicBezTo>
                  <a:pt x="75405" y="26666"/>
                  <a:pt x="72972" y="18333"/>
                  <a:pt x="77027" y="23333"/>
                </a:cubicBezTo>
                <a:cubicBezTo>
                  <a:pt x="79459" y="31666"/>
                  <a:pt x="84324" y="18333"/>
                  <a:pt x="87567" y="23333"/>
                </a:cubicBezTo>
                <a:cubicBezTo>
                  <a:pt x="91621" y="31666"/>
                  <a:pt x="98918" y="18333"/>
                  <a:pt x="98918" y="16666"/>
                </a:cubicBezTo>
                <a:cubicBezTo>
                  <a:pt x="101351" y="18333"/>
                  <a:pt x="100540" y="16666"/>
                  <a:pt x="102972" y="16666"/>
                </a:cubicBezTo>
                <a:cubicBezTo>
                  <a:pt x="102972" y="16666"/>
                  <a:pt x="105405" y="18333"/>
                  <a:pt x="105405" y="16666"/>
                </a:cubicBezTo>
                <a:cubicBezTo>
                  <a:pt x="106216" y="13333"/>
                  <a:pt x="106216" y="13333"/>
                  <a:pt x="106216" y="13333"/>
                </a:cubicBezTo>
                <a:cubicBezTo>
                  <a:pt x="106216" y="13333"/>
                  <a:pt x="107837" y="13333"/>
                  <a:pt x="110270" y="18333"/>
                </a:cubicBezTo>
                <a:cubicBezTo>
                  <a:pt x="110270" y="18333"/>
                  <a:pt x="110270" y="18333"/>
                  <a:pt x="110270" y="18333"/>
                </a:cubicBezTo>
                <a:cubicBezTo>
                  <a:pt x="110270" y="21666"/>
                  <a:pt x="110270" y="21666"/>
                  <a:pt x="110270" y="21666"/>
                </a:cubicBezTo>
                <a:cubicBezTo>
                  <a:pt x="111081" y="23333"/>
                  <a:pt x="111081" y="21666"/>
                  <a:pt x="112702" y="21666"/>
                </a:cubicBezTo>
                <a:cubicBezTo>
                  <a:pt x="112702" y="23333"/>
                  <a:pt x="112702" y="23333"/>
                  <a:pt x="112702" y="23333"/>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51" name="Shape 1814"/>
          <p:cNvSpPr/>
          <p:nvPr/>
        </p:nvSpPr>
        <p:spPr>
          <a:xfrm>
            <a:off x="6897190" y="3658888"/>
            <a:ext cx="382069" cy="265295"/>
          </a:xfrm>
          <a:custGeom>
            <a:avLst/>
            <a:gdLst/>
            <a:ahLst/>
            <a:cxnLst/>
            <a:rect l="0" t="0" r="0" b="0"/>
            <a:pathLst>
              <a:path w="120000" h="120000" extrusionOk="0">
                <a:moveTo>
                  <a:pt x="0" y="18139"/>
                </a:moveTo>
                <a:cubicBezTo>
                  <a:pt x="3130" y="19534"/>
                  <a:pt x="2086" y="19534"/>
                  <a:pt x="2086" y="22325"/>
                </a:cubicBezTo>
                <a:cubicBezTo>
                  <a:pt x="3130" y="23720"/>
                  <a:pt x="3130" y="29302"/>
                  <a:pt x="3130" y="23720"/>
                </a:cubicBezTo>
                <a:cubicBezTo>
                  <a:pt x="3130" y="22325"/>
                  <a:pt x="5217" y="19534"/>
                  <a:pt x="5217" y="19534"/>
                </a:cubicBezTo>
                <a:cubicBezTo>
                  <a:pt x="3130" y="19534"/>
                  <a:pt x="3130" y="13953"/>
                  <a:pt x="8347" y="13953"/>
                </a:cubicBezTo>
                <a:cubicBezTo>
                  <a:pt x="11478" y="11162"/>
                  <a:pt x="13565" y="11162"/>
                  <a:pt x="13565" y="15348"/>
                </a:cubicBezTo>
                <a:cubicBezTo>
                  <a:pt x="13565" y="18139"/>
                  <a:pt x="13565" y="22325"/>
                  <a:pt x="17739" y="26511"/>
                </a:cubicBezTo>
                <a:cubicBezTo>
                  <a:pt x="22956" y="29302"/>
                  <a:pt x="17739" y="34883"/>
                  <a:pt x="17739" y="33488"/>
                </a:cubicBezTo>
                <a:cubicBezTo>
                  <a:pt x="16695" y="30697"/>
                  <a:pt x="14608" y="30697"/>
                  <a:pt x="16695" y="33488"/>
                </a:cubicBezTo>
                <a:cubicBezTo>
                  <a:pt x="16695" y="34883"/>
                  <a:pt x="11478" y="37674"/>
                  <a:pt x="11478" y="33488"/>
                </a:cubicBezTo>
                <a:cubicBezTo>
                  <a:pt x="11478" y="29302"/>
                  <a:pt x="9391" y="34883"/>
                  <a:pt x="8347" y="33488"/>
                </a:cubicBezTo>
                <a:cubicBezTo>
                  <a:pt x="8347" y="30697"/>
                  <a:pt x="7304" y="34883"/>
                  <a:pt x="7304" y="33488"/>
                </a:cubicBezTo>
                <a:cubicBezTo>
                  <a:pt x="7304" y="30697"/>
                  <a:pt x="3130" y="26511"/>
                  <a:pt x="5217" y="30697"/>
                </a:cubicBezTo>
                <a:cubicBezTo>
                  <a:pt x="5217" y="34883"/>
                  <a:pt x="2086" y="39069"/>
                  <a:pt x="3130" y="41860"/>
                </a:cubicBezTo>
                <a:cubicBezTo>
                  <a:pt x="3130" y="43255"/>
                  <a:pt x="5217" y="50232"/>
                  <a:pt x="5217" y="47441"/>
                </a:cubicBezTo>
                <a:cubicBezTo>
                  <a:pt x="7304" y="47441"/>
                  <a:pt x="5217" y="46046"/>
                  <a:pt x="7304" y="46046"/>
                </a:cubicBezTo>
                <a:cubicBezTo>
                  <a:pt x="8347" y="46046"/>
                  <a:pt x="9391" y="43255"/>
                  <a:pt x="9391" y="46046"/>
                </a:cubicBezTo>
                <a:cubicBezTo>
                  <a:pt x="8347" y="50232"/>
                  <a:pt x="8347" y="50232"/>
                  <a:pt x="9391" y="50232"/>
                </a:cubicBezTo>
                <a:cubicBezTo>
                  <a:pt x="11478" y="50232"/>
                  <a:pt x="11478" y="53023"/>
                  <a:pt x="9391" y="53023"/>
                </a:cubicBezTo>
                <a:cubicBezTo>
                  <a:pt x="7304" y="53023"/>
                  <a:pt x="8347" y="50232"/>
                  <a:pt x="8347" y="50232"/>
                </a:cubicBezTo>
                <a:cubicBezTo>
                  <a:pt x="7304" y="50232"/>
                  <a:pt x="5217" y="57209"/>
                  <a:pt x="7304" y="57209"/>
                </a:cubicBezTo>
                <a:cubicBezTo>
                  <a:pt x="8347" y="58604"/>
                  <a:pt x="7304" y="54418"/>
                  <a:pt x="8347" y="54418"/>
                </a:cubicBezTo>
                <a:cubicBezTo>
                  <a:pt x="9391" y="57209"/>
                  <a:pt x="9391" y="57209"/>
                  <a:pt x="11478" y="58604"/>
                </a:cubicBezTo>
                <a:cubicBezTo>
                  <a:pt x="11478" y="61395"/>
                  <a:pt x="14608" y="61395"/>
                  <a:pt x="13565" y="62790"/>
                </a:cubicBezTo>
                <a:cubicBezTo>
                  <a:pt x="11478" y="65581"/>
                  <a:pt x="11478" y="71162"/>
                  <a:pt x="13565" y="85116"/>
                </a:cubicBezTo>
                <a:cubicBezTo>
                  <a:pt x="13565" y="85116"/>
                  <a:pt x="13565" y="85116"/>
                  <a:pt x="13565" y="85116"/>
                </a:cubicBezTo>
                <a:cubicBezTo>
                  <a:pt x="24000" y="85116"/>
                  <a:pt x="16695" y="80930"/>
                  <a:pt x="24000" y="76744"/>
                </a:cubicBezTo>
                <a:cubicBezTo>
                  <a:pt x="29217" y="71162"/>
                  <a:pt x="32347" y="78139"/>
                  <a:pt x="33391" y="73953"/>
                </a:cubicBezTo>
                <a:cubicBezTo>
                  <a:pt x="33391" y="71162"/>
                  <a:pt x="36521" y="69767"/>
                  <a:pt x="38608" y="71162"/>
                </a:cubicBezTo>
                <a:cubicBezTo>
                  <a:pt x="38608" y="73953"/>
                  <a:pt x="40695" y="69767"/>
                  <a:pt x="41739" y="73953"/>
                </a:cubicBezTo>
                <a:cubicBezTo>
                  <a:pt x="41739" y="78139"/>
                  <a:pt x="48000" y="76744"/>
                  <a:pt x="48000" y="80930"/>
                </a:cubicBezTo>
                <a:cubicBezTo>
                  <a:pt x="50086" y="82325"/>
                  <a:pt x="50086" y="78139"/>
                  <a:pt x="54260" y="80930"/>
                </a:cubicBezTo>
                <a:cubicBezTo>
                  <a:pt x="60521" y="82325"/>
                  <a:pt x="56347" y="86511"/>
                  <a:pt x="60521" y="89302"/>
                </a:cubicBezTo>
                <a:cubicBezTo>
                  <a:pt x="65739" y="90697"/>
                  <a:pt x="63652" y="94883"/>
                  <a:pt x="66782" y="94883"/>
                </a:cubicBezTo>
                <a:cubicBezTo>
                  <a:pt x="69913" y="94883"/>
                  <a:pt x="72000" y="94883"/>
                  <a:pt x="74086" y="97674"/>
                </a:cubicBezTo>
                <a:cubicBezTo>
                  <a:pt x="74086" y="100465"/>
                  <a:pt x="72000" y="97674"/>
                  <a:pt x="74086" y="101860"/>
                </a:cubicBezTo>
                <a:cubicBezTo>
                  <a:pt x="74086" y="104651"/>
                  <a:pt x="72000" y="106046"/>
                  <a:pt x="74086" y="106046"/>
                </a:cubicBezTo>
                <a:cubicBezTo>
                  <a:pt x="75130" y="108837"/>
                  <a:pt x="74086" y="110232"/>
                  <a:pt x="74086" y="113023"/>
                </a:cubicBezTo>
                <a:cubicBezTo>
                  <a:pt x="77217" y="113023"/>
                  <a:pt x="75130" y="114418"/>
                  <a:pt x="78260" y="114418"/>
                </a:cubicBezTo>
                <a:cubicBezTo>
                  <a:pt x="83478" y="113023"/>
                  <a:pt x="80347" y="120000"/>
                  <a:pt x="84521" y="117209"/>
                </a:cubicBezTo>
                <a:cubicBezTo>
                  <a:pt x="89739" y="114418"/>
                  <a:pt x="89739" y="108837"/>
                  <a:pt x="92869" y="106046"/>
                </a:cubicBezTo>
                <a:cubicBezTo>
                  <a:pt x="96000" y="104651"/>
                  <a:pt x="100173" y="106046"/>
                  <a:pt x="102260" y="94883"/>
                </a:cubicBezTo>
                <a:cubicBezTo>
                  <a:pt x="104347" y="85116"/>
                  <a:pt x="107478" y="89302"/>
                  <a:pt x="110608" y="85116"/>
                </a:cubicBezTo>
                <a:cubicBezTo>
                  <a:pt x="111652" y="80930"/>
                  <a:pt x="113739" y="86511"/>
                  <a:pt x="117913" y="85116"/>
                </a:cubicBezTo>
                <a:cubicBezTo>
                  <a:pt x="116869" y="76744"/>
                  <a:pt x="120000" y="76744"/>
                  <a:pt x="117913" y="76744"/>
                </a:cubicBezTo>
                <a:cubicBezTo>
                  <a:pt x="114782" y="73953"/>
                  <a:pt x="113739" y="69767"/>
                  <a:pt x="111652" y="71162"/>
                </a:cubicBezTo>
                <a:cubicBezTo>
                  <a:pt x="108521" y="73953"/>
                  <a:pt x="100173" y="61395"/>
                  <a:pt x="99130" y="61395"/>
                </a:cubicBezTo>
                <a:cubicBezTo>
                  <a:pt x="96000" y="61395"/>
                  <a:pt x="92869" y="54418"/>
                  <a:pt x="87652" y="47441"/>
                </a:cubicBezTo>
                <a:cubicBezTo>
                  <a:pt x="83478" y="43255"/>
                  <a:pt x="84521" y="39069"/>
                  <a:pt x="81391" y="37674"/>
                </a:cubicBezTo>
                <a:cubicBezTo>
                  <a:pt x="80347" y="34883"/>
                  <a:pt x="81391" y="29302"/>
                  <a:pt x="78260" y="26511"/>
                </a:cubicBezTo>
                <a:cubicBezTo>
                  <a:pt x="74086" y="23720"/>
                  <a:pt x="75130" y="29302"/>
                  <a:pt x="74086" y="26511"/>
                </a:cubicBezTo>
                <a:cubicBezTo>
                  <a:pt x="69913" y="23720"/>
                  <a:pt x="68869" y="29302"/>
                  <a:pt x="65739" y="23720"/>
                </a:cubicBezTo>
                <a:cubicBezTo>
                  <a:pt x="62608" y="19534"/>
                  <a:pt x="65739" y="22325"/>
                  <a:pt x="63652" y="19534"/>
                </a:cubicBezTo>
                <a:cubicBezTo>
                  <a:pt x="62608" y="18139"/>
                  <a:pt x="66782" y="18139"/>
                  <a:pt x="65739" y="15348"/>
                </a:cubicBezTo>
                <a:cubicBezTo>
                  <a:pt x="60521" y="11162"/>
                  <a:pt x="66782" y="9767"/>
                  <a:pt x="62608" y="9767"/>
                </a:cubicBezTo>
                <a:cubicBezTo>
                  <a:pt x="54260" y="9767"/>
                  <a:pt x="59478" y="6976"/>
                  <a:pt x="56347" y="6976"/>
                </a:cubicBezTo>
                <a:cubicBezTo>
                  <a:pt x="53217" y="5581"/>
                  <a:pt x="53217" y="0"/>
                  <a:pt x="51130" y="2790"/>
                </a:cubicBezTo>
                <a:cubicBezTo>
                  <a:pt x="50086" y="5581"/>
                  <a:pt x="46956" y="2790"/>
                  <a:pt x="48000" y="5581"/>
                </a:cubicBezTo>
                <a:cubicBezTo>
                  <a:pt x="53217" y="9767"/>
                  <a:pt x="46956" y="5581"/>
                  <a:pt x="46956" y="9767"/>
                </a:cubicBezTo>
                <a:cubicBezTo>
                  <a:pt x="46956" y="13953"/>
                  <a:pt x="40695" y="9767"/>
                  <a:pt x="38608" y="15348"/>
                </a:cubicBezTo>
                <a:cubicBezTo>
                  <a:pt x="36521" y="22325"/>
                  <a:pt x="40695" y="22325"/>
                  <a:pt x="40695" y="23720"/>
                </a:cubicBezTo>
                <a:cubicBezTo>
                  <a:pt x="38608" y="26511"/>
                  <a:pt x="33391" y="23720"/>
                  <a:pt x="30260" y="23720"/>
                </a:cubicBezTo>
                <a:cubicBezTo>
                  <a:pt x="27130" y="23720"/>
                  <a:pt x="26086" y="26511"/>
                  <a:pt x="26086" y="23720"/>
                </a:cubicBezTo>
                <a:cubicBezTo>
                  <a:pt x="20869" y="15348"/>
                  <a:pt x="22956" y="15348"/>
                  <a:pt x="19826" y="13953"/>
                </a:cubicBezTo>
                <a:cubicBezTo>
                  <a:pt x="17739" y="11162"/>
                  <a:pt x="16695" y="6976"/>
                  <a:pt x="13565" y="9767"/>
                </a:cubicBezTo>
                <a:cubicBezTo>
                  <a:pt x="9391" y="9767"/>
                  <a:pt x="7304" y="11162"/>
                  <a:pt x="5217" y="13953"/>
                </a:cubicBezTo>
                <a:cubicBezTo>
                  <a:pt x="2086" y="15348"/>
                  <a:pt x="0" y="18139"/>
                  <a:pt x="0" y="18139"/>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52" name="Shape 1815"/>
          <p:cNvSpPr/>
          <p:nvPr/>
        </p:nvSpPr>
        <p:spPr>
          <a:xfrm>
            <a:off x="6991001" y="3563573"/>
            <a:ext cx="462238" cy="292301"/>
          </a:xfrm>
          <a:custGeom>
            <a:avLst/>
            <a:gdLst/>
            <a:ahLst/>
            <a:cxnLst/>
            <a:rect l="0" t="0" r="0" b="0"/>
            <a:pathLst>
              <a:path w="120000" h="120000" extrusionOk="0">
                <a:moveTo>
                  <a:pt x="36857" y="17684"/>
                </a:moveTo>
                <a:cubicBezTo>
                  <a:pt x="30857" y="25263"/>
                  <a:pt x="34285" y="24000"/>
                  <a:pt x="35142" y="25263"/>
                </a:cubicBezTo>
                <a:cubicBezTo>
                  <a:pt x="36857" y="27789"/>
                  <a:pt x="32571" y="29052"/>
                  <a:pt x="30857" y="29052"/>
                </a:cubicBezTo>
                <a:cubicBezTo>
                  <a:pt x="28285" y="27789"/>
                  <a:pt x="30000" y="31578"/>
                  <a:pt x="27428" y="31578"/>
                </a:cubicBezTo>
                <a:cubicBezTo>
                  <a:pt x="24857" y="31578"/>
                  <a:pt x="28285" y="27789"/>
                  <a:pt x="24857" y="25263"/>
                </a:cubicBezTo>
                <a:cubicBezTo>
                  <a:pt x="19714" y="25263"/>
                  <a:pt x="17142" y="31578"/>
                  <a:pt x="17142" y="27789"/>
                </a:cubicBezTo>
                <a:cubicBezTo>
                  <a:pt x="17142" y="21473"/>
                  <a:pt x="15428" y="17684"/>
                  <a:pt x="17142" y="15157"/>
                </a:cubicBezTo>
                <a:cubicBezTo>
                  <a:pt x="17142" y="13894"/>
                  <a:pt x="14571" y="13894"/>
                  <a:pt x="18000" y="0"/>
                </a:cubicBezTo>
                <a:cubicBezTo>
                  <a:pt x="17142" y="0"/>
                  <a:pt x="5142" y="6315"/>
                  <a:pt x="2571" y="7578"/>
                </a:cubicBezTo>
                <a:cubicBezTo>
                  <a:pt x="0" y="7578"/>
                  <a:pt x="857" y="7578"/>
                  <a:pt x="857" y="13894"/>
                </a:cubicBezTo>
                <a:cubicBezTo>
                  <a:pt x="857" y="17684"/>
                  <a:pt x="857" y="60631"/>
                  <a:pt x="857" y="60631"/>
                </a:cubicBezTo>
                <a:cubicBezTo>
                  <a:pt x="3428" y="60631"/>
                  <a:pt x="7714" y="63157"/>
                  <a:pt x="9428" y="60631"/>
                </a:cubicBezTo>
                <a:cubicBezTo>
                  <a:pt x="9428" y="59368"/>
                  <a:pt x="6000" y="59368"/>
                  <a:pt x="7714" y="53052"/>
                </a:cubicBezTo>
                <a:cubicBezTo>
                  <a:pt x="9428" y="46736"/>
                  <a:pt x="14571" y="50526"/>
                  <a:pt x="14571" y="46736"/>
                </a:cubicBezTo>
                <a:cubicBezTo>
                  <a:pt x="14571" y="42947"/>
                  <a:pt x="19714" y="46736"/>
                  <a:pt x="15428" y="42947"/>
                </a:cubicBezTo>
                <a:cubicBezTo>
                  <a:pt x="14571" y="41684"/>
                  <a:pt x="17142" y="42947"/>
                  <a:pt x="18000" y="41684"/>
                </a:cubicBezTo>
                <a:cubicBezTo>
                  <a:pt x="19714" y="39157"/>
                  <a:pt x="19714" y="42947"/>
                  <a:pt x="22285" y="45473"/>
                </a:cubicBezTo>
                <a:cubicBezTo>
                  <a:pt x="24857" y="45473"/>
                  <a:pt x="20571" y="46736"/>
                  <a:pt x="27428" y="46736"/>
                </a:cubicBezTo>
                <a:cubicBezTo>
                  <a:pt x="30857" y="46736"/>
                  <a:pt x="25714" y="49263"/>
                  <a:pt x="30000" y="53052"/>
                </a:cubicBezTo>
                <a:cubicBezTo>
                  <a:pt x="30857" y="55578"/>
                  <a:pt x="27428" y="55578"/>
                  <a:pt x="28285" y="56842"/>
                </a:cubicBezTo>
                <a:cubicBezTo>
                  <a:pt x="30000" y="59368"/>
                  <a:pt x="27428" y="56842"/>
                  <a:pt x="30000" y="60631"/>
                </a:cubicBezTo>
                <a:cubicBezTo>
                  <a:pt x="32571" y="64421"/>
                  <a:pt x="34285" y="60631"/>
                  <a:pt x="36857" y="63157"/>
                </a:cubicBezTo>
                <a:cubicBezTo>
                  <a:pt x="37714" y="64421"/>
                  <a:pt x="36857" y="60631"/>
                  <a:pt x="40285" y="63157"/>
                </a:cubicBezTo>
                <a:cubicBezTo>
                  <a:pt x="42857" y="64421"/>
                  <a:pt x="42000" y="70736"/>
                  <a:pt x="42857" y="73263"/>
                </a:cubicBezTo>
                <a:cubicBezTo>
                  <a:pt x="45428" y="74526"/>
                  <a:pt x="44571" y="78315"/>
                  <a:pt x="48000" y="82105"/>
                </a:cubicBezTo>
                <a:cubicBezTo>
                  <a:pt x="52285" y="88421"/>
                  <a:pt x="54857" y="94736"/>
                  <a:pt x="57428" y="94736"/>
                </a:cubicBezTo>
                <a:cubicBezTo>
                  <a:pt x="58285" y="94736"/>
                  <a:pt x="65142" y="106105"/>
                  <a:pt x="67714" y="104842"/>
                </a:cubicBezTo>
                <a:cubicBezTo>
                  <a:pt x="69428" y="102315"/>
                  <a:pt x="70285" y="106105"/>
                  <a:pt x="72857" y="108631"/>
                </a:cubicBezTo>
                <a:cubicBezTo>
                  <a:pt x="74571" y="108631"/>
                  <a:pt x="72000" y="108631"/>
                  <a:pt x="72857" y="116210"/>
                </a:cubicBezTo>
                <a:cubicBezTo>
                  <a:pt x="77142" y="113684"/>
                  <a:pt x="77142" y="120000"/>
                  <a:pt x="78000" y="117473"/>
                </a:cubicBezTo>
                <a:cubicBezTo>
                  <a:pt x="79714" y="117473"/>
                  <a:pt x="79714" y="117473"/>
                  <a:pt x="80571" y="120000"/>
                </a:cubicBezTo>
                <a:cubicBezTo>
                  <a:pt x="80571" y="117473"/>
                  <a:pt x="80571" y="116210"/>
                  <a:pt x="82285" y="112421"/>
                </a:cubicBezTo>
                <a:cubicBezTo>
                  <a:pt x="84857" y="106105"/>
                  <a:pt x="86571" y="106105"/>
                  <a:pt x="83142" y="102315"/>
                </a:cubicBezTo>
                <a:cubicBezTo>
                  <a:pt x="82285" y="98526"/>
                  <a:pt x="84857" y="96000"/>
                  <a:pt x="83142" y="94736"/>
                </a:cubicBezTo>
                <a:cubicBezTo>
                  <a:pt x="82285" y="92210"/>
                  <a:pt x="80571" y="96000"/>
                  <a:pt x="80571" y="92210"/>
                </a:cubicBezTo>
                <a:cubicBezTo>
                  <a:pt x="80571" y="90947"/>
                  <a:pt x="79714" y="90947"/>
                  <a:pt x="78000" y="90947"/>
                </a:cubicBezTo>
                <a:cubicBezTo>
                  <a:pt x="77142" y="90947"/>
                  <a:pt x="79714" y="84631"/>
                  <a:pt x="82285" y="84631"/>
                </a:cubicBezTo>
                <a:cubicBezTo>
                  <a:pt x="84857" y="87157"/>
                  <a:pt x="86571" y="87157"/>
                  <a:pt x="87428" y="82105"/>
                </a:cubicBezTo>
                <a:cubicBezTo>
                  <a:pt x="90000" y="77052"/>
                  <a:pt x="86571" y="77052"/>
                  <a:pt x="90000" y="77052"/>
                </a:cubicBezTo>
                <a:cubicBezTo>
                  <a:pt x="92571" y="77052"/>
                  <a:pt x="90000" y="70736"/>
                  <a:pt x="92571" y="68210"/>
                </a:cubicBezTo>
                <a:cubicBezTo>
                  <a:pt x="92571" y="66947"/>
                  <a:pt x="92571" y="70736"/>
                  <a:pt x="96857" y="68210"/>
                </a:cubicBezTo>
                <a:cubicBezTo>
                  <a:pt x="99428" y="66947"/>
                  <a:pt x="97714" y="64421"/>
                  <a:pt x="99428" y="64421"/>
                </a:cubicBezTo>
                <a:cubicBezTo>
                  <a:pt x="100285" y="64421"/>
                  <a:pt x="100285" y="68210"/>
                  <a:pt x="100285" y="68210"/>
                </a:cubicBezTo>
                <a:cubicBezTo>
                  <a:pt x="102000" y="68210"/>
                  <a:pt x="102000" y="68210"/>
                  <a:pt x="100285" y="70736"/>
                </a:cubicBezTo>
                <a:cubicBezTo>
                  <a:pt x="99428" y="73263"/>
                  <a:pt x="97714" y="74526"/>
                  <a:pt x="99428" y="74526"/>
                </a:cubicBezTo>
                <a:cubicBezTo>
                  <a:pt x="100285" y="74526"/>
                  <a:pt x="99428" y="78315"/>
                  <a:pt x="102857" y="77052"/>
                </a:cubicBezTo>
                <a:cubicBezTo>
                  <a:pt x="104571" y="74526"/>
                  <a:pt x="104571" y="74526"/>
                  <a:pt x="107142" y="78315"/>
                </a:cubicBezTo>
                <a:cubicBezTo>
                  <a:pt x="109714" y="80842"/>
                  <a:pt x="109714" y="73263"/>
                  <a:pt x="111428" y="74526"/>
                </a:cubicBezTo>
                <a:cubicBezTo>
                  <a:pt x="114000" y="74526"/>
                  <a:pt x="114000" y="73263"/>
                  <a:pt x="116571" y="68210"/>
                </a:cubicBezTo>
                <a:cubicBezTo>
                  <a:pt x="120000" y="66947"/>
                  <a:pt x="116571" y="68210"/>
                  <a:pt x="112285" y="64421"/>
                </a:cubicBezTo>
                <a:cubicBezTo>
                  <a:pt x="107142" y="60631"/>
                  <a:pt x="108000" y="55578"/>
                  <a:pt x="105428" y="60631"/>
                </a:cubicBezTo>
                <a:cubicBezTo>
                  <a:pt x="104571" y="66947"/>
                  <a:pt x="100285" y="60631"/>
                  <a:pt x="97714" y="59368"/>
                </a:cubicBezTo>
                <a:cubicBezTo>
                  <a:pt x="95142" y="56842"/>
                  <a:pt x="108000" y="49263"/>
                  <a:pt x="102857" y="46736"/>
                </a:cubicBezTo>
                <a:cubicBezTo>
                  <a:pt x="102000" y="49263"/>
                  <a:pt x="102000" y="49263"/>
                  <a:pt x="102000" y="49263"/>
                </a:cubicBezTo>
                <a:cubicBezTo>
                  <a:pt x="100285" y="49263"/>
                  <a:pt x="102000" y="50526"/>
                  <a:pt x="100285" y="50526"/>
                </a:cubicBezTo>
                <a:cubicBezTo>
                  <a:pt x="99428" y="50526"/>
                  <a:pt x="100285" y="49263"/>
                  <a:pt x="99428" y="50526"/>
                </a:cubicBezTo>
                <a:cubicBezTo>
                  <a:pt x="96857" y="53052"/>
                  <a:pt x="95142" y="55578"/>
                  <a:pt x="94285" y="56842"/>
                </a:cubicBezTo>
                <a:cubicBezTo>
                  <a:pt x="92571" y="59368"/>
                  <a:pt x="92571" y="59368"/>
                  <a:pt x="91714" y="59368"/>
                </a:cubicBezTo>
                <a:cubicBezTo>
                  <a:pt x="89142" y="60631"/>
                  <a:pt x="90000" y="63157"/>
                  <a:pt x="89142" y="63157"/>
                </a:cubicBezTo>
                <a:cubicBezTo>
                  <a:pt x="87428" y="64421"/>
                  <a:pt x="86571" y="66947"/>
                  <a:pt x="86571" y="68210"/>
                </a:cubicBezTo>
                <a:cubicBezTo>
                  <a:pt x="87428" y="70736"/>
                  <a:pt x="86571" y="73263"/>
                  <a:pt x="84857" y="70736"/>
                </a:cubicBezTo>
                <a:cubicBezTo>
                  <a:pt x="82285" y="68210"/>
                  <a:pt x="82285" y="68210"/>
                  <a:pt x="82285" y="68210"/>
                </a:cubicBezTo>
                <a:cubicBezTo>
                  <a:pt x="83142" y="64421"/>
                  <a:pt x="83142" y="64421"/>
                  <a:pt x="83142" y="64421"/>
                </a:cubicBezTo>
                <a:cubicBezTo>
                  <a:pt x="83142" y="64421"/>
                  <a:pt x="83142" y="66947"/>
                  <a:pt x="82285" y="64421"/>
                </a:cubicBezTo>
                <a:cubicBezTo>
                  <a:pt x="82285" y="63157"/>
                  <a:pt x="82285" y="63157"/>
                  <a:pt x="77142" y="63157"/>
                </a:cubicBezTo>
                <a:cubicBezTo>
                  <a:pt x="72857" y="64421"/>
                  <a:pt x="72857" y="63157"/>
                  <a:pt x="72857" y="59368"/>
                </a:cubicBezTo>
                <a:cubicBezTo>
                  <a:pt x="72857" y="55578"/>
                  <a:pt x="72857" y="50526"/>
                  <a:pt x="72000" y="50526"/>
                </a:cubicBezTo>
                <a:cubicBezTo>
                  <a:pt x="69428" y="50526"/>
                  <a:pt x="69428" y="50526"/>
                  <a:pt x="69428" y="50526"/>
                </a:cubicBezTo>
                <a:cubicBezTo>
                  <a:pt x="69428" y="50526"/>
                  <a:pt x="69428" y="49263"/>
                  <a:pt x="69428" y="45473"/>
                </a:cubicBezTo>
                <a:cubicBezTo>
                  <a:pt x="70285" y="39157"/>
                  <a:pt x="70285" y="35368"/>
                  <a:pt x="69428" y="39157"/>
                </a:cubicBezTo>
                <a:cubicBezTo>
                  <a:pt x="66857" y="41684"/>
                  <a:pt x="67714" y="32842"/>
                  <a:pt x="65142" y="31578"/>
                </a:cubicBezTo>
                <a:cubicBezTo>
                  <a:pt x="62571" y="29052"/>
                  <a:pt x="62571" y="25263"/>
                  <a:pt x="60000" y="27789"/>
                </a:cubicBezTo>
                <a:cubicBezTo>
                  <a:pt x="55714" y="31578"/>
                  <a:pt x="53142" y="27789"/>
                  <a:pt x="47142" y="29052"/>
                </a:cubicBezTo>
                <a:cubicBezTo>
                  <a:pt x="42000" y="31578"/>
                  <a:pt x="42000" y="31578"/>
                  <a:pt x="39428" y="27789"/>
                </a:cubicBezTo>
                <a:cubicBezTo>
                  <a:pt x="37714" y="24000"/>
                  <a:pt x="36857" y="21473"/>
                  <a:pt x="36857" y="20210"/>
                </a:cubicBezTo>
                <a:cubicBezTo>
                  <a:pt x="35142" y="20210"/>
                  <a:pt x="36857" y="17684"/>
                  <a:pt x="36857" y="17684"/>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53" name="Shape 1816"/>
          <p:cNvSpPr/>
          <p:nvPr/>
        </p:nvSpPr>
        <p:spPr>
          <a:xfrm>
            <a:off x="7344075" y="3646179"/>
            <a:ext cx="284848" cy="141385"/>
          </a:xfrm>
          <a:custGeom>
            <a:avLst/>
            <a:gdLst/>
            <a:ahLst/>
            <a:cxnLst/>
            <a:rect l="0" t="0" r="0" b="0"/>
            <a:pathLst>
              <a:path w="120000" h="120000" extrusionOk="0">
                <a:moveTo>
                  <a:pt x="18139" y="26086"/>
                </a:moveTo>
                <a:cubicBezTo>
                  <a:pt x="26511" y="31304"/>
                  <a:pt x="5581" y="46956"/>
                  <a:pt x="9767" y="52173"/>
                </a:cubicBezTo>
                <a:cubicBezTo>
                  <a:pt x="13953" y="54782"/>
                  <a:pt x="20930" y="67826"/>
                  <a:pt x="22325" y="54782"/>
                </a:cubicBezTo>
                <a:cubicBezTo>
                  <a:pt x="26511" y="44347"/>
                  <a:pt x="25116" y="54782"/>
                  <a:pt x="33488" y="62608"/>
                </a:cubicBezTo>
                <a:cubicBezTo>
                  <a:pt x="40465" y="70434"/>
                  <a:pt x="46046" y="67826"/>
                  <a:pt x="40465" y="70434"/>
                </a:cubicBezTo>
                <a:cubicBezTo>
                  <a:pt x="34883" y="80869"/>
                  <a:pt x="34883" y="83478"/>
                  <a:pt x="30697" y="83478"/>
                </a:cubicBezTo>
                <a:cubicBezTo>
                  <a:pt x="29302" y="80869"/>
                  <a:pt x="29302" y="96521"/>
                  <a:pt x="25116" y="91304"/>
                </a:cubicBezTo>
                <a:cubicBezTo>
                  <a:pt x="20930" y="83478"/>
                  <a:pt x="20930" y="83478"/>
                  <a:pt x="18139" y="88695"/>
                </a:cubicBezTo>
                <a:cubicBezTo>
                  <a:pt x="16744" y="91304"/>
                  <a:pt x="16744" y="88695"/>
                  <a:pt x="13953" y="96521"/>
                </a:cubicBezTo>
                <a:cubicBezTo>
                  <a:pt x="12558" y="99130"/>
                  <a:pt x="13953" y="91304"/>
                  <a:pt x="12558" y="91304"/>
                </a:cubicBezTo>
                <a:cubicBezTo>
                  <a:pt x="8372" y="88695"/>
                  <a:pt x="1395" y="88695"/>
                  <a:pt x="1395" y="91304"/>
                </a:cubicBezTo>
                <a:cubicBezTo>
                  <a:pt x="1395" y="99130"/>
                  <a:pt x="0" y="91304"/>
                  <a:pt x="0" y="99130"/>
                </a:cubicBezTo>
                <a:cubicBezTo>
                  <a:pt x="0" y="112173"/>
                  <a:pt x="13953" y="104347"/>
                  <a:pt x="13953" y="106956"/>
                </a:cubicBezTo>
                <a:cubicBezTo>
                  <a:pt x="16744" y="114782"/>
                  <a:pt x="22325" y="99130"/>
                  <a:pt x="25116" y="106956"/>
                </a:cubicBezTo>
                <a:cubicBezTo>
                  <a:pt x="26511" y="120000"/>
                  <a:pt x="29302" y="112173"/>
                  <a:pt x="30697" y="114782"/>
                </a:cubicBezTo>
                <a:cubicBezTo>
                  <a:pt x="33488" y="120000"/>
                  <a:pt x="33488" y="106956"/>
                  <a:pt x="40465" y="112173"/>
                </a:cubicBezTo>
                <a:cubicBezTo>
                  <a:pt x="46046" y="114782"/>
                  <a:pt x="44651" y="106956"/>
                  <a:pt x="48837" y="112173"/>
                </a:cubicBezTo>
                <a:cubicBezTo>
                  <a:pt x="57209" y="106956"/>
                  <a:pt x="44651" y="96521"/>
                  <a:pt x="54418" y="91304"/>
                </a:cubicBezTo>
                <a:cubicBezTo>
                  <a:pt x="62790" y="88695"/>
                  <a:pt x="58604" y="80869"/>
                  <a:pt x="62790" y="80869"/>
                </a:cubicBezTo>
                <a:cubicBezTo>
                  <a:pt x="69767" y="83478"/>
                  <a:pt x="66976" y="67826"/>
                  <a:pt x="69767" y="80869"/>
                </a:cubicBezTo>
                <a:cubicBezTo>
                  <a:pt x="71162" y="91304"/>
                  <a:pt x="73953" y="80869"/>
                  <a:pt x="75348" y="83478"/>
                </a:cubicBezTo>
                <a:cubicBezTo>
                  <a:pt x="79534" y="88695"/>
                  <a:pt x="79534" y="80869"/>
                  <a:pt x="82325" y="67826"/>
                </a:cubicBezTo>
                <a:cubicBezTo>
                  <a:pt x="83720" y="60000"/>
                  <a:pt x="96279" y="70434"/>
                  <a:pt x="99069" y="54782"/>
                </a:cubicBezTo>
                <a:cubicBezTo>
                  <a:pt x="100465" y="46956"/>
                  <a:pt x="111627" y="44347"/>
                  <a:pt x="115813" y="39130"/>
                </a:cubicBezTo>
                <a:cubicBezTo>
                  <a:pt x="118604" y="33913"/>
                  <a:pt x="118604" y="39130"/>
                  <a:pt x="120000" y="31304"/>
                </a:cubicBezTo>
                <a:cubicBezTo>
                  <a:pt x="115813" y="18260"/>
                  <a:pt x="111627" y="26086"/>
                  <a:pt x="110232" y="18260"/>
                </a:cubicBezTo>
                <a:cubicBezTo>
                  <a:pt x="110232" y="10434"/>
                  <a:pt x="100465" y="10434"/>
                  <a:pt x="86511" y="10434"/>
                </a:cubicBezTo>
                <a:cubicBezTo>
                  <a:pt x="69767" y="7826"/>
                  <a:pt x="69767" y="15652"/>
                  <a:pt x="65581" y="10434"/>
                </a:cubicBezTo>
                <a:cubicBezTo>
                  <a:pt x="62790" y="7826"/>
                  <a:pt x="57209" y="0"/>
                  <a:pt x="50232" y="2608"/>
                </a:cubicBezTo>
                <a:cubicBezTo>
                  <a:pt x="41860" y="7826"/>
                  <a:pt x="48837" y="26086"/>
                  <a:pt x="44651" y="23478"/>
                </a:cubicBezTo>
                <a:cubicBezTo>
                  <a:pt x="40465" y="18260"/>
                  <a:pt x="30697" y="10434"/>
                  <a:pt x="25116" y="10434"/>
                </a:cubicBezTo>
                <a:cubicBezTo>
                  <a:pt x="18139" y="15652"/>
                  <a:pt x="18139" y="23478"/>
                  <a:pt x="18139" y="26086"/>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54" name="Shape 1817"/>
          <p:cNvSpPr/>
          <p:nvPr/>
        </p:nvSpPr>
        <p:spPr>
          <a:xfrm>
            <a:off x="7287789" y="3720844"/>
            <a:ext cx="211503" cy="154093"/>
          </a:xfrm>
          <a:custGeom>
            <a:avLst/>
            <a:gdLst/>
            <a:ahLst/>
            <a:cxnLst/>
            <a:rect l="0" t="0" r="0" b="0"/>
            <a:pathLst>
              <a:path w="120000" h="120000" extrusionOk="0">
                <a:moveTo>
                  <a:pt x="58125" y="21600"/>
                </a:moveTo>
                <a:cubicBezTo>
                  <a:pt x="48750" y="26400"/>
                  <a:pt x="50625" y="19200"/>
                  <a:pt x="48750" y="19200"/>
                </a:cubicBezTo>
                <a:cubicBezTo>
                  <a:pt x="45000" y="19200"/>
                  <a:pt x="48750" y="14400"/>
                  <a:pt x="50625" y="12000"/>
                </a:cubicBezTo>
                <a:cubicBezTo>
                  <a:pt x="54375" y="7200"/>
                  <a:pt x="54375" y="7200"/>
                  <a:pt x="50625" y="7200"/>
                </a:cubicBezTo>
                <a:cubicBezTo>
                  <a:pt x="50625" y="7200"/>
                  <a:pt x="50625" y="0"/>
                  <a:pt x="48750" y="0"/>
                </a:cubicBezTo>
                <a:cubicBezTo>
                  <a:pt x="45000" y="0"/>
                  <a:pt x="48750" y="4800"/>
                  <a:pt x="43125" y="7200"/>
                </a:cubicBezTo>
                <a:cubicBezTo>
                  <a:pt x="33750" y="12000"/>
                  <a:pt x="33750" y="4800"/>
                  <a:pt x="33750" y="7200"/>
                </a:cubicBezTo>
                <a:cubicBezTo>
                  <a:pt x="28125" y="12000"/>
                  <a:pt x="33750" y="21600"/>
                  <a:pt x="28125" y="21600"/>
                </a:cubicBezTo>
                <a:cubicBezTo>
                  <a:pt x="18750" y="21600"/>
                  <a:pt x="28125" y="21600"/>
                  <a:pt x="22500" y="33600"/>
                </a:cubicBezTo>
                <a:cubicBezTo>
                  <a:pt x="18750" y="40800"/>
                  <a:pt x="16875" y="40800"/>
                  <a:pt x="11250" y="38400"/>
                </a:cubicBezTo>
                <a:cubicBezTo>
                  <a:pt x="5625" y="38400"/>
                  <a:pt x="0" y="48000"/>
                  <a:pt x="1875" y="48000"/>
                </a:cubicBezTo>
                <a:cubicBezTo>
                  <a:pt x="5625" y="48000"/>
                  <a:pt x="7500" y="48000"/>
                  <a:pt x="7500" y="52800"/>
                </a:cubicBezTo>
                <a:cubicBezTo>
                  <a:pt x="7500" y="60000"/>
                  <a:pt x="11250" y="52800"/>
                  <a:pt x="13125" y="55200"/>
                </a:cubicBezTo>
                <a:cubicBezTo>
                  <a:pt x="16875" y="60000"/>
                  <a:pt x="11250" y="64800"/>
                  <a:pt x="13125" y="72000"/>
                </a:cubicBezTo>
                <a:cubicBezTo>
                  <a:pt x="18750" y="79200"/>
                  <a:pt x="16875" y="79200"/>
                  <a:pt x="11250" y="88800"/>
                </a:cubicBezTo>
                <a:cubicBezTo>
                  <a:pt x="7500" y="98400"/>
                  <a:pt x="7500" y="100800"/>
                  <a:pt x="7500" y="105600"/>
                </a:cubicBezTo>
                <a:cubicBezTo>
                  <a:pt x="11250" y="112800"/>
                  <a:pt x="13125" y="112800"/>
                  <a:pt x="13125" y="105600"/>
                </a:cubicBezTo>
                <a:cubicBezTo>
                  <a:pt x="16875" y="100800"/>
                  <a:pt x="18750" y="100800"/>
                  <a:pt x="26250" y="100800"/>
                </a:cubicBezTo>
                <a:cubicBezTo>
                  <a:pt x="28125" y="98400"/>
                  <a:pt x="31875" y="105600"/>
                  <a:pt x="31875" y="105600"/>
                </a:cubicBezTo>
                <a:cubicBezTo>
                  <a:pt x="33750" y="105600"/>
                  <a:pt x="31875" y="98400"/>
                  <a:pt x="33750" y="93600"/>
                </a:cubicBezTo>
                <a:cubicBezTo>
                  <a:pt x="39375" y="88800"/>
                  <a:pt x="43125" y="98400"/>
                  <a:pt x="45000" y="93600"/>
                </a:cubicBezTo>
                <a:cubicBezTo>
                  <a:pt x="48750" y="88800"/>
                  <a:pt x="43125" y="86400"/>
                  <a:pt x="45000" y="81600"/>
                </a:cubicBezTo>
                <a:cubicBezTo>
                  <a:pt x="50625" y="79200"/>
                  <a:pt x="48750" y="67200"/>
                  <a:pt x="58125" y="72000"/>
                </a:cubicBezTo>
                <a:cubicBezTo>
                  <a:pt x="65625" y="74400"/>
                  <a:pt x="60000" y="79200"/>
                  <a:pt x="60000" y="81600"/>
                </a:cubicBezTo>
                <a:cubicBezTo>
                  <a:pt x="61875" y="86400"/>
                  <a:pt x="65625" y="74400"/>
                  <a:pt x="65625" y="88800"/>
                </a:cubicBezTo>
                <a:cubicBezTo>
                  <a:pt x="61875" y="112800"/>
                  <a:pt x="65625" y="120000"/>
                  <a:pt x="71250" y="112800"/>
                </a:cubicBezTo>
                <a:cubicBezTo>
                  <a:pt x="76875" y="108000"/>
                  <a:pt x="82500" y="108000"/>
                  <a:pt x="82500" y="105600"/>
                </a:cubicBezTo>
                <a:cubicBezTo>
                  <a:pt x="82500" y="100800"/>
                  <a:pt x="86250" y="100800"/>
                  <a:pt x="88125" y="98400"/>
                </a:cubicBezTo>
                <a:cubicBezTo>
                  <a:pt x="91875" y="93600"/>
                  <a:pt x="101250" y="93600"/>
                  <a:pt x="97500" y="98400"/>
                </a:cubicBezTo>
                <a:cubicBezTo>
                  <a:pt x="93750" y="105600"/>
                  <a:pt x="97500" y="105600"/>
                  <a:pt x="103125" y="98400"/>
                </a:cubicBezTo>
                <a:cubicBezTo>
                  <a:pt x="108750" y="93600"/>
                  <a:pt x="114375" y="98400"/>
                  <a:pt x="112500" y="100800"/>
                </a:cubicBezTo>
                <a:cubicBezTo>
                  <a:pt x="118125" y="100800"/>
                  <a:pt x="120000" y="98400"/>
                  <a:pt x="118125" y="93600"/>
                </a:cubicBezTo>
                <a:cubicBezTo>
                  <a:pt x="112500" y="88800"/>
                  <a:pt x="118125" y="81600"/>
                  <a:pt x="114375" y="79200"/>
                </a:cubicBezTo>
                <a:cubicBezTo>
                  <a:pt x="112500" y="74400"/>
                  <a:pt x="114375" y="72000"/>
                  <a:pt x="114375" y="67200"/>
                </a:cubicBezTo>
                <a:cubicBezTo>
                  <a:pt x="112500" y="64800"/>
                  <a:pt x="103125" y="60000"/>
                  <a:pt x="103125" y="67200"/>
                </a:cubicBezTo>
                <a:cubicBezTo>
                  <a:pt x="103125" y="72000"/>
                  <a:pt x="97500" y="64800"/>
                  <a:pt x="101250" y="55200"/>
                </a:cubicBezTo>
                <a:cubicBezTo>
                  <a:pt x="101250" y="52800"/>
                  <a:pt x="93750" y="52800"/>
                  <a:pt x="97500" y="45600"/>
                </a:cubicBezTo>
                <a:cubicBezTo>
                  <a:pt x="91875" y="40800"/>
                  <a:pt x="93750" y="48000"/>
                  <a:pt x="86250" y="45600"/>
                </a:cubicBezTo>
                <a:cubicBezTo>
                  <a:pt x="76875" y="40800"/>
                  <a:pt x="76875" y="52800"/>
                  <a:pt x="75000" y="48000"/>
                </a:cubicBezTo>
                <a:cubicBezTo>
                  <a:pt x="71250" y="45600"/>
                  <a:pt x="69375" y="52800"/>
                  <a:pt x="65625" y="40800"/>
                </a:cubicBezTo>
                <a:cubicBezTo>
                  <a:pt x="61875" y="33600"/>
                  <a:pt x="54375" y="48000"/>
                  <a:pt x="50625" y="40800"/>
                </a:cubicBezTo>
                <a:cubicBezTo>
                  <a:pt x="50625" y="38400"/>
                  <a:pt x="31875" y="45600"/>
                  <a:pt x="31875" y="33600"/>
                </a:cubicBezTo>
                <a:cubicBezTo>
                  <a:pt x="31875" y="26400"/>
                  <a:pt x="33750" y="33600"/>
                  <a:pt x="33750" y="26400"/>
                </a:cubicBezTo>
                <a:cubicBezTo>
                  <a:pt x="33750" y="21600"/>
                  <a:pt x="43125" y="21600"/>
                  <a:pt x="48750" y="26400"/>
                </a:cubicBezTo>
                <a:cubicBezTo>
                  <a:pt x="50625" y="26400"/>
                  <a:pt x="48750" y="33600"/>
                  <a:pt x="50625" y="31200"/>
                </a:cubicBezTo>
                <a:cubicBezTo>
                  <a:pt x="54375" y="21600"/>
                  <a:pt x="54375" y="26400"/>
                  <a:pt x="58125" y="216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55" name="Shape 1818"/>
          <p:cNvSpPr/>
          <p:nvPr/>
        </p:nvSpPr>
        <p:spPr>
          <a:xfrm>
            <a:off x="8671093" y="4235548"/>
            <a:ext cx="56286" cy="125499"/>
          </a:xfrm>
          <a:custGeom>
            <a:avLst/>
            <a:gdLst/>
            <a:ahLst/>
            <a:cxnLst/>
            <a:rect l="0" t="0" r="0" b="0"/>
            <a:pathLst>
              <a:path w="120000" h="120000" extrusionOk="0">
                <a:moveTo>
                  <a:pt x="21176" y="35121"/>
                </a:moveTo>
                <a:cubicBezTo>
                  <a:pt x="56470" y="17560"/>
                  <a:pt x="70588" y="11707"/>
                  <a:pt x="77647" y="8780"/>
                </a:cubicBezTo>
                <a:cubicBezTo>
                  <a:pt x="91764" y="8780"/>
                  <a:pt x="91764" y="0"/>
                  <a:pt x="98823" y="8780"/>
                </a:cubicBezTo>
                <a:cubicBezTo>
                  <a:pt x="120000" y="17560"/>
                  <a:pt x="98823" y="17560"/>
                  <a:pt x="112941" y="26341"/>
                </a:cubicBezTo>
                <a:cubicBezTo>
                  <a:pt x="112941" y="32195"/>
                  <a:pt x="98823" y="40975"/>
                  <a:pt x="91764" y="64390"/>
                </a:cubicBezTo>
                <a:cubicBezTo>
                  <a:pt x="77647" y="90731"/>
                  <a:pt x="56470" y="81951"/>
                  <a:pt x="56470" y="99512"/>
                </a:cubicBezTo>
                <a:cubicBezTo>
                  <a:pt x="56470" y="120000"/>
                  <a:pt x="49411" y="105365"/>
                  <a:pt x="35294" y="96585"/>
                </a:cubicBezTo>
                <a:cubicBezTo>
                  <a:pt x="35294" y="87804"/>
                  <a:pt x="21176" y="96585"/>
                  <a:pt x="14117" y="76097"/>
                </a:cubicBezTo>
                <a:cubicBezTo>
                  <a:pt x="0" y="64390"/>
                  <a:pt x="0" y="55609"/>
                  <a:pt x="21176" y="35121"/>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56" name="Shape 1819"/>
          <p:cNvSpPr/>
          <p:nvPr/>
        </p:nvSpPr>
        <p:spPr>
          <a:xfrm>
            <a:off x="8790491" y="3655711"/>
            <a:ext cx="165450" cy="187454"/>
          </a:xfrm>
          <a:custGeom>
            <a:avLst/>
            <a:gdLst/>
            <a:ahLst/>
            <a:cxnLst/>
            <a:rect l="0" t="0" r="0" b="0"/>
            <a:pathLst>
              <a:path w="120000" h="120000" extrusionOk="0">
                <a:moveTo>
                  <a:pt x="0" y="66885"/>
                </a:moveTo>
                <a:cubicBezTo>
                  <a:pt x="0" y="70819"/>
                  <a:pt x="2400" y="76721"/>
                  <a:pt x="7200" y="72786"/>
                </a:cubicBezTo>
                <a:cubicBezTo>
                  <a:pt x="9600" y="70819"/>
                  <a:pt x="21600" y="76721"/>
                  <a:pt x="16800" y="82622"/>
                </a:cubicBezTo>
                <a:cubicBezTo>
                  <a:pt x="16800" y="88524"/>
                  <a:pt x="9600" y="92459"/>
                  <a:pt x="14400" y="94426"/>
                </a:cubicBezTo>
                <a:cubicBezTo>
                  <a:pt x="16800" y="98360"/>
                  <a:pt x="9600" y="94426"/>
                  <a:pt x="9600" y="100327"/>
                </a:cubicBezTo>
                <a:cubicBezTo>
                  <a:pt x="7200" y="106229"/>
                  <a:pt x="0" y="106229"/>
                  <a:pt x="9600" y="106229"/>
                </a:cubicBezTo>
                <a:cubicBezTo>
                  <a:pt x="16800" y="110163"/>
                  <a:pt x="2400" y="110163"/>
                  <a:pt x="14400" y="112131"/>
                </a:cubicBezTo>
                <a:cubicBezTo>
                  <a:pt x="21600" y="112131"/>
                  <a:pt x="14400" y="120000"/>
                  <a:pt x="21600" y="116065"/>
                </a:cubicBezTo>
                <a:cubicBezTo>
                  <a:pt x="26400" y="112131"/>
                  <a:pt x="21600" y="106229"/>
                  <a:pt x="28800" y="112131"/>
                </a:cubicBezTo>
                <a:cubicBezTo>
                  <a:pt x="33600" y="116065"/>
                  <a:pt x="33600" y="116065"/>
                  <a:pt x="33600" y="112131"/>
                </a:cubicBezTo>
                <a:cubicBezTo>
                  <a:pt x="36000" y="110163"/>
                  <a:pt x="40800" y="112131"/>
                  <a:pt x="43200" y="112131"/>
                </a:cubicBezTo>
                <a:cubicBezTo>
                  <a:pt x="43200" y="110163"/>
                  <a:pt x="43200" y="106229"/>
                  <a:pt x="50400" y="104262"/>
                </a:cubicBezTo>
                <a:cubicBezTo>
                  <a:pt x="62400" y="100327"/>
                  <a:pt x="64800" y="104262"/>
                  <a:pt x="72000" y="100327"/>
                </a:cubicBezTo>
                <a:cubicBezTo>
                  <a:pt x="76800" y="100327"/>
                  <a:pt x="69600" y="98360"/>
                  <a:pt x="76800" y="94426"/>
                </a:cubicBezTo>
                <a:cubicBezTo>
                  <a:pt x="72000" y="92459"/>
                  <a:pt x="72000" y="94426"/>
                  <a:pt x="64800" y="88524"/>
                </a:cubicBezTo>
                <a:cubicBezTo>
                  <a:pt x="62400" y="82622"/>
                  <a:pt x="57600" y="84590"/>
                  <a:pt x="57600" y="82622"/>
                </a:cubicBezTo>
                <a:cubicBezTo>
                  <a:pt x="55200" y="78688"/>
                  <a:pt x="62400" y="84590"/>
                  <a:pt x="57600" y="76721"/>
                </a:cubicBezTo>
                <a:cubicBezTo>
                  <a:pt x="57600" y="66885"/>
                  <a:pt x="62400" y="72786"/>
                  <a:pt x="64800" y="66885"/>
                </a:cubicBezTo>
                <a:cubicBezTo>
                  <a:pt x="69600" y="60983"/>
                  <a:pt x="69600" y="70819"/>
                  <a:pt x="79200" y="60983"/>
                </a:cubicBezTo>
                <a:cubicBezTo>
                  <a:pt x="91200" y="55081"/>
                  <a:pt x="96000" y="49180"/>
                  <a:pt x="98400" y="49180"/>
                </a:cubicBezTo>
                <a:cubicBezTo>
                  <a:pt x="103200" y="49180"/>
                  <a:pt x="103200" y="39344"/>
                  <a:pt x="103200" y="37377"/>
                </a:cubicBezTo>
                <a:cubicBezTo>
                  <a:pt x="103200" y="33442"/>
                  <a:pt x="98400" y="33442"/>
                  <a:pt x="103200" y="27540"/>
                </a:cubicBezTo>
                <a:cubicBezTo>
                  <a:pt x="110400" y="21639"/>
                  <a:pt x="110400" y="17704"/>
                  <a:pt x="112800" y="15737"/>
                </a:cubicBezTo>
                <a:cubicBezTo>
                  <a:pt x="117600" y="15737"/>
                  <a:pt x="117600" y="17704"/>
                  <a:pt x="120000" y="15737"/>
                </a:cubicBezTo>
                <a:cubicBezTo>
                  <a:pt x="117600" y="11803"/>
                  <a:pt x="117600" y="11803"/>
                  <a:pt x="117600" y="11803"/>
                </a:cubicBezTo>
                <a:cubicBezTo>
                  <a:pt x="117600" y="5901"/>
                  <a:pt x="117600" y="11803"/>
                  <a:pt x="112800" y="9836"/>
                </a:cubicBezTo>
                <a:cubicBezTo>
                  <a:pt x="110400" y="5901"/>
                  <a:pt x="112800" y="3934"/>
                  <a:pt x="105600" y="0"/>
                </a:cubicBezTo>
                <a:cubicBezTo>
                  <a:pt x="98400" y="0"/>
                  <a:pt x="105600" y="15737"/>
                  <a:pt x="98400" y="11803"/>
                </a:cubicBezTo>
                <a:cubicBezTo>
                  <a:pt x="91200" y="11803"/>
                  <a:pt x="96000" y="17704"/>
                  <a:pt x="86400" y="21639"/>
                </a:cubicBezTo>
                <a:cubicBezTo>
                  <a:pt x="84000" y="23606"/>
                  <a:pt x="86400" y="21639"/>
                  <a:pt x="79200" y="21639"/>
                </a:cubicBezTo>
                <a:cubicBezTo>
                  <a:pt x="76800" y="23606"/>
                  <a:pt x="69600" y="17704"/>
                  <a:pt x="69600" y="23606"/>
                </a:cubicBezTo>
                <a:cubicBezTo>
                  <a:pt x="69600" y="29508"/>
                  <a:pt x="76800" y="29508"/>
                  <a:pt x="72000" y="33442"/>
                </a:cubicBezTo>
                <a:cubicBezTo>
                  <a:pt x="69600" y="37377"/>
                  <a:pt x="69600" y="33442"/>
                  <a:pt x="64800" y="33442"/>
                </a:cubicBezTo>
                <a:cubicBezTo>
                  <a:pt x="62400" y="37377"/>
                  <a:pt x="57600" y="33442"/>
                  <a:pt x="55200" y="33442"/>
                </a:cubicBezTo>
                <a:cubicBezTo>
                  <a:pt x="50400" y="33442"/>
                  <a:pt x="50400" y="23606"/>
                  <a:pt x="48000" y="27540"/>
                </a:cubicBezTo>
                <a:cubicBezTo>
                  <a:pt x="43200" y="29508"/>
                  <a:pt x="48000" y="27540"/>
                  <a:pt x="43200" y="29508"/>
                </a:cubicBezTo>
                <a:cubicBezTo>
                  <a:pt x="40800" y="33442"/>
                  <a:pt x="43200" y="33442"/>
                  <a:pt x="40800" y="37377"/>
                </a:cubicBezTo>
                <a:cubicBezTo>
                  <a:pt x="36000" y="39344"/>
                  <a:pt x="33600" y="45245"/>
                  <a:pt x="28800" y="45245"/>
                </a:cubicBezTo>
                <a:cubicBezTo>
                  <a:pt x="21600" y="45245"/>
                  <a:pt x="26400" y="49180"/>
                  <a:pt x="21600" y="49180"/>
                </a:cubicBezTo>
                <a:cubicBezTo>
                  <a:pt x="16800" y="49180"/>
                  <a:pt x="21600" y="51147"/>
                  <a:pt x="16800" y="51147"/>
                </a:cubicBezTo>
                <a:cubicBezTo>
                  <a:pt x="9600" y="55081"/>
                  <a:pt x="14400" y="55081"/>
                  <a:pt x="9600" y="55081"/>
                </a:cubicBezTo>
                <a:cubicBezTo>
                  <a:pt x="7200" y="55081"/>
                  <a:pt x="2400" y="60983"/>
                  <a:pt x="0" y="64918"/>
                </a:cubicBezTo>
                <a:cubicBezTo>
                  <a:pt x="0" y="66885"/>
                  <a:pt x="0" y="66885"/>
                  <a:pt x="0" y="66885"/>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57" name="Shape 1820"/>
          <p:cNvSpPr/>
          <p:nvPr/>
        </p:nvSpPr>
        <p:spPr>
          <a:xfrm>
            <a:off x="8833131" y="3803450"/>
            <a:ext cx="93812" cy="147739"/>
          </a:xfrm>
          <a:custGeom>
            <a:avLst/>
            <a:gdLst/>
            <a:ahLst/>
            <a:cxnLst/>
            <a:rect l="0" t="0" r="0" b="0"/>
            <a:pathLst>
              <a:path w="120000" h="120000" extrusionOk="0">
                <a:moveTo>
                  <a:pt x="21428" y="22500"/>
                </a:moveTo>
                <a:cubicBezTo>
                  <a:pt x="21428" y="25000"/>
                  <a:pt x="21428" y="22500"/>
                  <a:pt x="12857" y="25000"/>
                </a:cubicBezTo>
                <a:cubicBezTo>
                  <a:pt x="12857" y="30000"/>
                  <a:pt x="25714" y="35000"/>
                  <a:pt x="21428" y="37500"/>
                </a:cubicBezTo>
                <a:cubicBezTo>
                  <a:pt x="12857" y="42500"/>
                  <a:pt x="34285" y="42500"/>
                  <a:pt x="25714" y="50000"/>
                </a:cubicBezTo>
                <a:cubicBezTo>
                  <a:pt x="25714" y="52500"/>
                  <a:pt x="25714" y="45000"/>
                  <a:pt x="21428" y="45000"/>
                </a:cubicBezTo>
                <a:cubicBezTo>
                  <a:pt x="8571" y="45000"/>
                  <a:pt x="8571" y="45000"/>
                  <a:pt x="8571" y="45000"/>
                </a:cubicBezTo>
                <a:cubicBezTo>
                  <a:pt x="12857" y="50000"/>
                  <a:pt x="8571" y="50000"/>
                  <a:pt x="8571" y="50000"/>
                </a:cubicBezTo>
                <a:cubicBezTo>
                  <a:pt x="0" y="45000"/>
                  <a:pt x="0" y="52500"/>
                  <a:pt x="0" y="52500"/>
                </a:cubicBezTo>
                <a:cubicBezTo>
                  <a:pt x="8571" y="57500"/>
                  <a:pt x="12857" y="50000"/>
                  <a:pt x="12857" y="57500"/>
                </a:cubicBezTo>
                <a:cubicBezTo>
                  <a:pt x="12857" y="62500"/>
                  <a:pt x="12857" y="70000"/>
                  <a:pt x="12857" y="70000"/>
                </a:cubicBezTo>
                <a:cubicBezTo>
                  <a:pt x="21428" y="72500"/>
                  <a:pt x="12857" y="72500"/>
                  <a:pt x="21428" y="77500"/>
                </a:cubicBezTo>
                <a:cubicBezTo>
                  <a:pt x="25714" y="80000"/>
                  <a:pt x="12857" y="77500"/>
                  <a:pt x="12857" y="85000"/>
                </a:cubicBezTo>
                <a:cubicBezTo>
                  <a:pt x="8571" y="92500"/>
                  <a:pt x="0" y="97500"/>
                  <a:pt x="8571" y="97500"/>
                </a:cubicBezTo>
                <a:cubicBezTo>
                  <a:pt x="8571" y="100000"/>
                  <a:pt x="8571" y="100000"/>
                  <a:pt x="8571" y="105000"/>
                </a:cubicBezTo>
                <a:cubicBezTo>
                  <a:pt x="12857" y="107500"/>
                  <a:pt x="8571" y="105000"/>
                  <a:pt x="8571" y="107500"/>
                </a:cubicBezTo>
                <a:cubicBezTo>
                  <a:pt x="8571" y="112500"/>
                  <a:pt x="12857" y="107500"/>
                  <a:pt x="12857" y="112500"/>
                </a:cubicBezTo>
                <a:cubicBezTo>
                  <a:pt x="12857" y="120000"/>
                  <a:pt x="12857" y="120000"/>
                  <a:pt x="21428" y="112500"/>
                </a:cubicBezTo>
                <a:cubicBezTo>
                  <a:pt x="25714" y="105000"/>
                  <a:pt x="21428" y="117500"/>
                  <a:pt x="25714" y="117500"/>
                </a:cubicBezTo>
                <a:cubicBezTo>
                  <a:pt x="25714" y="117500"/>
                  <a:pt x="25714" y="112500"/>
                  <a:pt x="34285" y="107500"/>
                </a:cubicBezTo>
                <a:cubicBezTo>
                  <a:pt x="38571" y="105000"/>
                  <a:pt x="47142" y="105000"/>
                  <a:pt x="38571" y="107500"/>
                </a:cubicBezTo>
                <a:cubicBezTo>
                  <a:pt x="34285" y="112500"/>
                  <a:pt x="38571" y="117500"/>
                  <a:pt x="47142" y="112500"/>
                </a:cubicBezTo>
                <a:cubicBezTo>
                  <a:pt x="47142" y="107500"/>
                  <a:pt x="47142" y="107500"/>
                  <a:pt x="47142" y="107500"/>
                </a:cubicBezTo>
                <a:cubicBezTo>
                  <a:pt x="47142" y="105000"/>
                  <a:pt x="47142" y="100000"/>
                  <a:pt x="47142" y="105000"/>
                </a:cubicBezTo>
                <a:cubicBezTo>
                  <a:pt x="55714" y="107500"/>
                  <a:pt x="55714" y="107500"/>
                  <a:pt x="55714" y="107500"/>
                </a:cubicBezTo>
                <a:cubicBezTo>
                  <a:pt x="59999" y="105000"/>
                  <a:pt x="47142" y="105000"/>
                  <a:pt x="55714" y="100000"/>
                </a:cubicBezTo>
                <a:cubicBezTo>
                  <a:pt x="68571" y="100000"/>
                  <a:pt x="72857" y="105000"/>
                  <a:pt x="81428" y="105000"/>
                </a:cubicBezTo>
                <a:cubicBezTo>
                  <a:pt x="85714" y="100000"/>
                  <a:pt x="81428" y="100000"/>
                  <a:pt x="85714" y="97500"/>
                </a:cubicBezTo>
                <a:cubicBezTo>
                  <a:pt x="94285" y="97500"/>
                  <a:pt x="98571" y="100000"/>
                  <a:pt x="107142" y="97500"/>
                </a:cubicBezTo>
                <a:cubicBezTo>
                  <a:pt x="107142" y="92500"/>
                  <a:pt x="119999" y="80000"/>
                  <a:pt x="119999" y="72500"/>
                </a:cubicBezTo>
                <a:cubicBezTo>
                  <a:pt x="119999" y="65000"/>
                  <a:pt x="111428" y="77500"/>
                  <a:pt x="111428" y="70000"/>
                </a:cubicBezTo>
                <a:cubicBezTo>
                  <a:pt x="111428" y="57500"/>
                  <a:pt x="119999" y="57500"/>
                  <a:pt x="111428" y="50000"/>
                </a:cubicBezTo>
                <a:cubicBezTo>
                  <a:pt x="111428" y="37500"/>
                  <a:pt x="98571" y="25000"/>
                  <a:pt x="94285" y="17500"/>
                </a:cubicBezTo>
                <a:cubicBezTo>
                  <a:pt x="85714" y="10000"/>
                  <a:pt x="81428" y="2500"/>
                  <a:pt x="81428" y="0"/>
                </a:cubicBezTo>
                <a:cubicBezTo>
                  <a:pt x="68571" y="2500"/>
                  <a:pt x="81428" y="7500"/>
                  <a:pt x="72857" y="7500"/>
                </a:cubicBezTo>
                <a:cubicBezTo>
                  <a:pt x="59999" y="10000"/>
                  <a:pt x="55714" y="7500"/>
                  <a:pt x="34285" y="10000"/>
                </a:cubicBezTo>
                <a:cubicBezTo>
                  <a:pt x="21428" y="15000"/>
                  <a:pt x="21428" y="17500"/>
                  <a:pt x="21428" y="225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58" name="Shape 1821"/>
          <p:cNvSpPr/>
          <p:nvPr/>
        </p:nvSpPr>
        <p:spPr>
          <a:xfrm>
            <a:off x="8829721" y="3973431"/>
            <a:ext cx="30700" cy="17474"/>
          </a:xfrm>
          <a:custGeom>
            <a:avLst/>
            <a:gdLst/>
            <a:ahLst/>
            <a:cxnLst/>
            <a:rect l="0" t="0" r="0" b="0"/>
            <a:pathLst>
              <a:path w="120000" h="120000" extrusionOk="0">
                <a:moveTo>
                  <a:pt x="13333" y="80000"/>
                </a:moveTo>
                <a:cubicBezTo>
                  <a:pt x="0" y="20000"/>
                  <a:pt x="106666" y="0"/>
                  <a:pt x="106666" y="20000"/>
                </a:cubicBezTo>
                <a:cubicBezTo>
                  <a:pt x="120000" y="60000"/>
                  <a:pt x="40000" y="120000"/>
                  <a:pt x="13333" y="8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59" name="Shape 1822"/>
          <p:cNvSpPr/>
          <p:nvPr/>
        </p:nvSpPr>
        <p:spPr>
          <a:xfrm>
            <a:off x="8916711" y="3935304"/>
            <a:ext cx="10232" cy="22237"/>
          </a:xfrm>
          <a:custGeom>
            <a:avLst/>
            <a:gdLst/>
            <a:ahLst/>
            <a:cxnLst/>
            <a:rect l="0" t="0" r="0" b="0"/>
            <a:pathLst>
              <a:path w="120000" h="120000" extrusionOk="0">
                <a:moveTo>
                  <a:pt x="0" y="119999"/>
                </a:moveTo>
                <a:cubicBezTo>
                  <a:pt x="0" y="119999"/>
                  <a:pt x="0" y="85714"/>
                  <a:pt x="0" y="51428"/>
                </a:cubicBezTo>
                <a:cubicBezTo>
                  <a:pt x="40000" y="34285"/>
                  <a:pt x="0" y="0"/>
                  <a:pt x="40000" y="0"/>
                </a:cubicBezTo>
                <a:cubicBezTo>
                  <a:pt x="120000" y="0"/>
                  <a:pt x="120000" y="34285"/>
                  <a:pt x="40000" y="51428"/>
                </a:cubicBezTo>
                <a:cubicBezTo>
                  <a:pt x="0" y="85714"/>
                  <a:pt x="40000" y="119999"/>
                  <a:pt x="0" y="119999"/>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60" name="Shape 1823"/>
          <p:cNvSpPr/>
          <p:nvPr/>
        </p:nvSpPr>
        <p:spPr>
          <a:xfrm>
            <a:off x="8829720" y="3941658"/>
            <a:ext cx="13646" cy="6353"/>
          </a:xfrm>
          <a:custGeom>
            <a:avLst/>
            <a:gdLst/>
            <a:ahLst/>
            <a:cxnLst/>
            <a:rect l="0" t="0" r="0" b="0"/>
            <a:pathLst>
              <a:path w="120000" h="120000" extrusionOk="0">
                <a:moveTo>
                  <a:pt x="30000" y="120000"/>
                </a:moveTo>
                <a:cubicBezTo>
                  <a:pt x="0" y="120000"/>
                  <a:pt x="90000" y="0"/>
                  <a:pt x="90000" y="0"/>
                </a:cubicBezTo>
                <a:cubicBezTo>
                  <a:pt x="120000" y="120000"/>
                  <a:pt x="30000" y="120000"/>
                  <a:pt x="3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61" name="Shape 1824"/>
          <p:cNvSpPr/>
          <p:nvPr/>
        </p:nvSpPr>
        <p:spPr>
          <a:xfrm>
            <a:off x="8829720" y="3927362"/>
            <a:ext cx="3410" cy="7943"/>
          </a:xfrm>
          <a:custGeom>
            <a:avLst/>
            <a:gdLst/>
            <a:ahLst/>
            <a:cxnLst/>
            <a:rect l="0" t="0" r="0" b="0"/>
            <a:pathLst>
              <a:path w="120000" h="120000" extrusionOk="0">
                <a:moveTo>
                  <a:pt x="120000" y="120000"/>
                </a:moveTo>
                <a:cubicBezTo>
                  <a:pt x="120000" y="80000"/>
                  <a:pt x="0" y="80000"/>
                  <a:pt x="120000" y="0"/>
                </a:cubicBezTo>
                <a:cubicBezTo>
                  <a:pt x="120000" y="80000"/>
                  <a:pt x="120000" y="80000"/>
                  <a:pt x="120000" y="80000"/>
                </a:cubicBezTo>
                <a:cubicBezTo>
                  <a:pt x="120000" y="120000"/>
                  <a:pt x="120000" y="120000"/>
                  <a:pt x="12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62" name="Shape 1825"/>
          <p:cNvSpPr/>
          <p:nvPr/>
        </p:nvSpPr>
        <p:spPr>
          <a:xfrm>
            <a:off x="8839957" y="3874938"/>
            <a:ext cx="3410" cy="6353"/>
          </a:xfrm>
          <a:custGeom>
            <a:avLst/>
            <a:gdLst/>
            <a:ahLst/>
            <a:cxnLst/>
            <a:rect l="0" t="0" r="0" b="0"/>
            <a:pathLst>
              <a:path w="120000" h="120000" extrusionOk="0">
                <a:moveTo>
                  <a:pt x="0" y="120000"/>
                </a:moveTo>
                <a:cubicBezTo>
                  <a:pt x="0" y="0"/>
                  <a:pt x="0" y="0"/>
                  <a:pt x="0" y="0"/>
                </a:cubicBezTo>
                <a:cubicBezTo>
                  <a:pt x="120000" y="0"/>
                  <a:pt x="120000" y="120000"/>
                  <a:pt x="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63" name="Shape 1826"/>
          <p:cNvSpPr/>
          <p:nvPr/>
        </p:nvSpPr>
        <p:spPr>
          <a:xfrm>
            <a:off x="8896244" y="3927362"/>
            <a:ext cx="10232" cy="7943"/>
          </a:xfrm>
          <a:custGeom>
            <a:avLst/>
            <a:gdLst/>
            <a:ahLst/>
            <a:cxnLst/>
            <a:rect l="0" t="0" r="0" b="0"/>
            <a:pathLst>
              <a:path w="120000" h="120000" extrusionOk="0">
                <a:moveTo>
                  <a:pt x="40000" y="120000"/>
                </a:moveTo>
                <a:cubicBezTo>
                  <a:pt x="0" y="120000"/>
                  <a:pt x="0" y="0"/>
                  <a:pt x="40000" y="0"/>
                </a:cubicBezTo>
                <a:cubicBezTo>
                  <a:pt x="120000" y="0"/>
                  <a:pt x="120000" y="80000"/>
                  <a:pt x="4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64" name="Shape 1827"/>
          <p:cNvSpPr/>
          <p:nvPr/>
        </p:nvSpPr>
        <p:spPr>
          <a:xfrm>
            <a:off x="8879189" y="3927362"/>
            <a:ext cx="6821" cy="7943"/>
          </a:xfrm>
          <a:custGeom>
            <a:avLst/>
            <a:gdLst/>
            <a:ahLst/>
            <a:cxnLst/>
            <a:rect l="0" t="0" r="0" b="0"/>
            <a:pathLst>
              <a:path w="120000" h="120000" extrusionOk="0">
                <a:moveTo>
                  <a:pt x="120000" y="120000"/>
                </a:moveTo>
                <a:cubicBezTo>
                  <a:pt x="0" y="80000"/>
                  <a:pt x="0" y="80000"/>
                  <a:pt x="0" y="0"/>
                </a:cubicBezTo>
                <a:cubicBezTo>
                  <a:pt x="0" y="0"/>
                  <a:pt x="120000" y="0"/>
                  <a:pt x="120000" y="80000"/>
                </a:cubicBezTo>
                <a:cubicBezTo>
                  <a:pt x="120000" y="120000"/>
                  <a:pt x="120000" y="120000"/>
                  <a:pt x="12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65" name="Shape 1828"/>
          <p:cNvSpPr/>
          <p:nvPr/>
        </p:nvSpPr>
        <p:spPr>
          <a:xfrm>
            <a:off x="8843368" y="3951190"/>
            <a:ext cx="6821" cy="6353"/>
          </a:xfrm>
          <a:custGeom>
            <a:avLst/>
            <a:gdLst/>
            <a:ahLst/>
            <a:cxnLst/>
            <a:rect l="0" t="0" r="0" b="0"/>
            <a:pathLst>
              <a:path w="120000" h="120000" extrusionOk="0">
                <a:moveTo>
                  <a:pt x="120000" y="120000"/>
                </a:moveTo>
                <a:cubicBezTo>
                  <a:pt x="0" y="120000"/>
                  <a:pt x="0" y="120000"/>
                  <a:pt x="0" y="0"/>
                </a:cubicBezTo>
                <a:cubicBezTo>
                  <a:pt x="120000" y="0"/>
                  <a:pt x="120000" y="120000"/>
                  <a:pt x="12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66" name="Shape 1829"/>
          <p:cNvSpPr/>
          <p:nvPr/>
        </p:nvSpPr>
        <p:spPr>
          <a:xfrm>
            <a:off x="8839957" y="3832045"/>
            <a:ext cx="3410" cy="11119"/>
          </a:xfrm>
          <a:custGeom>
            <a:avLst/>
            <a:gdLst/>
            <a:ahLst/>
            <a:cxnLst/>
            <a:rect l="0" t="0" r="0" b="0"/>
            <a:pathLst>
              <a:path w="120000" h="120000" extrusionOk="0">
                <a:moveTo>
                  <a:pt x="120000" y="120000"/>
                </a:moveTo>
                <a:cubicBezTo>
                  <a:pt x="0" y="120000"/>
                  <a:pt x="0" y="0"/>
                  <a:pt x="0" y="0"/>
                </a:cubicBezTo>
                <a:cubicBezTo>
                  <a:pt x="120000" y="0"/>
                  <a:pt x="120000" y="120000"/>
                  <a:pt x="12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67" name="Shape 1830"/>
          <p:cNvSpPr/>
          <p:nvPr/>
        </p:nvSpPr>
        <p:spPr>
          <a:xfrm>
            <a:off x="8370891" y="4400762"/>
            <a:ext cx="64815" cy="65132"/>
          </a:xfrm>
          <a:custGeom>
            <a:avLst/>
            <a:gdLst/>
            <a:ahLst/>
            <a:cxnLst/>
            <a:rect l="0" t="0" r="0" b="0"/>
            <a:pathLst>
              <a:path w="120000" h="120000" extrusionOk="0">
                <a:moveTo>
                  <a:pt x="18000" y="34285"/>
                </a:moveTo>
                <a:cubicBezTo>
                  <a:pt x="36000" y="17142"/>
                  <a:pt x="30000" y="28571"/>
                  <a:pt x="36000" y="17142"/>
                </a:cubicBezTo>
                <a:cubicBezTo>
                  <a:pt x="48000" y="11428"/>
                  <a:pt x="48000" y="28571"/>
                  <a:pt x="54000" y="11428"/>
                </a:cubicBezTo>
                <a:cubicBezTo>
                  <a:pt x="54000" y="0"/>
                  <a:pt x="66000" y="17142"/>
                  <a:pt x="72000" y="11428"/>
                </a:cubicBezTo>
                <a:cubicBezTo>
                  <a:pt x="84000" y="0"/>
                  <a:pt x="90000" y="11428"/>
                  <a:pt x="102000" y="11428"/>
                </a:cubicBezTo>
                <a:cubicBezTo>
                  <a:pt x="102000" y="0"/>
                  <a:pt x="108000" y="11428"/>
                  <a:pt x="108000" y="11428"/>
                </a:cubicBezTo>
                <a:cubicBezTo>
                  <a:pt x="120000" y="11428"/>
                  <a:pt x="120000" y="28571"/>
                  <a:pt x="120000" y="34285"/>
                </a:cubicBezTo>
                <a:cubicBezTo>
                  <a:pt x="108000" y="34285"/>
                  <a:pt x="102000" y="57142"/>
                  <a:pt x="102000" y="74285"/>
                </a:cubicBezTo>
                <a:cubicBezTo>
                  <a:pt x="102000" y="91428"/>
                  <a:pt x="84000" y="80000"/>
                  <a:pt x="72000" y="97142"/>
                </a:cubicBezTo>
                <a:cubicBezTo>
                  <a:pt x="72000" y="108571"/>
                  <a:pt x="66000" y="97142"/>
                  <a:pt x="54000" y="108571"/>
                </a:cubicBezTo>
                <a:cubicBezTo>
                  <a:pt x="54000" y="120000"/>
                  <a:pt x="48000" y="120000"/>
                  <a:pt x="48000" y="108571"/>
                </a:cubicBezTo>
                <a:cubicBezTo>
                  <a:pt x="36000" y="108571"/>
                  <a:pt x="36000" y="120000"/>
                  <a:pt x="18000" y="97142"/>
                </a:cubicBezTo>
                <a:cubicBezTo>
                  <a:pt x="0" y="91428"/>
                  <a:pt x="12000" y="91428"/>
                  <a:pt x="12000" y="74285"/>
                </a:cubicBezTo>
                <a:cubicBezTo>
                  <a:pt x="0" y="45714"/>
                  <a:pt x="18000" y="45714"/>
                  <a:pt x="18000" y="34285"/>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68" name="Shape 1831"/>
          <p:cNvSpPr/>
          <p:nvPr/>
        </p:nvSpPr>
        <p:spPr>
          <a:xfrm>
            <a:off x="7615279" y="4718482"/>
            <a:ext cx="59697" cy="123909"/>
          </a:xfrm>
          <a:custGeom>
            <a:avLst/>
            <a:gdLst/>
            <a:ahLst/>
            <a:cxnLst/>
            <a:rect l="0" t="0" r="0" b="0"/>
            <a:pathLst>
              <a:path w="120000" h="120000" extrusionOk="0">
                <a:moveTo>
                  <a:pt x="26666" y="111000"/>
                </a:moveTo>
                <a:cubicBezTo>
                  <a:pt x="0" y="96000"/>
                  <a:pt x="6666" y="69000"/>
                  <a:pt x="0" y="54000"/>
                </a:cubicBezTo>
                <a:cubicBezTo>
                  <a:pt x="0" y="42000"/>
                  <a:pt x="6666" y="42000"/>
                  <a:pt x="6666" y="45000"/>
                </a:cubicBezTo>
                <a:cubicBezTo>
                  <a:pt x="6666" y="51000"/>
                  <a:pt x="6666" y="36000"/>
                  <a:pt x="6666" y="27000"/>
                </a:cubicBezTo>
                <a:cubicBezTo>
                  <a:pt x="6666" y="24000"/>
                  <a:pt x="20000" y="24000"/>
                  <a:pt x="20000" y="12000"/>
                </a:cubicBezTo>
                <a:cubicBezTo>
                  <a:pt x="20000" y="3000"/>
                  <a:pt x="6666" y="3000"/>
                  <a:pt x="6666" y="0"/>
                </a:cubicBezTo>
                <a:cubicBezTo>
                  <a:pt x="6666" y="0"/>
                  <a:pt x="26666" y="0"/>
                  <a:pt x="46666" y="3000"/>
                </a:cubicBezTo>
                <a:cubicBezTo>
                  <a:pt x="60000" y="12000"/>
                  <a:pt x="60000" y="18000"/>
                  <a:pt x="73333" y="27000"/>
                </a:cubicBezTo>
                <a:cubicBezTo>
                  <a:pt x="86666" y="33000"/>
                  <a:pt x="86666" y="51000"/>
                  <a:pt x="100000" y="54000"/>
                </a:cubicBezTo>
                <a:cubicBezTo>
                  <a:pt x="113333" y="60000"/>
                  <a:pt x="100000" y="60000"/>
                  <a:pt x="113333" y="63000"/>
                </a:cubicBezTo>
                <a:cubicBezTo>
                  <a:pt x="120000" y="75000"/>
                  <a:pt x="120000" y="96000"/>
                  <a:pt x="86666" y="102000"/>
                </a:cubicBezTo>
                <a:cubicBezTo>
                  <a:pt x="73333" y="111000"/>
                  <a:pt x="46666" y="120000"/>
                  <a:pt x="26666" y="111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69" name="Shape 1832"/>
          <p:cNvSpPr/>
          <p:nvPr/>
        </p:nvSpPr>
        <p:spPr>
          <a:xfrm>
            <a:off x="7942770" y="4130700"/>
            <a:ext cx="238794" cy="587782"/>
          </a:xfrm>
          <a:custGeom>
            <a:avLst/>
            <a:gdLst/>
            <a:ahLst/>
            <a:cxnLst/>
            <a:rect l="0" t="0" r="0" b="0"/>
            <a:pathLst>
              <a:path w="120000" h="120000" extrusionOk="0">
                <a:moveTo>
                  <a:pt x="5000" y="43350"/>
                </a:moveTo>
                <a:cubicBezTo>
                  <a:pt x="10000" y="40837"/>
                  <a:pt x="6666" y="45863"/>
                  <a:pt x="11666" y="42722"/>
                </a:cubicBezTo>
                <a:cubicBezTo>
                  <a:pt x="15000" y="39581"/>
                  <a:pt x="11666" y="40837"/>
                  <a:pt x="11666" y="38952"/>
                </a:cubicBezTo>
                <a:cubicBezTo>
                  <a:pt x="11666" y="33926"/>
                  <a:pt x="16666" y="40837"/>
                  <a:pt x="15000" y="32670"/>
                </a:cubicBezTo>
                <a:cubicBezTo>
                  <a:pt x="15000" y="28272"/>
                  <a:pt x="15000" y="30157"/>
                  <a:pt x="20000" y="30785"/>
                </a:cubicBezTo>
                <a:cubicBezTo>
                  <a:pt x="25000" y="30785"/>
                  <a:pt x="25000" y="33926"/>
                  <a:pt x="26666" y="28900"/>
                </a:cubicBezTo>
                <a:cubicBezTo>
                  <a:pt x="30000" y="25130"/>
                  <a:pt x="38333" y="25130"/>
                  <a:pt x="33333" y="23246"/>
                </a:cubicBezTo>
                <a:cubicBezTo>
                  <a:pt x="30000" y="21989"/>
                  <a:pt x="35000" y="21989"/>
                  <a:pt x="40000" y="18219"/>
                </a:cubicBezTo>
                <a:cubicBezTo>
                  <a:pt x="43333" y="15078"/>
                  <a:pt x="38333" y="16335"/>
                  <a:pt x="40000" y="14450"/>
                </a:cubicBezTo>
                <a:cubicBezTo>
                  <a:pt x="40000" y="12565"/>
                  <a:pt x="40000" y="14450"/>
                  <a:pt x="45000" y="12565"/>
                </a:cubicBezTo>
                <a:cubicBezTo>
                  <a:pt x="50000" y="10680"/>
                  <a:pt x="58333" y="7539"/>
                  <a:pt x="63333" y="9424"/>
                </a:cubicBezTo>
                <a:cubicBezTo>
                  <a:pt x="65000" y="11308"/>
                  <a:pt x="68333" y="11308"/>
                  <a:pt x="63333" y="8795"/>
                </a:cubicBezTo>
                <a:cubicBezTo>
                  <a:pt x="60000" y="6910"/>
                  <a:pt x="70000" y="6910"/>
                  <a:pt x="68333" y="3769"/>
                </a:cubicBezTo>
                <a:cubicBezTo>
                  <a:pt x="70000" y="2513"/>
                  <a:pt x="68333" y="0"/>
                  <a:pt x="76666" y="2513"/>
                </a:cubicBezTo>
                <a:cubicBezTo>
                  <a:pt x="83333" y="4397"/>
                  <a:pt x="78333" y="8795"/>
                  <a:pt x="83333" y="7539"/>
                </a:cubicBezTo>
                <a:cubicBezTo>
                  <a:pt x="86666" y="6910"/>
                  <a:pt x="88333" y="8795"/>
                  <a:pt x="86666" y="9424"/>
                </a:cubicBezTo>
                <a:cubicBezTo>
                  <a:pt x="83333" y="10680"/>
                  <a:pt x="88333" y="11308"/>
                  <a:pt x="86666" y="14450"/>
                </a:cubicBezTo>
                <a:cubicBezTo>
                  <a:pt x="83333" y="17591"/>
                  <a:pt x="88333" y="19476"/>
                  <a:pt x="86666" y="19476"/>
                </a:cubicBezTo>
                <a:cubicBezTo>
                  <a:pt x="81666" y="19476"/>
                  <a:pt x="83333" y="21361"/>
                  <a:pt x="81666" y="20104"/>
                </a:cubicBezTo>
                <a:cubicBezTo>
                  <a:pt x="78333" y="20104"/>
                  <a:pt x="81666" y="21989"/>
                  <a:pt x="76666" y="21989"/>
                </a:cubicBezTo>
                <a:cubicBezTo>
                  <a:pt x="70000" y="23246"/>
                  <a:pt x="76666" y="25130"/>
                  <a:pt x="73333" y="25759"/>
                </a:cubicBezTo>
                <a:cubicBezTo>
                  <a:pt x="65000" y="27015"/>
                  <a:pt x="76666" y="28900"/>
                  <a:pt x="73333" y="30157"/>
                </a:cubicBezTo>
                <a:cubicBezTo>
                  <a:pt x="70000" y="30785"/>
                  <a:pt x="70000" y="32041"/>
                  <a:pt x="76666" y="30785"/>
                </a:cubicBezTo>
                <a:cubicBezTo>
                  <a:pt x="81666" y="28900"/>
                  <a:pt x="83333" y="30785"/>
                  <a:pt x="86666" y="30157"/>
                </a:cubicBezTo>
                <a:cubicBezTo>
                  <a:pt x="91666" y="28900"/>
                  <a:pt x="83333" y="30785"/>
                  <a:pt x="86666" y="32670"/>
                </a:cubicBezTo>
                <a:cubicBezTo>
                  <a:pt x="88333" y="35183"/>
                  <a:pt x="86666" y="37068"/>
                  <a:pt x="93333" y="37068"/>
                </a:cubicBezTo>
                <a:cubicBezTo>
                  <a:pt x="101666" y="37068"/>
                  <a:pt x="96666" y="37068"/>
                  <a:pt x="93333" y="37696"/>
                </a:cubicBezTo>
                <a:cubicBezTo>
                  <a:pt x="93333" y="39581"/>
                  <a:pt x="96666" y="38952"/>
                  <a:pt x="93333" y="41465"/>
                </a:cubicBezTo>
                <a:cubicBezTo>
                  <a:pt x="91666" y="43350"/>
                  <a:pt x="98333" y="42722"/>
                  <a:pt x="101666" y="42722"/>
                </a:cubicBezTo>
                <a:cubicBezTo>
                  <a:pt x="103333" y="43350"/>
                  <a:pt x="101666" y="44607"/>
                  <a:pt x="103333" y="45863"/>
                </a:cubicBezTo>
                <a:cubicBezTo>
                  <a:pt x="106666" y="45863"/>
                  <a:pt x="103333" y="47748"/>
                  <a:pt x="106666" y="46492"/>
                </a:cubicBezTo>
                <a:cubicBezTo>
                  <a:pt x="108333" y="46492"/>
                  <a:pt x="108333" y="48376"/>
                  <a:pt x="113333" y="45863"/>
                </a:cubicBezTo>
                <a:cubicBezTo>
                  <a:pt x="120000" y="43350"/>
                  <a:pt x="120000" y="45863"/>
                  <a:pt x="120000" y="46492"/>
                </a:cubicBezTo>
                <a:cubicBezTo>
                  <a:pt x="116666" y="47748"/>
                  <a:pt x="111666" y="46492"/>
                  <a:pt x="111666" y="49633"/>
                </a:cubicBezTo>
                <a:cubicBezTo>
                  <a:pt x="108333" y="52774"/>
                  <a:pt x="106666" y="49633"/>
                  <a:pt x="106666" y="53403"/>
                </a:cubicBezTo>
                <a:cubicBezTo>
                  <a:pt x="101666" y="53403"/>
                  <a:pt x="103333" y="54659"/>
                  <a:pt x="98333" y="54659"/>
                </a:cubicBezTo>
                <a:cubicBezTo>
                  <a:pt x="93333" y="53403"/>
                  <a:pt x="98333" y="55287"/>
                  <a:pt x="96666" y="55287"/>
                </a:cubicBezTo>
                <a:cubicBezTo>
                  <a:pt x="93333" y="56544"/>
                  <a:pt x="93333" y="54659"/>
                  <a:pt x="91666" y="56544"/>
                </a:cubicBezTo>
                <a:cubicBezTo>
                  <a:pt x="91666" y="58429"/>
                  <a:pt x="88333" y="57172"/>
                  <a:pt x="83333" y="58429"/>
                </a:cubicBezTo>
                <a:cubicBezTo>
                  <a:pt x="78333" y="59057"/>
                  <a:pt x="78333" y="56544"/>
                  <a:pt x="78333" y="58429"/>
                </a:cubicBezTo>
                <a:cubicBezTo>
                  <a:pt x="76666" y="60314"/>
                  <a:pt x="73333" y="59057"/>
                  <a:pt x="76666" y="60942"/>
                </a:cubicBezTo>
                <a:cubicBezTo>
                  <a:pt x="78333" y="63455"/>
                  <a:pt x="70000" y="60942"/>
                  <a:pt x="73333" y="64083"/>
                </a:cubicBezTo>
                <a:cubicBezTo>
                  <a:pt x="76666" y="67225"/>
                  <a:pt x="68333" y="64083"/>
                  <a:pt x="68333" y="65968"/>
                </a:cubicBezTo>
                <a:cubicBezTo>
                  <a:pt x="70000" y="67853"/>
                  <a:pt x="73333" y="65340"/>
                  <a:pt x="73333" y="67853"/>
                </a:cubicBezTo>
                <a:cubicBezTo>
                  <a:pt x="73333" y="70994"/>
                  <a:pt x="76666" y="72251"/>
                  <a:pt x="81666" y="74136"/>
                </a:cubicBezTo>
                <a:cubicBezTo>
                  <a:pt x="83333" y="76020"/>
                  <a:pt x="83333" y="74136"/>
                  <a:pt x="83333" y="76020"/>
                </a:cubicBezTo>
                <a:cubicBezTo>
                  <a:pt x="83333" y="77905"/>
                  <a:pt x="86666" y="79790"/>
                  <a:pt x="86666" y="79790"/>
                </a:cubicBezTo>
                <a:cubicBezTo>
                  <a:pt x="91666" y="76649"/>
                  <a:pt x="91666" y="81047"/>
                  <a:pt x="86666" y="81047"/>
                </a:cubicBezTo>
                <a:cubicBezTo>
                  <a:pt x="83333" y="81047"/>
                  <a:pt x="86666" y="85445"/>
                  <a:pt x="83333" y="85445"/>
                </a:cubicBezTo>
                <a:cubicBezTo>
                  <a:pt x="81666" y="84816"/>
                  <a:pt x="83333" y="86701"/>
                  <a:pt x="81666" y="85445"/>
                </a:cubicBezTo>
                <a:cubicBezTo>
                  <a:pt x="78333" y="85445"/>
                  <a:pt x="78333" y="88586"/>
                  <a:pt x="86666" y="91727"/>
                </a:cubicBezTo>
                <a:cubicBezTo>
                  <a:pt x="93333" y="94240"/>
                  <a:pt x="96666" y="96125"/>
                  <a:pt x="91666" y="99267"/>
                </a:cubicBezTo>
                <a:cubicBezTo>
                  <a:pt x="96666" y="102408"/>
                  <a:pt x="96666" y="104293"/>
                  <a:pt x="96666" y="104921"/>
                </a:cubicBezTo>
                <a:cubicBezTo>
                  <a:pt x="96666" y="106178"/>
                  <a:pt x="98333" y="104921"/>
                  <a:pt x="98333" y="106178"/>
                </a:cubicBezTo>
                <a:cubicBezTo>
                  <a:pt x="98333" y="108062"/>
                  <a:pt x="101666" y="106806"/>
                  <a:pt x="98333" y="108062"/>
                </a:cubicBezTo>
                <a:cubicBezTo>
                  <a:pt x="93333" y="109947"/>
                  <a:pt x="96666" y="109947"/>
                  <a:pt x="91666" y="113089"/>
                </a:cubicBezTo>
                <a:cubicBezTo>
                  <a:pt x="86666" y="114973"/>
                  <a:pt x="88333" y="114973"/>
                  <a:pt x="86666" y="116858"/>
                </a:cubicBezTo>
                <a:cubicBezTo>
                  <a:pt x="86666" y="118743"/>
                  <a:pt x="83333" y="120000"/>
                  <a:pt x="83333" y="118115"/>
                </a:cubicBezTo>
                <a:cubicBezTo>
                  <a:pt x="83333" y="111832"/>
                  <a:pt x="86666" y="113717"/>
                  <a:pt x="86666" y="111832"/>
                </a:cubicBezTo>
                <a:cubicBezTo>
                  <a:pt x="86666" y="109947"/>
                  <a:pt x="91666" y="108062"/>
                  <a:pt x="86666" y="108062"/>
                </a:cubicBezTo>
                <a:cubicBezTo>
                  <a:pt x="81666" y="108062"/>
                  <a:pt x="88333" y="106178"/>
                  <a:pt x="86666" y="104921"/>
                </a:cubicBezTo>
                <a:cubicBezTo>
                  <a:pt x="83333" y="104293"/>
                  <a:pt x="86666" y="103036"/>
                  <a:pt x="86666" y="101151"/>
                </a:cubicBezTo>
                <a:cubicBezTo>
                  <a:pt x="83333" y="100523"/>
                  <a:pt x="83333" y="98638"/>
                  <a:pt x="81666" y="96125"/>
                </a:cubicBezTo>
                <a:cubicBezTo>
                  <a:pt x="78333" y="93612"/>
                  <a:pt x="78333" y="99267"/>
                  <a:pt x="78333" y="93612"/>
                </a:cubicBezTo>
                <a:cubicBezTo>
                  <a:pt x="78333" y="91727"/>
                  <a:pt x="73333" y="90471"/>
                  <a:pt x="73333" y="85445"/>
                </a:cubicBezTo>
                <a:cubicBezTo>
                  <a:pt x="73333" y="81675"/>
                  <a:pt x="70000" y="81675"/>
                  <a:pt x="70000" y="79790"/>
                </a:cubicBezTo>
                <a:cubicBezTo>
                  <a:pt x="70000" y="78534"/>
                  <a:pt x="76666" y="77905"/>
                  <a:pt x="73333" y="77905"/>
                </a:cubicBezTo>
                <a:cubicBezTo>
                  <a:pt x="70000" y="77905"/>
                  <a:pt x="68333" y="78534"/>
                  <a:pt x="68333" y="76649"/>
                </a:cubicBezTo>
                <a:cubicBezTo>
                  <a:pt x="65000" y="74136"/>
                  <a:pt x="65000" y="74764"/>
                  <a:pt x="65000" y="74136"/>
                </a:cubicBezTo>
                <a:cubicBezTo>
                  <a:pt x="65000" y="72879"/>
                  <a:pt x="63333" y="72879"/>
                  <a:pt x="63333" y="72251"/>
                </a:cubicBezTo>
                <a:cubicBezTo>
                  <a:pt x="65000" y="76649"/>
                  <a:pt x="58333" y="77905"/>
                  <a:pt x="53333" y="78534"/>
                </a:cubicBezTo>
                <a:cubicBezTo>
                  <a:pt x="45000" y="79790"/>
                  <a:pt x="45000" y="84816"/>
                  <a:pt x="40000" y="82931"/>
                </a:cubicBezTo>
                <a:cubicBezTo>
                  <a:pt x="35000" y="81047"/>
                  <a:pt x="38333" y="83560"/>
                  <a:pt x="33333" y="81675"/>
                </a:cubicBezTo>
                <a:cubicBezTo>
                  <a:pt x="30000" y="81047"/>
                  <a:pt x="35000" y="79790"/>
                  <a:pt x="33333" y="79790"/>
                </a:cubicBezTo>
                <a:cubicBezTo>
                  <a:pt x="30000" y="78534"/>
                  <a:pt x="30000" y="81675"/>
                  <a:pt x="26666" y="81675"/>
                </a:cubicBezTo>
                <a:cubicBezTo>
                  <a:pt x="25000" y="81675"/>
                  <a:pt x="30000" y="76649"/>
                  <a:pt x="33333" y="72879"/>
                </a:cubicBezTo>
                <a:cubicBezTo>
                  <a:pt x="35000" y="69738"/>
                  <a:pt x="26666" y="65968"/>
                  <a:pt x="25000" y="63455"/>
                </a:cubicBezTo>
                <a:cubicBezTo>
                  <a:pt x="25000" y="60314"/>
                  <a:pt x="21666" y="62198"/>
                  <a:pt x="21666" y="63455"/>
                </a:cubicBezTo>
                <a:cubicBezTo>
                  <a:pt x="21666" y="64083"/>
                  <a:pt x="15000" y="60942"/>
                  <a:pt x="16666" y="60314"/>
                </a:cubicBezTo>
                <a:cubicBezTo>
                  <a:pt x="20000" y="59057"/>
                  <a:pt x="20000" y="60942"/>
                  <a:pt x="21666" y="60314"/>
                </a:cubicBezTo>
                <a:cubicBezTo>
                  <a:pt x="26666" y="59057"/>
                  <a:pt x="21666" y="59057"/>
                  <a:pt x="20000" y="58429"/>
                </a:cubicBezTo>
                <a:cubicBezTo>
                  <a:pt x="16666" y="56544"/>
                  <a:pt x="15000" y="54659"/>
                  <a:pt x="11666" y="56544"/>
                </a:cubicBezTo>
                <a:cubicBezTo>
                  <a:pt x="11666" y="58429"/>
                  <a:pt x="11666" y="56544"/>
                  <a:pt x="6666" y="54659"/>
                </a:cubicBezTo>
                <a:cubicBezTo>
                  <a:pt x="1666" y="52774"/>
                  <a:pt x="1666" y="49633"/>
                  <a:pt x="0" y="49633"/>
                </a:cubicBezTo>
                <a:cubicBezTo>
                  <a:pt x="0" y="42722"/>
                  <a:pt x="6666" y="53403"/>
                  <a:pt x="5000" y="4335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70" name="Shape 1833"/>
          <p:cNvSpPr/>
          <p:nvPr/>
        </p:nvSpPr>
        <p:spPr>
          <a:xfrm>
            <a:off x="8079225" y="4392818"/>
            <a:ext cx="221737" cy="455928"/>
          </a:xfrm>
          <a:custGeom>
            <a:avLst/>
            <a:gdLst/>
            <a:ahLst/>
            <a:cxnLst/>
            <a:rect l="0" t="0" r="0" b="0"/>
            <a:pathLst>
              <a:path w="120000" h="120000" extrusionOk="0">
                <a:moveTo>
                  <a:pt x="78805" y="70540"/>
                </a:moveTo>
                <a:cubicBezTo>
                  <a:pt x="77014" y="70540"/>
                  <a:pt x="78805" y="68108"/>
                  <a:pt x="73432" y="66486"/>
                </a:cubicBezTo>
                <a:cubicBezTo>
                  <a:pt x="71641" y="66486"/>
                  <a:pt x="68059" y="64054"/>
                  <a:pt x="62686" y="63243"/>
                </a:cubicBezTo>
                <a:cubicBezTo>
                  <a:pt x="60895" y="61621"/>
                  <a:pt x="60895" y="64054"/>
                  <a:pt x="57313" y="63243"/>
                </a:cubicBezTo>
                <a:cubicBezTo>
                  <a:pt x="51940" y="61621"/>
                  <a:pt x="48358" y="65675"/>
                  <a:pt x="48358" y="61621"/>
                </a:cubicBezTo>
                <a:cubicBezTo>
                  <a:pt x="51940" y="56756"/>
                  <a:pt x="53731" y="55945"/>
                  <a:pt x="46567" y="55945"/>
                </a:cubicBezTo>
                <a:cubicBezTo>
                  <a:pt x="37611" y="55945"/>
                  <a:pt x="35820" y="58378"/>
                  <a:pt x="37611" y="59189"/>
                </a:cubicBezTo>
                <a:cubicBezTo>
                  <a:pt x="41194" y="59189"/>
                  <a:pt x="35820" y="69729"/>
                  <a:pt x="32238" y="72162"/>
                </a:cubicBezTo>
                <a:cubicBezTo>
                  <a:pt x="32238" y="72972"/>
                  <a:pt x="32238" y="77027"/>
                  <a:pt x="30447" y="77837"/>
                </a:cubicBezTo>
                <a:cubicBezTo>
                  <a:pt x="25074" y="81081"/>
                  <a:pt x="26865" y="88378"/>
                  <a:pt x="26865" y="89189"/>
                </a:cubicBezTo>
                <a:cubicBezTo>
                  <a:pt x="26865" y="93243"/>
                  <a:pt x="35820" y="88378"/>
                  <a:pt x="35820" y="90810"/>
                </a:cubicBezTo>
                <a:cubicBezTo>
                  <a:pt x="35820" y="93243"/>
                  <a:pt x="37611" y="97297"/>
                  <a:pt x="41194" y="97297"/>
                </a:cubicBezTo>
                <a:cubicBezTo>
                  <a:pt x="42985" y="95675"/>
                  <a:pt x="42985" y="104594"/>
                  <a:pt x="48358" y="107027"/>
                </a:cubicBezTo>
                <a:cubicBezTo>
                  <a:pt x="57313" y="111891"/>
                  <a:pt x="53731" y="107027"/>
                  <a:pt x="60895" y="109459"/>
                </a:cubicBezTo>
                <a:cubicBezTo>
                  <a:pt x="66268" y="111891"/>
                  <a:pt x="66268" y="113513"/>
                  <a:pt x="68059" y="115135"/>
                </a:cubicBezTo>
                <a:cubicBezTo>
                  <a:pt x="66268" y="118378"/>
                  <a:pt x="66268" y="118378"/>
                  <a:pt x="62686" y="117567"/>
                </a:cubicBezTo>
                <a:cubicBezTo>
                  <a:pt x="57313" y="115135"/>
                  <a:pt x="57313" y="120000"/>
                  <a:pt x="53731" y="118378"/>
                </a:cubicBezTo>
                <a:cubicBezTo>
                  <a:pt x="51940" y="117567"/>
                  <a:pt x="53731" y="115945"/>
                  <a:pt x="53731" y="115135"/>
                </a:cubicBezTo>
                <a:cubicBezTo>
                  <a:pt x="53731" y="111891"/>
                  <a:pt x="51940" y="115135"/>
                  <a:pt x="48358" y="113513"/>
                </a:cubicBezTo>
                <a:cubicBezTo>
                  <a:pt x="48358" y="111081"/>
                  <a:pt x="46567" y="111891"/>
                  <a:pt x="42985" y="111081"/>
                </a:cubicBezTo>
                <a:cubicBezTo>
                  <a:pt x="41194" y="109459"/>
                  <a:pt x="41194" y="109459"/>
                  <a:pt x="41194" y="111891"/>
                </a:cubicBezTo>
                <a:cubicBezTo>
                  <a:pt x="37611" y="111081"/>
                  <a:pt x="37611" y="111081"/>
                  <a:pt x="35820" y="109459"/>
                </a:cubicBezTo>
                <a:cubicBezTo>
                  <a:pt x="32238" y="108648"/>
                  <a:pt x="32238" y="107027"/>
                  <a:pt x="32238" y="106216"/>
                </a:cubicBezTo>
                <a:cubicBezTo>
                  <a:pt x="32238" y="106216"/>
                  <a:pt x="30447" y="107027"/>
                  <a:pt x="26865" y="104594"/>
                </a:cubicBezTo>
                <a:cubicBezTo>
                  <a:pt x="21492" y="102162"/>
                  <a:pt x="21492" y="98108"/>
                  <a:pt x="19701" y="97297"/>
                </a:cubicBezTo>
                <a:cubicBezTo>
                  <a:pt x="16119" y="97297"/>
                  <a:pt x="16119" y="100540"/>
                  <a:pt x="14328" y="98108"/>
                </a:cubicBezTo>
                <a:cubicBezTo>
                  <a:pt x="14328" y="98108"/>
                  <a:pt x="10746" y="95675"/>
                  <a:pt x="14328" y="93243"/>
                </a:cubicBezTo>
                <a:cubicBezTo>
                  <a:pt x="16119" y="90810"/>
                  <a:pt x="14328" y="92432"/>
                  <a:pt x="16119" y="88378"/>
                </a:cubicBezTo>
                <a:cubicBezTo>
                  <a:pt x="19701" y="86756"/>
                  <a:pt x="14328" y="88378"/>
                  <a:pt x="16119" y="85945"/>
                </a:cubicBezTo>
                <a:cubicBezTo>
                  <a:pt x="19701" y="83513"/>
                  <a:pt x="21492" y="83513"/>
                  <a:pt x="19701" y="81891"/>
                </a:cubicBezTo>
                <a:cubicBezTo>
                  <a:pt x="21492" y="79459"/>
                  <a:pt x="19701" y="79459"/>
                  <a:pt x="25074" y="77027"/>
                </a:cubicBezTo>
                <a:cubicBezTo>
                  <a:pt x="30447" y="72972"/>
                  <a:pt x="26865" y="72972"/>
                  <a:pt x="32238" y="70540"/>
                </a:cubicBezTo>
                <a:cubicBezTo>
                  <a:pt x="35820" y="69729"/>
                  <a:pt x="32238" y="70540"/>
                  <a:pt x="32238" y="68108"/>
                </a:cubicBezTo>
                <a:cubicBezTo>
                  <a:pt x="32238" y="66486"/>
                  <a:pt x="30447" y="68108"/>
                  <a:pt x="30447" y="66486"/>
                </a:cubicBezTo>
                <a:cubicBezTo>
                  <a:pt x="30447" y="65675"/>
                  <a:pt x="30447" y="63243"/>
                  <a:pt x="25074" y="59189"/>
                </a:cubicBezTo>
                <a:cubicBezTo>
                  <a:pt x="30447" y="55945"/>
                  <a:pt x="26865" y="52702"/>
                  <a:pt x="19701" y="49459"/>
                </a:cubicBezTo>
                <a:cubicBezTo>
                  <a:pt x="10746" y="45405"/>
                  <a:pt x="10746" y="41351"/>
                  <a:pt x="14328" y="41351"/>
                </a:cubicBezTo>
                <a:cubicBezTo>
                  <a:pt x="16119" y="42972"/>
                  <a:pt x="14328" y="40540"/>
                  <a:pt x="16119" y="41351"/>
                </a:cubicBezTo>
                <a:cubicBezTo>
                  <a:pt x="19701" y="41351"/>
                  <a:pt x="16119" y="35675"/>
                  <a:pt x="19701" y="35675"/>
                </a:cubicBezTo>
                <a:cubicBezTo>
                  <a:pt x="25074" y="35675"/>
                  <a:pt x="25074" y="30000"/>
                  <a:pt x="19701" y="34054"/>
                </a:cubicBezTo>
                <a:cubicBezTo>
                  <a:pt x="19701" y="34054"/>
                  <a:pt x="16119" y="31621"/>
                  <a:pt x="16119" y="29189"/>
                </a:cubicBezTo>
                <a:cubicBezTo>
                  <a:pt x="16119" y="26756"/>
                  <a:pt x="16119" y="29189"/>
                  <a:pt x="14328" y="26756"/>
                </a:cubicBezTo>
                <a:cubicBezTo>
                  <a:pt x="8955" y="24324"/>
                  <a:pt x="5373" y="22702"/>
                  <a:pt x="5373" y="18648"/>
                </a:cubicBezTo>
                <a:cubicBezTo>
                  <a:pt x="5373" y="15405"/>
                  <a:pt x="3582" y="18648"/>
                  <a:pt x="0" y="16216"/>
                </a:cubicBezTo>
                <a:cubicBezTo>
                  <a:pt x="0" y="13783"/>
                  <a:pt x="8955" y="17837"/>
                  <a:pt x="5373" y="13783"/>
                </a:cubicBezTo>
                <a:cubicBezTo>
                  <a:pt x="3582" y="10540"/>
                  <a:pt x="10746" y="12972"/>
                  <a:pt x="8955" y="10540"/>
                </a:cubicBezTo>
                <a:cubicBezTo>
                  <a:pt x="5373" y="7297"/>
                  <a:pt x="8955" y="8918"/>
                  <a:pt x="10746" y="6486"/>
                </a:cubicBezTo>
                <a:cubicBezTo>
                  <a:pt x="10746" y="4054"/>
                  <a:pt x="10746" y="7297"/>
                  <a:pt x="16119" y="6486"/>
                </a:cubicBezTo>
                <a:cubicBezTo>
                  <a:pt x="21492" y="4864"/>
                  <a:pt x="25074" y="6486"/>
                  <a:pt x="25074" y="4054"/>
                </a:cubicBezTo>
                <a:cubicBezTo>
                  <a:pt x="26865" y="1621"/>
                  <a:pt x="26865" y="4054"/>
                  <a:pt x="30447" y="2432"/>
                </a:cubicBezTo>
                <a:cubicBezTo>
                  <a:pt x="32238" y="2432"/>
                  <a:pt x="26865" y="0"/>
                  <a:pt x="32238" y="1621"/>
                </a:cubicBezTo>
                <a:cubicBezTo>
                  <a:pt x="37611" y="1621"/>
                  <a:pt x="35820" y="0"/>
                  <a:pt x="41194" y="0"/>
                </a:cubicBezTo>
                <a:cubicBezTo>
                  <a:pt x="41194" y="2432"/>
                  <a:pt x="41194" y="0"/>
                  <a:pt x="42985" y="1621"/>
                </a:cubicBezTo>
                <a:cubicBezTo>
                  <a:pt x="48358" y="4054"/>
                  <a:pt x="41194" y="7297"/>
                  <a:pt x="46567" y="7297"/>
                </a:cubicBezTo>
                <a:cubicBezTo>
                  <a:pt x="51940" y="7297"/>
                  <a:pt x="48358" y="6486"/>
                  <a:pt x="53731" y="6486"/>
                </a:cubicBezTo>
                <a:cubicBezTo>
                  <a:pt x="60895" y="7297"/>
                  <a:pt x="53731" y="8918"/>
                  <a:pt x="57313" y="10540"/>
                </a:cubicBezTo>
                <a:cubicBezTo>
                  <a:pt x="60895" y="12972"/>
                  <a:pt x="51940" y="16216"/>
                  <a:pt x="53731" y="17837"/>
                </a:cubicBezTo>
                <a:cubicBezTo>
                  <a:pt x="57313" y="18648"/>
                  <a:pt x="48358" y="22702"/>
                  <a:pt x="51940" y="24324"/>
                </a:cubicBezTo>
                <a:cubicBezTo>
                  <a:pt x="53731" y="24324"/>
                  <a:pt x="53731" y="24324"/>
                  <a:pt x="62686" y="20270"/>
                </a:cubicBezTo>
                <a:cubicBezTo>
                  <a:pt x="71641" y="16216"/>
                  <a:pt x="68059" y="20270"/>
                  <a:pt x="73432" y="20270"/>
                </a:cubicBezTo>
                <a:cubicBezTo>
                  <a:pt x="77014" y="20270"/>
                  <a:pt x="73432" y="21081"/>
                  <a:pt x="77014" y="20270"/>
                </a:cubicBezTo>
                <a:cubicBezTo>
                  <a:pt x="84179" y="18648"/>
                  <a:pt x="82388" y="15405"/>
                  <a:pt x="89552" y="16216"/>
                </a:cubicBezTo>
                <a:cubicBezTo>
                  <a:pt x="94925" y="17837"/>
                  <a:pt x="94925" y="16216"/>
                  <a:pt x="98507" y="18648"/>
                </a:cubicBezTo>
                <a:cubicBezTo>
                  <a:pt x="100298" y="24324"/>
                  <a:pt x="109253" y="22702"/>
                  <a:pt x="105671" y="29189"/>
                </a:cubicBezTo>
                <a:cubicBezTo>
                  <a:pt x="103880" y="35675"/>
                  <a:pt x="114626" y="35675"/>
                  <a:pt x="114626" y="36486"/>
                </a:cubicBezTo>
                <a:cubicBezTo>
                  <a:pt x="114626" y="38108"/>
                  <a:pt x="120000" y="38108"/>
                  <a:pt x="116417" y="45405"/>
                </a:cubicBezTo>
                <a:cubicBezTo>
                  <a:pt x="116417" y="47027"/>
                  <a:pt x="120000" y="47837"/>
                  <a:pt x="111044" y="49459"/>
                </a:cubicBezTo>
                <a:cubicBezTo>
                  <a:pt x="109253" y="50270"/>
                  <a:pt x="111044" y="47837"/>
                  <a:pt x="103880" y="49459"/>
                </a:cubicBezTo>
                <a:cubicBezTo>
                  <a:pt x="94925" y="49459"/>
                  <a:pt x="82388" y="47837"/>
                  <a:pt x="78805" y="51891"/>
                </a:cubicBezTo>
                <a:cubicBezTo>
                  <a:pt x="77014" y="55945"/>
                  <a:pt x="73432" y="54324"/>
                  <a:pt x="73432" y="55945"/>
                </a:cubicBezTo>
                <a:cubicBezTo>
                  <a:pt x="73432" y="56756"/>
                  <a:pt x="68059" y="54324"/>
                  <a:pt x="71641" y="58378"/>
                </a:cubicBezTo>
                <a:cubicBezTo>
                  <a:pt x="77014" y="61621"/>
                  <a:pt x="71641" y="63243"/>
                  <a:pt x="77014" y="64054"/>
                </a:cubicBezTo>
                <a:cubicBezTo>
                  <a:pt x="78805" y="65675"/>
                  <a:pt x="73432" y="66486"/>
                  <a:pt x="78805" y="7054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71" name="Shape 1834"/>
          <p:cNvSpPr/>
          <p:nvPr/>
        </p:nvSpPr>
        <p:spPr>
          <a:xfrm>
            <a:off x="7953003" y="4604103"/>
            <a:ext cx="17056" cy="71488"/>
          </a:xfrm>
          <a:custGeom>
            <a:avLst/>
            <a:gdLst/>
            <a:ahLst/>
            <a:cxnLst/>
            <a:rect l="0" t="0" r="0" b="0"/>
            <a:pathLst>
              <a:path w="120000" h="120000" extrusionOk="0">
                <a:moveTo>
                  <a:pt x="72000" y="0"/>
                </a:moveTo>
                <a:cubicBezTo>
                  <a:pt x="120000" y="5217"/>
                  <a:pt x="120000" y="20869"/>
                  <a:pt x="72000" y="31304"/>
                </a:cubicBezTo>
                <a:cubicBezTo>
                  <a:pt x="72000" y="31304"/>
                  <a:pt x="120000" y="57391"/>
                  <a:pt x="72000" y="57391"/>
                </a:cubicBezTo>
                <a:cubicBezTo>
                  <a:pt x="24000" y="62608"/>
                  <a:pt x="72000" y="62608"/>
                  <a:pt x="72000" y="78260"/>
                </a:cubicBezTo>
                <a:cubicBezTo>
                  <a:pt x="24000" y="88695"/>
                  <a:pt x="24000" y="120000"/>
                  <a:pt x="24000" y="104347"/>
                </a:cubicBezTo>
                <a:cubicBezTo>
                  <a:pt x="0" y="78260"/>
                  <a:pt x="24000" y="88695"/>
                  <a:pt x="24000" y="46956"/>
                </a:cubicBezTo>
                <a:cubicBezTo>
                  <a:pt x="24000" y="15652"/>
                  <a:pt x="72000" y="0"/>
                  <a:pt x="72000"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72" name="Shape 1835"/>
          <p:cNvSpPr/>
          <p:nvPr/>
        </p:nvSpPr>
        <p:spPr>
          <a:xfrm>
            <a:off x="7946182" y="4685123"/>
            <a:ext cx="10232" cy="15887"/>
          </a:xfrm>
          <a:custGeom>
            <a:avLst/>
            <a:gdLst/>
            <a:ahLst/>
            <a:cxnLst/>
            <a:rect l="0" t="0" r="0" b="0"/>
            <a:pathLst>
              <a:path w="120000" h="120000" extrusionOk="0">
                <a:moveTo>
                  <a:pt x="80000" y="0"/>
                </a:moveTo>
                <a:cubicBezTo>
                  <a:pt x="120000" y="0"/>
                  <a:pt x="80000" y="120000"/>
                  <a:pt x="0" y="120000"/>
                </a:cubicBezTo>
                <a:cubicBezTo>
                  <a:pt x="0" y="72000"/>
                  <a:pt x="0" y="0"/>
                  <a:pt x="80000"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73" name="Shape 1836"/>
          <p:cNvSpPr/>
          <p:nvPr/>
        </p:nvSpPr>
        <p:spPr>
          <a:xfrm>
            <a:off x="7980294" y="4796324"/>
            <a:ext cx="13646" cy="17474"/>
          </a:xfrm>
          <a:custGeom>
            <a:avLst/>
            <a:gdLst/>
            <a:ahLst/>
            <a:cxnLst/>
            <a:rect l="0" t="0" r="0" b="0"/>
            <a:pathLst>
              <a:path w="120000" h="120000" extrusionOk="0">
                <a:moveTo>
                  <a:pt x="30000" y="20000"/>
                </a:moveTo>
                <a:cubicBezTo>
                  <a:pt x="90000" y="0"/>
                  <a:pt x="120000" y="60000"/>
                  <a:pt x="90000" y="80000"/>
                </a:cubicBezTo>
                <a:cubicBezTo>
                  <a:pt x="30000" y="120000"/>
                  <a:pt x="0" y="20000"/>
                  <a:pt x="30000" y="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74" name="Shape 1837"/>
          <p:cNvSpPr/>
          <p:nvPr/>
        </p:nvSpPr>
        <p:spPr>
          <a:xfrm>
            <a:off x="7953002" y="4731191"/>
            <a:ext cx="10232" cy="12709"/>
          </a:xfrm>
          <a:custGeom>
            <a:avLst/>
            <a:gdLst/>
            <a:ahLst/>
            <a:cxnLst/>
            <a:rect l="0" t="0" r="0" b="0"/>
            <a:pathLst>
              <a:path w="120000" h="120000" extrusionOk="0">
                <a:moveTo>
                  <a:pt x="40000" y="0"/>
                </a:moveTo>
                <a:cubicBezTo>
                  <a:pt x="40000" y="0"/>
                  <a:pt x="120000" y="60000"/>
                  <a:pt x="40000" y="120000"/>
                </a:cubicBezTo>
                <a:cubicBezTo>
                  <a:pt x="40000" y="120000"/>
                  <a:pt x="0" y="60000"/>
                  <a:pt x="40000"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75" name="Shape 1838"/>
          <p:cNvSpPr/>
          <p:nvPr/>
        </p:nvSpPr>
        <p:spPr>
          <a:xfrm>
            <a:off x="7973473" y="4770905"/>
            <a:ext cx="6821" cy="6353"/>
          </a:xfrm>
          <a:custGeom>
            <a:avLst/>
            <a:gdLst/>
            <a:ahLst/>
            <a:cxnLst/>
            <a:rect l="0" t="0" r="0" b="0"/>
            <a:pathLst>
              <a:path w="120000" h="120000" extrusionOk="0">
                <a:moveTo>
                  <a:pt x="0" y="120000"/>
                </a:moveTo>
                <a:cubicBezTo>
                  <a:pt x="0" y="120000"/>
                  <a:pt x="0" y="0"/>
                  <a:pt x="120000" y="0"/>
                </a:cubicBezTo>
                <a:cubicBezTo>
                  <a:pt x="120000" y="120000"/>
                  <a:pt x="120000" y="120000"/>
                  <a:pt x="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76" name="Shape 1839"/>
          <p:cNvSpPr/>
          <p:nvPr/>
        </p:nvSpPr>
        <p:spPr>
          <a:xfrm>
            <a:off x="8205443" y="4295914"/>
            <a:ext cx="194446" cy="468638"/>
          </a:xfrm>
          <a:custGeom>
            <a:avLst/>
            <a:gdLst/>
            <a:ahLst/>
            <a:cxnLst/>
            <a:rect l="0" t="0" r="0" b="0"/>
            <a:pathLst>
              <a:path w="120000" h="120000" extrusionOk="0">
                <a:moveTo>
                  <a:pt x="87457" y="17368"/>
                </a:moveTo>
                <a:cubicBezTo>
                  <a:pt x="83389" y="18157"/>
                  <a:pt x="87457" y="19736"/>
                  <a:pt x="83389" y="19736"/>
                </a:cubicBezTo>
                <a:cubicBezTo>
                  <a:pt x="81355" y="21315"/>
                  <a:pt x="81355" y="19736"/>
                  <a:pt x="77288" y="21315"/>
                </a:cubicBezTo>
                <a:cubicBezTo>
                  <a:pt x="71186" y="22105"/>
                  <a:pt x="77288" y="24473"/>
                  <a:pt x="69152" y="26842"/>
                </a:cubicBezTo>
                <a:cubicBezTo>
                  <a:pt x="63050" y="29210"/>
                  <a:pt x="54915" y="34736"/>
                  <a:pt x="58983" y="39473"/>
                </a:cubicBezTo>
                <a:cubicBezTo>
                  <a:pt x="65084" y="42631"/>
                  <a:pt x="69152" y="41842"/>
                  <a:pt x="71186" y="44210"/>
                </a:cubicBezTo>
                <a:cubicBezTo>
                  <a:pt x="71186" y="46578"/>
                  <a:pt x="77288" y="50526"/>
                  <a:pt x="87457" y="53684"/>
                </a:cubicBezTo>
                <a:cubicBezTo>
                  <a:pt x="95593" y="57631"/>
                  <a:pt x="99661" y="56842"/>
                  <a:pt x="99661" y="60000"/>
                </a:cubicBezTo>
                <a:cubicBezTo>
                  <a:pt x="101694" y="62368"/>
                  <a:pt x="107796" y="62368"/>
                  <a:pt x="113898" y="70263"/>
                </a:cubicBezTo>
                <a:cubicBezTo>
                  <a:pt x="117966" y="77368"/>
                  <a:pt x="113898" y="81315"/>
                  <a:pt x="113898" y="82105"/>
                </a:cubicBezTo>
                <a:cubicBezTo>
                  <a:pt x="117966" y="83684"/>
                  <a:pt x="120000" y="86052"/>
                  <a:pt x="117966" y="86052"/>
                </a:cubicBezTo>
                <a:cubicBezTo>
                  <a:pt x="113898" y="86052"/>
                  <a:pt x="117966" y="89210"/>
                  <a:pt x="113898" y="93157"/>
                </a:cubicBezTo>
                <a:cubicBezTo>
                  <a:pt x="111864" y="97894"/>
                  <a:pt x="101694" y="97105"/>
                  <a:pt x="93559" y="100263"/>
                </a:cubicBezTo>
                <a:cubicBezTo>
                  <a:pt x="81355" y="105789"/>
                  <a:pt x="81355" y="102631"/>
                  <a:pt x="77288" y="101842"/>
                </a:cubicBezTo>
                <a:cubicBezTo>
                  <a:pt x="75254" y="100263"/>
                  <a:pt x="75254" y="108947"/>
                  <a:pt x="69152" y="110526"/>
                </a:cubicBezTo>
                <a:cubicBezTo>
                  <a:pt x="65084" y="110526"/>
                  <a:pt x="71186" y="110526"/>
                  <a:pt x="65084" y="111315"/>
                </a:cubicBezTo>
                <a:cubicBezTo>
                  <a:pt x="58983" y="112894"/>
                  <a:pt x="54915" y="113684"/>
                  <a:pt x="48813" y="116842"/>
                </a:cubicBezTo>
                <a:cubicBezTo>
                  <a:pt x="42711" y="120000"/>
                  <a:pt x="42711" y="117631"/>
                  <a:pt x="42711" y="112894"/>
                </a:cubicBezTo>
                <a:cubicBezTo>
                  <a:pt x="42711" y="106578"/>
                  <a:pt x="48813" y="108157"/>
                  <a:pt x="46779" y="105789"/>
                </a:cubicBezTo>
                <a:cubicBezTo>
                  <a:pt x="42711" y="102631"/>
                  <a:pt x="40677" y="106578"/>
                  <a:pt x="36610" y="102631"/>
                </a:cubicBezTo>
                <a:cubicBezTo>
                  <a:pt x="40677" y="101842"/>
                  <a:pt x="48813" y="102631"/>
                  <a:pt x="46779" y="100263"/>
                </a:cubicBezTo>
                <a:cubicBezTo>
                  <a:pt x="46779" y="100263"/>
                  <a:pt x="48813" y="97894"/>
                  <a:pt x="48813" y="99473"/>
                </a:cubicBezTo>
                <a:cubicBezTo>
                  <a:pt x="52881" y="100263"/>
                  <a:pt x="58983" y="97105"/>
                  <a:pt x="58983" y="99473"/>
                </a:cubicBezTo>
                <a:cubicBezTo>
                  <a:pt x="63050" y="100263"/>
                  <a:pt x="71186" y="100263"/>
                  <a:pt x="63050" y="97894"/>
                </a:cubicBezTo>
                <a:cubicBezTo>
                  <a:pt x="58983" y="97105"/>
                  <a:pt x="63050" y="95526"/>
                  <a:pt x="63050" y="94736"/>
                </a:cubicBezTo>
                <a:cubicBezTo>
                  <a:pt x="58983" y="93157"/>
                  <a:pt x="63050" y="92368"/>
                  <a:pt x="69152" y="93157"/>
                </a:cubicBezTo>
                <a:cubicBezTo>
                  <a:pt x="75254" y="94736"/>
                  <a:pt x="65084" y="90789"/>
                  <a:pt x="75254" y="90789"/>
                </a:cubicBezTo>
                <a:cubicBezTo>
                  <a:pt x="81355" y="90789"/>
                  <a:pt x="81355" y="88421"/>
                  <a:pt x="83389" y="88421"/>
                </a:cubicBezTo>
                <a:cubicBezTo>
                  <a:pt x="89491" y="89210"/>
                  <a:pt x="89491" y="86842"/>
                  <a:pt x="87457" y="84473"/>
                </a:cubicBezTo>
                <a:cubicBezTo>
                  <a:pt x="87457" y="82105"/>
                  <a:pt x="89491" y="81315"/>
                  <a:pt x="87457" y="78157"/>
                </a:cubicBezTo>
                <a:cubicBezTo>
                  <a:pt x="87457" y="75789"/>
                  <a:pt x="87457" y="75789"/>
                  <a:pt x="83389" y="75000"/>
                </a:cubicBezTo>
                <a:cubicBezTo>
                  <a:pt x="83389" y="75000"/>
                  <a:pt x="87457" y="71052"/>
                  <a:pt x="87457" y="70263"/>
                </a:cubicBezTo>
                <a:cubicBezTo>
                  <a:pt x="87457" y="67105"/>
                  <a:pt x="93559" y="66315"/>
                  <a:pt x="87457" y="63947"/>
                </a:cubicBezTo>
                <a:cubicBezTo>
                  <a:pt x="81355" y="61578"/>
                  <a:pt x="81355" y="61578"/>
                  <a:pt x="83389" y="60000"/>
                </a:cubicBezTo>
                <a:cubicBezTo>
                  <a:pt x="87457" y="60000"/>
                  <a:pt x="87457" y="59210"/>
                  <a:pt x="83389" y="59210"/>
                </a:cubicBezTo>
                <a:cubicBezTo>
                  <a:pt x="83389" y="60000"/>
                  <a:pt x="77288" y="55263"/>
                  <a:pt x="75254" y="56842"/>
                </a:cubicBezTo>
                <a:cubicBezTo>
                  <a:pt x="71186" y="56842"/>
                  <a:pt x="75254" y="50526"/>
                  <a:pt x="69152" y="48947"/>
                </a:cubicBezTo>
                <a:cubicBezTo>
                  <a:pt x="63050" y="48947"/>
                  <a:pt x="54915" y="46578"/>
                  <a:pt x="54915" y="44210"/>
                </a:cubicBezTo>
                <a:cubicBezTo>
                  <a:pt x="52881" y="40263"/>
                  <a:pt x="52881" y="42631"/>
                  <a:pt x="48813" y="40263"/>
                </a:cubicBezTo>
                <a:cubicBezTo>
                  <a:pt x="46779" y="39473"/>
                  <a:pt x="48813" y="39473"/>
                  <a:pt x="48813" y="37894"/>
                </a:cubicBezTo>
                <a:cubicBezTo>
                  <a:pt x="46779" y="37894"/>
                  <a:pt x="42711" y="37894"/>
                  <a:pt x="34576" y="35526"/>
                </a:cubicBezTo>
                <a:cubicBezTo>
                  <a:pt x="24406" y="31578"/>
                  <a:pt x="34576" y="33157"/>
                  <a:pt x="30508" y="31578"/>
                </a:cubicBezTo>
                <a:cubicBezTo>
                  <a:pt x="28474" y="28421"/>
                  <a:pt x="40677" y="31578"/>
                  <a:pt x="42711" y="30789"/>
                </a:cubicBezTo>
                <a:cubicBezTo>
                  <a:pt x="42711" y="28421"/>
                  <a:pt x="48813" y="28421"/>
                  <a:pt x="46779" y="26842"/>
                </a:cubicBezTo>
                <a:cubicBezTo>
                  <a:pt x="42711" y="26052"/>
                  <a:pt x="42711" y="26842"/>
                  <a:pt x="40677" y="26052"/>
                </a:cubicBezTo>
                <a:cubicBezTo>
                  <a:pt x="40677" y="24473"/>
                  <a:pt x="34576" y="26052"/>
                  <a:pt x="36610" y="24473"/>
                </a:cubicBezTo>
                <a:cubicBezTo>
                  <a:pt x="42711" y="23684"/>
                  <a:pt x="42711" y="22105"/>
                  <a:pt x="36610" y="21315"/>
                </a:cubicBezTo>
                <a:cubicBezTo>
                  <a:pt x="30508" y="19736"/>
                  <a:pt x="30508" y="19736"/>
                  <a:pt x="28474" y="21315"/>
                </a:cubicBezTo>
                <a:cubicBezTo>
                  <a:pt x="24406" y="24473"/>
                  <a:pt x="22372" y="21315"/>
                  <a:pt x="18305" y="21315"/>
                </a:cubicBezTo>
                <a:cubicBezTo>
                  <a:pt x="16271" y="22105"/>
                  <a:pt x="16271" y="19736"/>
                  <a:pt x="12203" y="18157"/>
                </a:cubicBezTo>
                <a:cubicBezTo>
                  <a:pt x="12203" y="17368"/>
                  <a:pt x="16271" y="17368"/>
                  <a:pt x="12203" y="17368"/>
                </a:cubicBezTo>
                <a:cubicBezTo>
                  <a:pt x="12203" y="15789"/>
                  <a:pt x="16271" y="15000"/>
                  <a:pt x="12203" y="15000"/>
                </a:cubicBezTo>
                <a:cubicBezTo>
                  <a:pt x="12203" y="15000"/>
                  <a:pt x="12203" y="12631"/>
                  <a:pt x="10169" y="15000"/>
                </a:cubicBezTo>
                <a:cubicBezTo>
                  <a:pt x="10169" y="15789"/>
                  <a:pt x="12203" y="13421"/>
                  <a:pt x="0" y="8684"/>
                </a:cubicBezTo>
                <a:cubicBezTo>
                  <a:pt x="6101" y="8684"/>
                  <a:pt x="4067" y="4736"/>
                  <a:pt x="10169" y="6315"/>
                </a:cubicBezTo>
                <a:cubicBezTo>
                  <a:pt x="16271" y="7105"/>
                  <a:pt x="12203" y="8684"/>
                  <a:pt x="16271" y="8684"/>
                </a:cubicBezTo>
                <a:cubicBezTo>
                  <a:pt x="18305" y="8684"/>
                  <a:pt x="18305" y="3947"/>
                  <a:pt x="22372" y="6315"/>
                </a:cubicBezTo>
                <a:cubicBezTo>
                  <a:pt x="24406" y="7105"/>
                  <a:pt x="24406" y="6315"/>
                  <a:pt x="24406" y="6315"/>
                </a:cubicBezTo>
                <a:cubicBezTo>
                  <a:pt x="28474" y="7105"/>
                  <a:pt x="30508" y="10263"/>
                  <a:pt x="30508" y="7105"/>
                </a:cubicBezTo>
                <a:cubicBezTo>
                  <a:pt x="30508" y="4736"/>
                  <a:pt x="34576" y="4736"/>
                  <a:pt x="34576" y="6315"/>
                </a:cubicBezTo>
                <a:cubicBezTo>
                  <a:pt x="36610" y="7105"/>
                  <a:pt x="46779" y="4736"/>
                  <a:pt x="42711" y="3947"/>
                </a:cubicBezTo>
                <a:cubicBezTo>
                  <a:pt x="42711" y="2368"/>
                  <a:pt x="46779" y="3947"/>
                  <a:pt x="48813" y="1578"/>
                </a:cubicBezTo>
                <a:cubicBezTo>
                  <a:pt x="52881" y="0"/>
                  <a:pt x="54915" y="4736"/>
                  <a:pt x="63050" y="4736"/>
                </a:cubicBezTo>
                <a:cubicBezTo>
                  <a:pt x="69152" y="3947"/>
                  <a:pt x="65084" y="6315"/>
                  <a:pt x="71186" y="4736"/>
                </a:cubicBezTo>
                <a:cubicBezTo>
                  <a:pt x="75254" y="4736"/>
                  <a:pt x="77288" y="4736"/>
                  <a:pt x="75254" y="7105"/>
                </a:cubicBezTo>
                <a:cubicBezTo>
                  <a:pt x="69152" y="10263"/>
                  <a:pt x="75254" y="8684"/>
                  <a:pt x="75254" y="11052"/>
                </a:cubicBezTo>
                <a:cubicBezTo>
                  <a:pt x="75254" y="12631"/>
                  <a:pt x="77288" y="11052"/>
                  <a:pt x="81355" y="13421"/>
                </a:cubicBezTo>
                <a:cubicBezTo>
                  <a:pt x="81355" y="15000"/>
                  <a:pt x="83389" y="13421"/>
                  <a:pt x="83389" y="15000"/>
                </a:cubicBezTo>
                <a:cubicBezTo>
                  <a:pt x="87457" y="15789"/>
                  <a:pt x="89491" y="15000"/>
                  <a:pt x="95593" y="15789"/>
                </a:cubicBezTo>
                <a:cubicBezTo>
                  <a:pt x="95593" y="15789"/>
                  <a:pt x="93559" y="15789"/>
                  <a:pt x="87457" y="17368"/>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77" name="Shape 1840"/>
          <p:cNvSpPr/>
          <p:nvPr/>
        </p:nvSpPr>
        <p:spPr>
          <a:xfrm>
            <a:off x="8155978" y="4330864"/>
            <a:ext cx="197857" cy="268472"/>
          </a:xfrm>
          <a:custGeom>
            <a:avLst/>
            <a:gdLst/>
            <a:ahLst/>
            <a:cxnLst/>
            <a:rect l="0" t="0" r="0" b="0"/>
            <a:pathLst>
              <a:path w="120000" h="120000" extrusionOk="0">
                <a:moveTo>
                  <a:pt x="0" y="27586"/>
                </a:moveTo>
                <a:cubicBezTo>
                  <a:pt x="0" y="31724"/>
                  <a:pt x="0" y="27586"/>
                  <a:pt x="4000" y="30344"/>
                </a:cubicBezTo>
                <a:cubicBezTo>
                  <a:pt x="10000" y="34482"/>
                  <a:pt x="0" y="40000"/>
                  <a:pt x="6000" y="40000"/>
                </a:cubicBezTo>
                <a:cubicBezTo>
                  <a:pt x="12000" y="40000"/>
                  <a:pt x="10000" y="38620"/>
                  <a:pt x="16000" y="38620"/>
                </a:cubicBezTo>
                <a:cubicBezTo>
                  <a:pt x="22000" y="40000"/>
                  <a:pt x="16000" y="42758"/>
                  <a:pt x="18000" y="44137"/>
                </a:cubicBezTo>
                <a:cubicBezTo>
                  <a:pt x="22000" y="49655"/>
                  <a:pt x="12000" y="55172"/>
                  <a:pt x="16000" y="57931"/>
                </a:cubicBezTo>
                <a:cubicBezTo>
                  <a:pt x="18000" y="59310"/>
                  <a:pt x="10000" y="66206"/>
                  <a:pt x="12000" y="68965"/>
                </a:cubicBezTo>
                <a:cubicBezTo>
                  <a:pt x="16000" y="68965"/>
                  <a:pt x="16000" y="68965"/>
                  <a:pt x="24000" y="62068"/>
                </a:cubicBezTo>
                <a:cubicBezTo>
                  <a:pt x="34000" y="55172"/>
                  <a:pt x="30000" y="62068"/>
                  <a:pt x="36000" y="62068"/>
                </a:cubicBezTo>
                <a:cubicBezTo>
                  <a:pt x="40000" y="62068"/>
                  <a:pt x="36000" y="63448"/>
                  <a:pt x="40000" y="62068"/>
                </a:cubicBezTo>
                <a:cubicBezTo>
                  <a:pt x="48000" y="59310"/>
                  <a:pt x="46000" y="53793"/>
                  <a:pt x="54000" y="55172"/>
                </a:cubicBezTo>
                <a:cubicBezTo>
                  <a:pt x="60000" y="57931"/>
                  <a:pt x="60000" y="55172"/>
                  <a:pt x="64000" y="59310"/>
                </a:cubicBezTo>
                <a:cubicBezTo>
                  <a:pt x="66000" y="68965"/>
                  <a:pt x="76000" y="66206"/>
                  <a:pt x="72000" y="77241"/>
                </a:cubicBezTo>
                <a:cubicBezTo>
                  <a:pt x="70000" y="88275"/>
                  <a:pt x="82000" y="88275"/>
                  <a:pt x="82000" y="89655"/>
                </a:cubicBezTo>
                <a:cubicBezTo>
                  <a:pt x="82000" y="92413"/>
                  <a:pt x="88000" y="92413"/>
                  <a:pt x="84000" y="104827"/>
                </a:cubicBezTo>
                <a:cubicBezTo>
                  <a:pt x="84000" y="107586"/>
                  <a:pt x="88000" y="108965"/>
                  <a:pt x="78000" y="111724"/>
                </a:cubicBezTo>
                <a:cubicBezTo>
                  <a:pt x="82000" y="118620"/>
                  <a:pt x="84000" y="111724"/>
                  <a:pt x="88000" y="115862"/>
                </a:cubicBezTo>
                <a:cubicBezTo>
                  <a:pt x="90000" y="120000"/>
                  <a:pt x="96000" y="118620"/>
                  <a:pt x="94000" y="114482"/>
                </a:cubicBezTo>
                <a:cubicBezTo>
                  <a:pt x="88000" y="108965"/>
                  <a:pt x="96000" y="111724"/>
                  <a:pt x="100000" y="108965"/>
                </a:cubicBezTo>
                <a:cubicBezTo>
                  <a:pt x="102000" y="107586"/>
                  <a:pt x="102000" y="114482"/>
                  <a:pt x="106000" y="111724"/>
                </a:cubicBezTo>
                <a:cubicBezTo>
                  <a:pt x="108000" y="111724"/>
                  <a:pt x="112000" y="107586"/>
                  <a:pt x="112000" y="108965"/>
                </a:cubicBezTo>
                <a:cubicBezTo>
                  <a:pt x="114000" y="108965"/>
                  <a:pt x="114000" y="107586"/>
                  <a:pt x="114000" y="107586"/>
                </a:cubicBezTo>
                <a:cubicBezTo>
                  <a:pt x="114000" y="103448"/>
                  <a:pt x="120000" y="100689"/>
                  <a:pt x="114000" y="96551"/>
                </a:cubicBezTo>
                <a:cubicBezTo>
                  <a:pt x="108000" y="92413"/>
                  <a:pt x="108000" y="92413"/>
                  <a:pt x="112000" y="89655"/>
                </a:cubicBezTo>
                <a:cubicBezTo>
                  <a:pt x="114000" y="89655"/>
                  <a:pt x="114000" y="88275"/>
                  <a:pt x="112000" y="88275"/>
                </a:cubicBezTo>
                <a:cubicBezTo>
                  <a:pt x="112000" y="89655"/>
                  <a:pt x="106000" y="81379"/>
                  <a:pt x="102000" y="84137"/>
                </a:cubicBezTo>
                <a:cubicBezTo>
                  <a:pt x="100000" y="84137"/>
                  <a:pt x="102000" y="73103"/>
                  <a:pt x="96000" y="70344"/>
                </a:cubicBezTo>
                <a:cubicBezTo>
                  <a:pt x="90000" y="70344"/>
                  <a:pt x="84000" y="66206"/>
                  <a:pt x="84000" y="62068"/>
                </a:cubicBezTo>
                <a:cubicBezTo>
                  <a:pt x="82000" y="55172"/>
                  <a:pt x="82000" y="59310"/>
                  <a:pt x="78000" y="55172"/>
                </a:cubicBezTo>
                <a:cubicBezTo>
                  <a:pt x="76000" y="53793"/>
                  <a:pt x="78000" y="53793"/>
                  <a:pt x="78000" y="51034"/>
                </a:cubicBezTo>
                <a:cubicBezTo>
                  <a:pt x="76000" y="51034"/>
                  <a:pt x="72000" y="51034"/>
                  <a:pt x="64000" y="46896"/>
                </a:cubicBezTo>
                <a:cubicBezTo>
                  <a:pt x="54000" y="40000"/>
                  <a:pt x="64000" y="42758"/>
                  <a:pt x="60000" y="40000"/>
                </a:cubicBezTo>
                <a:cubicBezTo>
                  <a:pt x="58000" y="34482"/>
                  <a:pt x="70000" y="40000"/>
                  <a:pt x="72000" y="38620"/>
                </a:cubicBezTo>
                <a:cubicBezTo>
                  <a:pt x="72000" y="34482"/>
                  <a:pt x="78000" y="34482"/>
                  <a:pt x="76000" y="31724"/>
                </a:cubicBezTo>
                <a:cubicBezTo>
                  <a:pt x="72000" y="30344"/>
                  <a:pt x="72000" y="31724"/>
                  <a:pt x="70000" y="30344"/>
                </a:cubicBezTo>
                <a:cubicBezTo>
                  <a:pt x="70000" y="27586"/>
                  <a:pt x="64000" y="30344"/>
                  <a:pt x="66000" y="27586"/>
                </a:cubicBezTo>
                <a:cubicBezTo>
                  <a:pt x="72000" y="24827"/>
                  <a:pt x="72000" y="23448"/>
                  <a:pt x="66000" y="20689"/>
                </a:cubicBezTo>
                <a:cubicBezTo>
                  <a:pt x="60000" y="19310"/>
                  <a:pt x="60000" y="19310"/>
                  <a:pt x="58000" y="20689"/>
                </a:cubicBezTo>
                <a:cubicBezTo>
                  <a:pt x="54000" y="27586"/>
                  <a:pt x="52000" y="20689"/>
                  <a:pt x="48000" y="20689"/>
                </a:cubicBezTo>
                <a:cubicBezTo>
                  <a:pt x="46000" y="23448"/>
                  <a:pt x="46000" y="19310"/>
                  <a:pt x="42000" y="16551"/>
                </a:cubicBezTo>
                <a:cubicBezTo>
                  <a:pt x="42000" y="15172"/>
                  <a:pt x="46000" y="15172"/>
                  <a:pt x="42000" y="15172"/>
                </a:cubicBezTo>
                <a:cubicBezTo>
                  <a:pt x="42000" y="12413"/>
                  <a:pt x="46000" y="9655"/>
                  <a:pt x="42000" y="9655"/>
                </a:cubicBezTo>
                <a:cubicBezTo>
                  <a:pt x="42000" y="9655"/>
                  <a:pt x="42000" y="5517"/>
                  <a:pt x="40000" y="9655"/>
                </a:cubicBezTo>
                <a:cubicBezTo>
                  <a:pt x="40000" y="12413"/>
                  <a:pt x="42000" y="8275"/>
                  <a:pt x="30000" y="0"/>
                </a:cubicBezTo>
                <a:cubicBezTo>
                  <a:pt x="28000" y="0"/>
                  <a:pt x="18000" y="0"/>
                  <a:pt x="24000" y="5517"/>
                </a:cubicBezTo>
                <a:cubicBezTo>
                  <a:pt x="28000" y="15172"/>
                  <a:pt x="24000" y="12413"/>
                  <a:pt x="24000" y="15172"/>
                </a:cubicBezTo>
                <a:cubicBezTo>
                  <a:pt x="28000" y="16551"/>
                  <a:pt x="24000" y="19310"/>
                  <a:pt x="24000" y="16551"/>
                </a:cubicBezTo>
                <a:cubicBezTo>
                  <a:pt x="22000" y="15172"/>
                  <a:pt x="18000" y="20689"/>
                  <a:pt x="16000" y="12413"/>
                </a:cubicBezTo>
                <a:cubicBezTo>
                  <a:pt x="12000" y="15172"/>
                  <a:pt x="6000" y="12413"/>
                  <a:pt x="6000" y="19310"/>
                </a:cubicBezTo>
                <a:cubicBezTo>
                  <a:pt x="4000" y="24827"/>
                  <a:pt x="0" y="19310"/>
                  <a:pt x="0" y="27586"/>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78" name="Shape 1841"/>
          <p:cNvSpPr/>
          <p:nvPr/>
        </p:nvSpPr>
        <p:spPr>
          <a:xfrm>
            <a:off x="8205444" y="4570742"/>
            <a:ext cx="144981" cy="130264"/>
          </a:xfrm>
          <a:custGeom>
            <a:avLst/>
            <a:gdLst/>
            <a:ahLst/>
            <a:cxnLst/>
            <a:rect l="0" t="0" r="0" b="0"/>
            <a:pathLst>
              <a:path w="120000" h="120000" extrusionOk="0">
                <a:moveTo>
                  <a:pt x="114545" y="0"/>
                </a:moveTo>
                <a:cubicBezTo>
                  <a:pt x="114545" y="2857"/>
                  <a:pt x="111818" y="17142"/>
                  <a:pt x="111818" y="17142"/>
                </a:cubicBezTo>
                <a:cubicBezTo>
                  <a:pt x="114545" y="20000"/>
                  <a:pt x="114545" y="20000"/>
                  <a:pt x="114545" y="31428"/>
                </a:cubicBezTo>
                <a:cubicBezTo>
                  <a:pt x="120000" y="40000"/>
                  <a:pt x="114545" y="42857"/>
                  <a:pt x="114545" y="51428"/>
                </a:cubicBezTo>
                <a:cubicBezTo>
                  <a:pt x="120000" y="60000"/>
                  <a:pt x="120000" y="71428"/>
                  <a:pt x="111818" y="65714"/>
                </a:cubicBezTo>
                <a:cubicBezTo>
                  <a:pt x="106363" y="65714"/>
                  <a:pt x="106363" y="74285"/>
                  <a:pt x="98181" y="74285"/>
                </a:cubicBezTo>
                <a:cubicBezTo>
                  <a:pt x="87272" y="74285"/>
                  <a:pt x="98181" y="88571"/>
                  <a:pt x="90000" y="82857"/>
                </a:cubicBezTo>
                <a:cubicBezTo>
                  <a:pt x="81818" y="80000"/>
                  <a:pt x="79090" y="82857"/>
                  <a:pt x="81818" y="88571"/>
                </a:cubicBezTo>
                <a:cubicBezTo>
                  <a:pt x="81818" y="91428"/>
                  <a:pt x="79090" y="97142"/>
                  <a:pt x="81818" y="100000"/>
                </a:cubicBezTo>
                <a:cubicBezTo>
                  <a:pt x="95454" y="111428"/>
                  <a:pt x="81818" y="111428"/>
                  <a:pt x="79090" y="105714"/>
                </a:cubicBezTo>
                <a:cubicBezTo>
                  <a:pt x="79090" y="97142"/>
                  <a:pt x="70909" y="111428"/>
                  <a:pt x="65454" y="105714"/>
                </a:cubicBezTo>
                <a:cubicBezTo>
                  <a:pt x="65454" y="100000"/>
                  <a:pt x="62727" y="111428"/>
                  <a:pt x="62727" y="111428"/>
                </a:cubicBezTo>
                <a:cubicBezTo>
                  <a:pt x="65454" y="120000"/>
                  <a:pt x="54545" y="114285"/>
                  <a:pt x="49090" y="120000"/>
                </a:cubicBezTo>
                <a:cubicBezTo>
                  <a:pt x="46363" y="114285"/>
                  <a:pt x="40909" y="120000"/>
                  <a:pt x="38181" y="114285"/>
                </a:cubicBezTo>
                <a:cubicBezTo>
                  <a:pt x="38181" y="111428"/>
                  <a:pt x="38181" y="120000"/>
                  <a:pt x="32727" y="114285"/>
                </a:cubicBezTo>
                <a:cubicBezTo>
                  <a:pt x="24545" y="111428"/>
                  <a:pt x="38181" y="111428"/>
                  <a:pt x="32727" y="100000"/>
                </a:cubicBezTo>
                <a:cubicBezTo>
                  <a:pt x="24545" y="91428"/>
                  <a:pt x="30000" y="105714"/>
                  <a:pt x="30000" y="105714"/>
                </a:cubicBezTo>
                <a:cubicBezTo>
                  <a:pt x="24545" y="105714"/>
                  <a:pt x="21818" y="114285"/>
                  <a:pt x="21818" y="100000"/>
                </a:cubicBezTo>
                <a:cubicBezTo>
                  <a:pt x="21818" y="91428"/>
                  <a:pt x="24545" y="97142"/>
                  <a:pt x="16363" y="82857"/>
                </a:cubicBezTo>
                <a:cubicBezTo>
                  <a:pt x="8181" y="71428"/>
                  <a:pt x="16363" y="65714"/>
                  <a:pt x="13636" y="60000"/>
                </a:cubicBezTo>
                <a:cubicBezTo>
                  <a:pt x="5454" y="57142"/>
                  <a:pt x="13636" y="51428"/>
                  <a:pt x="5454" y="40000"/>
                </a:cubicBezTo>
                <a:cubicBezTo>
                  <a:pt x="0" y="25714"/>
                  <a:pt x="8181" y="34285"/>
                  <a:pt x="8181" y="31428"/>
                </a:cubicBezTo>
                <a:cubicBezTo>
                  <a:pt x="8181" y="25714"/>
                  <a:pt x="13636" y="31428"/>
                  <a:pt x="16363" y="17142"/>
                </a:cubicBezTo>
                <a:cubicBezTo>
                  <a:pt x="21818" y="2857"/>
                  <a:pt x="40909" y="8571"/>
                  <a:pt x="54545" y="8571"/>
                </a:cubicBezTo>
                <a:cubicBezTo>
                  <a:pt x="65454" y="2857"/>
                  <a:pt x="62727" y="11428"/>
                  <a:pt x="65454" y="8571"/>
                </a:cubicBezTo>
                <a:cubicBezTo>
                  <a:pt x="70909" y="20000"/>
                  <a:pt x="73636" y="8571"/>
                  <a:pt x="79090" y="17142"/>
                </a:cubicBezTo>
                <a:cubicBezTo>
                  <a:pt x="81818" y="25714"/>
                  <a:pt x="90000" y="20000"/>
                  <a:pt x="87272" y="11428"/>
                </a:cubicBezTo>
                <a:cubicBezTo>
                  <a:pt x="79090" y="2857"/>
                  <a:pt x="90000" y="8571"/>
                  <a:pt x="95454" y="2857"/>
                </a:cubicBezTo>
                <a:cubicBezTo>
                  <a:pt x="98181" y="0"/>
                  <a:pt x="98181" y="11428"/>
                  <a:pt x="103636" y="8571"/>
                </a:cubicBezTo>
                <a:cubicBezTo>
                  <a:pt x="106363" y="8571"/>
                  <a:pt x="111818" y="0"/>
                  <a:pt x="111818" y="2857"/>
                </a:cubicBezTo>
                <a:cubicBezTo>
                  <a:pt x="114545" y="2857"/>
                  <a:pt x="114545" y="0"/>
                  <a:pt x="114545"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79" name="Shape 1842"/>
          <p:cNvSpPr/>
          <p:nvPr/>
        </p:nvSpPr>
        <p:spPr>
          <a:xfrm>
            <a:off x="6434952" y="4016321"/>
            <a:ext cx="549227" cy="524237"/>
          </a:xfrm>
          <a:custGeom>
            <a:avLst/>
            <a:gdLst/>
            <a:ahLst/>
            <a:cxnLst/>
            <a:rect l="0" t="0" r="0" b="0"/>
            <a:pathLst>
              <a:path w="120000" h="120000" extrusionOk="0">
                <a:moveTo>
                  <a:pt x="99759" y="96000"/>
                </a:moveTo>
                <a:cubicBezTo>
                  <a:pt x="96144" y="96705"/>
                  <a:pt x="93975" y="98117"/>
                  <a:pt x="90361" y="99529"/>
                </a:cubicBezTo>
                <a:cubicBezTo>
                  <a:pt x="88192" y="99529"/>
                  <a:pt x="83132" y="100235"/>
                  <a:pt x="80963" y="101647"/>
                </a:cubicBezTo>
                <a:cubicBezTo>
                  <a:pt x="79518" y="102352"/>
                  <a:pt x="77349" y="105882"/>
                  <a:pt x="77349" y="106588"/>
                </a:cubicBezTo>
                <a:cubicBezTo>
                  <a:pt x="74457" y="111529"/>
                  <a:pt x="70120" y="115764"/>
                  <a:pt x="66506" y="120000"/>
                </a:cubicBezTo>
                <a:cubicBezTo>
                  <a:pt x="66506" y="117882"/>
                  <a:pt x="66506" y="115764"/>
                  <a:pt x="66506" y="114352"/>
                </a:cubicBezTo>
                <a:cubicBezTo>
                  <a:pt x="66506" y="113647"/>
                  <a:pt x="66506" y="112235"/>
                  <a:pt x="66506" y="112235"/>
                </a:cubicBezTo>
                <a:cubicBezTo>
                  <a:pt x="66506" y="112235"/>
                  <a:pt x="55662" y="106588"/>
                  <a:pt x="54216" y="108000"/>
                </a:cubicBezTo>
                <a:cubicBezTo>
                  <a:pt x="54216" y="108000"/>
                  <a:pt x="54216" y="108000"/>
                  <a:pt x="53493" y="108000"/>
                </a:cubicBezTo>
                <a:cubicBezTo>
                  <a:pt x="53493" y="108000"/>
                  <a:pt x="53493" y="108000"/>
                  <a:pt x="53493" y="108000"/>
                </a:cubicBezTo>
                <a:cubicBezTo>
                  <a:pt x="53493" y="108000"/>
                  <a:pt x="53493" y="108000"/>
                  <a:pt x="53493" y="108000"/>
                </a:cubicBezTo>
                <a:cubicBezTo>
                  <a:pt x="52048" y="108000"/>
                  <a:pt x="52048" y="108000"/>
                  <a:pt x="52048" y="108000"/>
                </a:cubicBezTo>
                <a:cubicBezTo>
                  <a:pt x="52048" y="108000"/>
                  <a:pt x="51325" y="106588"/>
                  <a:pt x="49879" y="106588"/>
                </a:cubicBezTo>
                <a:cubicBezTo>
                  <a:pt x="49156" y="108000"/>
                  <a:pt x="49156" y="108000"/>
                  <a:pt x="49156" y="108000"/>
                </a:cubicBezTo>
                <a:cubicBezTo>
                  <a:pt x="49156" y="108000"/>
                  <a:pt x="49879" y="108000"/>
                  <a:pt x="49156" y="108000"/>
                </a:cubicBezTo>
                <a:cubicBezTo>
                  <a:pt x="49156" y="109411"/>
                  <a:pt x="49156" y="110117"/>
                  <a:pt x="49156" y="111529"/>
                </a:cubicBezTo>
                <a:cubicBezTo>
                  <a:pt x="49156" y="111529"/>
                  <a:pt x="49156" y="111529"/>
                  <a:pt x="49156" y="112235"/>
                </a:cubicBezTo>
                <a:cubicBezTo>
                  <a:pt x="49156" y="112235"/>
                  <a:pt x="47710" y="113647"/>
                  <a:pt x="46987" y="114352"/>
                </a:cubicBezTo>
                <a:cubicBezTo>
                  <a:pt x="44819" y="106588"/>
                  <a:pt x="44819" y="112235"/>
                  <a:pt x="43373" y="109411"/>
                </a:cubicBezTo>
                <a:cubicBezTo>
                  <a:pt x="43373" y="105882"/>
                  <a:pt x="39036" y="103764"/>
                  <a:pt x="39036" y="101647"/>
                </a:cubicBezTo>
                <a:cubicBezTo>
                  <a:pt x="39036" y="99529"/>
                  <a:pt x="38313" y="99529"/>
                  <a:pt x="38313" y="96705"/>
                </a:cubicBezTo>
                <a:cubicBezTo>
                  <a:pt x="38313" y="94588"/>
                  <a:pt x="36867" y="96000"/>
                  <a:pt x="36144" y="93882"/>
                </a:cubicBezTo>
                <a:cubicBezTo>
                  <a:pt x="34698" y="91764"/>
                  <a:pt x="33975" y="88235"/>
                  <a:pt x="31807" y="86823"/>
                </a:cubicBezTo>
                <a:cubicBezTo>
                  <a:pt x="28192" y="86823"/>
                  <a:pt x="28915" y="86117"/>
                  <a:pt x="26024" y="82588"/>
                </a:cubicBezTo>
                <a:cubicBezTo>
                  <a:pt x="23855" y="78352"/>
                  <a:pt x="26746" y="80470"/>
                  <a:pt x="24578" y="76941"/>
                </a:cubicBezTo>
                <a:cubicBezTo>
                  <a:pt x="23855" y="74117"/>
                  <a:pt x="26746" y="74823"/>
                  <a:pt x="24578" y="70588"/>
                </a:cubicBezTo>
                <a:cubicBezTo>
                  <a:pt x="23855" y="67058"/>
                  <a:pt x="21686" y="60000"/>
                  <a:pt x="19518" y="60000"/>
                </a:cubicBezTo>
                <a:cubicBezTo>
                  <a:pt x="15903" y="58588"/>
                  <a:pt x="13734" y="55058"/>
                  <a:pt x="15180" y="54352"/>
                </a:cubicBezTo>
                <a:cubicBezTo>
                  <a:pt x="15903" y="52235"/>
                  <a:pt x="15180" y="50117"/>
                  <a:pt x="13012" y="48705"/>
                </a:cubicBezTo>
                <a:cubicBezTo>
                  <a:pt x="11566" y="46588"/>
                  <a:pt x="13012" y="46588"/>
                  <a:pt x="10843" y="45176"/>
                </a:cubicBezTo>
                <a:cubicBezTo>
                  <a:pt x="8674" y="42352"/>
                  <a:pt x="5060" y="31058"/>
                  <a:pt x="2891" y="31058"/>
                </a:cubicBezTo>
                <a:cubicBezTo>
                  <a:pt x="0" y="30352"/>
                  <a:pt x="0" y="33176"/>
                  <a:pt x="722" y="28941"/>
                </a:cubicBezTo>
                <a:cubicBezTo>
                  <a:pt x="2168" y="25411"/>
                  <a:pt x="722" y="27529"/>
                  <a:pt x="2168" y="21176"/>
                </a:cubicBezTo>
                <a:cubicBezTo>
                  <a:pt x="2891" y="21176"/>
                  <a:pt x="7228" y="22588"/>
                  <a:pt x="8674" y="22588"/>
                </a:cubicBezTo>
                <a:cubicBezTo>
                  <a:pt x="10843" y="22588"/>
                  <a:pt x="10843" y="19058"/>
                  <a:pt x="13012" y="17647"/>
                </a:cubicBezTo>
                <a:cubicBezTo>
                  <a:pt x="13012" y="16941"/>
                  <a:pt x="15903" y="17647"/>
                  <a:pt x="17349" y="16941"/>
                </a:cubicBezTo>
                <a:cubicBezTo>
                  <a:pt x="17349" y="15529"/>
                  <a:pt x="17349" y="14823"/>
                  <a:pt x="17349" y="14823"/>
                </a:cubicBezTo>
                <a:cubicBezTo>
                  <a:pt x="18072" y="13411"/>
                  <a:pt x="19518" y="13411"/>
                  <a:pt x="19518" y="12705"/>
                </a:cubicBezTo>
                <a:cubicBezTo>
                  <a:pt x="13734" y="5647"/>
                  <a:pt x="13734" y="5647"/>
                  <a:pt x="13734" y="5647"/>
                </a:cubicBezTo>
                <a:cubicBezTo>
                  <a:pt x="13734" y="4941"/>
                  <a:pt x="15903" y="4941"/>
                  <a:pt x="17349" y="4941"/>
                </a:cubicBezTo>
                <a:cubicBezTo>
                  <a:pt x="18072" y="3529"/>
                  <a:pt x="24578" y="2823"/>
                  <a:pt x="26024" y="0"/>
                </a:cubicBezTo>
                <a:cubicBezTo>
                  <a:pt x="28192" y="1411"/>
                  <a:pt x="31807" y="1411"/>
                  <a:pt x="33975" y="2823"/>
                </a:cubicBezTo>
                <a:cubicBezTo>
                  <a:pt x="36144" y="2823"/>
                  <a:pt x="36867" y="4941"/>
                  <a:pt x="39036" y="7058"/>
                </a:cubicBezTo>
                <a:cubicBezTo>
                  <a:pt x="40481" y="7058"/>
                  <a:pt x="41204" y="7764"/>
                  <a:pt x="42650" y="7764"/>
                </a:cubicBezTo>
                <a:cubicBezTo>
                  <a:pt x="44819" y="10588"/>
                  <a:pt x="46987" y="11294"/>
                  <a:pt x="47710" y="13411"/>
                </a:cubicBezTo>
                <a:cubicBezTo>
                  <a:pt x="49879" y="14823"/>
                  <a:pt x="56385" y="22588"/>
                  <a:pt x="57831" y="22588"/>
                </a:cubicBezTo>
                <a:cubicBezTo>
                  <a:pt x="58554" y="23294"/>
                  <a:pt x="67951" y="23294"/>
                  <a:pt x="68674" y="23294"/>
                </a:cubicBezTo>
                <a:cubicBezTo>
                  <a:pt x="68674" y="23294"/>
                  <a:pt x="73012" y="23294"/>
                  <a:pt x="73012" y="24705"/>
                </a:cubicBezTo>
                <a:cubicBezTo>
                  <a:pt x="74457" y="24705"/>
                  <a:pt x="74457" y="26823"/>
                  <a:pt x="74457" y="26823"/>
                </a:cubicBezTo>
                <a:cubicBezTo>
                  <a:pt x="75180" y="27529"/>
                  <a:pt x="78795" y="27529"/>
                  <a:pt x="78795" y="27529"/>
                </a:cubicBezTo>
                <a:cubicBezTo>
                  <a:pt x="80963" y="31058"/>
                  <a:pt x="81686" y="32470"/>
                  <a:pt x="81686" y="33176"/>
                </a:cubicBezTo>
                <a:cubicBezTo>
                  <a:pt x="81686" y="34588"/>
                  <a:pt x="83855" y="33176"/>
                  <a:pt x="83855" y="35294"/>
                </a:cubicBezTo>
                <a:cubicBezTo>
                  <a:pt x="83855" y="37411"/>
                  <a:pt x="88192" y="40235"/>
                  <a:pt x="88192" y="40941"/>
                </a:cubicBezTo>
                <a:cubicBezTo>
                  <a:pt x="89638" y="42352"/>
                  <a:pt x="87469" y="40235"/>
                  <a:pt x="88192" y="42352"/>
                </a:cubicBezTo>
                <a:cubicBezTo>
                  <a:pt x="89638" y="44470"/>
                  <a:pt x="87469" y="45176"/>
                  <a:pt x="88192" y="47294"/>
                </a:cubicBezTo>
                <a:cubicBezTo>
                  <a:pt x="89638" y="48705"/>
                  <a:pt x="88192" y="48705"/>
                  <a:pt x="89638" y="50117"/>
                </a:cubicBezTo>
                <a:cubicBezTo>
                  <a:pt x="91807" y="50823"/>
                  <a:pt x="90361" y="52941"/>
                  <a:pt x="92530" y="55058"/>
                </a:cubicBezTo>
                <a:cubicBezTo>
                  <a:pt x="92530" y="56470"/>
                  <a:pt x="93975" y="56470"/>
                  <a:pt x="93975" y="56470"/>
                </a:cubicBezTo>
                <a:cubicBezTo>
                  <a:pt x="93975" y="58588"/>
                  <a:pt x="93975" y="58588"/>
                  <a:pt x="96144" y="60000"/>
                </a:cubicBezTo>
                <a:cubicBezTo>
                  <a:pt x="98313" y="62117"/>
                  <a:pt x="98313" y="62117"/>
                  <a:pt x="98313" y="64941"/>
                </a:cubicBezTo>
                <a:cubicBezTo>
                  <a:pt x="99759" y="67058"/>
                  <a:pt x="98313" y="67058"/>
                  <a:pt x="104819" y="68470"/>
                </a:cubicBezTo>
                <a:cubicBezTo>
                  <a:pt x="111325" y="69882"/>
                  <a:pt x="117108" y="72705"/>
                  <a:pt x="117831" y="69882"/>
                </a:cubicBezTo>
                <a:cubicBezTo>
                  <a:pt x="117831" y="70588"/>
                  <a:pt x="119999" y="74117"/>
                  <a:pt x="119999" y="74823"/>
                </a:cubicBezTo>
                <a:cubicBezTo>
                  <a:pt x="119999" y="76235"/>
                  <a:pt x="119277" y="78352"/>
                  <a:pt x="119277" y="79764"/>
                </a:cubicBezTo>
                <a:cubicBezTo>
                  <a:pt x="119277" y="80470"/>
                  <a:pt x="117108" y="88235"/>
                  <a:pt x="117108" y="89647"/>
                </a:cubicBezTo>
                <a:cubicBezTo>
                  <a:pt x="115662" y="90352"/>
                  <a:pt x="110602" y="91764"/>
                  <a:pt x="108433" y="92470"/>
                </a:cubicBezTo>
                <a:cubicBezTo>
                  <a:pt x="104819" y="93882"/>
                  <a:pt x="102650" y="94588"/>
                  <a:pt x="99759" y="96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80" name="Shape 1843"/>
          <p:cNvSpPr/>
          <p:nvPr/>
        </p:nvSpPr>
        <p:spPr>
          <a:xfrm>
            <a:off x="6540706" y="3846340"/>
            <a:ext cx="257557" cy="274828"/>
          </a:xfrm>
          <a:custGeom>
            <a:avLst/>
            <a:gdLst/>
            <a:ahLst/>
            <a:cxnLst/>
            <a:rect l="0" t="0" r="0" b="0"/>
            <a:pathLst>
              <a:path w="120000" h="120000" extrusionOk="0">
                <a:moveTo>
                  <a:pt x="73846" y="4044"/>
                </a:moveTo>
                <a:cubicBezTo>
                  <a:pt x="75384" y="10786"/>
                  <a:pt x="80000" y="14831"/>
                  <a:pt x="80000" y="18876"/>
                </a:cubicBezTo>
                <a:cubicBezTo>
                  <a:pt x="80000" y="22921"/>
                  <a:pt x="92307" y="21573"/>
                  <a:pt x="93846" y="22921"/>
                </a:cubicBezTo>
                <a:cubicBezTo>
                  <a:pt x="93846" y="25617"/>
                  <a:pt x="87692" y="22921"/>
                  <a:pt x="89230" y="29662"/>
                </a:cubicBezTo>
                <a:cubicBezTo>
                  <a:pt x="93846" y="35056"/>
                  <a:pt x="83076" y="37752"/>
                  <a:pt x="83076" y="45842"/>
                </a:cubicBezTo>
                <a:cubicBezTo>
                  <a:pt x="80000" y="53932"/>
                  <a:pt x="89230" y="52584"/>
                  <a:pt x="92307" y="60674"/>
                </a:cubicBezTo>
                <a:cubicBezTo>
                  <a:pt x="92307" y="67415"/>
                  <a:pt x="103076" y="68764"/>
                  <a:pt x="107692" y="75505"/>
                </a:cubicBezTo>
                <a:cubicBezTo>
                  <a:pt x="112307" y="83595"/>
                  <a:pt x="107692" y="87640"/>
                  <a:pt x="110769" y="91685"/>
                </a:cubicBezTo>
                <a:cubicBezTo>
                  <a:pt x="112307" y="95730"/>
                  <a:pt x="112307" y="101123"/>
                  <a:pt x="115384" y="101123"/>
                </a:cubicBezTo>
                <a:cubicBezTo>
                  <a:pt x="116923" y="102471"/>
                  <a:pt x="120000" y="102471"/>
                  <a:pt x="120000" y="106516"/>
                </a:cubicBezTo>
                <a:cubicBezTo>
                  <a:pt x="116923" y="109213"/>
                  <a:pt x="110769" y="102471"/>
                  <a:pt x="112307" y="106516"/>
                </a:cubicBezTo>
                <a:cubicBezTo>
                  <a:pt x="110769" y="106516"/>
                  <a:pt x="106153" y="105168"/>
                  <a:pt x="103076" y="106516"/>
                </a:cubicBezTo>
                <a:cubicBezTo>
                  <a:pt x="101538" y="109213"/>
                  <a:pt x="98461" y="117303"/>
                  <a:pt x="96923" y="120000"/>
                </a:cubicBezTo>
                <a:cubicBezTo>
                  <a:pt x="93846" y="120000"/>
                  <a:pt x="75384" y="120000"/>
                  <a:pt x="73846" y="117303"/>
                </a:cubicBezTo>
                <a:cubicBezTo>
                  <a:pt x="70769" y="117303"/>
                  <a:pt x="56923" y="102471"/>
                  <a:pt x="52307" y="101123"/>
                </a:cubicBezTo>
                <a:cubicBezTo>
                  <a:pt x="49230" y="95730"/>
                  <a:pt x="44615" y="94382"/>
                  <a:pt x="40000" y="90337"/>
                </a:cubicBezTo>
                <a:cubicBezTo>
                  <a:pt x="38461" y="90337"/>
                  <a:pt x="35384" y="87640"/>
                  <a:pt x="33846" y="87640"/>
                </a:cubicBezTo>
                <a:cubicBezTo>
                  <a:pt x="29230" y="83595"/>
                  <a:pt x="26153" y="79550"/>
                  <a:pt x="21538" y="79550"/>
                </a:cubicBezTo>
                <a:cubicBezTo>
                  <a:pt x="16923" y="76853"/>
                  <a:pt x="10769" y="76853"/>
                  <a:pt x="4615" y="75505"/>
                </a:cubicBezTo>
                <a:cubicBezTo>
                  <a:pt x="7692" y="75505"/>
                  <a:pt x="7692" y="75505"/>
                  <a:pt x="7692" y="75505"/>
                </a:cubicBezTo>
                <a:cubicBezTo>
                  <a:pt x="7692" y="71460"/>
                  <a:pt x="4615" y="72808"/>
                  <a:pt x="3076" y="72808"/>
                </a:cubicBezTo>
                <a:cubicBezTo>
                  <a:pt x="3076" y="71460"/>
                  <a:pt x="3076" y="71460"/>
                  <a:pt x="3076" y="71460"/>
                </a:cubicBezTo>
                <a:cubicBezTo>
                  <a:pt x="4615" y="71460"/>
                  <a:pt x="4615" y="71460"/>
                  <a:pt x="4615" y="71460"/>
                </a:cubicBezTo>
                <a:cubicBezTo>
                  <a:pt x="4615" y="71460"/>
                  <a:pt x="4615" y="71460"/>
                  <a:pt x="4615" y="68764"/>
                </a:cubicBezTo>
                <a:cubicBezTo>
                  <a:pt x="3076" y="67415"/>
                  <a:pt x="3076" y="63370"/>
                  <a:pt x="0" y="57977"/>
                </a:cubicBezTo>
                <a:cubicBezTo>
                  <a:pt x="4615" y="53932"/>
                  <a:pt x="12307" y="52584"/>
                  <a:pt x="16923" y="49887"/>
                </a:cubicBezTo>
                <a:cubicBezTo>
                  <a:pt x="20000" y="48539"/>
                  <a:pt x="24615" y="45842"/>
                  <a:pt x="29230" y="44494"/>
                </a:cubicBezTo>
                <a:cubicBezTo>
                  <a:pt x="29230" y="41797"/>
                  <a:pt x="30769" y="40449"/>
                  <a:pt x="30769" y="37752"/>
                </a:cubicBezTo>
                <a:cubicBezTo>
                  <a:pt x="30769" y="37752"/>
                  <a:pt x="30769" y="37752"/>
                  <a:pt x="30769" y="37752"/>
                </a:cubicBezTo>
                <a:cubicBezTo>
                  <a:pt x="30769" y="37752"/>
                  <a:pt x="30769" y="37752"/>
                  <a:pt x="30769" y="35056"/>
                </a:cubicBezTo>
                <a:cubicBezTo>
                  <a:pt x="30769" y="35056"/>
                  <a:pt x="30769" y="33707"/>
                  <a:pt x="30769" y="31011"/>
                </a:cubicBezTo>
                <a:cubicBezTo>
                  <a:pt x="30769" y="29662"/>
                  <a:pt x="33846" y="25617"/>
                  <a:pt x="33846" y="22921"/>
                </a:cubicBezTo>
                <a:cubicBezTo>
                  <a:pt x="30769" y="21573"/>
                  <a:pt x="30769" y="18876"/>
                  <a:pt x="30769" y="14831"/>
                </a:cubicBezTo>
                <a:cubicBezTo>
                  <a:pt x="33846" y="12134"/>
                  <a:pt x="35384" y="12134"/>
                  <a:pt x="38461" y="12134"/>
                </a:cubicBezTo>
                <a:cubicBezTo>
                  <a:pt x="40000" y="10786"/>
                  <a:pt x="43076" y="6741"/>
                  <a:pt x="44615" y="4044"/>
                </a:cubicBezTo>
                <a:cubicBezTo>
                  <a:pt x="47692" y="4044"/>
                  <a:pt x="47692" y="2696"/>
                  <a:pt x="49230" y="0"/>
                </a:cubicBezTo>
                <a:cubicBezTo>
                  <a:pt x="49230" y="0"/>
                  <a:pt x="49230" y="0"/>
                  <a:pt x="49230" y="0"/>
                </a:cubicBezTo>
                <a:cubicBezTo>
                  <a:pt x="49230" y="0"/>
                  <a:pt x="49230" y="0"/>
                  <a:pt x="49230" y="0"/>
                </a:cubicBezTo>
                <a:cubicBezTo>
                  <a:pt x="52307" y="0"/>
                  <a:pt x="52307" y="2696"/>
                  <a:pt x="52307" y="2696"/>
                </a:cubicBezTo>
                <a:cubicBezTo>
                  <a:pt x="52307" y="0"/>
                  <a:pt x="52307" y="0"/>
                  <a:pt x="52307" y="0"/>
                </a:cubicBezTo>
                <a:cubicBezTo>
                  <a:pt x="53846" y="0"/>
                  <a:pt x="53846" y="0"/>
                  <a:pt x="53846" y="0"/>
                </a:cubicBezTo>
                <a:cubicBezTo>
                  <a:pt x="56923" y="0"/>
                  <a:pt x="56923" y="2696"/>
                  <a:pt x="58461" y="2696"/>
                </a:cubicBezTo>
                <a:cubicBezTo>
                  <a:pt x="63076" y="4044"/>
                  <a:pt x="63076" y="0"/>
                  <a:pt x="66153" y="2696"/>
                </a:cubicBezTo>
                <a:cubicBezTo>
                  <a:pt x="67692" y="2696"/>
                  <a:pt x="66153" y="4044"/>
                  <a:pt x="67692" y="6741"/>
                </a:cubicBezTo>
                <a:cubicBezTo>
                  <a:pt x="70769" y="4044"/>
                  <a:pt x="70769" y="4044"/>
                  <a:pt x="70769" y="4044"/>
                </a:cubicBezTo>
                <a:cubicBezTo>
                  <a:pt x="73846" y="4044"/>
                  <a:pt x="73846" y="4044"/>
                  <a:pt x="73846" y="4044"/>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81" name="Shape 1844"/>
          <p:cNvSpPr/>
          <p:nvPr/>
        </p:nvSpPr>
        <p:spPr>
          <a:xfrm>
            <a:off x="6748796" y="4087809"/>
            <a:ext cx="46054" cy="52423"/>
          </a:xfrm>
          <a:custGeom>
            <a:avLst/>
            <a:gdLst/>
            <a:ahLst/>
            <a:cxnLst/>
            <a:rect l="0" t="0" r="0" b="0"/>
            <a:pathLst>
              <a:path w="120000" h="120000" extrusionOk="0">
                <a:moveTo>
                  <a:pt x="119999" y="120000"/>
                </a:moveTo>
                <a:cubicBezTo>
                  <a:pt x="119999" y="120000"/>
                  <a:pt x="77142" y="120000"/>
                  <a:pt x="68571" y="105882"/>
                </a:cubicBezTo>
                <a:cubicBezTo>
                  <a:pt x="68571" y="105882"/>
                  <a:pt x="68571" y="84705"/>
                  <a:pt x="51428" y="84705"/>
                </a:cubicBezTo>
                <a:cubicBezTo>
                  <a:pt x="51428" y="70588"/>
                  <a:pt x="0" y="70588"/>
                  <a:pt x="0" y="70588"/>
                </a:cubicBezTo>
                <a:cubicBezTo>
                  <a:pt x="8571" y="63529"/>
                  <a:pt x="25714" y="21176"/>
                  <a:pt x="42857" y="7058"/>
                </a:cubicBezTo>
                <a:cubicBezTo>
                  <a:pt x="51428" y="0"/>
                  <a:pt x="77142" y="7058"/>
                  <a:pt x="94285" y="7058"/>
                </a:cubicBezTo>
                <a:cubicBezTo>
                  <a:pt x="119999" y="63529"/>
                  <a:pt x="94285" y="21176"/>
                  <a:pt x="77142" y="42352"/>
                </a:cubicBezTo>
                <a:cubicBezTo>
                  <a:pt x="68571" y="63529"/>
                  <a:pt x="102857" y="42352"/>
                  <a:pt x="102857" y="63529"/>
                </a:cubicBezTo>
                <a:cubicBezTo>
                  <a:pt x="102857" y="91764"/>
                  <a:pt x="119999" y="70588"/>
                  <a:pt x="119999"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82" name="Shape 1845"/>
          <p:cNvSpPr/>
          <p:nvPr/>
        </p:nvSpPr>
        <p:spPr>
          <a:xfrm>
            <a:off x="6885251" y="4243492"/>
            <a:ext cx="211503" cy="265295"/>
          </a:xfrm>
          <a:custGeom>
            <a:avLst/>
            <a:gdLst/>
            <a:ahLst/>
            <a:cxnLst/>
            <a:rect l="0" t="0" r="0" b="0"/>
            <a:pathLst>
              <a:path w="120000" h="120000" extrusionOk="0">
                <a:moveTo>
                  <a:pt x="1875" y="86511"/>
                </a:moveTo>
                <a:cubicBezTo>
                  <a:pt x="1875" y="89302"/>
                  <a:pt x="0" y="90697"/>
                  <a:pt x="0" y="93488"/>
                </a:cubicBezTo>
                <a:cubicBezTo>
                  <a:pt x="1875" y="97674"/>
                  <a:pt x="9375" y="104651"/>
                  <a:pt x="11250" y="108837"/>
                </a:cubicBezTo>
                <a:cubicBezTo>
                  <a:pt x="15000" y="110232"/>
                  <a:pt x="11250" y="110232"/>
                  <a:pt x="15000" y="114418"/>
                </a:cubicBezTo>
                <a:cubicBezTo>
                  <a:pt x="15000" y="117209"/>
                  <a:pt x="16875" y="120000"/>
                  <a:pt x="20625" y="120000"/>
                </a:cubicBezTo>
                <a:cubicBezTo>
                  <a:pt x="20625" y="120000"/>
                  <a:pt x="22500" y="120000"/>
                  <a:pt x="26250" y="120000"/>
                </a:cubicBezTo>
                <a:cubicBezTo>
                  <a:pt x="28125" y="120000"/>
                  <a:pt x="31875" y="114418"/>
                  <a:pt x="43125" y="114418"/>
                </a:cubicBezTo>
                <a:cubicBezTo>
                  <a:pt x="54375" y="117209"/>
                  <a:pt x="48750" y="101860"/>
                  <a:pt x="60000" y="101860"/>
                </a:cubicBezTo>
                <a:cubicBezTo>
                  <a:pt x="76875" y="101860"/>
                  <a:pt x="65625" y="90697"/>
                  <a:pt x="82500" y="89302"/>
                </a:cubicBezTo>
                <a:cubicBezTo>
                  <a:pt x="97500" y="86511"/>
                  <a:pt x="82500" y="85116"/>
                  <a:pt x="88125" y="71162"/>
                </a:cubicBezTo>
                <a:cubicBezTo>
                  <a:pt x="97500" y="55813"/>
                  <a:pt x="93750" y="75348"/>
                  <a:pt x="101250" y="62790"/>
                </a:cubicBezTo>
                <a:cubicBezTo>
                  <a:pt x="106875" y="54418"/>
                  <a:pt x="112500" y="58604"/>
                  <a:pt x="118125" y="47441"/>
                </a:cubicBezTo>
                <a:cubicBezTo>
                  <a:pt x="120000" y="39069"/>
                  <a:pt x="120000" y="39069"/>
                  <a:pt x="114375" y="36279"/>
                </a:cubicBezTo>
                <a:cubicBezTo>
                  <a:pt x="112500" y="34883"/>
                  <a:pt x="106875" y="20930"/>
                  <a:pt x="101250" y="20930"/>
                </a:cubicBezTo>
                <a:cubicBezTo>
                  <a:pt x="93750" y="23720"/>
                  <a:pt x="97500" y="19534"/>
                  <a:pt x="86250" y="19534"/>
                </a:cubicBezTo>
                <a:cubicBezTo>
                  <a:pt x="76875" y="19534"/>
                  <a:pt x="69375" y="8372"/>
                  <a:pt x="69375" y="1395"/>
                </a:cubicBezTo>
                <a:cubicBezTo>
                  <a:pt x="63750" y="4186"/>
                  <a:pt x="65625" y="8372"/>
                  <a:pt x="63750" y="4186"/>
                </a:cubicBezTo>
                <a:cubicBezTo>
                  <a:pt x="60000" y="0"/>
                  <a:pt x="60000" y="4186"/>
                  <a:pt x="60000" y="8372"/>
                </a:cubicBezTo>
                <a:cubicBezTo>
                  <a:pt x="60000" y="12558"/>
                  <a:pt x="58125" y="12558"/>
                  <a:pt x="60000" y="12558"/>
                </a:cubicBezTo>
                <a:cubicBezTo>
                  <a:pt x="63750" y="12558"/>
                  <a:pt x="65625" y="15348"/>
                  <a:pt x="60000" y="15348"/>
                </a:cubicBezTo>
                <a:cubicBezTo>
                  <a:pt x="58125" y="16744"/>
                  <a:pt x="54375" y="16744"/>
                  <a:pt x="54375" y="16744"/>
                </a:cubicBezTo>
                <a:cubicBezTo>
                  <a:pt x="58125" y="19534"/>
                  <a:pt x="58125" y="16744"/>
                  <a:pt x="54375" y="23720"/>
                </a:cubicBezTo>
                <a:cubicBezTo>
                  <a:pt x="48750" y="29302"/>
                  <a:pt x="52500" y="32093"/>
                  <a:pt x="52500" y="34883"/>
                </a:cubicBezTo>
                <a:cubicBezTo>
                  <a:pt x="52500" y="36279"/>
                  <a:pt x="58125" y="43255"/>
                  <a:pt x="58125" y="44651"/>
                </a:cubicBezTo>
                <a:cubicBezTo>
                  <a:pt x="58125" y="47441"/>
                  <a:pt x="54375" y="51627"/>
                  <a:pt x="54375" y="54418"/>
                </a:cubicBezTo>
                <a:cubicBezTo>
                  <a:pt x="54375" y="55813"/>
                  <a:pt x="48750" y="71162"/>
                  <a:pt x="48750" y="73953"/>
                </a:cubicBezTo>
                <a:cubicBezTo>
                  <a:pt x="45000" y="75348"/>
                  <a:pt x="31875" y="78139"/>
                  <a:pt x="26250" y="79534"/>
                </a:cubicBezTo>
                <a:cubicBezTo>
                  <a:pt x="16875" y="82325"/>
                  <a:pt x="11250" y="85116"/>
                  <a:pt x="1875" y="86511"/>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83" name="Shape 1846"/>
          <p:cNvSpPr/>
          <p:nvPr/>
        </p:nvSpPr>
        <p:spPr>
          <a:xfrm>
            <a:off x="6636219" y="4435711"/>
            <a:ext cx="284848" cy="200162"/>
          </a:xfrm>
          <a:custGeom>
            <a:avLst/>
            <a:gdLst/>
            <a:ahLst/>
            <a:cxnLst/>
            <a:rect l="0" t="0" r="0" b="0"/>
            <a:pathLst>
              <a:path w="120000" h="120000" extrusionOk="0">
                <a:moveTo>
                  <a:pt x="107441" y="0"/>
                </a:moveTo>
                <a:cubicBezTo>
                  <a:pt x="107441" y="3692"/>
                  <a:pt x="104651" y="5538"/>
                  <a:pt x="104651" y="9230"/>
                </a:cubicBezTo>
                <a:cubicBezTo>
                  <a:pt x="107441" y="14769"/>
                  <a:pt x="111627" y="22153"/>
                  <a:pt x="113023" y="29538"/>
                </a:cubicBezTo>
                <a:cubicBezTo>
                  <a:pt x="115813" y="31384"/>
                  <a:pt x="113023" y="31384"/>
                  <a:pt x="115813" y="36923"/>
                </a:cubicBezTo>
                <a:cubicBezTo>
                  <a:pt x="115813" y="40615"/>
                  <a:pt x="117209" y="42461"/>
                  <a:pt x="120000" y="42461"/>
                </a:cubicBezTo>
                <a:cubicBezTo>
                  <a:pt x="103255" y="55384"/>
                  <a:pt x="115813" y="62769"/>
                  <a:pt x="107441" y="66461"/>
                </a:cubicBezTo>
                <a:cubicBezTo>
                  <a:pt x="103255" y="66461"/>
                  <a:pt x="107441" y="68307"/>
                  <a:pt x="96279" y="72000"/>
                </a:cubicBezTo>
                <a:cubicBezTo>
                  <a:pt x="87906" y="73846"/>
                  <a:pt x="87906" y="79384"/>
                  <a:pt x="85116" y="77538"/>
                </a:cubicBezTo>
                <a:cubicBezTo>
                  <a:pt x="75348" y="77538"/>
                  <a:pt x="72558" y="97846"/>
                  <a:pt x="64186" y="92307"/>
                </a:cubicBezTo>
                <a:cubicBezTo>
                  <a:pt x="58604" y="88615"/>
                  <a:pt x="55813" y="105230"/>
                  <a:pt x="43255" y="103384"/>
                </a:cubicBezTo>
                <a:cubicBezTo>
                  <a:pt x="34883" y="103384"/>
                  <a:pt x="36279" y="112615"/>
                  <a:pt x="32093" y="112615"/>
                </a:cubicBezTo>
                <a:cubicBezTo>
                  <a:pt x="27906" y="112615"/>
                  <a:pt x="32093" y="118153"/>
                  <a:pt x="26511" y="114461"/>
                </a:cubicBezTo>
                <a:cubicBezTo>
                  <a:pt x="22325" y="114461"/>
                  <a:pt x="23720" y="118153"/>
                  <a:pt x="22325" y="118153"/>
                </a:cubicBezTo>
                <a:cubicBezTo>
                  <a:pt x="19534" y="118153"/>
                  <a:pt x="19534" y="120000"/>
                  <a:pt x="18139" y="118153"/>
                </a:cubicBezTo>
                <a:cubicBezTo>
                  <a:pt x="13953" y="114461"/>
                  <a:pt x="13953" y="120000"/>
                  <a:pt x="11162" y="114461"/>
                </a:cubicBezTo>
                <a:cubicBezTo>
                  <a:pt x="11162" y="105230"/>
                  <a:pt x="9767" y="108923"/>
                  <a:pt x="9767" y="103384"/>
                </a:cubicBezTo>
                <a:cubicBezTo>
                  <a:pt x="11162" y="97846"/>
                  <a:pt x="6976" y="94153"/>
                  <a:pt x="6976" y="86769"/>
                </a:cubicBezTo>
                <a:cubicBezTo>
                  <a:pt x="6976" y="79384"/>
                  <a:pt x="5581" y="79384"/>
                  <a:pt x="5581" y="73846"/>
                </a:cubicBezTo>
                <a:cubicBezTo>
                  <a:pt x="5581" y="72000"/>
                  <a:pt x="0" y="72000"/>
                  <a:pt x="2790" y="68307"/>
                </a:cubicBezTo>
                <a:cubicBezTo>
                  <a:pt x="6976" y="66461"/>
                  <a:pt x="2790" y="66461"/>
                  <a:pt x="2790" y="60923"/>
                </a:cubicBezTo>
                <a:cubicBezTo>
                  <a:pt x="5581" y="57230"/>
                  <a:pt x="5581" y="55384"/>
                  <a:pt x="5581" y="48000"/>
                </a:cubicBezTo>
                <a:cubicBezTo>
                  <a:pt x="6976" y="46153"/>
                  <a:pt x="9767" y="42461"/>
                  <a:pt x="9767" y="42461"/>
                </a:cubicBezTo>
                <a:cubicBezTo>
                  <a:pt x="9767" y="40615"/>
                  <a:pt x="9767" y="40615"/>
                  <a:pt x="9767" y="40615"/>
                </a:cubicBezTo>
                <a:cubicBezTo>
                  <a:pt x="9767" y="36923"/>
                  <a:pt x="9767" y="35076"/>
                  <a:pt x="9767" y="31384"/>
                </a:cubicBezTo>
                <a:cubicBezTo>
                  <a:pt x="11162" y="31384"/>
                  <a:pt x="9767" y="31384"/>
                  <a:pt x="9767" y="31384"/>
                </a:cubicBezTo>
                <a:cubicBezTo>
                  <a:pt x="11162" y="29538"/>
                  <a:pt x="11162" y="29538"/>
                  <a:pt x="11162" y="29538"/>
                </a:cubicBezTo>
                <a:cubicBezTo>
                  <a:pt x="13953" y="29538"/>
                  <a:pt x="15348" y="31384"/>
                  <a:pt x="15348" y="31384"/>
                </a:cubicBezTo>
                <a:cubicBezTo>
                  <a:pt x="18139" y="31384"/>
                  <a:pt x="18139" y="31384"/>
                  <a:pt x="18139" y="31384"/>
                </a:cubicBezTo>
                <a:cubicBezTo>
                  <a:pt x="18139" y="31384"/>
                  <a:pt x="18139" y="31384"/>
                  <a:pt x="18139" y="31384"/>
                </a:cubicBezTo>
                <a:cubicBezTo>
                  <a:pt x="18139" y="31384"/>
                  <a:pt x="18139" y="31384"/>
                  <a:pt x="18139" y="31384"/>
                </a:cubicBezTo>
                <a:cubicBezTo>
                  <a:pt x="19534" y="31384"/>
                  <a:pt x="19534" y="31384"/>
                  <a:pt x="19534" y="31384"/>
                </a:cubicBezTo>
                <a:cubicBezTo>
                  <a:pt x="22325" y="29538"/>
                  <a:pt x="43255" y="42461"/>
                  <a:pt x="43255" y="42461"/>
                </a:cubicBezTo>
                <a:cubicBezTo>
                  <a:pt x="43255" y="42461"/>
                  <a:pt x="43255" y="46153"/>
                  <a:pt x="43255" y="48000"/>
                </a:cubicBezTo>
                <a:cubicBezTo>
                  <a:pt x="43255" y="51692"/>
                  <a:pt x="43255" y="57230"/>
                  <a:pt x="43255" y="62769"/>
                </a:cubicBezTo>
                <a:cubicBezTo>
                  <a:pt x="50232" y="51692"/>
                  <a:pt x="58604" y="40615"/>
                  <a:pt x="64186" y="29538"/>
                </a:cubicBezTo>
                <a:cubicBezTo>
                  <a:pt x="64186" y="25846"/>
                  <a:pt x="68372" y="16615"/>
                  <a:pt x="71162" y="14769"/>
                </a:cubicBezTo>
                <a:cubicBezTo>
                  <a:pt x="75348" y="11076"/>
                  <a:pt x="85116" y="9230"/>
                  <a:pt x="90697" y="9230"/>
                </a:cubicBezTo>
                <a:cubicBezTo>
                  <a:pt x="96279" y="5538"/>
                  <a:pt x="100465" y="3692"/>
                  <a:pt x="107441"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84" name="Shape 1847"/>
          <p:cNvSpPr/>
          <p:nvPr/>
        </p:nvSpPr>
        <p:spPr>
          <a:xfrm>
            <a:off x="5759504" y="3987729"/>
            <a:ext cx="429831" cy="432098"/>
          </a:xfrm>
          <a:custGeom>
            <a:avLst/>
            <a:gdLst/>
            <a:ahLst/>
            <a:cxnLst/>
            <a:rect l="0" t="0" r="0" b="0"/>
            <a:pathLst>
              <a:path w="120000" h="120000" extrusionOk="0">
                <a:moveTo>
                  <a:pt x="109846" y="120000"/>
                </a:moveTo>
                <a:cubicBezTo>
                  <a:pt x="109846" y="115714"/>
                  <a:pt x="109846" y="115714"/>
                  <a:pt x="109846" y="115714"/>
                </a:cubicBezTo>
                <a:cubicBezTo>
                  <a:pt x="119076" y="115714"/>
                  <a:pt x="119076" y="115714"/>
                  <a:pt x="119076" y="115714"/>
                </a:cubicBezTo>
                <a:cubicBezTo>
                  <a:pt x="119076" y="98571"/>
                  <a:pt x="119076" y="98571"/>
                  <a:pt x="119076" y="98571"/>
                </a:cubicBezTo>
                <a:cubicBezTo>
                  <a:pt x="119076" y="33428"/>
                  <a:pt x="119076" y="33428"/>
                  <a:pt x="119076" y="33428"/>
                </a:cubicBezTo>
                <a:cubicBezTo>
                  <a:pt x="119076" y="30857"/>
                  <a:pt x="114461" y="30000"/>
                  <a:pt x="117230" y="24000"/>
                </a:cubicBezTo>
                <a:cubicBezTo>
                  <a:pt x="120000" y="20571"/>
                  <a:pt x="115384" y="18000"/>
                  <a:pt x="119076" y="15428"/>
                </a:cubicBezTo>
                <a:cubicBezTo>
                  <a:pt x="119076" y="13714"/>
                  <a:pt x="119076" y="13714"/>
                  <a:pt x="119076" y="13714"/>
                </a:cubicBezTo>
                <a:cubicBezTo>
                  <a:pt x="119076" y="12000"/>
                  <a:pt x="119076" y="9428"/>
                  <a:pt x="114461" y="9428"/>
                </a:cubicBezTo>
                <a:cubicBezTo>
                  <a:pt x="109846" y="9428"/>
                  <a:pt x="111692" y="9428"/>
                  <a:pt x="107076" y="8571"/>
                </a:cubicBezTo>
                <a:cubicBezTo>
                  <a:pt x="103384" y="8571"/>
                  <a:pt x="107076" y="6000"/>
                  <a:pt x="100615" y="3428"/>
                </a:cubicBezTo>
                <a:cubicBezTo>
                  <a:pt x="95076" y="0"/>
                  <a:pt x="93230" y="1714"/>
                  <a:pt x="92307" y="3428"/>
                </a:cubicBezTo>
                <a:cubicBezTo>
                  <a:pt x="90461" y="4285"/>
                  <a:pt x="88615" y="1714"/>
                  <a:pt x="82153" y="8571"/>
                </a:cubicBezTo>
                <a:cubicBezTo>
                  <a:pt x="79384" y="12000"/>
                  <a:pt x="84923" y="18000"/>
                  <a:pt x="80307" y="21428"/>
                </a:cubicBezTo>
                <a:cubicBezTo>
                  <a:pt x="76615" y="27428"/>
                  <a:pt x="73846" y="27428"/>
                  <a:pt x="71076" y="23142"/>
                </a:cubicBezTo>
                <a:cubicBezTo>
                  <a:pt x="68307" y="20571"/>
                  <a:pt x="61846" y="18000"/>
                  <a:pt x="56307" y="18000"/>
                </a:cubicBezTo>
                <a:cubicBezTo>
                  <a:pt x="52615" y="16285"/>
                  <a:pt x="49846" y="16285"/>
                  <a:pt x="48000" y="11142"/>
                </a:cubicBezTo>
                <a:cubicBezTo>
                  <a:pt x="47076" y="4285"/>
                  <a:pt x="42461" y="6857"/>
                  <a:pt x="39692" y="4285"/>
                </a:cubicBezTo>
                <a:cubicBezTo>
                  <a:pt x="37846" y="3428"/>
                  <a:pt x="32307" y="1714"/>
                  <a:pt x="28615" y="3428"/>
                </a:cubicBezTo>
                <a:cubicBezTo>
                  <a:pt x="25846" y="3428"/>
                  <a:pt x="21230" y="0"/>
                  <a:pt x="20307" y="0"/>
                </a:cubicBezTo>
                <a:cubicBezTo>
                  <a:pt x="17538" y="4285"/>
                  <a:pt x="21230" y="6000"/>
                  <a:pt x="18461" y="6857"/>
                </a:cubicBezTo>
                <a:cubicBezTo>
                  <a:pt x="15692" y="8571"/>
                  <a:pt x="13846" y="9428"/>
                  <a:pt x="10153" y="12000"/>
                </a:cubicBezTo>
                <a:cubicBezTo>
                  <a:pt x="5538" y="16285"/>
                  <a:pt x="13846" y="20571"/>
                  <a:pt x="4615" y="25714"/>
                </a:cubicBezTo>
                <a:cubicBezTo>
                  <a:pt x="8307" y="37714"/>
                  <a:pt x="5538" y="40285"/>
                  <a:pt x="7384" y="45428"/>
                </a:cubicBezTo>
                <a:cubicBezTo>
                  <a:pt x="8307" y="49714"/>
                  <a:pt x="5538" y="50571"/>
                  <a:pt x="7384" y="54857"/>
                </a:cubicBezTo>
                <a:cubicBezTo>
                  <a:pt x="8307" y="61714"/>
                  <a:pt x="0" y="59142"/>
                  <a:pt x="5538" y="65142"/>
                </a:cubicBezTo>
                <a:cubicBezTo>
                  <a:pt x="10153" y="72000"/>
                  <a:pt x="7384" y="71142"/>
                  <a:pt x="8307" y="74571"/>
                </a:cubicBezTo>
                <a:cubicBezTo>
                  <a:pt x="11076" y="78857"/>
                  <a:pt x="11076" y="74571"/>
                  <a:pt x="17538" y="77142"/>
                </a:cubicBezTo>
                <a:cubicBezTo>
                  <a:pt x="21230" y="80571"/>
                  <a:pt x="20307" y="80571"/>
                  <a:pt x="23076" y="85714"/>
                </a:cubicBezTo>
                <a:cubicBezTo>
                  <a:pt x="25846" y="88285"/>
                  <a:pt x="34153" y="86571"/>
                  <a:pt x="36923" y="90857"/>
                </a:cubicBezTo>
                <a:cubicBezTo>
                  <a:pt x="39692" y="95142"/>
                  <a:pt x="37846" y="93428"/>
                  <a:pt x="44307" y="89142"/>
                </a:cubicBezTo>
                <a:cubicBezTo>
                  <a:pt x="47076" y="88285"/>
                  <a:pt x="50769" y="85714"/>
                  <a:pt x="52615" y="85714"/>
                </a:cubicBezTo>
                <a:cubicBezTo>
                  <a:pt x="72000" y="96000"/>
                  <a:pt x="109846" y="120000"/>
                  <a:pt x="109846"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85" name="Shape 1848"/>
          <p:cNvSpPr/>
          <p:nvPr/>
        </p:nvSpPr>
        <p:spPr>
          <a:xfrm>
            <a:off x="6371842" y="3905119"/>
            <a:ext cx="63112" cy="36537"/>
          </a:xfrm>
          <a:custGeom>
            <a:avLst/>
            <a:gdLst/>
            <a:ahLst/>
            <a:cxnLst/>
            <a:rect l="0" t="0" r="0" b="0"/>
            <a:pathLst>
              <a:path w="120000" h="120000" extrusionOk="0">
                <a:moveTo>
                  <a:pt x="12631" y="90000"/>
                </a:moveTo>
                <a:cubicBezTo>
                  <a:pt x="0" y="60000"/>
                  <a:pt x="0" y="60000"/>
                  <a:pt x="0" y="60000"/>
                </a:cubicBezTo>
                <a:cubicBezTo>
                  <a:pt x="12631" y="70000"/>
                  <a:pt x="12631" y="40000"/>
                  <a:pt x="31578" y="60000"/>
                </a:cubicBezTo>
                <a:cubicBezTo>
                  <a:pt x="37894" y="60000"/>
                  <a:pt x="18947" y="30000"/>
                  <a:pt x="50526" y="30000"/>
                </a:cubicBezTo>
                <a:cubicBezTo>
                  <a:pt x="75789" y="40000"/>
                  <a:pt x="94736" y="10000"/>
                  <a:pt x="107368" y="0"/>
                </a:cubicBezTo>
                <a:cubicBezTo>
                  <a:pt x="120000" y="0"/>
                  <a:pt x="120000" y="0"/>
                  <a:pt x="107368" y="10000"/>
                </a:cubicBezTo>
                <a:cubicBezTo>
                  <a:pt x="88421" y="40000"/>
                  <a:pt x="75789" y="40000"/>
                  <a:pt x="88421" y="60000"/>
                </a:cubicBezTo>
                <a:cubicBezTo>
                  <a:pt x="94736" y="70000"/>
                  <a:pt x="75789" y="60000"/>
                  <a:pt x="69473" y="70000"/>
                </a:cubicBezTo>
                <a:cubicBezTo>
                  <a:pt x="56842" y="100000"/>
                  <a:pt x="37894" y="100000"/>
                  <a:pt x="37894" y="100000"/>
                </a:cubicBezTo>
                <a:cubicBezTo>
                  <a:pt x="37894" y="120000"/>
                  <a:pt x="37894" y="100000"/>
                  <a:pt x="31578" y="100000"/>
                </a:cubicBezTo>
                <a:cubicBezTo>
                  <a:pt x="18947" y="100000"/>
                  <a:pt x="12631" y="100000"/>
                  <a:pt x="12631" y="9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86" name="Shape 1849"/>
          <p:cNvSpPr/>
          <p:nvPr/>
        </p:nvSpPr>
        <p:spPr>
          <a:xfrm>
            <a:off x="5899373" y="3889236"/>
            <a:ext cx="8529" cy="9530"/>
          </a:xfrm>
          <a:custGeom>
            <a:avLst/>
            <a:gdLst/>
            <a:ahLst/>
            <a:cxnLst/>
            <a:rect l="0" t="0" r="0" b="0"/>
            <a:pathLst>
              <a:path w="120000" h="120000" extrusionOk="0">
                <a:moveTo>
                  <a:pt x="40000" y="80000"/>
                </a:moveTo>
                <a:cubicBezTo>
                  <a:pt x="40000" y="0"/>
                  <a:pt x="120000" y="120000"/>
                  <a:pt x="120000" y="120000"/>
                </a:cubicBezTo>
                <a:cubicBezTo>
                  <a:pt x="40000" y="120000"/>
                  <a:pt x="0" y="80000"/>
                  <a:pt x="40000" y="8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87" name="Shape 1850"/>
          <p:cNvSpPr/>
          <p:nvPr/>
        </p:nvSpPr>
        <p:spPr>
          <a:xfrm>
            <a:off x="5300677" y="3849519"/>
            <a:ext cx="542405" cy="592546"/>
          </a:xfrm>
          <a:custGeom>
            <a:avLst/>
            <a:gdLst/>
            <a:ahLst/>
            <a:cxnLst/>
            <a:rect l="0" t="0" r="0" b="0"/>
            <a:pathLst>
              <a:path w="120000" h="120000" extrusionOk="0">
                <a:moveTo>
                  <a:pt x="0" y="63750"/>
                </a:moveTo>
                <a:cubicBezTo>
                  <a:pt x="0" y="66250"/>
                  <a:pt x="0" y="66250"/>
                  <a:pt x="0" y="66250"/>
                </a:cubicBezTo>
                <a:cubicBezTo>
                  <a:pt x="23414" y="80625"/>
                  <a:pt x="23414" y="80625"/>
                  <a:pt x="23414" y="80625"/>
                </a:cubicBezTo>
                <a:cubicBezTo>
                  <a:pt x="23414" y="80625"/>
                  <a:pt x="55609" y="104375"/>
                  <a:pt x="56341" y="105000"/>
                </a:cubicBezTo>
                <a:cubicBezTo>
                  <a:pt x="58536" y="106875"/>
                  <a:pt x="56341" y="106875"/>
                  <a:pt x="58536" y="108125"/>
                </a:cubicBezTo>
                <a:cubicBezTo>
                  <a:pt x="60731" y="109375"/>
                  <a:pt x="60000" y="111875"/>
                  <a:pt x="62195" y="111250"/>
                </a:cubicBezTo>
                <a:cubicBezTo>
                  <a:pt x="65121" y="111250"/>
                  <a:pt x="62926" y="113125"/>
                  <a:pt x="66585" y="113125"/>
                </a:cubicBezTo>
                <a:cubicBezTo>
                  <a:pt x="69512" y="113125"/>
                  <a:pt x="69512" y="115625"/>
                  <a:pt x="68780" y="117500"/>
                </a:cubicBezTo>
                <a:cubicBezTo>
                  <a:pt x="67317" y="118750"/>
                  <a:pt x="68780" y="120000"/>
                  <a:pt x="74634" y="117500"/>
                </a:cubicBezTo>
                <a:cubicBezTo>
                  <a:pt x="90000" y="117500"/>
                  <a:pt x="87804" y="111250"/>
                  <a:pt x="94390" y="106875"/>
                </a:cubicBezTo>
                <a:cubicBezTo>
                  <a:pt x="100975" y="102500"/>
                  <a:pt x="116341" y="92500"/>
                  <a:pt x="120000" y="90625"/>
                </a:cubicBezTo>
                <a:cubicBezTo>
                  <a:pt x="117804" y="86875"/>
                  <a:pt x="118536" y="86875"/>
                  <a:pt x="115609" y="85000"/>
                </a:cubicBezTo>
                <a:cubicBezTo>
                  <a:pt x="111219" y="83125"/>
                  <a:pt x="111219" y="85625"/>
                  <a:pt x="108292" y="83125"/>
                </a:cubicBezTo>
                <a:cubicBezTo>
                  <a:pt x="107560" y="80000"/>
                  <a:pt x="109756" y="80625"/>
                  <a:pt x="106097" y="76250"/>
                </a:cubicBezTo>
                <a:cubicBezTo>
                  <a:pt x="101707" y="71250"/>
                  <a:pt x="108292" y="73125"/>
                  <a:pt x="107560" y="68125"/>
                </a:cubicBezTo>
                <a:cubicBezTo>
                  <a:pt x="106097" y="65625"/>
                  <a:pt x="108292" y="64375"/>
                  <a:pt x="107560" y="61250"/>
                </a:cubicBezTo>
                <a:cubicBezTo>
                  <a:pt x="106097" y="57500"/>
                  <a:pt x="108292" y="55625"/>
                  <a:pt x="105365" y="46875"/>
                </a:cubicBezTo>
                <a:cubicBezTo>
                  <a:pt x="103170" y="29375"/>
                  <a:pt x="99512" y="36250"/>
                  <a:pt x="97317" y="30625"/>
                </a:cubicBezTo>
                <a:cubicBezTo>
                  <a:pt x="97317" y="28750"/>
                  <a:pt x="92926" y="24375"/>
                  <a:pt x="92926" y="22500"/>
                </a:cubicBezTo>
                <a:cubicBezTo>
                  <a:pt x="94390" y="20625"/>
                  <a:pt x="97317" y="18750"/>
                  <a:pt x="97317" y="17500"/>
                </a:cubicBezTo>
                <a:cubicBezTo>
                  <a:pt x="97317" y="13750"/>
                  <a:pt x="99512" y="15625"/>
                  <a:pt x="98780" y="11250"/>
                </a:cubicBezTo>
                <a:cubicBezTo>
                  <a:pt x="97317" y="8125"/>
                  <a:pt x="98780" y="6250"/>
                  <a:pt x="97317" y="6250"/>
                </a:cubicBezTo>
                <a:cubicBezTo>
                  <a:pt x="96585" y="5000"/>
                  <a:pt x="99512" y="4375"/>
                  <a:pt x="99512" y="2500"/>
                </a:cubicBezTo>
                <a:cubicBezTo>
                  <a:pt x="98780" y="2500"/>
                  <a:pt x="97317" y="2500"/>
                  <a:pt x="96585" y="3125"/>
                </a:cubicBezTo>
                <a:cubicBezTo>
                  <a:pt x="95121" y="4375"/>
                  <a:pt x="95121" y="2500"/>
                  <a:pt x="92926" y="1250"/>
                </a:cubicBezTo>
                <a:cubicBezTo>
                  <a:pt x="90731" y="0"/>
                  <a:pt x="92195" y="3125"/>
                  <a:pt x="90000" y="2500"/>
                </a:cubicBezTo>
                <a:cubicBezTo>
                  <a:pt x="86341" y="1250"/>
                  <a:pt x="87804" y="2500"/>
                  <a:pt x="84146" y="3125"/>
                </a:cubicBezTo>
                <a:cubicBezTo>
                  <a:pt x="81219" y="3125"/>
                  <a:pt x="81951" y="5000"/>
                  <a:pt x="79756" y="4375"/>
                </a:cubicBezTo>
                <a:cubicBezTo>
                  <a:pt x="79024" y="2500"/>
                  <a:pt x="74634" y="2500"/>
                  <a:pt x="71707" y="3125"/>
                </a:cubicBezTo>
                <a:cubicBezTo>
                  <a:pt x="68780" y="4375"/>
                  <a:pt x="67317" y="2500"/>
                  <a:pt x="66585" y="4375"/>
                </a:cubicBezTo>
                <a:cubicBezTo>
                  <a:pt x="65121" y="5000"/>
                  <a:pt x="64390" y="5000"/>
                  <a:pt x="60731" y="5000"/>
                </a:cubicBezTo>
                <a:cubicBezTo>
                  <a:pt x="56341" y="5000"/>
                  <a:pt x="51219" y="6875"/>
                  <a:pt x="51219" y="8750"/>
                </a:cubicBezTo>
                <a:cubicBezTo>
                  <a:pt x="49756" y="11875"/>
                  <a:pt x="49024" y="8750"/>
                  <a:pt x="47560" y="10000"/>
                </a:cubicBezTo>
                <a:cubicBezTo>
                  <a:pt x="45365" y="11875"/>
                  <a:pt x="45365" y="8750"/>
                  <a:pt x="43170" y="11875"/>
                </a:cubicBezTo>
                <a:cubicBezTo>
                  <a:pt x="42439" y="13125"/>
                  <a:pt x="39512" y="15625"/>
                  <a:pt x="37317" y="15000"/>
                </a:cubicBezTo>
                <a:cubicBezTo>
                  <a:pt x="42439" y="16875"/>
                  <a:pt x="38780" y="29375"/>
                  <a:pt x="43170" y="31250"/>
                </a:cubicBezTo>
                <a:cubicBezTo>
                  <a:pt x="45365" y="32500"/>
                  <a:pt x="43170" y="32500"/>
                  <a:pt x="43170" y="34375"/>
                </a:cubicBezTo>
                <a:cubicBezTo>
                  <a:pt x="43170" y="36250"/>
                  <a:pt x="35121" y="33125"/>
                  <a:pt x="32926" y="36250"/>
                </a:cubicBezTo>
                <a:cubicBezTo>
                  <a:pt x="30731" y="38125"/>
                  <a:pt x="26341" y="36250"/>
                  <a:pt x="27804" y="39375"/>
                </a:cubicBezTo>
                <a:cubicBezTo>
                  <a:pt x="30000" y="41875"/>
                  <a:pt x="30731" y="41875"/>
                  <a:pt x="26341" y="43750"/>
                </a:cubicBezTo>
                <a:cubicBezTo>
                  <a:pt x="21951" y="45000"/>
                  <a:pt x="21951" y="45000"/>
                  <a:pt x="19756" y="48125"/>
                </a:cubicBezTo>
                <a:cubicBezTo>
                  <a:pt x="19756" y="48750"/>
                  <a:pt x="6585" y="51875"/>
                  <a:pt x="5121" y="53750"/>
                </a:cubicBezTo>
                <a:cubicBezTo>
                  <a:pt x="0" y="56875"/>
                  <a:pt x="0" y="56875"/>
                  <a:pt x="0" y="56875"/>
                </a:cubicBezTo>
                <a:cubicBezTo>
                  <a:pt x="0" y="63750"/>
                  <a:pt x="0" y="63750"/>
                  <a:pt x="0" y="63750"/>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88" name="Shape 1851"/>
          <p:cNvSpPr/>
          <p:nvPr/>
        </p:nvSpPr>
        <p:spPr>
          <a:xfrm>
            <a:off x="5720273" y="3846342"/>
            <a:ext cx="115987" cy="235111"/>
          </a:xfrm>
          <a:custGeom>
            <a:avLst/>
            <a:gdLst/>
            <a:ahLst/>
            <a:cxnLst/>
            <a:rect l="0" t="0" r="0" b="0"/>
            <a:pathLst>
              <a:path w="120000" h="120000" extrusionOk="0">
                <a:moveTo>
                  <a:pt x="30857" y="7894"/>
                </a:moveTo>
                <a:cubicBezTo>
                  <a:pt x="30857" y="12631"/>
                  <a:pt x="17142" y="14210"/>
                  <a:pt x="20571" y="17368"/>
                </a:cubicBezTo>
                <a:cubicBezTo>
                  <a:pt x="27428" y="17368"/>
                  <a:pt x="20571" y="22105"/>
                  <a:pt x="27428" y="30000"/>
                </a:cubicBezTo>
                <a:cubicBezTo>
                  <a:pt x="30857" y="41052"/>
                  <a:pt x="20571" y="36315"/>
                  <a:pt x="20571" y="47368"/>
                </a:cubicBezTo>
                <a:cubicBezTo>
                  <a:pt x="20571" y="48947"/>
                  <a:pt x="6857" y="53684"/>
                  <a:pt x="0" y="58421"/>
                </a:cubicBezTo>
                <a:cubicBezTo>
                  <a:pt x="0" y="63157"/>
                  <a:pt x="20571" y="74210"/>
                  <a:pt x="20571" y="78947"/>
                </a:cubicBezTo>
                <a:cubicBezTo>
                  <a:pt x="30857" y="93157"/>
                  <a:pt x="48000" y="75789"/>
                  <a:pt x="58285" y="120000"/>
                </a:cubicBezTo>
                <a:cubicBezTo>
                  <a:pt x="96000" y="110526"/>
                  <a:pt x="61714" y="102631"/>
                  <a:pt x="78857" y="96315"/>
                </a:cubicBezTo>
                <a:cubicBezTo>
                  <a:pt x="96000" y="90000"/>
                  <a:pt x="99428" y="88421"/>
                  <a:pt x="109714" y="85263"/>
                </a:cubicBezTo>
                <a:cubicBezTo>
                  <a:pt x="120000" y="83684"/>
                  <a:pt x="106285" y="80526"/>
                  <a:pt x="116571" y="74210"/>
                </a:cubicBezTo>
                <a:cubicBezTo>
                  <a:pt x="106285" y="71052"/>
                  <a:pt x="106285" y="71052"/>
                  <a:pt x="99428" y="66315"/>
                </a:cubicBezTo>
                <a:cubicBezTo>
                  <a:pt x="99428" y="61578"/>
                  <a:pt x="96000" y="66315"/>
                  <a:pt x="96000" y="63157"/>
                </a:cubicBezTo>
                <a:cubicBezTo>
                  <a:pt x="89142" y="63157"/>
                  <a:pt x="72000" y="63157"/>
                  <a:pt x="72000" y="56842"/>
                </a:cubicBezTo>
                <a:cubicBezTo>
                  <a:pt x="68571" y="52105"/>
                  <a:pt x="109714" y="41052"/>
                  <a:pt x="99428" y="36315"/>
                </a:cubicBezTo>
                <a:cubicBezTo>
                  <a:pt x="96000" y="31578"/>
                  <a:pt x="106285" y="31578"/>
                  <a:pt x="89142" y="26842"/>
                </a:cubicBezTo>
                <a:cubicBezTo>
                  <a:pt x="78857" y="25263"/>
                  <a:pt x="78857" y="18947"/>
                  <a:pt x="85714" y="17368"/>
                </a:cubicBezTo>
                <a:cubicBezTo>
                  <a:pt x="96000" y="14210"/>
                  <a:pt x="106285" y="9473"/>
                  <a:pt x="99428" y="7894"/>
                </a:cubicBezTo>
                <a:cubicBezTo>
                  <a:pt x="96000" y="3157"/>
                  <a:pt x="85714" y="12631"/>
                  <a:pt x="78857" y="12631"/>
                </a:cubicBezTo>
                <a:cubicBezTo>
                  <a:pt x="72000" y="9473"/>
                  <a:pt x="85714" y="4736"/>
                  <a:pt x="68571" y="3157"/>
                </a:cubicBezTo>
                <a:cubicBezTo>
                  <a:pt x="48000" y="0"/>
                  <a:pt x="41142" y="7894"/>
                  <a:pt x="37714" y="7894"/>
                </a:cubicBezTo>
                <a:cubicBezTo>
                  <a:pt x="37714" y="7894"/>
                  <a:pt x="37714" y="7894"/>
                  <a:pt x="30857" y="7894"/>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89" name="Shape 1852"/>
          <p:cNvSpPr/>
          <p:nvPr/>
        </p:nvSpPr>
        <p:spPr>
          <a:xfrm>
            <a:off x="6170570" y="4032209"/>
            <a:ext cx="300198" cy="328840"/>
          </a:xfrm>
          <a:custGeom>
            <a:avLst/>
            <a:gdLst/>
            <a:ahLst/>
            <a:cxnLst/>
            <a:rect l="0" t="0" r="0" b="0"/>
            <a:pathLst>
              <a:path w="120000" h="120000" extrusionOk="0">
                <a:moveTo>
                  <a:pt x="108131" y="26915"/>
                </a:moveTo>
                <a:cubicBezTo>
                  <a:pt x="101538" y="42616"/>
                  <a:pt x="104175" y="42616"/>
                  <a:pt x="101538" y="45981"/>
                </a:cubicBezTo>
                <a:cubicBezTo>
                  <a:pt x="100219" y="49345"/>
                  <a:pt x="97582" y="45981"/>
                  <a:pt x="92307" y="40373"/>
                </a:cubicBezTo>
                <a:cubicBezTo>
                  <a:pt x="88351" y="37009"/>
                  <a:pt x="92307" y="33644"/>
                  <a:pt x="88351" y="30280"/>
                </a:cubicBezTo>
                <a:cubicBezTo>
                  <a:pt x="81758" y="24672"/>
                  <a:pt x="85714" y="22429"/>
                  <a:pt x="84395" y="21308"/>
                </a:cubicBezTo>
                <a:cubicBezTo>
                  <a:pt x="77802" y="28037"/>
                  <a:pt x="84395" y="24672"/>
                  <a:pt x="84395" y="30280"/>
                </a:cubicBezTo>
                <a:cubicBezTo>
                  <a:pt x="84395" y="37009"/>
                  <a:pt x="93626" y="43738"/>
                  <a:pt x="93626" y="49345"/>
                </a:cubicBezTo>
                <a:cubicBezTo>
                  <a:pt x="93626" y="52710"/>
                  <a:pt x="97582" y="54953"/>
                  <a:pt x="97582" y="58317"/>
                </a:cubicBezTo>
                <a:cubicBezTo>
                  <a:pt x="96263" y="62803"/>
                  <a:pt x="104175" y="70654"/>
                  <a:pt x="109450" y="82990"/>
                </a:cubicBezTo>
                <a:cubicBezTo>
                  <a:pt x="113406" y="91962"/>
                  <a:pt x="120000" y="91962"/>
                  <a:pt x="116043" y="91962"/>
                </a:cubicBezTo>
                <a:cubicBezTo>
                  <a:pt x="112087" y="91962"/>
                  <a:pt x="113406" y="98691"/>
                  <a:pt x="116043" y="102056"/>
                </a:cubicBezTo>
                <a:cubicBezTo>
                  <a:pt x="112087" y="107663"/>
                  <a:pt x="109450" y="102056"/>
                  <a:pt x="108131" y="107663"/>
                </a:cubicBezTo>
                <a:cubicBezTo>
                  <a:pt x="105494" y="112149"/>
                  <a:pt x="101538" y="111028"/>
                  <a:pt x="100219" y="114392"/>
                </a:cubicBezTo>
                <a:cubicBezTo>
                  <a:pt x="97582" y="117757"/>
                  <a:pt x="93626" y="120000"/>
                  <a:pt x="89670" y="114392"/>
                </a:cubicBezTo>
                <a:cubicBezTo>
                  <a:pt x="71208" y="114392"/>
                  <a:pt x="71208" y="114392"/>
                  <a:pt x="71208" y="114392"/>
                </a:cubicBezTo>
                <a:cubicBezTo>
                  <a:pt x="71208" y="112149"/>
                  <a:pt x="71208" y="112149"/>
                  <a:pt x="71208" y="112149"/>
                </a:cubicBezTo>
                <a:cubicBezTo>
                  <a:pt x="69890" y="114392"/>
                  <a:pt x="69890" y="114392"/>
                  <a:pt x="69890" y="114392"/>
                </a:cubicBezTo>
                <a:cubicBezTo>
                  <a:pt x="5274" y="114392"/>
                  <a:pt x="5274" y="114392"/>
                  <a:pt x="5274" y="114392"/>
                </a:cubicBezTo>
                <a:cubicBezTo>
                  <a:pt x="5274" y="28037"/>
                  <a:pt x="5274" y="28037"/>
                  <a:pt x="5274" y="28037"/>
                </a:cubicBezTo>
                <a:cubicBezTo>
                  <a:pt x="5274" y="24672"/>
                  <a:pt x="0" y="22429"/>
                  <a:pt x="3956" y="15700"/>
                </a:cubicBezTo>
                <a:cubicBezTo>
                  <a:pt x="7912" y="10093"/>
                  <a:pt x="1318" y="6728"/>
                  <a:pt x="5274" y="3364"/>
                </a:cubicBezTo>
                <a:cubicBezTo>
                  <a:pt x="7912" y="3364"/>
                  <a:pt x="9230" y="0"/>
                  <a:pt x="21098" y="3364"/>
                </a:cubicBezTo>
                <a:cubicBezTo>
                  <a:pt x="35604" y="5607"/>
                  <a:pt x="29010" y="6728"/>
                  <a:pt x="31648" y="6728"/>
                </a:cubicBezTo>
                <a:cubicBezTo>
                  <a:pt x="35604" y="5607"/>
                  <a:pt x="35604" y="8971"/>
                  <a:pt x="39560" y="8971"/>
                </a:cubicBezTo>
                <a:cubicBezTo>
                  <a:pt x="42197" y="6728"/>
                  <a:pt x="47472" y="14579"/>
                  <a:pt x="51428" y="10093"/>
                </a:cubicBezTo>
                <a:cubicBezTo>
                  <a:pt x="59340" y="3364"/>
                  <a:pt x="58021" y="6728"/>
                  <a:pt x="59340" y="5607"/>
                </a:cubicBezTo>
                <a:cubicBezTo>
                  <a:pt x="61978" y="2242"/>
                  <a:pt x="61978" y="3364"/>
                  <a:pt x="65934" y="2242"/>
                </a:cubicBezTo>
                <a:cubicBezTo>
                  <a:pt x="69890" y="0"/>
                  <a:pt x="71208" y="5607"/>
                  <a:pt x="73846" y="3364"/>
                </a:cubicBezTo>
                <a:cubicBezTo>
                  <a:pt x="75164" y="2242"/>
                  <a:pt x="75164" y="2242"/>
                  <a:pt x="77802" y="3364"/>
                </a:cubicBezTo>
                <a:cubicBezTo>
                  <a:pt x="80439" y="5607"/>
                  <a:pt x="80439" y="5607"/>
                  <a:pt x="80439" y="5607"/>
                </a:cubicBezTo>
                <a:cubicBezTo>
                  <a:pt x="77802" y="5607"/>
                  <a:pt x="75164" y="3364"/>
                  <a:pt x="75164" y="3364"/>
                </a:cubicBezTo>
                <a:cubicBezTo>
                  <a:pt x="75164" y="5607"/>
                  <a:pt x="73846" y="5607"/>
                  <a:pt x="75164" y="5607"/>
                </a:cubicBezTo>
                <a:cubicBezTo>
                  <a:pt x="75164" y="6728"/>
                  <a:pt x="77802" y="5607"/>
                  <a:pt x="77802" y="6728"/>
                </a:cubicBezTo>
                <a:cubicBezTo>
                  <a:pt x="80439" y="8971"/>
                  <a:pt x="81758" y="6728"/>
                  <a:pt x="80439" y="6728"/>
                </a:cubicBezTo>
                <a:cubicBezTo>
                  <a:pt x="80439" y="5607"/>
                  <a:pt x="80439" y="5607"/>
                  <a:pt x="81758" y="6728"/>
                </a:cubicBezTo>
                <a:cubicBezTo>
                  <a:pt x="85714" y="10093"/>
                  <a:pt x="88351" y="5607"/>
                  <a:pt x="89670" y="6728"/>
                </a:cubicBezTo>
                <a:cubicBezTo>
                  <a:pt x="92307" y="8971"/>
                  <a:pt x="89670" y="8971"/>
                  <a:pt x="100219" y="5607"/>
                </a:cubicBezTo>
                <a:cubicBezTo>
                  <a:pt x="100219" y="5607"/>
                  <a:pt x="100219" y="6728"/>
                  <a:pt x="101538" y="6728"/>
                </a:cubicBezTo>
                <a:cubicBezTo>
                  <a:pt x="104175" y="12336"/>
                  <a:pt x="105494" y="19065"/>
                  <a:pt x="108131" y="26915"/>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90" name="Shape 1853"/>
          <p:cNvSpPr/>
          <p:nvPr/>
        </p:nvSpPr>
        <p:spPr>
          <a:xfrm>
            <a:off x="6460537" y="3846341"/>
            <a:ext cx="175684" cy="166803"/>
          </a:xfrm>
          <a:custGeom>
            <a:avLst/>
            <a:gdLst/>
            <a:ahLst/>
            <a:cxnLst/>
            <a:rect l="0" t="0" r="0" b="0"/>
            <a:pathLst>
              <a:path w="120000" h="120000" extrusionOk="0">
                <a:moveTo>
                  <a:pt x="4528" y="64444"/>
                </a:moveTo>
                <a:cubicBezTo>
                  <a:pt x="6792" y="64444"/>
                  <a:pt x="6792" y="64444"/>
                  <a:pt x="11320" y="64444"/>
                </a:cubicBezTo>
                <a:cubicBezTo>
                  <a:pt x="11320" y="64444"/>
                  <a:pt x="11320" y="64444"/>
                  <a:pt x="11320" y="64444"/>
                </a:cubicBezTo>
                <a:cubicBezTo>
                  <a:pt x="13584" y="68888"/>
                  <a:pt x="11320" y="68888"/>
                  <a:pt x="11320" y="68888"/>
                </a:cubicBezTo>
                <a:cubicBezTo>
                  <a:pt x="13584" y="68888"/>
                  <a:pt x="18113" y="71111"/>
                  <a:pt x="18113" y="75555"/>
                </a:cubicBezTo>
                <a:cubicBezTo>
                  <a:pt x="18113" y="80000"/>
                  <a:pt x="11320" y="80000"/>
                  <a:pt x="11320" y="82222"/>
                </a:cubicBezTo>
                <a:cubicBezTo>
                  <a:pt x="11320" y="82222"/>
                  <a:pt x="13584" y="82222"/>
                  <a:pt x="13584" y="86666"/>
                </a:cubicBezTo>
                <a:cubicBezTo>
                  <a:pt x="6792" y="86666"/>
                  <a:pt x="6792" y="86666"/>
                  <a:pt x="6792" y="86666"/>
                </a:cubicBezTo>
                <a:cubicBezTo>
                  <a:pt x="6792" y="86666"/>
                  <a:pt x="6792" y="86666"/>
                  <a:pt x="4528" y="88888"/>
                </a:cubicBezTo>
                <a:cubicBezTo>
                  <a:pt x="6792" y="88888"/>
                  <a:pt x="6792" y="88888"/>
                  <a:pt x="6792" y="88888"/>
                </a:cubicBezTo>
                <a:cubicBezTo>
                  <a:pt x="6792" y="93333"/>
                  <a:pt x="0" y="100000"/>
                  <a:pt x="0" y="100000"/>
                </a:cubicBezTo>
                <a:cubicBezTo>
                  <a:pt x="0" y="100000"/>
                  <a:pt x="0" y="100000"/>
                  <a:pt x="0" y="100000"/>
                </a:cubicBezTo>
                <a:cubicBezTo>
                  <a:pt x="0" y="100000"/>
                  <a:pt x="0" y="100000"/>
                  <a:pt x="0" y="100000"/>
                </a:cubicBezTo>
                <a:cubicBezTo>
                  <a:pt x="0" y="102222"/>
                  <a:pt x="0" y="106666"/>
                  <a:pt x="0" y="106666"/>
                </a:cubicBezTo>
                <a:cubicBezTo>
                  <a:pt x="0" y="108888"/>
                  <a:pt x="0" y="108888"/>
                  <a:pt x="0" y="108888"/>
                </a:cubicBezTo>
                <a:cubicBezTo>
                  <a:pt x="0" y="113333"/>
                  <a:pt x="0" y="108888"/>
                  <a:pt x="4528" y="108888"/>
                </a:cubicBezTo>
                <a:cubicBezTo>
                  <a:pt x="6792" y="113333"/>
                  <a:pt x="6792" y="113333"/>
                  <a:pt x="6792" y="115555"/>
                </a:cubicBezTo>
                <a:cubicBezTo>
                  <a:pt x="11320" y="115555"/>
                  <a:pt x="18113" y="120000"/>
                  <a:pt x="20377" y="120000"/>
                </a:cubicBezTo>
                <a:cubicBezTo>
                  <a:pt x="24905" y="120000"/>
                  <a:pt x="33962" y="108888"/>
                  <a:pt x="40754" y="106666"/>
                </a:cubicBezTo>
                <a:cubicBezTo>
                  <a:pt x="45283" y="102222"/>
                  <a:pt x="52075" y="100000"/>
                  <a:pt x="54339" y="95555"/>
                </a:cubicBezTo>
                <a:cubicBezTo>
                  <a:pt x="61132" y="88888"/>
                  <a:pt x="72452" y="86666"/>
                  <a:pt x="79245" y="82222"/>
                </a:cubicBezTo>
                <a:cubicBezTo>
                  <a:pt x="83773" y="80000"/>
                  <a:pt x="90566" y="75555"/>
                  <a:pt x="97358" y="71111"/>
                </a:cubicBezTo>
                <a:cubicBezTo>
                  <a:pt x="97358" y="68888"/>
                  <a:pt x="99622" y="64444"/>
                  <a:pt x="99622" y="62222"/>
                </a:cubicBezTo>
                <a:cubicBezTo>
                  <a:pt x="99622" y="62222"/>
                  <a:pt x="99622" y="62222"/>
                  <a:pt x="99622" y="62222"/>
                </a:cubicBezTo>
                <a:cubicBezTo>
                  <a:pt x="99622" y="62222"/>
                  <a:pt x="99622" y="62222"/>
                  <a:pt x="99622" y="57777"/>
                </a:cubicBezTo>
                <a:cubicBezTo>
                  <a:pt x="99622" y="57777"/>
                  <a:pt x="99622" y="55555"/>
                  <a:pt x="99622" y="51111"/>
                </a:cubicBezTo>
                <a:cubicBezTo>
                  <a:pt x="99622" y="48888"/>
                  <a:pt x="104150" y="42222"/>
                  <a:pt x="104150" y="37777"/>
                </a:cubicBezTo>
                <a:cubicBezTo>
                  <a:pt x="99622" y="33333"/>
                  <a:pt x="99622" y="31111"/>
                  <a:pt x="99622" y="24444"/>
                </a:cubicBezTo>
                <a:cubicBezTo>
                  <a:pt x="104150" y="20000"/>
                  <a:pt x="106415" y="20000"/>
                  <a:pt x="110943" y="20000"/>
                </a:cubicBezTo>
                <a:cubicBezTo>
                  <a:pt x="113207" y="17777"/>
                  <a:pt x="117735" y="11111"/>
                  <a:pt x="120000" y="6666"/>
                </a:cubicBezTo>
                <a:cubicBezTo>
                  <a:pt x="120000" y="4444"/>
                  <a:pt x="120000" y="4444"/>
                  <a:pt x="120000" y="4444"/>
                </a:cubicBezTo>
                <a:cubicBezTo>
                  <a:pt x="120000" y="4444"/>
                  <a:pt x="117735" y="0"/>
                  <a:pt x="117735" y="4444"/>
                </a:cubicBezTo>
                <a:cubicBezTo>
                  <a:pt x="113207" y="6666"/>
                  <a:pt x="110943" y="6666"/>
                  <a:pt x="106415" y="6666"/>
                </a:cubicBezTo>
                <a:cubicBezTo>
                  <a:pt x="99622" y="6666"/>
                  <a:pt x="97358" y="6666"/>
                  <a:pt x="92830" y="6666"/>
                </a:cubicBezTo>
                <a:cubicBezTo>
                  <a:pt x="83773" y="11111"/>
                  <a:pt x="76981" y="17777"/>
                  <a:pt x="61132" y="17777"/>
                </a:cubicBezTo>
                <a:cubicBezTo>
                  <a:pt x="54339" y="17777"/>
                  <a:pt x="54339" y="13333"/>
                  <a:pt x="47547" y="11111"/>
                </a:cubicBezTo>
                <a:cubicBezTo>
                  <a:pt x="40754" y="11111"/>
                  <a:pt x="38490" y="17777"/>
                  <a:pt x="31698" y="17777"/>
                </a:cubicBezTo>
                <a:cubicBezTo>
                  <a:pt x="27169" y="17777"/>
                  <a:pt x="27169" y="17777"/>
                  <a:pt x="27169" y="17777"/>
                </a:cubicBezTo>
                <a:cubicBezTo>
                  <a:pt x="24905" y="17777"/>
                  <a:pt x="18113" y="13333"/>
                  <a:pt x="18113" y="13333"/>
                </a:cubicBezTo>
                <a:cubicBezTo>
                  <a:pt x="18113" y="13333"/>
                  <a:pt x="13584" y="20000"/>
                  <a:pt x="18113" y="24444"/>
                </a:cubicBezTo>
                <a:cubicBezTo>
                  <a:pt x="18113" y="26666"/>
                  <a:pt x="18113" y="26666"/>
                  <a:pt x="18113" y="26666"/>
                </a:cubicBezTo>
                <a:cubicBezTo>
                  <a:pt x="13584" y="26666"/>
                  <a:pt x="13584" y="26666"/>
                  <a:pt x="13584" y="26666"/>
                </a:cubicBezTo>
                <a:cubicBezTo>
                  <a:pt x="11320" y="26666"/>
                  <a:pt x="11320" y="37777"/>
                  <a:pt x="6792" y="37777"/>
                </a:cubicBezTo>
                <a:cubicBezTo>
                  <a:pt x="6792" y="37777"/>
                  <a:pt x="6792" y="33333"/>
                  <a:pt x="4528" y="33333"/>
                </a:cubicBezTo>
                <a:cubicBezTo>
                  <a:pt x="4528" y="37777"/>
                  <a:pt x="0" y="42222"/>
                  <a:pt x="4528" y="48888"/>
                </a:cubicBezTo>
                <a:cubicBezTo>
                  <a:pt x="6792" y="51111"/>
                  <a:pt x="4528" y="55555"/>
                  <a:pt x="4528" y="64444"/>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91" name="Shape 1854"/>
          <p:cNvSpPr/>
          <p:nvPr/>
        </p:nvSpPr>
        <p:spPr>
          <a:xfrm>
            <a:off x="6445186" y="3935303"/>
            <a:ext cx="39231" cy="52423"/>
          </a:xfrm>
          <a:custGeom>
            <a:avLst/>
            <a:gdLst/>
            <a:ahLst/>
            <a:cxnLst/>
            <a:rect l="0" t="0" r="0" b="0"/>
            <a:pathLst>
              <a:path w="120000" h="120000" extrusionOk="0">
                <a:moveTo>
                  <a:pt x="50000" y="112941"/>
                </a:moveTo>
                <a:cubicBezTo>
                  <a:pt x="30000" y="112941"/>
                  <a:pt x="30000" y="98823"/>
                  <a:pt x="30000" y="112941"/>
                </a:cubicBezTo>
                <a:cubicBezTo>
                  <a:pt x="30000" y="120000"/>
                  <a:pt x="30000" y="120000"/>
                  <a:pt x="30000" y="120000"/>
                </a:cubicBezTo>
                <a:cubicBezTo>
                  <a:pt x="30000" y="120000"/>
                  <a:pt x="20000" y="120000"/>
                  <a:pt x="0" y="120000"/>
                </a:cubicBezTo>
                <a:cubicBezTo>
                  <a:pt x="20000" y="91764"/>
                  <a:pt x="20000" y="98823"/>
                  <a:pt x="30000" y="77647"/>
                </a:cubicBezTo>
                <a:cubicBezTo>
                  <a:pt x="30000" y="42352"/>
                  <a:pt x="50000" y="70588"/>
                  <a:pt x="50000" y="42352"/>
                </a:cubicBezTo>
                <a:cubicBezTo>
                  <a:pt x="30000" y="14117"/>
                  <a:pt x="80000" y="21176"/>
                  <a:pt x="60000" y="0"/>
                </a:cubicBezTo>
                <a:cubicBezTo>
                  <a:pt x="80000" y="0"/>
                  <a:pt x="80000" y="0"/>
                  <a:pt x="90000" y="0"/>
                </a:cubicBezTo>
                <a:cubicBezTo>
                  <a:pt x="90000" y="0"/>
                  <a:pt x="90000" y="0"/>
                  <a:pt x="90000" y="0"/>
                </a:cubicBezTo>
                <a:cubicBezTo>
                  <a:pt x="110000" y="14117"/>
                  <a:pt x="90000" y="14117"/>
                  <a:pt x="90000" y="14117"/>
                </a:cubicBezTo>
                <a:cubicBezTo>
                  <a:pt x="110000" y="14117"/>
                  <a:pt x="120000" y="21176"/>
                  <a:pt x="120000" y="35294"/>
                </a:cubicBezTo>
                <a:cubicBezTo>
                  <a:pt x="120000" y="42352"/>
                  <a:pt x="90000" y="42352"/>
                  <a:pt x="90000" y="56470"/>
                </a:cubicBezTo>
                <a:cubicBezTo>
                  <a:pt x="90000" y="56470"/>
                  <a:pt x="110000" y="56470"/>
                  <a:pt x="110000" y="70588"/>
                </a:cubicBezTo>
                <a:cubicBezTo>
                  <a:pt x="80000" y="70588"/>
                  <a:pt x="80000" y="70588"/>
                  <a:pt x="80000" y="70588"/>
                </a:cubicBezTo>
                <a:cubicBezTo>
                  <a:pt x="80000" y="70588"/>
                  <a:pt x="80000" y="70588"/>
                  <a:pt x="60000" y="77647"/>
                </a:cubicBezTo>
                <a:cubicBezTo>
                  <a:pt x="80000" y="77647"/>
                  <a:pt x="80000" y="77647"/>
                  <a:pt x="80000" y="77647"/>
                </a:cubicBezTo>
                <a:cubicBezTo>
                  <a:pt x="80000" y="91764"/>
                  <a:pt x="50000" y="112941"/>
                  <a:pt x="50000" y="112941"/>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92" name="Shape 1855"/>
          <p:cNvSpPr/>
          <p:nvPr/>
        </p:nvSpPr>
        <p:spPr>
          <a:xfrm>
            <a:off x="6441772" y="3979783"/>
            <a:ext cx="115987" cy="135031"/>
          </a:xfrm>
          <a:custGeom>
            <a:avLst/>
            <a:gdLst/>
            <a:ahLst/>
            <a:cxnLst/>
            <a:rect l="0" t="0" r="0" b="0"/>
            <a:pathLst>
              <a:path w="120000" h="120000" extrusionOk="0">
                <a:moveTo>
                  <a:pt x="20571" y="19090"/>
                </a:moveTo>
                <a:cubicBezTo>
                  <a:pt x="17142" y="19090"/>
                  <a:pt x="17142" y="21818"/>
                  <a:pt x="17142" y="27272"/>
                </a:cubicBezTo>
                <a:cubicBezTo>
                  <a:pt x="17142" y="30000"/>
                  <a:pt x="17142" y="30000"/>
                  <a:pt x="17142" y="30000"/>
                </a:cubicBezTo>
                <a:cubicBezTo>
                  <a:pt x="17142" y="35454"/>
                  <a:pt x="20571" y="46363"/>
                  <a:pt x="17142" y="51818"/>
                </a:cubicBezTo>
                <a:cubicBezTo>
                  <a:pt x="17142" y="54545"/>
                  <a:pt x="17142" y="60000"/>
                  <a:pt x="17142" y="65454"/>
                </a:cubicBezTo>
                <a:cubicBezTo>
                  <a:pt x="17142" y="68181"/>
                  <a:pt x="6857" y="81818"/>
                  <a:pt x="6857" y="92727"/>
                </a:cubicBezTo>
                <a:cubicBezTo>
                  <a:pt x="6857" y="98181"/>
                  <a:pt x="0" y="109090"/>
                  <a:pt x="0" y="109090"/>
                </a:cubicBezTo>
                <a:cubicBezTo>
                  <a:pt x="0" y="109090"/>
                  <a:pt x="0" y="109090"/>
                  <a:pt x="0" y="114545"/>
                </a:cubicBezTo>
                <a:cubicBezTo>
                  <a:pt x="6857" y="114545"/>
                  <a:pt x="27428" y="120000"/>
                  <a:pt x="30857" y="120000"/>
                </a:cubicBezTo>
                <a:cubicBezTo>
                  <a:pt x="41142" y="120000"/>
                  <a:pt x="41142" y="106363"/>
                  <a:pt x="51428" y="100909"/>
                </a:cubicBezTo>
                <a:cubicBezTo>
                  <a:pt x="51428" y="98181"/>
                  <a:pt x="68571" y="100909"/>
                  <a:pt x="72000" y="98181"/>
                </a:cubicBezTo>
                <a:cubicBezTo>
                  <a:pt x="72000" y="92727"/>
                  <a:pt x="72000" y="90000"/>
                  <a:pt x="72000" y="90000"/>
                </a:cubicBezTo>
                <a:cubicBezTo>
                  <a:pt x="78857" y="84545"/>
                  <a:pt x="82285" y="84545"/>
                  <a:pt x="82285" y="81818"/>
                </a:cubicBezTo>
                <a:cubicBezTo>
                  <a:pt x="58285" y="54545"/>
                  <a:pt x="58285" y="54545"/>
                  <a:pt x="58285" y="54545"/>
                </a:cubicBezTo>
                <a:cubicBezTo>
                  <a:pt x="58285" y="51818"/>
                  <a:pt x="68571" y="51818"/>
                  <a:pt x="72000" y="51818"/>
                </a:cubicBezTo>
                <a:cubicBezTo>
                  <a:pt x="78857" y="46363"/>
                  <a:pt x="109714" y="43636"/>
                  <a:pt x="113142" y="35454"/>
                </a:cubicBezTo>
                <a:cubicBezTo>
                  <a:pt x="120000" y="35454"/>
                  <a:pt x="120000" y="35454"/>
                  <a:pt x="120000" y="35454"/>
                </a:cubicBezTo>
                <a:cubicBezTo>
                  <a:pt x="120000" y="27272"/>
                  <a:pt x="113142" y="30000"/>
                  <a:pt x="109714" y="30000"/>
                </a:cubicBezTo>
                <a:cubicBezTo>
                  <a:pt x="109714" y="27272"/>
                  <a:pt x="109714" y="27272"/>
                  <a:pt x="109714" y="27272"/>
                </a:cubicBezTo>
                <a:cubicBezTo>
                  <a:pt x="113142" y="27272"/>
                  <a:pt x="113142" y="27272"/>
                  <a:pt x="113142" y="27272"/>
                </a:cubicBezTo>
                <a:cubicBezTo>
                  <a:pt x="113142" y="27272"/>
                  <a:pt x="113142" y="27272"/>
                  <a:pt x="113142" y="21818"/>
                </a:cubicBezTo>
                <a:cubicBezTo>
                  <a:pt x="109714" y="19090"/>
                  <a:pt x="109714" y="10909"/>
                  <a:pt x="102857" y="0"/>
                </a:cubicBezTo>
                <a:cubicBezTo>
                  <a:pt x="99428" y="5454"/>
                  <a:pt x="89142" y="10909"/>
                  <a:pt x="82285" y="13636"/>
                </a:cubicBezTo>
                <a:cubicBezTo>
                  <a:pt x="72000" y="19090"/>
                  <a:pt x="58285" y="30000"/>
                  <a:pt x="51428" y="30000"/>
                </a:cubicBezTo>
                <a:cubicBezTo>
                  <a:pt x="48000" y="30000"/>
                  <a:pt x="37714" y="27272"/>
                  <a:pt x="30857" y="27272"/>
                </a:cubicBezTo>
                <a:cubicBezTo>
                  <a:pt x="30857" y="21818"/>
                  <a:pt x="30857" y="21818"/>
                  <a:pt x="27428" y="19090"/>
                </a:cubicBezTo>
                <a:cubicBezTo>
                  <a:pt x="20571" y="19090"/>
                  <a:pt x="20571" y="21818"/>
                  <a:pt x="20571" y="1909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93" name="Shape 1856"/>
          <p:cNvSpPr/>
          <p:nvPr/>
        </p:nvSpPr>
        <p:spPr>
          <a:xfrm>
            <a:off x="6603815" y="4645408"/>
            <a:ext cx="281434" cy="417800"/>
          </a:xfrm>
          <a:custGeom>
            <a:avLst/>
            <a:gdLst/>
            <a:ahLst/>
            <a:cxnLst/>
            <a:rect l="0" t="0" r="0" b="0"/>
            <a:pathLst>
              <a:path w="120000" h="120000" extrusionOk="0">
                <a:moveTo>
                  <a:pt x="7058" y="120000"/>
                </a:moveTo>
                <a:cubicBezTo>
                  <a:pt x="4235" y="115588"/>
                  <a:pt x="0" y="117352"/>
                  <a:pt x="0" y="111176"/>
                </a:cubicBezTo>
                <a:cubicBezTo>
                  <a:pt x="0" y="105000"/>
                  <a:pt x="0" y="81176"/>
                  <a:pt x="0" y="81176"/>
                </a:cubicBezTo>
                <a:cubicBezTo>
                  <a:pt x="0" y="81176"/>
                  <a:pt x="7058" y="74117"/>
                  <a:pt x="11294" y="71470"/>
                </a:cubicBezTo>
                <a:cubicBezTo>
                  <a:pt x="12705" y="68823"/>
                  <a:pt x="12705" y="68823"/>
                  <a:pt x="16941" y="68823"/>
                </a:cubicBezTo>
                <a:cubicBezTo>
                  <a:pt x="25411" y="68823"/>
                  <a:pt x="15529" y="67941"/>
                  <a:pt x="25411" y="64411"/>
                </a:cubicBezTo>
                <a:cubicBezTo>
                  <a:pt x="38117" y="60882"/>
                  <a:pt x="38117" y="67941"/>
                  <a:pt x="46588" y="60882"/>
                </a:cubicBezTo>
                <a:cubicBezTo>
                  <a:pt x="55058" y="53823"/>
                  <a:pt x="59294" y="49411"/>
                  <a:pt x="69176" y="42352"/>
                </a:cubicBezTo>
                <a:cubicBezTo>
                  <a:pt x="79058" y="36176"/>
                  <a:pt x="79058" y="36176"/>
                  <a:pt x="74823" y="36176"/>
                </a:cubicBezTo>
                <a:cubicBezTo>
                  <a:pt x="73411" y="36176"/>
                  <a:pt x="69176" y="37058"/>
                  <a:pt x="53647" y="33529"/>
                </a:cubicBezTo>
                <a:cubicBezTo>
                  <a:pt x="38117" y="29117"/>
                  <a:pt x="36705" y="30000"/>
                  <a:pt x="32470" y="26470"/>
                </a:cubicBezTo>
                <a:cubicBezTo>
                  <a:pt x="28235" y="23823"/>
                  <a:pt x="25411" y="24705"/>
                  <a:pt x="25411" y="22058"/>
                </a:cubicBezTo>
                <a:cubicBezTo>
                  <a:pt x="24000" y="19411"/>
                  <a:pt x="24000" y="21176"/>
                  <a:pt x="21176" y="17647"/>
                </a:cubicBezTo>
                <a:cubicBezTo>
                  <a:pt x="19764" y="14117"/>
                  <a:pt x="16941" y="14117"/>
                  <a:pt x="21176" y="11470"/>
                </a:cubicBezTo>
                <a:cubicBezTo>
                  <a:pt x="25411" y="5294"/>
                  <a:pt x="25411" y="5294"/>
                  <a:pt x="25411" y="5294"/>
                </a:cubicBezTo>
                <a:cubicBezTo>
                  <a:pt x="29647" y="9705"/>
                  <a:pt x="28235" y="12352"/>
                  <a:pt x="38117" y="15000"/>
                </a:cubicBezTo>
                <a:cubicBezTo>
                  <a:pt x="45176" y="17647"/>
                  <a:pt x="46588" y="9705"/>
                  <a:pt x="57882" y="12352"/>
                </a:cubicBezTo>
                <a:cubicBezTo>
                  <a:pt x="66352" y="15000"/>
                  <a:pt x="63529" y="8823"/>
                  <a:pt x="74823" y="9705"/>
                </a:cubicBezTo>
                <a:cubicBezTo>
                  <a:pt x="86117" y="9705"/>
                  <a:pt x="73411" y="7058"/>
                  <a:pt x="87529" y="7058"/>
                </a:cubicBezTo>
                <a:cubicBezTo>
                  <a:pt x="103058" y="8823"/>
                  <a:pt x="104470" y="0"/>
                  <a:pt x="111529" y="2647"/>
                </a:cubicBezTo>
                <a:cubicBezTo>
                  <a:pt x="117176" y="4411"/>
                  <a:pt x="107294" y="7058"/>
                  <a:pt x="112941" y="14117"/>
                </a:cubicBezTo>
                <a:cubicBezTo>
                  <a:pt x="120000" y="19411"/>
                  <a:pt x="111529" y="11470"/>
                  <a:pt x="108705" y="21176"/>
                </a:cubicBezTo>
                <a:cubicBezTo>
                  <a:pt x="108705" y="26470"/>
                  <a:pt x="103058" y="30000"/>
                  <a:pt x="96000" y="42352"/>
                </a:cubicBezTo>
                <a:cubicBezTo>
                  <a:pt x="83294" y="63529"/>
                  <a:pt x="66352" y="78529"/>
                  <a:pt x="49411" y="86470"/>
                </a:cubicBezTo>
                <a:cubicBezTo>
                  <a:pt x="29647" y="96176"/>
                  <a:pt x="29647" y="97941"/>
                  <a:pt x="16941" y="107647"/>
                </a:cubicBezTo>
                <a:cubicBezTo>
                  <a:pt x="7058" y="115588"/>
                  <a:pt x="12705" y="114705"/>
                  <a:pt x="7058"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94" name="Shape 1857"/>
          <p:cNvSpPr/>
          <p:nvPr/>
        </p:nvSpPr>
        <p:spPr>
          <a:xfrm>
            <a:off x="6382075" y="4554857"/>
            <a:ext cx="405950" cy="360609"/>
          </a:xfrm>
          <a:custGeom>
            <a:avLst/>
            <a:gdLst/>
            <a:ahLst/>
            <a:cxnLst/>
            <a:rect l="0" t="0" r="0" b="0"/>
            <a:pathLst>
              <a:path w="120000" h="120000" extrusionOk="0">
                <a:moveTo>
                  <a:pt x="25365" y="106666"/>
                </a:moveTo>
                <a:cubicBezTo>
                  <a:pt x="30243" y="111794"/>
                  <a:pt x="30243" y="103589"/>
                  <a:pt x="37073" y="111794"/>
                </a:cubicBezTo>
                <a:cubicBezTo>
                  <a:pt x="44878" y="120000"/>
                  <a:pt x="44878" y="114871"/>
                  <a:pt x="47804" y="116923"/>
                </a:cubicBezTo>
                <a:cubicBezTo>
                  <a:pt x="50731" y="117948"/>
                  <a:pt x="51707" y="116923"/>
                  <a:pt x="51707" y="117948"/>
                </a:cubicBezTo>
                <a:cubicBezTo>
                  <a:pt x="54634" y="120000"/>
                  <a:pt x="53658" y="114871"/>
                  <a:pt x="59512" y="111794"/>
                </a:cubicBezTo>
                <a:cubicBezTo>
                  <a:pt x="64390" y="108717"/>
                  <a:pt x="64390" y="109743"/>
                  <a:pt x="65365" y="111794"/>
                </a:cubicBezTo>
                <a:cubicBezTo>
                  <a:pt x="67317" y="112820"/>
                  <a:pt x="70243" y="112820"/>
                  <a:pt x="73170" y="112820"/>
                </a:cubicBezTo>
                <a:cubicBezTo>
                  <a:pt x="74146" y="109743"/>
                  <a:pt x="74146" y="109743"/>
                  <a:pt x="77073" y="109743"/>
                </a:cubicBezTo>
                <a:cubicBezTo>
                  <a:pt x="82926" y="109743"/>
                  <a:pt x="76097" y="108717"/>
                  <a:pt x="82926" y="105641"/>
                </a:cubicBezTo>
                <a:cubicBezTo>
                  <a:pt x="91707" y="100512"/>
                  <a:pt x="91707" y="108717"/>
                  <a:pt x="98536" y="100512"/>
                </a:cubicBezTo>
                <a:cubicBezTo>
                  <a:pt x="104390" y="92307"/>
                  <a:pt x="107317" y="87179"/>
                  <a:pt x="113170" y="80000"/>
                </a:cubicBezTo>
                <a:cubicBezTo>
                  <a:pt x="120000" y="71794"/>
                  <a:pt x="120000" y="71794"/>
                  <a:pt x="117073" y="71794"/>
                </a:cubicBezTo>
                <a:cubicBezTo>
                  <a:pt x="116097" y="71794"/>
                  <a:pt x="113170" y="72820"/>
                  <a:pt x="102439" y="68717"/>
                </a:cubicBezTo>
                <a:cubicBezTo>
                  <a:pt x="91707" y="63589"/>
                  <a:pt x="90731" y="65641"/>
                  <a:pt x="87804" y="60512"/>
                </a:cubicBezTo>
                <a:cubicBezTo>
                  <a:pt x="84878" y="57435"/>
                  <a:pt x="82926" y="58461"/>
                  <a:pt x="82926" y="55384"/>
                </a:cubicBezTo>
                <a:cubicBezTo>
                  <a:pt x="81951" y="52307"/>
                  <a:pt x="81951" y="54358"/>
                  <a:pt x="80000" y="51282"/>
                </a:cubicBezTo>
                <a:cubicBezTo>
                  <a:pt x="79024" y="46153"/>
                  <a:pt x="77073" y="46153"/>
                  <a:pt x="80000" y="43076"/>
                </a:cubicBezTo>
                <a:cubicBezTo>
                  <a:pt x="79024" y="37948"/>
                  <a:pt x="74146" y="44102"/>
                  <a:pt x="71219" y="41025"/>
                </a:cubicBezTo>
                <a:cubicBezTo>
                  <a:pt x="71219" y="31794"/>
                  <a:pt x="73170" y="36923"/>
                  <a:pt x="76097" y="26666"/>
                </a:cubicBezTo>
                <a:cubicBezTo>
                  <a:pt x="71219" y="23589"/>
                  <a:pt x="73170" y="20512"/>
                  <a:pt x="70243" y="17435"/>
                </a:cubicBezTo>
                <a:cubicBezTo>
                  <a:pt x="67317" y="15384"/>
                  <a:pt x="65365" y="9230"/>
                  <a:pt x="62439" y="9230"/>
                </a:cubicBezTo>
                <a:cubicBezTo>
                  <a:pt x="60487" y="7179"/>
                  <a:pt x="59512" y="6153"/>
                  <a:pt x="54634" y="6153"/>
                </a:cubicBezTo>
                <a:cubicBezTo>
                  <a:pt x="50731" y="4102"/>
                  <a:pt x="51707" y="7179"/>
                  <a:pt x="50731" y="6153"/>
                </a:cubicBezTo>
                <a:cubicBezTo>
                  <a:pt x="48780" y="3076"/>
                  <a:pt x="48780" y="12307"/>
                  <a:pt x="42926" y="3076"/>
                </a:cubicBezTo>
                <a:cubicBezTo>
                  <a:pt x="40000" y="0"/>
                  <a:pt x="40000" y="12307"/>
                  <a:pt x="37073" y="7179"/>
                </a:cubicBezTo>
                <a:cubicBezTo>
                  <a:pt x="36097" y="3076"/>
                  <a:pt x="37073" y="11282"/>
                  <a:pt x="31219" y="7179"/>
                </a:cubicBezTo>
                <a:cubicBezTo>
                  <a:pt x="30243" y="17435"/>
                  <a:pt x="26341" y="18461"/>
                  <a:pt x="28292" y="23589"/>
                </a:cubicBezTo>
                <a:cubicBezTo>
                  <a:pt x="22439" y="23589"/>
                  <a:pt x="23414" y="29743"/>
                  <a:pt x="20487" y="31794"/>
                </a:cubicBezTo>
                <a:cubicBezTo>
                  <a:pt x="17560" y="34871"/>
                  <a:pt x="19512" y="43076"/>
                  <a:pt x="17560" y="44102"/>
                </a:cubicBezTo>
                <a:cubicBezTo>
                  <a:pt x="16585" y="46153"/>
                  <a:pt x="16585" y="40000"/>
                  <a:pt x="13658" y="44102"/>
                </a:cubicBezTo>
                <a:cubicBezTo>
                  <a:pt x="11707" y="49230"/>
                  <a:pt x="14634" y="47179"/>
                  <a:pt x="13658" y="52307"/>
                </a:cubicBezTo>
                <a:cubicBezTo>
                  <a:pt x="10731" y="58461"/>
                  <a:pt x="14634" y="69743"/>
                  <a:pt x="8780" y="68717"/>
                </a:cubicBezTo>
                <a:cubicBezTo>
                  <a:pt x="1951" y="65641"/>
                  <a:pt x="5853" y="69743"/>
                  <a:pt x="4878" y="71794"/>
                </a:cubicBezTo>
                <a:cubicBezTo>
                  <a:pt x="0" y="74871"/>
                  <a:pt x="8780" y="72820"/>
                  <a:pt x="11707" y="80000"/>
                </a:cubicBezTo>
                <a:cubicBezTo>
                  <a:pt x="14634" y="84102"/>
                  <a:pt x="16585" y="81025"/>
                  <a:pt x="17560" y="89230"/>
                </a:cubicBezTo>
                <a:cubicBezTo>
                  <a:pt x="19512" y="97435"/>
                  <a:pt x="19512" y="97435"/>
                  <a:pt x="23414" y="98461"/>
                </a:cubicBezTo>
                <a:cubicBezTo>
                  <a:pt x="26341" y="98461"/>
                  <a:pt x="23414" y="100512"/>
                  <a:pt x="25365" y="106666"/>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95" name="Shape 1858"/>
          <p:cNvSpPr/>
          <p:nvPr/>
        </p:nvSpPr>
        <p:spPr>
          <a:xfrm>
            <a:off x="6474183" y="4465896"/>
            <a:ext cx="182506" cy="179512"/>
          </a:xfrm>
          <a:custGeom>
            <a:avLst/>
            <a:gdLst/>
            <a:ahLst/>
            <a:cxnLst/>
            <a:rect l="0" t="0" r="0" b="0"/>
            <a:pathLst>
              <a:path w="120000" h="120000" extrusionOk="0">
                <a:moveTo>
                  <a:pt x="8727" y="76551"/>
                </a:moveTo>
                <a:cubicBezTo>
                  <a:pt x="21818" y="82758"/>
                  <a:pt x="17454" y="66206"/>
                  <a:pt x="21818" y="76551"/>
                </a:cubicBezTo>
                <a:cubicBezTo>
                  <a:pt x="28363" y="84827"/>
                  <a:pt x="28363" y="60000"/>
                  <a:pt x="34909" y="66206"/>
                </a:cubicBezTo>
                <a:cubicBezTo>
                  <a:pt x="48000" y="84827"/>
                  <a:pt x="48000" y="66206"/>
                  <a:pt x="50181" y="72413"/>
                </a:cubicBezTo>
                <a:cubicBezTo>
                  <a:pt x="54545" y="76551"/>
                  <a:pt x="50181" y="70344"/>
                  <a:pt x="61090" y="72413"/>
                </a:cubicBezTo>
                <a:cubicBezTo>
                  <a:pt x="72000" y="72413"/>
                  <a:pt x="74181" y="76551"/>
                  <a:pt x="78545" y="78620"/>
                </a:cubicBezTo>
                <a:cubicBezTo>
                  <a:pt x="85090" y="78620"/>
                  <a:pt x="87272" y="91034"/>
                  <a:pt x="93818" y="95172"/>
                </a:cubicBezTo>
                <a:cubicBezTo>
                  <a:pt x="100363" y="101379"/>
                  <a:pt x="98181" y="107586"/>
                  <a:pt x="106909" y="113793"/>
                </a:cubicBezTo>
                <a:cubicBezTo>
                  <a:pt x="111272" y="111724"/>
                  <a:pt x="111272" y="120000"/>
                  <a:pt x="120000" y="107586"/>
                </a:cubicBezTo>
                <a:cubicBezTo>
                  <a:pt x="117818" y="103448"/>
                  <a:pt x="113454" y="107586"/>
                  <a:pt x="111272" y="101379"/>
                </a:cubicBezTo>
                <a:cubicBezTo>
                  <a:pt x="111272" y="97241"/>
                  <a:pt x="111272" y="101379"/>
                  <a:pt x="106909" y="95172"/>
                </a:cubicBezTo>
                <a:cubicBezTo>
                  <a:pt x="100363" y="82758"/>
                  <a:pt x="104727" y="95172"/>
                  <a:pt x="100363" y="88965"/>
                </a:cubicBezTo>
                <a:cubicBezTo>
                  <a:pt x="98181" y="78620"/>
                  <a:pt x="98181" y="91034"/>
                  <a:pt x="91636" y="76551"/>
                </a:cubicBezTo>
                <a:cubicBezTo>
                  <a:pt x="80727" y="62068"/>
                  <a:pt x="85090" y="76551"/>
                  <a:pt x="78545" y="66206"/>
                </a:cubicBezTo>
                <a:cubicBezTo>
                  <a:pt x="74181" y="55862"/>
                  <a:pt x="74181" y="72413"/>
                  <a:pt x="67636" y="55862"/>
                </a:cubicBezTo>
                <a:cubicBezTo>
                  <a:pt x="61090" y="43448"/>
                  <a:pt x="63272" y="62068"/>
                  <a:pt x="61090" y="62068"/>
                </a:cubicBezTo>
                <a:cubicBezTo>
                  <a:pt x="61090" y="60000"/>
                  <a:pt x="61090" y="55862"/>
                  <a:pt x="54545" y="47586"/>
                </a:cubicBezTo>
                <a:cubicBezTo>
                  <a:pt x="50181" y="37241"/>
                  <a:pt x="50181" y="14482"/>
                  <a:pt x="41454" y="0"/>
                </a:cubicBezTo>
                <a:cubicBezTo>
                  <a:pt x="34909" y="18620"/>
                  <a:pt x="28363" y="8275"/>
                  <a:pt x="24000" y="14482"/>
                </a:cubicBezTo>
                <a:cubicBezTo>
                  <a:pt x="17454" y="26896"/>
                  <a:pt x="10909" y="12413"/>
                  <a:pt x="15272" y="24827"/>
                </a:cubicBezTo>
                <a:cubicBezTo>
                  <a:pt x="15272" y="43448"/>
                  <a:pt x="8727" y="53793"/>
                  <a:pt x="4363" y="60000"/>
                </a:cubicBezTo>
                <a:cubicBezTo>
                  <a:pt x="0" y="62068"/>
                  <a:pt x="8727" y="70344"/>
                  <a:pt x="8727" y="76551"/>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96" name="Shape 1859"/>
          <p:cNvSpPr/>
          <p:nvPr/>
        </p:nvSpPr>
        <p:spPr>
          <a:xfrm>
            <a:off x="6622579" y="4626344"/>
            <a:ext cx="47757" cy="65132"/>
          </a:xfrm>
          <a:custGeom>
            <a:avLst/>
            <a:gdLst/>
            <a:ahLst/>
            <a:cxnLst/>
            <a:rect l="0" t="0" r="0" b="0"/>
            <a:pathLst>
              <a:path w="120000" h="120000" extrusionOk="0">
                <a:moveTo>
                  <a:pt x="77142" y="108571"/>
                </a:moveTo>
                <a:cubicBezTo>
                  <a:pt x="68571" y="80000"/>
                  <a:pt x="25714" y="120000"/>
                  <a:pt x="0" y="97142"/>
                </a:cubicBezTo>
                <a:cubicBezTo>
                  <a:pt x="0" y="45714"/>
                  <a:pt x="17142" y="74285"/>
                  <a:pt x="42857" y="17142"/>
                </a:cubicBezTo>
                <a:cubicBezTo>
                  <a:pt x="51428" y="11428"/>
                  <a:pt x="51428" y="34285"/>
                  <a:pt x="94285" y="0"/>
                </a:cubicBezTo>
                <a:cubicBezTo>
                  <a:pt x="102857" y="28571"/>
                  <a:pt x="119999" y="34285"/>
                  <a:pt x="94285" y="57142"/>
                </a:cubicBezTo>
                <a:cubicBezTo>
                  <a:pt x="25714" y="80000"/>
                  <a:pt x="77142" y="62857"/>
                  <a:pt x="102857" y="74285"/>
                </a:cubicBezTo>
                <a:cubicBezTo>
                  <a:pt x="77142" y="108571"/>
                  <a:pt x="77142" y="108571"/>
                  <a:pt x="77142" y="108571"/>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97" name="Shape 1860"/>
          <p:cNvSpPr/>
          <p:nvPr/>
        </p:nvSpPr>
        <p:spPr>
          <a:xfrm>
            <a:off x="5846495" y="4842392"/>
            <a:ext cx="511702" cy="594137"/>
          </a:xfrm>
          <a:custGeom>
            <a:avLst/>
            <a:gdLst/>
            <a:ahLst/>
            <a:cxnLst/>
            <a:rect l="0" t="0" r="0" b="0"/>
            <a:pathLst>
              <a:path w="120000" h="120000" extrusionOk="0">
                <a:moveTo>
                  <a:pt x="106838" y="62176"/>
                </a:moveTo>
                <a:cubicBezTo>
                  <a:pt x="105290" y="65906"/>
                  <a:pt x="107612" y="67772"/>
                  <a:pt x="106838" y="70880"/>
                </a:cubicBezTo>
                <a:cubicBezTo>
                  <a:pt x="105290" y="73989"/>
                  <a:pt x="111483" y="77720"/>
                  <a:pt x="112258" y="79585"/>
                </a:cubicBezTo>
                <a:cubicBezTo>
                  <a:pt x="112258" y="82694"/>
                  <a:pt x="113806" y="83316"/>
                  <a:pt x="114580" y="84559"/>
                </a:cubicBezTo>
                <a:cubicBezTo>
                  <a:pt x="109935" y="85181"/>
                  <a:pt x="102967" y="84559"/>
                  <a:pt x="102967" y="87046"/>
                </a:cubicBezTo>
                <a:cubicBezTo>
                  <a:pt x="102967" y="91398"/>
                  <a:pt x="98322" y="90155"/>
                  <a:pt x="100645" y="92020"/>
                </a:cubicBezTo>
                <a:cubicBezTo>
                  <a:pt x="104516" y="95751"/>
                  <a:pt x="99870" y="95129"/>
                  <a:pt x="100645" y="97616"/>
                </a:cubicBezTo>
                <a:cubicBezTo>
                  <a:pt x="102967" y="100103"/>
                  <a:pt x="98322" y="103834"/>
                  <a:pt x="99870" y="105699"/>
                </a:cubicBezTo>
                <a:cubicBezTo>
                  <a:pt x="100645" y="107564"/>
                  <a:pt x="102193" y="109430"/>
                  <a:pt x="104516" y="110673"/>
                </a:cubicBezTo>
                <a:cubicBezTo>
                  <a:pt x="107612" y="111295"/>
                  <a:pt x="109161" y="104455"/>
                  <a:pt x="109161" y="112538"/>
                </a:cubicBezTo>
                <a:cubicBezTo>
                  <a:pt x="107612" y="120000"/>
                  <a:pt x="107612" y="114404"/>
                  <a:pt x="106838" y="115647"/>
                </a:cubicBezTo>
                <a:cubicBezTo>
                  <a:pt x="104516" y="117512"/>
                  <a:pt x="104516" y="117512"/>
                  <a:pt x="102193" y="113160"/>
                </a:cubicBezTo>
                <a:cubicBezTo>
                  <a:pt x="99870" y="110673"/>
                  <a:pt x="98322" y="109430"/>
                  <a:pt x="96000" y="109430"/>
                </a:cubicBezTo>
                <a:cubicBezTo>
                  <a:pt x="94451" y="109430"/>
                  <a:pt x="93677" y="107564"/>
                  <a:pt x="92129" y="106321"/>
                </a:cubicBezTo>
                <a:cubicBezTo>
                  <a:pt x="92129" y="104455"/>
                  <a:pt x="91354" y="103834"/>
                  <a:pt x="91354" y="106321"/>
                </a:cubicBezTo>
                <a:cubicBezTo>
                  <a:pt x="89806" y="108808"/>
                  <a:pt x="89032" y="107564"/>
                  <a:pt x="82838" y="106321"/>
                </a:cubicBezTo>
                <a:cubicBezTo>
                  <a:pt x="78193" y="105699"/>
                  <a:pt x="84387" y="100725"/>
                  <a:pt x="78193" y="103834"/>
                </a:cubicBezTo>
                <a:cubicBezTo>
                  <a:pt x="73548" y="105699"/>
                  <a:pt x="78193" y="100725"/>
                  <a:pt x="72000" y="100725"/>
                </a:cubicBezTo>
                <a:cubicBezTo>
                  <a:pt x="72000" y="101968"/>
                  <a:pt x="72000" y="101968"/>
                  <a:pt x="69677" y="101968"/>
                </a:cubicBezTo>
                <a:cubicBezTo>
                  <a:pt x="68903" y="100725"/>
                  <a:pt x="67354" y="102590"/>
                  <a:pt x="65032" y="101968"/>
                </a:cubicBezTo>
                <a:cubicBezTo>
                  <a:pt x="62709" y="101968"/>
                  <a:pt x="64258" y="103834"/>
                  <a:pt x="61935" y="103834"/>
                </a:cubicBezTo>
                <a:cubicBezTo>
                  <a:pt x="59612" y="102590"/>
                  <a:pt x="64258" y="98860"/>
                  <a:pt x="60387" y="95129"/>
                </a:cubicBezTo>
                <a:cubicBezTo>
                  <a:pt x="57290" y="91398"/>
                  <a:pt x="60387" y="87046"/>
                  <a:pt x="59612" y="84559"/>
                </a:cubicBezTo>
                <a:cubicBezTo>
                  <a:pt x="58064" y="81450"/>
                  <a:pt x="59612" y="81450"/>
                  <a:pt x="59612" y="79585"/>
                </a:cubicBezTo>
                <a:cubicBezTo>
                  <a:pt x="59612" y="77720"/>
                  <a:pt x="49548" y="80207"/>
                  <a:pt x="51870" y="77720"/>
                </a:cubicBezTo>
                <a:cubicBezTo>
                  <a:pt x="51870" y="76476"/>
                  <a:pt x="51096" y="75854"/>
                  <a:pt x="49548" y="76476"/>
                </a:cubicBezTo>
                <a:cubicBezTo>
                  <a:pt x="48774" y="77720"/>
                  <a:pt x="44903" y="75854"/>
                  <a:pt x="44903" y="78341"/>
                </a:cubicBezTo>
                <a:cubicBezTo>
                  <a:pt x="44903" y="81450"/>
                  <a:pt x="44129" y="79585"/>
                  <a:pt x="44129" y="82694"/>
                </a:cubicBezTo>
                <a:cubicBezTo>
                  <a:pt x="44903" y="84559"/>
                  <a:pt x="41806" y="83316"/>
                  <a:pt x="40258" y="83316"/>
                </a:cubicBezTo>
                <a:cubicBezTo>
                  <a:pt x="39483" y="82694"/>
                  <a:pt x="33290" y="85181"/>
                  <a:pt x="31741" y="82694"/>
                </a:cubicBezTo>
                <a:cubicBezTo>
                  <a:pt x="30967" y="79585"/>
                  <a:pt x="29419" y="80207"/>
                  <a:pt x="29419" y="77720"/>
                </a:cubicBezTo>
                <a:cubicBezTo>
                  <a:pt x="29419" y="75854"/>
                  <a:pt x="28645" y="75854"/>
                  <a:pt x="27096" y="72746"/>
                </a:cubicBezTo>
                <a:cubicBezTo>
                  <a:pt x="27096" y="69637"/>
                  <a:pt x="27096" y="69637"/>
                  <a:pt x="19354" y="70880"/>
                </a:cubicBezTo>
                <a:cubicBezTo>
                  <a:pt x="9290" y="70880"/>
                  <a:pt x="10838" y="69637"/>
                  <a:pt x="6193" y="69637"/>
                </a:cubicBezTo>
                <a:cubicBezTo>
                  <a:pt x="4645" y="69637"/>
                  <a:pt x="4645" y="69637"/>
                  <a:pt x="2322" y="69637"/>
                </a:cubicBezTo>
                <a:cubicBezTo>
                  <a:pt x="1548" y="70880"/>
                  <a:pt x="1548" y="70880"/>
                  <a:pt x="0" y="69637"/>
                </a:cubicBezTo>
                <a:cubicBezTo>
                  <a:pt x="3870" y="69637"/>
                  <a:pt x="1548" y="65906"/>
                  <a:pt x="2322" y="64041"/>
                </a:cubicBezTo>
                <a:cubicBezTo>
                  <a:pt x="4645" y="62797"/>
                  <a:pt x="4645" y="62797"/>
                  <a:pt x="6193" y="62797"/>
                </a:cubicBezTo>
                <a:cubicBezTo>
                  <a:pt x="8516" y="65906"/>
                  <a:pt x="10838" y="60310"/>
                  <a:pt x="13161" y="60932"/>
                </a:cubicBezTo>
                <a:cubicBezTo>
                  <a:pt x="15483" y="62176"/>
                  <a:pt x="11612" y="64041"/>
                  <a:pt x="14709" y="64041"/>
                </a:cubicBezTo>
                <a:cubicBezTo>
                  <a:pt x="17806" y="65284"/>
                  <a:pt x="20129" y="59067"/>
                  <a:pt x="21677" y="59067"/>
                </a:cubicBezTo>
                <a:cubicBezTo>
                  <a:pt x="24000" y="59067"/>
                  <a:pt x="26322" y="55336"/>
                  <a:pt x="24774" y="53471"/>
                </a:cubicBezTo>
                <a:cubicBezTo>
                  <a:pt x="22451" y="49740"/>
                  <a:pt x="28645" y="41658"/>
                  <a:pt x="31741" y="41036"/>
                </a:cubicBezTo>
                <a:cubicBezTo>
                  <a:pt x="35612" y="38549"/>
                  <a:pt x="33290" y="36683"/>
                  <a:pt x="35612" y="32953"/>
                </a:cubicBezTo>
                <a:cubicBezTo>
                  <a:pt x="37161" y="29844"/>
                  <a:pt x="34838" y="31088"/>
                  <a:pt x="35612" y="26113"/>
                </a:cubicBezTo>
                <a:cubicBezTo>
                  <a:pt x="37161" y="21139"/>
                  <a:pt x="34838" y="22383"/>
                  <a:pt x="37161" y="18652"/>
                </a:cubicBezTo>
                <a:cubicBezTo>
                  <a:pt x="40258" y="15544"/>
                  <a:pt x="40258" y="14922"/>
                  <a:pt x="40258" y="13678"/>
                </a:cubicBezTo>
                <a:cubicBezTo>
                  <a:pt x="39483" y="10569"/>
                  <a:pt x="37935" y="8704"/>
                  <a:pt x="40258" y="8082"/>
                </a:cubicBezTo>
                <a:cubicBezTo>
                  <a:pt x="41806" y="6839"/>
                  <a:pt x="41806" y="1865"/>
                  <a:pt x="47225" y="3730"/>
                </a:cubicBezTo>
                <a:cubicBezTo>
                  <a:pt x="51870" y="6217"/>
                  <a:pt x="49548" y="8082"/>
                  <a:pt x="51870" y="8082"/>
                </a:cubicBezTo>
                <a:cubicBezTo>
                  <a:pt x="59612" y="8082"/>
                  <a:pt x="62709" y="11813"/>
                  <a:pt x="65032" y="6839"/>
                </a:cubicBezTo>
                <a:cubicBezTo>
                  <a:pt x="67354" y="1865"/>
                  <a:pt x="65032" y="8704"/>
                  <a:pt x="72000" y="4974"/>
                </a:cubicBezTo>
                <a:cubicBezTo>
                  <a:pt x="78193" y="1865"/>
                  <a:pt x="78193" y="6217"/>
                  <a:pt x="80516" y="3108"/>
                </a:cubicBezTo>
                <a:cubicBezTo>
                  <a:pt x="82838" y="0"/>
                  <a:pt x="89032" y="6217"/>
                  <a:pt x="89806" y="3730"/>
                </a:cubicBezTo>
                <a:cubicBezTo>
                  <a:pt x="92129" y="1865"/>
                  <a:pt x="92129" y="3730"/>
                  <a:pt x="94451" y="3730"/>
                </a:cubicBezTo>
                <a:cubicBezTo>
                  <a:pt x="96774" y="6839"/>
                  <a:pt x="99870" y="9948"/>
                  <a:pt x="100645" y="8082"/>
                </a:cubicBezTo>
                <a:cubicBezTo>
                  <a:pt x="102967" y="6217"/>
                  <a:pt x="104516" y="9948"/>
                  <a:pt x="105290" y="6839"/>
                </a:cubicBezTo>
                <a:cubicBezTo>
                  <a:pt x="107612" y="4974"/>
                  <a:pt x="109161" y="6217"/>
                  <a:pt x="109935" y="8704"/>
                </a:cubicBezTo>
                <a:cubicBezTo>
                  <a:pt x="112258" y="11813"/>
                  <a:pt x="112258" y="9948"/>
                  <a:pt x="114580" y="13678"/>
                </a:cubicBezTo>
                <a:cubicBezTo>
                  <a:pt x="114580" y="18652"/>
                  <a:pt x="112258" y="19274"/>
                  <a:pt x="116129" y="20518"/>
                </a:cubicBezTo>
                <a:cubicBezTo>
                  <a:pt x="120000" y="22383"/>
                  <a:pt x="114580" y="24248"/>
                  <a:pt x="111483" y="27357"/>
                </a:cubicBezTo>
                <a:cubicBezTo>
                  <a:pt x="107612" y="29844"/>
                  <a:pt x="107612" y="36683"/>
                  <a:pt x="107612" y="42901"/>
                </a:cubicBezTo>
                <a:cubicBezTo>
                  <a:pt x="100645" y="46632"/>
                  <a:pt x="106838" y="46632"/>
                  <a:pt x="104516" y="48497"/>
                </a:cubicBezTo>
                <a:cubicBezTo>
                  <a:pt x="102193" y="49740"/>
                  <a:pt x="102967" y="49740"/>
                  <a:pt x="102967" y="51606"/>
                </a:cubicBezTo>
                <a:cubicBezTo>
                  <a:pt x="104516" y="53471"/>
                  <a:pt x="105290" y="53471"/>
                  <a:pt x="104516" y="55958"/>
                </a:cubicBezTo>
                <a:cubicBezTo>
                  <a:pt x="104516" y="59067"/>
                  <a:pt x="106838" y="60310"/>
                  <a:pt x="106838" y="62176"/>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98" name="Shape 1861"/>
          <p:cNvSpPr/>
          <p:nvPr/>
        </p:nvSpPr>
        <p:spPr>
          <a:xfrm>
            <a:off x="6411073" y="4859868"/>
            <a:ext cx="214914" cy="293891"/>
          </a:xfrm>
          <a:custGeom>
            <a:avLst/>
            <a:gdLst/>
            <a:ahLst/>
            <a:cxnLst/>
            <a:rect l="0" t="0" r="0" b="0"/>
            <a:pathLst>
              <a:path w="120000" h="120000" extrusionOk="0">
                <a:moveTo>
                  <a:pt x="3692" y="10105"/>
                </a:moveTo>
                <a:cubicBezTo>
                  <a:pt x="14769" y="20210"/>
                  <a:pt x="9230" y="21473"/>
                  <a:pt x="14769" y="27789"/>
                </a:cubicBezTo>
                <a:cubicBezTo>
                  <a:pt x="20307" y="34105"/>
                  <a:pt x="20307" y="42947"/>
                  <a:pt x="11076" y="51789"/>
                </a:cubicBezTo>
                <a:cubicBezTo>
                  <a:pt x="0" y="59368"/>
                  <a:pt x="5538" y="65684"/>
                  <a:pt x="3692" y="74526"/>
                </a:cubicBezTo>
                <a:cubicBezTo>
                  <a:pt x="33230" y="88421"/>
                  <a:pt x="44307" y="94736"/>
                  <a:pt x="53538" y="98526"/>
                </a:cubicBezTo>
                <a:cubicBezTo>
                  <a:pt x="64615" y="102315"/>
                  <a:pt x="53538" y="102315"/>
                  <a:pt x="59076" y="108631"/>
                </a:cubicBezTo>
                <a:cubicBezTo>
                  <a:pt x="68307" y="112421"/>
                  <a:pt x="79384" y="120000"/>
                  <a:pt x="81230" y="120000"/>
                </a:cubicBezTo>
                <a:cubicBezTo>
                  <a:pt x="86769" y="114947"/>
                  <a:pt x="90461" y="114947"/>
                  <a:pt x="90461" y="108631"/>
                </a:cubicBezTo>
                <a:cubicBezTo>
                  <a:pt x="90461" y="101052"/>
                  <a:pt x="96000" y="108631"/>
                  <a:pt x="96000" y="98526"/>
                </a:cubicBezTo>
                <a:cubicBezTo>
                  <a:pt x="92307" y="90947"/>
                  <a:pt x="107076" y="94736"/>
                  <a:pt x="103384" y="88421"/>
                </a:cubicBezTo>
                <a:cubicBezTo>
                  <a:pt x="103384" y="84631"/>
                  <a:pt x="107076" y="90947"/>
                  <a:pt x="114461" y="83368"/>
                </a:cubicBezTo>
                <a:cubicBezTo>
                  <a:pt x="112615" y="77052"/>
                  <a:pt x="107076" y="79578"/>
                  <a:pt x="107076" y="70736"/>
                </a:cubicBezTo>
                <a:cubicBezTo>
                  <a:pt x="107076" y="60631"/>
                  <a:pt x="107076" y="27789"/>
                  <a:pt x="107076" y="27789"/>
                </a:cubicBezTo>
                <a:cubicBezTo>
                  <a:pt x="107076" y="27789"/>
                  <a:pt x="114461" y="17684"/>
                  <a:pt x="120000" y="13894"/>
                </a:cubicBezTo>
                <a:cubicBezTo>
                  <a:pt x="114461" y="13894"/>
                  <a:pt x="108923" y="13894"/>
                  <a:pt x="107076" y="12631"/>
                </a:cubicBezTo>
                <a:cubicBezTo>
                  <a:pt x="103384" y="10105"/>
                  <a:pt x="103384" y="7578"/>
                  <a:pt x="96000" y="12631"/>
                </a:cubicBezTo>
                <a:cubicBezTo>
                  <a:pt x="84923" y="16421"/>
                  <a:pt x="86769" y="21473"/>
                  <a:pt x="81230" y="20210"/>
                </a:cubicBezTo>
                <a:cubicBezTo>
                  <a:pt x="81230" y="17684"/>
                  <a:pt x="79384" y="20210"/>
                  <a:pt x="73846" y="17684"/>
                </a:cubicBezTo>
                <a:cubicBezTo>
                  <a:pt x="68307" y="16421"/>
                  <a:pt x="68307" y="21473"/>
                  <a:pt x="53538" y="12631"/>
                </a:cubicBezTo>
                <a:cubicBezTo>
                  <a:pt x="38769" y="2526"/>
                  <a:pt x="38769" y="12631"/>
                  <a:pt x="31384" y="6315"/>
                </a:cubicBezTo>
                <a:cubicBezTo>
                  <a:pt x="27692" y="6315"/>
                  <a:pt x="22153" y="6315"/>
                  <a:pt x="25846" y="2526"/>
                </a:cubicBezTo>
                <a:cubicBezTo>
                  <a:pt x="25846" y="0"/>
                  <a:pt x="20307" y="2526"/>
                  <a:pt x="14769" y="2526"/>
                </a:cubicBezTo>
                <a:cubicBezTo>
                  <a:pt x="9230" y="3789"/>
                  <a:pt x="5538" y="7578"/>
                  <a:pt x="3692" y="10105"/>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399" name="Shape 1862"/>
          <p:cNvSpPr/>
          <p:nvPr/>
        </p:nvSpPr>
        <p:spPr>
          <a:xfrm>
            <a:off x="6305323" y="4885283"/>
            <a:ext cx="139864" cy="173156"/>
          </a:xfrm>
          <a:custGeom>
            <a:avLst/>
            <a:gdLst/>
            <a:ahLst/>
            <a:cxnLst/>
            <a:rect l="0" t="0" r="0" b="0"/>
            <a:pathLst>
              <a:path w="120000" h="120000" extrusionOk="0">
                <a:moveTo>
                  <a:pt x="25714" y="17142"/>
                </a:moveTo>
                <a:cubicBezTo>
                  <a:pt x="25714" y="34285"/>
                  <a:pt x="17142" y="36428"/>
                  <a:pt x="31428" y="40714"/>
                </a:cubicBezTo>
                <a:cubicBezTo>
                  <a:pt x="42857" y="47142"/>
                  <a:pt x="25714" y="53571"/>
                  <a:pt x="14285" y="64285"/>
                </a:cubicBezTo>
                <a:cubicBezTo>
                  <a:pt x="0" y="72857"/>
                  <a:pt x="0" y="96428"/>
                  <a:pt x="0" y="117857"/>
                </a:cubicBezTo>
                <a:cubicBezTo>
                  <a:pt x="8571" y="113571"/>
                  <a:pt x="0" y="119999"/>
                  <a:pt x="8571" y="119999"/>
                </a:cubicBezTo>
                <a:cubicBezTo>
                  <a:pt x="14285" y="117857"/>
                  <a:pt x="14285" y="113571"/>
                  <a:pt x="17142" y="111428"/>
                </a:cubicBezTo>
                <a:cubicBezTo>
                  <a:pt x="25714" y="111428"/>
                  <a:pt x="82857" y="111428"/>
                  <a:pt x="94285" y="111428"/>
                </a:cubicBezTo>
                <a:cubicBezTo>
                  <a:pt x="100000" y="94285"/>
                  <a:pt x="91428" y="83571"/>
                  <a:pt x="108571" y="70714"/>
                </a:cubicBezTo>
                <a:cubicBezTo>
                  <a:pt x="120000" y="57857"/>
                  <a:pt x="120000" y="40714"/>
                  <a:pt x="111428" y="29999"/>
                </a:cubicBezTo>
                <a:cubicBezTo>
                  <a:pt x="102857" y="21428"/>
                  <a:pt x="111428" y="17142"/>
                  <a:pt x="94285" y="0"/>
                </a:cubicBezTo>
                <a:cubicBezTo>
                  <a:pt x="91428" y="6428"/>
                  <a:pt x="91428" y="10714"/>
                  <a:pt x="82857" y="10714"/>
                </a:cubicBezTo>
                <a:cubicBezTo>
                  <a:pt x="74285" y="10714"/>
                  <a:pt x="82857" y="10714"/>
                  <a:pt x="77142" y="6428"/>
                </a:cubicBezTo>
                <a:cubicBezTo>
                  <a:pt x="65714" y="6428"/>
                  <a:pt x="57142" y="21428"/>
                  <a:pt x="51428" y="12857"/>
                </a:cubicBezTo>
                <a:cubicBezTo>
                  <a:pt x="48571" y="10714"/>
                  <a:pt x="48571" y="6428"/>
                  <a:pt x="42857" y="10714"/>
                </a:cubicBezTo>
                <a:cubicBezTo>
                  <a:pt x="40000" y="17142"/>
                  <a:pt x="34285" y="0"/>
                  <a:pt x="25714" y="17142"/>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00" name="Shape 1863"/>
          <p:cNvSpPr/>
          <p:nvPr/>
        </p:nvSpPr>
        <p:spPr>
          <a:xfrm>
            <a:off x="5826026" y="5187122"/>
            <a:ext cx="337724" cy="379673"/>
          </a:xfrm>
          <a:custGeom>
            <a:avLst/>
            <a:gdLst/>
            <a:ahLst/>
            <a:cxnLst/>
            <a:rect l="0" t="0" r="0" b="0"/>
            <a:pathLst>
              <a:path w="120000" h="120000" extrusionOk="0">
                <a:moveTo>
                  <a:pt x="111764" y="114146"/>
                </a:moveTo>
                <a:cubicBezTo>
                  <a:pt x="105882" y="109268"/>
                  <a:pt x="98823" y="103414"/>
                  <a:pt x="98823" y="97560"/>
                </a:cubicBezTo>
                <a:cubicBezTo>
                  <a:pt x="98823" y="93658"/>
                  <a:pt x="98823" y="76097"/>
                  <a:pt x="98823" y="71219"/>
                </a:cubicBezTo>
                <a:cubicBezTo>
                  <a:pt x="98823" y="68292"/>
                  <a:pt x="103529" y="70243"/>
                  <a:pt x="115294" y="70243"/>
                </a:cubicBezTo>
                <a:cubicBezTo>
                  <a:pt x="118823" y="70243"/>
                  <a:pt x="115294" y="67317"/>
                  <a:pt x="116470" y="63414"/>
                </a:cubicBezTo>
                <a:cubicBezTo>
                  <a:pt x="120000" y="62439"/>
                  <a:pt x="115294" y="62439"/>
                  <a:pt x="116470" y="57560"/>
                </a:cubicBezTo>
                <a:cubicBezTo>
                  <a:pt x="118823" y="51707"/>
                  <a:pt x="116470" y="49756"/>
                  <a:pt x="116470" y="48780"/>
                </a:cubicBezTo>
                <a:cubicBezTo>
                  <a:pt x="116470" y="49756"/>
                  <a:pt x="116470" y="49756"/>
                  <a:pt x="112941" y="49756"/>
                </a:cubicBezTo>
                <a:cubicBezTo>
                  <a:pt x="111764" y="48780"/>
                  <a:pt x="109411" y="51707"/>
                  <a:pt x="105882" y="49756"/>
                </a:cubicBezTo>
                <a:cubicBezTo>
                  <a:pt x="102352" y="49756"/>
                  <a:pt x="103529" y="53658"/>
                  <a:pt x="100000" y="53658"/>
                </a:cubicBezTo>
                <a:cubicBezTo>
                  <a:pt x="96470" y="51707"/>
                  <a:pt x="103529" y="45853"/>
                  <a:pt x="98823" y="40000"/>
                </a:cubicBezTo>
                <a:cubicBezTo>
                  <a:pt x="92941" y="33170"/>
                  <a:pt x="98823" y="27317"/>
                  <a:pt x="96470" y="23414"/>
                </a:cubicBezTo>
                <a:cubicBezTo>
                  <a:pt x="95294" y="18536"/>
                  <a:pt x="96470" y="18536"/>
                  <a:pt x="96470" y="15609"/>
                </a:cubicBezTo>
                <a:cubicBezTo>
                  <a:pt x="96470" y="12682"/>
                  <a:pt x="82352" y="16585"/>
                  <a:pt x="85882" y="12682"/>
                </a:cubicBezTo>
                <a:cubicBezTo>
                  <a:pt x="85882" y="10731"/>
                  <a:pt x="84705" y="9756"/>
                  <a:pt x="82352" y="10731"/>
                </a:cubicBezTo>
                <a:cubicBezTo>
                  <a:pt x="81176" y="12682"/>
                  <a:pt x="75294" y="9756"/>
                  <a:pt x="75294" y="13658"/>
                </a:cubicBezTo>
                <a:cubicBezTo>
                  <a:pt x="75294" y="18536"/>
                  <a:pt x="74117" y="15609"/>
                  <a:pt x="74117" y="19512"/>
                </a:cubicBezTo>
                <a:cubicBezTo>
                  <a:pt x="75294" y="23414"/>
                  <a:pt x="70588" y="21463"/>
                  <a:pt x="68235" y="21463"/>
                </a:cubicBezTo>
                <a:cubicBezTo>
                  <a:pt x="65882" y="19512"/>
                  <a:pt x="57647" y="24390"/>
                  <a:pt x="55294" y="19512"/>
                </a:cubicBezTo>
                <a:cubicBezTo>
                  <a:pt x="54117" y="15609"/>
                  <a:pt x="51764" y="16585"/>
                  <a:pt x="51764" y="12682"/>
                </a:cubicBezTo>
                <a:cubicBezTo>
                  <a:pt x="51764" y="9756"/>
                  <a:pt x="50588" y="9756"/>
                  <a:pt x="48235" y="4878"/>
                </a:cubicBezTo>
                <a:cubicBezTo>
                  <a:pt x="48235" y="0"/>
                  <a:pt x="48235" y="0"/>
                  <a:pt x="36470" y="1951"/>
                </a:cubicBezTo>
                <a:cubicBezTo>
                  <a:pt x="21176" y="1951"/>
                  <a:pt x="23529" y="0"/>
                  <a:pt x="16470" y="0"/>
                </a:cubicBezTo>
                <a:cubicBezTo>
                  <a:pt x="10588" y="2926"/>
                  <a:pt x="7058" y="1951"/>
                  <a:pt x="9411" y="2926"/>
                </a:cubicBezTo>
                <a:cubicBezTo>
                  <a:pt x="9411" y="5853"/>
                  <a:pt x="20000" y="24390"/>
                  <a:pt x="16470" y="27317"/>
                </a:cubicBezTo>
                <a:cubicBezTo>
                  <a:pt x="12941" y="32195"/>
                  <a:pt x="17647" y="40000"/>
                  <a:pt x="21176" y="45853"/>
                </a:cubicBezTo>
                <a:cubicBezTo>
                  <a:pt x="23529" y="51707"/>
                  <a:pt x="23529" y="60487"/>
                  <a:pt x="16470" y="65365"/>
                </a:cubicBezTo>
                <a:cubicBezTo>
                  <a:pt x="5882" y="71219"/>
                  <a:pt x="9411" y="87804"/>
                  <a:pt x="5882" y="93658"/>
                </a:cubicBezTo>
                <a:cubicBezTo>
                  <a:pt x="0" y="100487"/>
                  <a:pt x="3529" y="101463"/>
                  <a:pt x="2352" y="111219"/>
                </a:cubicBezTo>
                <a:cubicBezTo>
                  <a:pt x="9411" y="111219"/>
                  <a:pt x="9411" y="111219"/>
                  <a:pt x="14117" y="107317"/>
                </a:cubicBezTo>
                <a:cubicBezTo>
                  <a:pt x="21176" y="104390"/>
                  <a:pt x="20000" y="112195"/>
                  <a:pt x="25882" y="112195"/>
                </a:cubicBezTo>
                <a:cubicBezTo>
                  <a:pt x="30588" y="112195"/>
                  <a:pt x="54117" y="112195"/>
                  <a:pt x="58823" y="112195"/>
                </a:cubicBezTo>
                <a:cubicBezTo>
                  <a:pt x="64705" y="112195"/>
                  <a:pt x="65882" y="111219"/>
                  <a:pt x="68235" y="114146"/>
                </a:cubicBezTo>
                <a:cubicBezTo>
                  <a:pt x="70588" y="120000"/>
                  <a:pt x="81176" y="115121"/>
                  <a:pt x="84705" y="117073"/>
                </a:cubicBezTo>
                <a:cubicBezTo>
                  <a:pt x="88235" y="118048"/>
                  <a:pt x="88235" y="118048"/>
                  <a:pt x="89411" y="117073"/>
                </a:cubicBezTo>
                <a:cubicBezTo>
                  <a:pt x="89411" y="115121"/>
                  <a:pt x="91764" y="118048"/>
                  <a:pt x="92941" y="118048"/>
                </a:cubicBezTo>
                <a:cubicBezTo>
                  <a:pt x="96470" y="117073"/>
                  <a:pt x="111764" y="114146"/>
                  <a:pt x="111764" y="114146"/>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01" name="Shape 1864"/>
          <p:cNvSpPr/>
          <p:nvPr/>
        </p:nvSpPr>
        <p:spPr>
          <a:xfrm>
            <a:off x="6104053" y="5258605"/>
            <a:ext cx="307022" cy="309777"/>
          </a:xfrm>
          <a:custGeom>
            <a:avLst/>
            <a:gdLst/>
            <a:ahLst/>
            <a:cxnLst/>
            <a:rect l="0" t="0" r="0" b="0"/>
            <a:pathLst>
              <a:path w="120000" h="120000" extrusionOk="0">
                <a:moveTo>
                  <a:pt x="33548" y="112871"/>
                </a:moveTo>
                <a:cubicBezTo>
                  <a:pt x="29677" y="106930"/>
                  <a:pt x="23225" y="109306"/>
                  <a:pt x="14193" y="111683"/>
                </a:cubicBezTo>
                <a:cubicBezTo>
                  <a:pt x="7741" y="105742"/>
                  <a:pt x="0" y="98613"/>
                  <a:pt x="0" y="90297"/>
                </a:cubicBezTo>
                <a:cubicBezTo>
                  <a:pt x="0" y="86732"/>
                  <a:pt x="0" y="65346"/>
                  <a:pt x="0" y="59405"/>
                </a:cubicBezTo>
                <a:cubicBezTo>
                  <a:pt x="0" y="55841"/>
                  <a:pt x="6451" y="57029"/>
                  <a:pt x="18064" y="57029"/>
                </a:cubicBezTo>
                <a:cubicBezTo>
                  <a:pt x="21935" y="57029"/>
                  <a:pt x="18064" y="53465"/>
                  <a:pt x="19354" y="49900"/>
                </a:cubicBezTo>
                <a:cubicBezTo>
                  <a:pt x="23225" y="48712"/>
                  <a:pt x="18064" y="48712"/>
                  <a:pt x="19354" y="42772"/>
                </a:cubicBezTo>
                <a:cubicBezTo>
                  <a:pt x="21935" y="35643"/>
                  <a:pt x="19354" y="33267"/>
                  <a:pt x="19354" y="32079"/>
                </a:cubicBezTo>
                <a:cubicBezTo>
                  <a:pt x="29677" y="32079"/>
                  <a:pt x="21935" y="41584"/>
                  <a:pt x="29677" y="36831"/>
                </a:cubicBezTo>
                <a:cubicBezTo>
                  <a:pt x="40000" y="32079"/>
                  <a:pt x="29677" y="41584"/>
                  <a:pt x="37419" y="42772"/>
                </a:cubicBezTo>
                <a:cubicBezTo>
                  <a:pt x="47741" y="45148"/>
                  <a:pt x="49032" y="46336"/>
                  <a:pt x="51612" y="42772"/>
                </a:cubicBezTo>
                <a:cubicBezTo>
                  <a:pt x="51612" y="36831"/>
                  <a:pt x="52903" y="39207"/>
                  <a:pt x="52903" y="42772"/>
                </a:cubicBezTo>
                <a:cubicBezTo>
                  <a:pt x="55483" y="45148"/>
                  <a:pt x="56774" y="48712"/>
                  <a:pt x="59354" y="48712"/>
                </a:cubicBezTo>
                <a:cubicBezTo>
                  <a:pt x="63225" y="48712"/>
                  <a:pt x="64516" y="49900"/>
                  <a:pt x="68387" y="55841"/>
                </a:cubicBezTo>
                <a:cubicBezTo>
                  <a:pt x="72258" y="62970"/>
                  <a:pt x="72258" y="62970"/>
                  <a:pt x="76129" y="59405"/>
                </a:cubicBezTo>
                <a:cubicBezTo>
                  <a:pt x="78709" y="57029"/>
                  <a:pt x="78709" y="68910"/>
                  <a:pt x="81290" y="53465"/>
                </a:cubicBezTo>
                <a:cubicBezTo>
                  <a:pt x="81290" y="39207"/>
                  <a:pt x="78709" y="52277"/>
                  <a:pt x="72258" y="49900"/>
                </a:cubicBezTo>
                <a:cubicBezTo>
                  <a:pt x="68387" y="48712"/>
                  <a:pt x="67096" y="45148"/>
                  <a:pt x="64516" y="41584"/>
                </a:cubicBezTo>
                <a:cubicBezTo>
                  <a:pt x="63225" y="36831"/>
                  <a:pt x="70967" y="29702"/>
                  <a:pt x="67096" y="26138"/>
                </a:cubicBezTo>
                <a:cubicBezTo>
                  <a:pt x="64516" y="20198"/>
                  <a:pt x="72258" y="22574"/>
                  <a:pt x="67096" y="15445"/>
                </a:cubicBezTo>
                <a:cubicBezTo>
                  <a:pt x="63225" y="11881"/>
                  <a:pt x="70967" y="13069"/>
                  <a:pt x="70967" y="5940"/>
                </a:cubicBezTo>
                <a:cubicBezTo>
                  <a:pt x="70967" y="0"/>
                  <a:pt x="82580" y="2376"/>
                  <a:pt x="90322" y="0"/>
                </a:cubicBezTo>
                <a:cubicBezTo>
                  <a:pt x="92903" y="5940"/>
                  <a:pt x="96774" y="3564"/>
                  <a:pt x="98064" y="7128"/>
                </a:cubicBezTo>
                <a:cubicBezTo>
                  <a:pt x="100645" y="11881"/>
                  <a:pt x="100645" y="5940"/>
                  <a:pt x="101935" y="9504"/>
                </a:cubicBezTo>
                <a:cubicBezTo>
                  <a:pt x="104516" y="13069"/>
                  <a:pt x="101935" y="9504"/>
                  <a:pt x="112258" y="15445"/>
                </a:cubicBezTo>
                <a:cubicBezTo>
                  <a:pt x="112258" y="19009"/>
                  <a:pt x="112258" y="15445"/>
                  <a:pt x="116129" y="19009"/>
                </a:cubicBezTo>
                <a:cubicBezTo>
                  <a:pt x="117419" y="20198"/>
                  <a:pt x="113548" y="20198"/>
                  <a:pt x="116129" y="23762"/>
                </a:cubicBezTo>
                <a:cubicBezTo>
                  <a:pt x="120000" y="26138"/>
                  <a:pt x="120000" y="28514"/>
                  <a:pt x="117419" y="32079"/>
                </a:cubicBezTo>
                <a:cubicBezTo>
                  <a:pt x="113548" y="33267"/>
                  <a:pt x="117419" y="35643"/>
                  <a:pt x="116129" y="36831"/>
                </a:cubicBezTo>
                <a:cubicBezTo>
                  <a:pt x="113548" y="39207"/>
                  <a:pt x="116129" y="41584"/>
                  <a:pt x="116129" y="45148"/>
                </a:cubicBezTo>
                <a:cubicBezTo>
                  <a:pt x="113548" y="49900"/>
                  <a:pt x="120000" y="52277"/>
                  <a:pt x="116129" y="52277"/>
                </a:cubicBezTo>
                <a:cubicBezTo>
                  <a:pt x="109677" y="52277"/>
                  <a:pt x="113548" y="59405"/>
                  <a:pt x="109677" y="62970"/>
                </a:cubicBezTo>
                <a:cubicBezTo>
                  <a:pt x="108387" y="65346"/>
                  <a:pt x="112258" y="66534"/>
                  <a:pt x="113548" y="68910"/>
                </a:cubicBezTo>
                <a:cubicBezTo>
                  <a:pt x="112258" y="70099"/>
                  <a:pt x="86451" y="79603"/>
                  <a:pt x="85161" y="79603"/>
                </a:cubicBezTo>
                <a:cubicBezTo>
                  <a:pt x="82580" y="79603"/>
                  <a:pt x="85161" y="85544"/>
                  <a:pt x="86451" y="86732"/>
                </a:cubicBezTo>
                <a:cubicBezTo>
                  <a:pt x="82580" y="89108"/>
                  <a:pt x="78709" y="86732"/>
                  <a:pt x="72258" y="90297"/>
                </a:cubicBezTo>
                <a:cubicBezTo>
                  <a:pt x="67096" y="95049"/>
                  <a:pt x="72258" y="98613"/>
                  <a:pt x="67096" y="99801"/>
                </a:cubicBezTo>
                <a:cubicBezTo>
                  <a:pt x="59354" y="103366"/>
                  <a:pt x="55483" y="109306"/>
                  <a:pt x="51612" y="115247"/>
                </a:cubicBezTo>
                <a:cubicBezTo>
                  <a:pt x="47741" y="120000"/>
                  <a:pt x="45161" y="112871"/>
                  <a:pt x="41290" y="115247"/>
                </a:cubicBezTo>
                <a:cubicBezTo>
                  <a:pt x="40000" y="116435"/>
                  <a:pt x="40000" y="112871"/>
                  <a:pt x="33548" y="112871"/>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02" name="Shape 1865"/>
          <p:cNvSpPr/>
          <p:nvPr/>
        </p:nvSpPr>
        <p:spPr>
          <a:xfrm>
            <a:off x="6315554" y="5331681"/>
            <a:ext cx="288258" cy="501997"/>
          </a:xfrm>
          <a:custGeom>
            <a:avLst/>
            <a:gdLst/>
            <a:ahLst/>
            <a:cxnLst/>
            <a:rect l="0" t="0" r="0" b="0"/>
            <a:pathLst>
              <a:path w="120000" h="120000" extrusionOk="0">
                <a:moveTo>
                  <a:pt x="23448" y="120000"/>
                </a:moveTo>
                <a:cubicBezTo>
                  <a:pt x="31724" y="120000"/>
                  <a:pt x="31724" y="120000"/>
                  <a:pt x="31724" y="120000"/>
                </a:cubicBezTo>
                <a:cubicBezTo>
                  <a:pt x="33103" y="111901"/>
                  <a:pt x="28965" y="117791"/>
                  <a:pt x="28965" y="114846"/>
                </a:cubicBezTo>
                <a:cubicBezTo>
                  <a:pt x="27586" y="111901"/>
                  <a:pt x="35862" y="108957"/>
                  <a:pt x="46896" y="106748"/>
                </a:cubicBezTo>
                <a:cubicBezTo>
                  <a:pt x="56551" y="104539"/>
                  <a:pt x="60689" y="100858"/>
                  <a:pt x="59310" y="97177"/>
                </a:cubicBezTo>
                <a:cubicBezTo>
                  <a:pt x="56551" y="94969"/>
                  <a:pt x="60689" y="94969"/>
                  <a:pt x="60689" y="88343"/>
                </a:cubicBezTo>
                <a:cubicBezTo>
                  <a:pt x="59310" y="80981"/>
                  <a:pt x="59310" y="89079"/>
                  <a:pt x="56551" y="83926"/>
                </a:cubicBezTo>
                <a:cubicBezTo>
                  <a:pt x="55172" y="76564"/>
                  <a:pt x="56551" y="78036"/>
                  <a:pt x="52413" y="74355"/>
                </a:cubicBezTo>
                <a:cubicBezTo>
                  <a:pt x="48275" y="72147"/>
                  <a:pt x="51034" y="70674"/>
                  <a:pt x="51034" y="68466"/>
                </a:cubicBezTo>
                <a:cubicBezTo>
                  <a:pt x="51034" y="66257"/>
                  <a:pt x="52413" y="69938"/>
                  <a:pt x="59310" y="64049"/>
                </a:cubicBezTo>
                <a:cubicBezTo>
                  <a:pt x="67586" y="59631"/>
                  <a:pt x="64827" y="64049"/>
                  <a:pt x="73103" y="57423"/>
                </a:cubicBezTo>
                <a:cubicBezTo>
                  <a:pt x="80000" y="49325"/>
                  <a:pt x="88275" y="49325"/>
                  <a:pt x="95172" y="47852"/>
                </a:cubicBezTo>
                <a:cubicBezTo>
                  <a:pt x="103448" y="47116"/>
                  <a:pt x="107586" y="41963"/>
                  <a:pt x="113103" y="35337"/>
                </a:cubicBezTo>
                <a:cubicBezTo>
                  <a:pt x="117241" y="30920"/>
                  <a:pt x="113103" y="34601"/>
                  <a:pt x="117241" y="30920"/>
                </a:cubicBezTo>
                <a:cubicBezTo>
                  <a:pt x="120000" y="27239"/>
                  <a:pt x="113103" y="29447"/>
                  <a:pt x="113103" y="22822"/>
                </a:cubicBezTo>
                <a:cubicBezTo>
                  <a:pt x="115862" y="16932"/>
                  <a:pt x="115862" y="13251"/>
                  <a:pt x="113103" y="8834"/>
                </a:cubicBezTo>
                <a:cubicBezTo>
                  <a:pt x="111724" y="2208"/>
                  <a:pt x="120000" y="5889"/>
                  <a:pt x="113103" y="0"/>
                </a:cubicBezTo>
                <a:cubicBezTo>
                  <a:pt x="108965" y="2208"/>
                  <a:pt x="104827" y="2944"/>
                  <a:pt x="96551" y="5889"/>
                </a:cubicBezTo>
                <a:cubicBezTo>
                  <a:pt x="88275" y="8098"/>
                  <a:pt x="86896" y="2208"/>
                  <a:pt x="86896" y="5889"/>
                </a:cubicBezTo>
                <a:cubicBezTo>
                  <a:pt x="84137" y="8834"/>
                  <a:pt x="77241" y="8834"/>
                  <a:pt x="75862" y="8098"/>
                </a:cubicBezTo>
                <a:cubicBezTo>
                  <a:pt x="73103" y="6625"/>
                  <a:pt x="68965" y="10306"/>
                  <a:pt x="64827" y="8098"/>
                </a:cubicBezTo>
                <a:cubicBezTo>
                  <a:pt x="60689" y="4417"/>
                  <a:pt x="60689" y="8834"/>
                  <a:pt x="51034" y="6625"/>
                </a:cubicBezTo>
                <a:cubicBezTo>
                  <a:pt x="48275" y="8098"/>
                  <a:pt x="51034" y="8834"/>
                  <a:pt x="48275" y="10306"/>
                </a:cubicBezTo>
                <a:cubicBezTo>
                  <a:pt x="46896" y="12515"/>
                  <a:pt x="48275" y="16196"/>
                  <a:pt x="48275" y="19141"/>
                </a:cubicBezTo>
                <a:cubicBezTo>
                  <a:pt x="51034" y="21349"/>
                  <a:pt x="52413" y="21349"/>
                  <a:pt x="59310" y="26503"/>
                </a:cubicBezTo>
                <a:cubicBezTo>
                  <a:pt x="67586" y="30920"/>
                  <a:pt x="63448" y="31656"/>
                  <a:pt x="63448" y="35337"/>
                </a:cubicBezTo>
                <a:cubicBezTo>
                  <a:pt x="63448" y="39018"/>
                  <a:pt x="63448" y="39754"/>
                  <a:pt x="60689" y="41226"/>
                </a:cubicBezTo>
                <a:cubicBezTo>
                  <a:pt x="56551" y="41226"/>
                  <a:pt x="55172" y="41963"/>
                  <a:pt x="56551" y="44907"/>
                </a:cubicBezTo>
                <a:cubicBezTo>
                  <a:pt x="56551" y="47116"/>
                  <a:pt x="56551" y="49325"/>
                  <a:pt x="55172" y="47852"/>
                </a:cubicBezTo>
                <a:cubicBezTo>
                  <a:pt x="52413" y="47852"/>
                  <a:pt x="55172" y="45644"/>
                  <a:pt x="48275" y="41226"/>
                </a:cubicBezTo>
                <a:cubicBezTo>
                  <a:pt x="42758" y="37546"/>
                  <a:pt x="48275" y="39018"/>
                  <a:pt x="48275" y="34601"/>
                </a:cubicBezTo>
                <a:cubicBezTo>
                  <a:pt x="51034" y="29447"/>
                  <a:pt x="48275" y="27239"/>
                  <a:pt x="40000" y="28711"/>
                </a:cubicBezTo>
                <a:cubicBezTo>
                  <a:pt x="37241" y="29447"/>
                  <a:pt x="35862" y="27239"/>
                  <a:pt x="33103" y="25030"/>
                </a:cubicBezTo>
                <a:cubicBezTo>
                  <a:pt x="31724" y="26503"/>
                  <a:pt x="4137" y="31656"/>
                  <a:pt x="2758" y="31656"/>
                </a:cubicBezTo>
                <a:cubicBezTo>
                  <a:pt x="0" y="31656"/>
                  <a:pt x="2758" y="35337"/>
                  <a:pt x="4137" y="36809"/>
                </a:cubicBezTo>
                <a:cubicBezTo>
                  <a:pt x="2758" y="41963"/>
                  <a:pt x="11034" y="37546"/>
                  <a:pt x="16551" y="41226"/>
                </a:cubicBezTo>
                <a:cubicBezTo>
                  <a:pt x="23448" y="43435"/>
                  <a:pt x="24827" y="41963"/>
                  <a:pt x="28965" y="44907"/>
                </a:cubicBezTo>
                <a:cubicBezTo>
                  <a:pt x="33103" y="45644"/>
                  <a:pt x="28965" y="45644"/>
                  <a:pt x="31724" y="49325"/>
                </a:cubicBezTo>
                <a:cubicBezTo>
                  <a:pt x="33103" y="51533"/>
                  <a:pt x="31724" y="60368"/>
                  <a:pt x="28965" y="60368"/>
                </a:cubicBezTo>
                <a:cubicBezTo>
                  <a:pt x="27586" y="60368"/>
                  <a:pt x="31724" y="61840"/>
                  <a:pt x="28965" y="64049"/>
                </a:cubicBezTo>
                <a:cubicBezTo>
                  <a:pt x="27586" y="67730"/>
                  <a:pt x="35862" y="66257"/>
                  <a:pt x="31724" y="70674"/>
                </a:cubicBezTo>
                <a:cubicBezTo>
                  <a:pt x="23448" y="76564"/>
                  <a:pt x="27586" y="78036"/>
                  <a:pt x="23448" y="80245"/>
                </a:cubicBezTo>
                <a:cubicBezTo>
                  <a:pt x="20689" y="82453"/>
                  <a:pt x="12413" y="86871"/>
                  <a:pt x="12413" y="86871"/>
                </a:cubicBezTo>
                <a:cubicBezTo>
                  <a:pt x="16551" y="92760"/>
                  <a:pt x="23448" y="107484"/>
                  <a:pt x="20689" y="114846"/>
                </a:cubicBezTo>
                <a:cubicBezTo>
                  <a:pt x="23448" y="120000"/>
                  <a:pt x="23448" y="120000"/>
                  <a:pt x="23448" y="120000"/>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03" name="Shape 1866"/>
          <p:cNvSpPr/>
          <p:nvPr/>
        </p:nvSpPr>
        <p:spPr>
          <a:xfrm>
            <a:off x="5826026" y="5519134"/>
            <a:ext cx="363309" cy="386027"/>
          </a:xfrm>
          <a:custGeom>
            <a:avLst/>
            <a:gdLst/>
            <a:ahLst/>
            <a:cxnLst/>
            <a:rect l="0" t="0" r="0" b="0"/>
            <a:pathLst>
              <a:path w="120000" h="120000" extrusionOk="0">
                <a:moveTo>
                  <a:pt x="2181" y="5760"/>
                </a:moveTo>
                <a:cubicBezTo>
                  <a:pt x="0" y="14400"/>
                  <a:pt x="12000" y="24000"/>
                  <a:pt x="16363" y="40320"/>
                </a:cubicBezTo>
                <a:cubicBezTo>
                  <a:pt x="20727" y="54720"/>
                  <a:pt x="28363" y="47040"/>
                  <a:pt x="25090" y="65280"/>
                </a:cubicBezTo>
                <a:cubicBezTo>
                  <a:pt x="25090" y="72960"/>
                  <a:pt x="30545" y="86400"/>
                  <a:pt x="31636" y="96960"/>
                </a:cubicBezTo>
                <a:cubicBezTo>
                  <a:pt x="31636" y="108480"/>
                  <a:pt x="40363" y="113280"/>
                  <a:pt x="43636" y="116160"/>
                </a:cubicBezTo>
                <a:cubicBezTo>
                  <a:pt x="48000" y="114240"/>
                  <a:pt x="46909" y="108480"/>
                  <a:pt x="50181" y="111360"/>
                </a:cubicBezTo>
                <a:cubicBezTo>
                  <a:pt x="53454" y="114240"/>
                  <a:pt x="48000" y="116160"/>
                  <a:pt x="55636" y="119040"/>
                </a:cubicBezTo>
                <a:cubicBezTo>
                  <a:pt x="60000" y="120000"/>
                  <a:pt x="63272" y="117120"/>
                  <a:pt x="65454" y="119040"/>
                </a:cubicBezTo>
                <a:cubicBezTo>
                  <a:pt x="66545" y="120000"/>
                  <a:pt x="69818" y="116160"/>
                  <a:pt x="75272" y="114240"/>
                </a:cubicBezTo>
                <a:cubicBezTo>
                  <a:pt x="75272" y="78720"/>
                  <a:pt x="75272" y="78720"/>
                  <a:pt x="75272" y="78720"/>
                </a:cubicBezTo>
                <a:cubicBezTo>
                  <a:pt x="75272" y="51840"/>
                  <a:pt x="75272" y="51840"/>
                  <a:pt x="75272" y="51840"/>
                </a:cubicBezTo>
                <a:cubicBezTo>
                  <a:pt x="84000" y="51840"/>
                  <a:pt x="84000" y="51840"/>
                  <a:pt x="84000" y="51840"/>
                </a:cubicBezTo>
                <a:cubicBezTo>
                  <a:pt x="84000" y="16320"/>
                  <a:pt x="84000" y="16320"/>
                  <a:pt x="84000" y="16320"/>
                </a:cubicBezTo>
                <a:cubicBezTo>
                  <a:pt x="84000" y="16320"/>
                  <a:pt x="88363" y="14400"/>
                  <a:pt x="94909" y="13440"/>
                </a:cubicBezTo>
                <a:cubicBezTo>
                  <a:pt x="101454" y="13440"/>
                  <a:pt x="103636" y="11520"/>
                  <a:pt x="104727" y="14400"/>
                </a:cubicBezTo>
                <a:cubicBezTo>
                  <a:pt x="106909" y="19200"/>
                  <a:pt x="108000" y="13440"/>
                  <a:pt x="111272" y="13440"/>
                </a:cubicBezTo>
                <a:cubicBezTo>
                  <a:pt x="114545" y="13440"/>
                  <a:pt x="114545" y="11520"/>
                  <a:pt x="120000" y="10560"/>
                </a:cubicBezTo>
                <a:cubicBezTo>
                  <a:pt x="116727" y="5760"/>
                  <a:pt x="111272" y="7680"/>
                  <a:pt x="103636" y="8640"/>
                </a:cubicBezTo>
                <a:cubicBezTo>
                  <a:pt x="103636" y="8640"/>
                  <a:pt x="90545" y="11520"/>
                  <a:pt x="87272" y="13440"/>
                </a:cubicBezTo>
                <a:cubicBezTo>
                  <a:pt x="85090" y="13440"/>
                  <a:pt x="84000" y="10560"/>
                  <a:pt x="84000" y="11520"/>
                </a:cubicBezTo>
                <a:cubicBezTo>
                  <a:pt x="81818" y="13440"/>
                  <a:pt x="81818" y="13440"/>
                  <a:pt x="78545" y="11520"/>
                </a:cubicBezTo>
                <a:cubicBezTo>
                  <a:pt x="75272" y="10560"/>
                  <a:pt x="65454" y="14400"/>
                  <a:pt x="63272" y="8640"/>
                </a:cubicBezTo>
                <a:cubicBezTo>
                  <a:pt x="62181" y="5760"/>
                  <a:pt x="60000" y="7680"/>
                  <a:pt x="55636" y="7680"/>
                </a:cubicBezTo>
                <a:cubicBezTo>
                  <a:pt x="50181" y="7680"/>
                  <a:pt x="28363" y="7680"/>
                  <a:pt x="24000" y="7680"/>
                </a:cubicBezTo>
                <a:cubicBezTo>
                  <a:pt x="18545" y="7680"/>
                  <a:pt x="20727" y="0"/>
                  <a:pt x="13090" y="2880"/>
                </a:cubicBezTo>
                <a:cubicBezTo>
                  <a:pt x="8727" y="5760"/>
                  <a:pt x="8727" y="5760"/>
                  <a:pt x="2181" y="576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04" name="Shape 1867"/>
          <p:cNvSpPr/>
          <p:nvPr/>
        </p:nvSpPr>
        <p:spPr>
          <a:xfrm>
            <a:off x="6054586" y="5550909"/>
            <a:ext cx="240500" cy="292301"/>
          </a:xfrm>
          <a:custGeom>
            <a:avLst/>
            <a:gdLst/>
            <a:ahLst/>
            <a:cxnLst/>
            <a:rect l="0" t="0" r="0" b="0"/>
            <a:pathLst>
              <a:path w="120000" h="120000" extrusionOk="0">
                <a:moveTo>
                  <a:pt x="67397" y="0"/>
                </a:moveTo>
                <a:cubicBezTo>
                  <a:pt x="60821" y="2526"/>
                  <a:pt x="60821" y="3789"/>
                  <a:pt x="55890" y="3789"/>
                </a:cubicBezTo>
                <a:cubicBezTo>
                  <a:pt x="49315" y="3789"/>
                  <a:pt x="47671" y="12631"/>
                  <a:pt x="44383" y="6315"/>
                </a:cubicBezTo>
                <a:cubicBezTo>
                  <a:pt x="42739" y="2526"/>
                  <a:pt x="39452" y="3789"/>
                  <a:pt x="29589" y="3789"/>
                </a:cubicBezTo>
                <a:cubicBezTo>
                  <a:pt x="19726" y="6315"/>
                  <a:pt x="13150" y="8842"/>
                  <a:pt x="13150" y="8842"/>
                </a:cubicBezTo>
                <a:cubicBezTo>
                  <a:pt x="13150" y="55578"/>
                  <a:pt x="13150" y="55578"/>
                  <a:pt x="13150" y="55578"/>
                </a:cubicBezTo>
                <a:cubicBezTo>
                  <a:pt x="0" y="55578"/>
                  <a:pt x="0" y="55578"/>
                  <a:pt x="0" y="55578"/>
                </a:cubicBezTo>
                <a:cubicBezTo>
                  <a:pt x="0" y="90947"/>
                  <a:pt x="0" y="90947"/>
                  <a:pt x="0" y="90947"/>
                </a:cubicBezTo>
                <a:cubicBezTo>
                  <a:pt x="4931" y="94736"/>
                  <a:pt x="9863" y="106105"/>
                  <a:pt x="8219" y="111157"/>
                </a:cubicBezTo>
                <a:cubicBezTo>
                  <a:pt x="4931" y="112421"/>
                  <a:pt x="4931" y="118736"/>
                  <a:pt x="9863" y="118736"/>
                </a:cubicBezTo>
                <a:cubicBezTo>
                  <a:pt x="14794" y="116210"/>
                  <a:pt x="18082" y="120000"/>
                  <a:pt x="27945" y="112421"/>
                </a:cubicBezTo>
                <a:cubicBezTo>
                  <a:pt x="34520" y="104842"/>
                  <a:pt x="32876" y="90947"/>
                  <a:pt x="49315" y="101052"/>
                </a:cubicBezTo>
                <a:cubicBezTo>
                  <a:pt x="67397" y="108631"/>
                  <a:pt x="70684" y="101052"/>
                  <a:pt x="75616" y="94736"/>
                </a:cubicBezTo>
                <a:cubicBezTo>
                  <a:pt x="77260" y="87157"/>
                  <a:pt x="87123" y="88421"/>
                  <a:pt x="90410" y="79578"/>
                </a:cubicBezTo>
                <a:cubicBezTo>
                  <a:pt x="92054" y="70736"/>
                  <a:pt x="100273" y="73263"/>
                  <a:pt x="101917" y="66947"/>
                </a:cubicBezTo>
                <a:cubicBezTo>
                  <a:pt x="105205" y="61894"/>
                  <a:pt x="111780" y="63157"/>
                  <a:pt x="119999" y="58105"/>
                </a:cubicBezTo>
                <a:cubicBezTo>
                  <a:pt x="118356" y="51789"/>
                  <a:pt x="115068" y="51789"/>
                  <a:pt x="106849" y="49263"/>
                </a:cubicBezTo>
                <a:cubicBezTo>
                  <a:pt x="101917" y="48000"/>
                  <a:pt x="96986" y="44210"/>
                  <a:pt x="100273" y="37894"/>
                </a:cubicBezTo>
                <a:cubicBezTo>
                  <a:pt x="100273" y="31578"/>
                  <a:pt x="95342" y="37894"/>
                  <a:pt x="95342" y="31578"/>
                </a:cubicBezTo>
                <a:cubicBezTo>
                  <a:pt x="95342" y="27789"/>
                  <a:pt x="80547" y="27789"/>
                  <a:pt x="77260" y="20210"/>
                </a:cubicBezTo>
                <a:cubicBezTo>
                  <a:pt x="75616" y="13894"/>
                  <a:pt x="70684" y="10105"/>
                  <a:pt x="67397"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05" name="Shape 1868"/>
          <p:cNvSpPr/>
          <p:nvPr/>
        </p:nvSpPr>
        <p:spPr>
          <a:xfrm>
            <a:off x="6189334" y="5482599"/>
            <a:ext cx="211503" cy="212872"/>
          </a:xfrm>
          <a:custGeom>
            <a:avLst/>
            <a:gdLst/>
            <a:ahLst/>
            <a:cxnLst/>
            <a:rect l="0" t="0" r="0" b="0"/>
            <a:pathLst>
              <a:path w="120000" h="120000" extrusionOk="0">
                <a:moveTo>
                  <a:pt x="0" y="38260"/>
                </a:moveTo>
                <a:cubicBezTo>
                  <a:pt x="3750" y="52173"/>
                  <a:pt x="9375" y="57391"/>
                  <a:pt x="11250" y="66086"/>
                </a:cubicBezTo>
                <a:cubicBezTo>
                  <a:pt x="15000" y="76521"/>
                  <a:pt x="31875" y="76521"/>
                  <a:pt x="31875" y="81739"/>
                </a:cubicBezTo>
                <a:cubicBezTo>
                  <a:pt x="31875" y="90434"/>
                  <a:pt x="37500" y="81739"/>
                  <a:pt x="37500" y="90434"/>
                </a:cubicBezTo>
                <a:cubicBezTo>
                  <a:pt x="33750" y="97391"/>
                  <a:pt x="39375" y="102608"/>
                  <a:pt x="45000" y="106086"/>
                </a:cubicBezTo>
                <a:cubicBezTo>
                  <a:pt x="54375" y="109565"/>
                  <a:pt x="58125" y="109565"/>
                  <a:pt x="60000" y="116521"/>
                </a:cubicBezTo>
                <a:cubicBezTo>
                  <a:pt x="69375" y="114782"/>
                  <a:pt x="75000" y="120000"/>
                  <a:pt x="80625" y="120000"/>
                </a:cubicBezTo>
                <a:cubicBezTo>
                  <a:pt x="82500" y="116521"/>
                  <a:pt x="86250" y="120000"/>
                  <a:pt x="88125" y="120000"/>
                </a:cubicBezTo>
                <a:cubicBezTo>
                  <a:pt x="88125" y="120000"/>
                  <a:pt x="99375" y="109565"/>
                  <a:pt x="103125" y="102608"/>
                </a:cubicBezTo>
                <a:cubicBezTo>
                  <a:pt x="108750" y="97391"/>
                  <a:pt x="103125" y="95652"/>
                  <a:pt x="114375" y="81739"/>
                </a:cubicBezTo>
                <a:cubicBezTo>
                  <a:pt x="120000" y="71304"/>
                  <a:pt x="108750" y="73043"/>
                  <a:pt x="110625" y="66086"/>
                </a:cubicBezTo>
                <a:cubicBezTo>
                  <a:pt x="114375" y="60869"/>
                  <a:pt x="108750" y="57391"/>
                  <a:pt x="110625" y="57391"/>
                </a:cubicBezTo>
                <a:cubicBezTo>
                  <a:pt x="114375" y="57391"/>
                  <a:pt x="116250" y="36521"/>
                  <a:pt x="114375" y="29565"/>
                </a:cubicBezTo>
                <a:cubicBezTo>
                  <a:pt x="110625" y="22608"/>
                  <a:pt x="116250" y="22608"/>
                  <a:pt x="110625" y="19130"/>
                </a:cubicBezTo>
                <a:cubicBezTo>
                  <a:pt x="105000" y="13913"/>
                  <a:pt x="103125" y="17391"/>
                  <a:pt x="93750" y="12173"/>
                </a:cubicBezTo>
                <a:cubicBezTo>
                  <a:pt x="86250" y="3478"/>
                  <a:pt x="75000" y="13913"/>
                  <a:pt x="76875" y="0"/>
                </a:cubicBezTo>
                <a:cubicBezTo>
                  <a:pt x="71250" y="3478"/>
                  <a:pt x="65625" y="0"/>
                  <a:pt x="58125" y="5217"/>
                </a:cubicBezTo>
                <a:cubicBezTo>
                  <a:pt x="48750" y="12173"/>
                  <a:pt x="58125" y="17391"/>
                  <a:pt x="48750" y="19130"/>
                </a:cubicBezTo>
                <a:cubicBezTo>
                  <a:pt x="37500" y="24347"/>
                  <a:pt x="31875" y="33043"/>
                  <a:pt x="26250" y="41739"/>
                </a:cubicBezTo>
                <a:cubicBezTo>
                  <a:pt x="20625" y="48695"/>
                  <a:pt x="16875" y="38260"/>
                  <a:pt x="11250" y="41739"/>
                </a:cubicBezTo>
                <a:cubicBezTo>
                  <a:pt x="9375" y="43478"/>
                  <a:pt x="9375" y="38260"/>
                  <a:pt x="0" y="3826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06" name="Shape 1869"/>
          <p:cNvSpPr/>
          <p:nvPr/>
        </p:nvSpPr>
        <p:spPr>
          <a:xfrm>
            <a:off x="5959071" y="5685938"/>
            <a:ext cx="433241" cy="409858"/>
          </a:xfrm>
          <a:custGeom>
            <a:avLst/>
            <a:gdLst/>
            <a:ahLst/>
            <a:cxnLst/>
            <a:rect l="0" t="0" r="0" b="0"/>
            <a:pathLst>
              <a:path w="120000" h="120000" extrusionOk="0">
                <a:moveTo>
                  <a:pt x="93435" y="902"/>
                </a:moveTo>
                <a:cubicBezTo>
                  <a:pt x="98015" y="0"/>
                  <a:pt x="100763" y="2706"/>
                  <a:pt x="103511" y="2706"/>
                </a:cubicBezTo>
                <a:cubicBezTo>
                  <a:pt x="104427" y="902"/>
                  <a:pt x="106259" y="2706"/>
                  <a:pt x="107175" y="2706"/>
                </a:cubicBezTo>
                <a:cubicBezTo>
                  <a:pt x="109923" y="9924"/>
                  <a:pt x="114503" y="27969"/>
                  <a:pt x="112671" y="36090"/>
                </a:cubicBezTo>
                <a:cubicBezTo>
                  <a:pt x="107175" y="32481"/>
                  <a:pt x="106259" y="35187"/>
                  <a:pt x="104427" y="38796"/>
                </a:cubicBezTo>
                <a:cubicBezTo>
                  <a:pt x="103511" y="45112"/>
                  <a:pt x="109007" y="48721"/>
                  <a:pt x="111755" y="48721"/>
                </a:cubicBezTo>
                <a:cubicBezTo>
                  <a:pt x="114503" y="48721"/>
                  <a:pt x="111755" y="43308"/>
                  <a:pt x="114503" y="43308"/>
                </a:cubicBezTo>
                <a:cubicBezTo>
                  <a:pt x="120000" y="43308"/>
                  <a:pt x="120000" y="43308"/>
                  <a:pt x="120000" y="43308"/>
                </a:cubicBezTo>
                <a:cubicBezTo>
                  <a:pt x="117251" y="66766"/>
                  <a:pt x="112671" y="55939"/>
                  <a:pt x="106259" y="73082"/>
                </a:cubicBezTo>
                <a:cubicBezTo>
                  <a:pt x="98931" y="88421"/>
                  <a:pt x="96183" y="85714"/>
                  <a:pt x="93435" y="91127"/>
                </a:cubicBezTo>
                <a:cubicBezTo>
                  <a:pt x="86106" y="101052"/>
                  <a:pt x="79694" y="104661"/>
                  <a:pt x="76946" y="107368"/>
                </a:cubicBezTo>
                <a:cubicBezTo>
                  <a:pt x="72366" y="110977"/>
                  <a:pt x="66870" y="107368"/>
                  <a:pt x="66870" y="110977"/>
                </a:cubicBezTo>
                <a:cubicBezTo>
                  <a:pt x="68702" y="113684"/>
                  <a:pt x="63206" y="109172"/>
                  <a:pt x="61374" y="111879"/>
                </a:cubicBezTo>
                <a:cubicBezTo>
                  <a:pt x="58625" y="116390"/>
                  <a:pt x="53129" y="110977"/>
                  <a:pt x="51297" y="111879"/>
                </a:cubicBezTo>
                <a:cubicBezTo>
                  <a:pt x="48549" y="113684"/>
                  <a:pt x="45801" y="110977"/>
                  <a:pt x="43053" y="111879"/>
                </a:cubicBezTo>
                <a:cubicBezTo>
                  <a:pt x="40305" y="111879"/>
                  <a:pt x="42137" y="113684"/>
                  <a:pt x="37557" y="114586"/>
                </a:cubicBezTo>
                <a:cubicBezTo>
                  <a:pt x="33893" y="116390"/>
                  <a:pt x="34809" y="114586"/>
                  <a:pt x="31145" y="116390"/>
                </a:cubicBezTo>
                <a:cubicBezTo>
                  <a:pt x="26564" y="116390"/>
                  <a:pt x="28396" y="120000"/>
                  <a:pt x="26564" y="119097"/>
                </a:cubicBezTo>
                <a:cubicBezTo>
                  <a:pt x="25648" y="119097"/>
                  <a:pt x="23816" y="120000"/>
                  <a:pt x="21984" y="119097"/>
                </a:cubicBezTo>
                <a:cubicBezTo>
                  <a:pt x="21984" y="117293"/>
                  <a:pt x="21068" y="119097"/>
                  <a:pt x="21068" y="116390"/>
                </a:cubicBezTo>
                <a:cubicBezTo>
                  <a:pt x="21068" y="113684"/>
                  <a:pt x="18320" y="117293"/>
                  <a:pt x="18320" y="113684"/>
                </a:cubicBezTo>
                <a:cubicBezTo>
                  <a:pt x="18320" y="111879"/>
                  <a:pt x="15572" y="111879"/>
                  <a:pt x="15572" y="113684"/>
                </a:cubicBezTo>
                <a:cubicBezTo>
                  <a:pt x="13740" y="116390"/>
                  <a:pt x="12824" y="111879"/>
                  <a:pt x="13740" y="110977"/>
                </a:cubicBezTo>
                <a:cubicBezTo>
                  <a:pt x="15572" y="109172"/>
                  <a:pt x="13740" y="107368"/>
                  <a:pt x="10992" y="104661"/>
                </a:cubicBezTo>
                <a:cubicBezTo>
                  <a:pt x="8244" y="101052"/>
                  <a:pt x="10076" y="98345"/>
                  <a:pt x="10992" y="99248"/>
                </a:cubicBezTo>
                <a:cubicBezTo>
                  <a:pt x="12824" y="101052"/>
                  <a:pt x="16488" y="94736"/>
                  <a:pt x="10076" y="85714"/>
                </a:cubicBezTo>
                <a:cubicBezTo>
                  <a:pt x="2748" y="73082"/>
                  <a:pt x="5496" y="66766"/>
                  <a:pt x="0" y="60451"/>
                </a:cubicBezTo>
                <a:cubicBezTo>
                  <a:pt x="4580" y="58646"/>
                  <a:pt x="2748" y="53233"/>
                  <a:pt x="5496" y="55939"/>
                </a:cubicBezTo>
                <a:cubicBezTo>
                  <a:pt x="8244" y="58646"/>
                  <a:pt x="4580" y="60451"/>
                  <a:pt x="10076" y="63157"/>
                </a:cubicBezTo>
                <a:cubicBezTo>
                  <a:pt x="13740" y="64060"/>
                  <a:pt x="16488" y="61353"/>
                  <a:pt x="18320" y="63157"/>
                </a:cubicBezTo>
                <a:cubicBezTo>
                  <a:pt x="19236" y="64060"/>
                  <a:pt x="21984" y="60451"/>
                  <a:pt x="26564" y="58646"/>
                </a:cubicBezTo>
                <a:cubicBezTo>
                  <a:pt x="26564" y="25263"/>
                  <a:pt x="26564" y="25263"/>
                  <a:pt x="26564" y="25263"/>
                </a:cubicBezTo>
                <a:cubicBezTo>
                  <a:pt x="29312" y="27969"/>
                  <a:pt x="32061" y="36090"/>
                  <a:pt x="31145" y="38796"/>
                </a:cubicBezTo>
                <a:cubicBezTo>
                  <a:pt x="29312" y="40601"/>
                  <a:pt x="29312" y="45112"/>
                  <a:pt x="32061" y="45112"/>
                </a:cubicBezTo>
                <a:cubicBezTo>
                  <a:pt x="34809" y="43308"/>
                  <a:pt x="36641" y="46015"/>
                  <a:pt x="42137" y="40601"/>
                </a:cubicBezTo>
                <a:cubicBezTo>
                  <a:pt x="45801" y="35187"/>
                  <a:pt x="44885" y="25263"/>
                  <a:pt x="54045" y="32481"/>
                </a:cubicBezTo>
                <a:cubicBezTo>
                  <a:pt x="64122" y="37894"/>
                  <a:pt x="65954" y="32481"/>
                  <a:pt x="68702" y="27969"/>
                </a:cubicBezTo>
                <a:cubicBezTo>
                  <a:pt x="69618" y="22556"/>
                  <a:pt x="75114" y="23458"/>
                  <a:pt x="76946" y="17142"/>
                </a:cubicBezTo>
                <a:cubicBezTo>
                  <a:pt x="77862" y="10827"/>
                  <a:pt x="82442" y="12631"/>
                  <a:pt x="83358" y="8120"/>
                </a:cubicBezTo>
                <a:cubicBezTo>
                  <a:pt x="85190" y="4511"/>
                  <a:pt x="89770" y="5413"/>
                  <a:pt x="93435" y="902"/>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07" name="Shape 1870"/>
          <p:cNvSpPr/>
          <p:nvPr/>
        </p:nvSpPr>
        <p:spPr>
          <a:xfrm>
            <a:off x="6230271" y="5879747"/>
            <a:ext cx="75051" cy="84196"/>
          </a:xfrm>
          <a:custGeom>
            <a:avLst/>
            <a:gdLst/>
            <a:ahLst/>
            <a:cxnLst/>
            <a:rect l="0" t="0" r="0" b="0"/>
            <a:pathLst>
              <a:path w="120000" h="120000" extrusionOk="0">
                <a:moveTo>
                  <a:pt x="41739" y="111111"/>
                </a:moveTo>
                <a:cubicBezTo>
                  <a:pt x="26086" y="93333"/>
                  <a:pt x="0" y="80000"/>
                  <a:pt x="15652" y="57777"/>
                </a:cubicBezTo>
                <a:cubicBezTo>
                  <a:pt x="31304" y="35555"/>
                  <a:pt x="73043" y="0"/>
                  <a:pt x="78260" y="13333"/>
                </a:cubicBezTo>
                <a:cubicBezTo>
                  <a:pt x="93913" y="31111"/>
                  <a:pt x="120000" y="35555"/>
                  <a:pt x="104347" y="62222"/>
                </a:cubicBezTo>
                <a:cubicBezTo>
                  <a:pt x="93913" y="84444"/>
                  <a:pt x="62608" y="84444"/>
                  <a:pt x="57391" y="97777"/>
                </a:cubicBezTo>
                <a:cubicBezTo>
                  <a:pt x="46956" y="111111"/>
                  <a:pt x="46956" y="120000"/>
                  <a:pt x="41739" y="111111"/>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08" name="Shape 1871"/>
          <p:cNvSpPr/>
          <p:nvPr/>
        </p:nvSpPr>
        <p:spPr>
          <a:xfrm>
            <a:off x="6332612" y="5793960"/>
            <a:ext cx="39231" cy="58779"/>
          </a:xfrm>
          <a:custGeom>
            <a:avLst/>
            <a:gdLst/>
            <a:ahLst/>
            <a:cxnLst/>
            <a:rect l="0" t="0" r="0" b="0"/>
            <a:pathLst>
              <a:path w="120000" h="120000" extrusionOk="0">
                <a:moveTo>
                  <a:pt x="100000" y="31578"/>
                </a:moveTo>
                <a:cubicBezTo>
                  <a:pt x="120000" y="82105"/>
                  <a:pt x="120000" y="82105"/>
                  <a:pt x="120000" y="82105"/>
                </a:cubicBezTo>
                <a:cubicBezTo>
                  <a:pt x="90000" y="82105"/>
                  <a:pt x="120000" y="120000"/>
                  <a:pt x="90000" y="120000"/>
                </a:cubicBezTo>
                <a:cubicBezTo>
                  <a:pt x="60000" y="120000"/>
                  <a:pt x="0" y="94736"/>
                  <a:pt x="10000" y="50526"/>
                </a:cubicBezTo>
                <a:cubicBezTo>
                  <a:pt x="30000" y="25263"/>
                  <a:pt x="40000" y="0"/>
                  <a:pt x="100000" y="31578"/>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09" name="Shape 1872"/>
          <p:cNvSpPr/>
          <p:nvPr/>
        </p:nvSpPr>
        <p:spPr>
          <a:xfrm>
            <a:off x="6382076" y="5298321"/>
            <a:ext cx="92105" cy="239878"/>
          </a:xfrm>
          <a:custGeom>
            <a:avLst/>
            <a:gdLst/>
            <a:ahLst/>
            <a:cxnLst/>
            <a:rect l="0" t="0" r="0" b="0"/>
            <a:pathLst>
              <a:path w="120000" h="120000" extrusionOk="0">
                <a:moveTo>
                  <a:pt x="17142" y="69230"/>
                </a:moveTo>
                <a:cubicBezTo>
                  <a:pt x="25714" y="73846"/>
                  <a:pt x="29999" y="78461"/>
                  <a:pt x="38571" y="76923"/>
                </a:cubicBezTo>
                <a:cubicBezTo>
                  <a:pt x="64285" y="73846"/>
                  <a:pt x="68571" y="78461"/>
                  <a:pt x="64285" y="89230"/>
                </a:cubicBezTo>
                <a:cubicBezTo>
                  <a:pt x="64285" y="98461"/>
                  <a:pt x="42857" y="95384"/>
                  <a:pt x="64285" y="103076"/>
                </a:cubicBezTo>
                <a:cubicBezTo>
                  <a:pt x="81428" y="112307"/>
                  <a:pt x="77142" y="116923"/>
                  <a:pt x="81428" y="116923"/>
                </a:cubicBezTo>
                <a:cubicBezTo>
                  <a:pt x="89999" y="120000"/>
                  <a:pt x="89999" y="115384"/>
                  <a:pt x="89999" y="110769"/>
                </a:cubicBezTo>
                <a:cubicBezTo>
                  <a:pt x="81428" y="106153"/>
                  <a:pt x="89999" y="103076"/>
                  <a:pt x="102857" y="103076"/>
                </a:cubicBezTo>
                <a:cubicBezTo>
                  <a:pt x="107142" y="100000"/>
                  <a:pt x="107142" y="98461"/>
                  <a:pt x="107142" y="90769"/>
                </a:cubicBezTo>
                <a:cubicBezTo>
                  <a:pt x="107142" y="84615"/>
                  <a:pt x="119999" y="81538"/>
                  <a:pt x="94285" y="72307"/>
                </a:cubicBezTo>
                <a:cubicBezTo>
                  <a:pt x="77142" y="63076"/>
                  <a:pt x="68571" y="63076"/>
                  <a:pt x="64285" y="56923"/>
                </a:cubicBezTo>
                <a:cubicBezTo>
                  <a:pt x="64285" y="50769"/>
                  <a:pt x="55714" y="43076"/>
                  <a:pt x="64285" y="38461"/>
                </a:cubicBezTo>
                <a:cubicBezTo>
                  <a:pt x="68571" y="36923"/>
                  <a:pt x="64285" y="33846"/>
                  <a:pt x="68571" y="30769"/>
                </a:cubicBezTo>
                <a:cubicBezTo>
                  <a:pt x="55714" y="24615"/>
                  <a:pt x="68571" y="24615"/>
                  <a:pt x="64285" y="16923"/>
                </a:cubicBezTo>
                <a:cubicBezTo>
                  <a:pt x="55714" y="9230"/>
                  <a:pt x="51428" y="4615"/>
                  <a:pt x="42857" y="3076"/>
                </a:cubicBezTo>
                <a:cubicBezTo>
                  <a:pt x="29999" y="3076"/>
                  <a:pt x="17142" y="3076"/>
                  <a:pt x="12857" y="0"/>
                </a:cubicBezTo>
                <a:cubicBezTo>
                  <a:pt x="12857" y="4615"/>
                  <a:pt x="12857" y="0"/>
                  <a:pt x="25714" y="4615"/>
                </a:cubicBezTo>
                <a:cubicBezTo>
                  <a:pt x="29999" y="7692"/>
                  <a:pt x="17142" y="7692"/>
                  <a:pt x="25714" y="12307"/>
                </a:cubicBezTo>
                <a:cubicBezTo>
                  <a:pt x="38571" y="15384"/>
                  <a:pt x="38571" y="16923"/>
                  <a:pt x="29999" y="21538"/>
                </a:cubicBezTo>
                <a:cubicBezTo>
                  <a:pt x="17142" y="24615"/>
                  <a:pt x="29999" y="26153"/>
                  <a:pt x="25714" y="29230"/>
                </a:cubicBezTo>
                <a:cubicBezTo>
                  <a:pt x="17142" y="30769"/>
                  <a:pt x="25714" y="33846"/>
                  <a:pt x="25714" y="38461"/>
                </a:cubicBezTo>
                <a:cubicBezTo>
                  <a:pt x="17142" y="46153"/>
                  <a:pt x="38571" y="47692"/>
                  <a:pt x="25714" y="47692"/>
                </a:cubicBezTo>
                <a:cubicBezTo>
                  <a:pt x="4285" y="47692"/>
                  <a:pt x="17142" y="56923"/>
                  <a:pt x="4285" y="63076"/>
                </a:cubicBezTo>
                <a:cubicBezTo>
                  <a:pt x="0" y="64615"/>
                  <a:pt x="12857" y="67692"/>
                  <a:pt x="17142" y="6923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10" name="Shape 1873"/>
          <p:cNvSpPr/>
          <p:nvPr/>
        </p:nvSpPr>
        <p:spPr>
          <a:xfrm>
            <a:off x="5872081" y="4295914"/>
            <a:ext cx="291670" cy="494055"/>
          </a:xfrm>
          <a:custGeom>
            <a:avLst/>
            <a:gdLst/>
            <a:ahLst/>
            <a:cxnLst/>
            <a:rect l="0" t="0" r="0" b="0"/>
            <a:pathLst>
              <a:path w="120000" h="120000" extrusionOk="0">
                <a:moveTo>
                  <a:pt x="24545" y="119250"/>
                </a:moveTo>
                <a:cubicBezTo>
                  <a:pt x="28636" y="120000"/>
                  <a:pt x="32727" y="119250"/>
                  <a:pt x="35454" y="117750"/>
                </a:cubicBezTo>
                <a:cubicBezTo>
                  <a:pt x="36818" y="115500"/>
                  <a:pt x="36818" y="120000"/>
                  <a:pt x="42272" y="117750"/>
                </a:cubicBezTo>
                <a:cubicBezTo>
                  <a:pt x="50454" y="114000"/>
                  <a:pt x="55909" y="117750"/>
                  <a:pt x="62727" y="113250"/>
                </a:cubicBezTo>
                <a:cubicBezTo>
                  <a:pt x="66818" y="109500"/>
                  <a:pt x="60000" y="109500"/>
                  <a:pt x="62727" y="108750"/>
                </a:cubicBezTo>
                <a:cubicBezTo>
                  <a:pt x="64090" y="107250"/>
                  <a:pt x="76363" y="109500"/>
                  <a:pt x="84545" y="103500"/>
                </a:cubicBezTo>
                <a:cubicBezTo>
                  <a:pt x="91363" y="98250"/>
                  <a:pt x="92727" y="100500"/>
                  <a:pt x="91363" y="96750"/>
                </a:cubicBezTo>
                <a:cubicBezTo>
                  <a:pt x="91363" y="96000"/>
                  <a:pt x="100909" y="93000"/>
                  <a:pt x="105000" y="94500"/>
                </a:cubicBezTo>
                <a:cubicBezTo>
                  <a:pt x="107727" y="90000"/>
                  <a:pt x="100909" y="92250"/>
                  <a:pt x="100909" y="88500"/>
                </a:cubicBezTo>
                <a:cubicBezTo>
                  <a:pt x="100909" y="85500"/>
                  <a:pt x="99545" y="86250"/>
                  <a:pt x="99545" y="82500"/>
                </a:cubicBezTo>
                <a:cubicBezTo>
                  <a:pt x="99545" y="79500"/>
                  <a:pt x="95454" y="82500"/>
                  <a:pt x="92727" y="81750"/>
                </a:cubicBezTo>
                <a:cubicBezTo>
                  <a:pt x="91363" y="78000"/>
                  <a:pt x="100909" y="78000"/>
                  <a:pt x="96818" y="75000"/>
                </a:cubicBezTo>
                <a:cubicBezTo>
                  <a:pt x="92727" y="71250"/>
                  <a:pt x="103636" y="72000"/>
                  <a:pt x="99545" y="69000"/>
                </a:cubicBezTo>
                <a:cubicBezTo>
                  <a:pt x="96818" y="65250"/>
                  <a:pt x="103636" y="69000"/>
                  <a:pt x="103636" y="65250"/>
                </a:cubicBezTo>
                <a:cubicBezTo>
                  <a:pt x="100909" y="63000"/>
                  <a:pt x="105000" y="65250"/>
                  <a:pt x="105000" y="61500"/>
                </a:cubicBezTo>
                <a:cubicBezTo>
                  <a:pt x="105000" y="58500"/>
                  <a:pt x="110454" y="58500"/>
                  <a:pt x="114545" y="58500"/>
                </a:cubicBezTo>
                <a:cubicBezTo>
                  <a:pt x="120000" y="59250"/>
                  <a:pt x="115909" y="57000"/>
                  <a:pt x="115909" y="57000"/>
                </a:cubicBezTo>
                <a:cubicBezTo>
                  <a:pt x="115909" y="30000"/>
                  <a:pt x="115909" y="30000"/>
                  <a:pt x="115909" y="30000"/>
                </a:cubicBezTo>
                <a:cubicBezTo>
                  <a:pt x="115909" y="30000"/>
                  <a:pt x="60000" y="9750"/>
                  <a:pt x="31363" y="0"/>
                </a:cubicBezTo>
                <a:cubicBezTo>
                  <a:pt x="28636" y="0"/>
                  <a:pt x="23181" y="2250"/>
                  <a:pt x="19090" y="3750"/>
                </a:cubicBezTo>
                <a:cubicBezTo>
                  <a:pt x="24545" y="10500"/>
                  <a:pt x="19090" y="12750"/>
                  <a:pt x="24545" y="20250"/>
                </a:cubicBezTo>
                <a:cubicBezTo>
                  <a:pt x="32727" y="27750"/>
                  <a:pt x="27272" y="24750"/>
                  <a:pt x="27272" y="33000"/>
                </a:cubicBezTo>
                <a:cubicBezTo>
                  <a:pt x="27272" y="39750"/>
                  <a:pt x="24545" y="50250"/>
                  <a:pt x="23181" y="51000"/>
                </a:cubicBezTo>
                <a:cubicBezTo>
                  <a:pt x="20454" y="52500"/>
                  <a:pt x="0" y="66750"/>
                  <a:pt x="4090" y="73500"/>
                </a:cubicBezTo>
                <a:cubicBezTo>
                  <a:pt x="10909" y="78000"/>
                  <a:pt x="10909" y="78000"/>
                  <a:pt x="10909" y="78000"/>
                </a:cubicBezTo>
                <a:cubicBezTo>
                  <a:pt x="23181" y="78000"/>
                  <a:pt x="10909" y="79500"/>
                  <a:pt x="16363" y="80250"/>
                </a:cubicBezTo>
                <a:cubicBezTo>
                  <a:pt x="20454" y="81750"/>
                  <a:pt x="16363" y="85500"/>
                  <a:pt x="19090" y="85500"/>
                </a:cubicBezTo>
                <a:cubicBezTo>
                  <a:pt x="23181" y="86250"/>
                  <a:pt x="16363" y="96750"/>
                  <a:pt x="27272" y="100500"/>
                </a:cubicBezTo>
                <a:cubicBezTo>
                  <a:pt x="20454" y="102750"/>
                  <a:pt x="16363" y="101250"/>
                  <a:pt x="15000" y="101250"/>
                </a:cubicBezTo>
                <a:cubicBezTo>
                  <a:pt x="10909" y="100500"/>
                  <a:pt x="8181" y="103500"/>
                  <a:pt x="10909" y="105000"/>
                </a:cubicBezTo>
                <a:cubicBezTo>
                  <a:pt x="19090" y="111750"/>
                  <a:pt x="23181" y="111000"/>
                  <a:pt x="23181" y="114000"/>
                </a:cubicBezTo>
                <a:cubicBezTo>
                  <a:pt x="24545" y="119250"/>
                  <a:pt x="27272" y="117000"/>
                  <a:pt x="24545" y="11925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11" name="Shape 1874"/>
          <p:cNvSpPr/>
          <p:nvPr/>
        </p:nvSpPr>
        <p:spPr>
          <a:xfrm>
            <a:off x="5527533" y="4295914"/>
            <a:ext cx="428123" cy="363787"/>
          </a:xfrm>
          <a:custGeom>
            <a:avLst/>
            <a:gdLst/>
            <a:ahLst/>
            <a:cxnLst/>
            <a:rect l="0" t="0" r="0" b="0"/>
            <a:pathLst>
              <a:path w="120000" h="120000" extrusionOk="0">
                <a:moveTo>
                  <a:pt x="29767" y="44745"/>
                </a:moveTo>
                <a:cubicBezTo>
                  <a:pt x="29767" y="44745"/>
                  <a:pt x="31627" y="71186"/>
                  <a:pt x="29767" y="73220"/>
                </a:cubicBezTo>
                <a:cubicBezTo>
                  <a:pt x="28837" y="76271"/>
                  <a:pt x="29767" y="80338"/>
                  <a:pt x="26976" y="80338"/>
                </a:cubicBezTo>
                <a:cubicBezTo>
                  <a:pt x="24186" y="80338"/>
                  <a:pt x="26046" y="83389"/>
                  <a:pt x="24186" y="82372"/>
                </a:cubicBezTo>
                <a:cubicBezTo>
                  <a:pt x="23255" y="82372"/>
                  <a:pt x="21395" y="83389"/>
                  <a:pt x="13023" y="83389"/>
                </a:cubicBezTo>
                <a:cubicBezTo>
                  <a:pt x="5581" y="83389"/>
                  <a:pt x="10232" y="88474"/>
                  <a:pt x="1860" y="87457"/>
                </a:cubicBezTo>
                <a:cubicBezTo>
                  <a:pt x="0" y="93559"/>
                  <a:pt x="1860" y="90508"/>
                  <a:pt x="2790" y="96610"/>
                </a:cubicBezTo>
                <a:cubicBezTo>
                  <a:pt x="2790" y="101694"/>
                  <a:pt x="4651" y="97627"/>
                  <a:pt x="5581" y="101694"/>
                </a:cubicBezTo>
                <a:cubicBezTo>
                  <a:pt x="8372" y="102711"/>
                  <a:pt x="8372" y="104745"/>
                  <a:pt x="7441" y="102711"/>
                </a:cubicBezTo>
                <a:cubicBezTo>
                  <a:pt x="5581" y="102711"/>
                  <a:pt x="5581" y="105762"/>
                  <a:pt x="7441" y="105762"/>
                </a:cubicBezTo>
                <a:cubicBezTo>
                  <a:pt x="8372" y="107796"/>
                  <a:pt x="11162" y="111864"/>
                  <a:pt x="13023" y="110847"/>
                </a:cubicBezTo>
                <a:cubicBezTo>
                  <a:pt x="14883" y="107796"/>
                  <a:pt x="17674" y="111864"/>
                  <a:pt x="15813" y="113898"/>
                </a:cubicBezTo>
                <a:cubicBezTo>
                  <a:pt x="14883" y="113898"/>
                  <a:pt x="15813" y="115932"/>
                  <a:pt x="17674" y="118983"/>
                </a:cubicBezTo>
                <a:cubicBezTo>
                  <a:pt x="18604" y="115932"/>
                  <a:pt x="15813" y="113898"/>
                  <a:pt x="18604" y="113898"/>
                </a:cubicBezTo>
                <a:cubicBezTo>
                  <a:pt x="20465" y="113898"/>
                  <a:pt x="18604" y="110847"/>
                  <a:pt x="21395" y="113898"/>
                </a:cubicBezTo>
                <a:cubicBezTo>
                  <a:pt x="24186" y="116949"/>
                  <a:pt x="24186" y="116949"/>
                  <a:pt x="26046" y="120000"/>
                </a:cubicBezTo>
                <a:cubicBezTo>
                  <a:pt x="26976" y="116949"/>
                  <a:pt x="24186" y="111864"/>
                  <a:pt x="28837" y="110847"/>
                </a:cubicBezTo>
                <a:cubicBezTo>
                  <a:pt x="31627" y="107796"/>
                  <a:pt x="28837" y="104745"/>
                  <a:pt x="29767" y="101694"/>
                </a:cubicBezTo>
                <a:cubicBezTo>
                  <a:pt x="32558" y="99661"/>
                  <a:pt x="32558" y="99661"/>
                  <a:pt x="37209" y="99661"/>
                </a:cubicBezTo>
                <a:cubicBezTo>
                  <a:pt x="40000" y="99661"/>
                  <a:pt x="39069" y="96610"/>
                  <a:pt x="41860" y="97627"/>
                </a:cubicBezTo>
                <a:cubicBezTo>
                  <a:pt x="44651" y="99661"/>
                  <a:pt x="47441" y="97627"/>
                  <a:pt x="48372" y="104745"/>
                </a:cubicBezTo>
                <a:cubicBezTo>
                  <a:pt x="51162" y="110847"/>
                  <a:pt x="55813" y="102711"/>
                  <a:pt x="58604" y="102711"/>
                </a:cubicBezTo>
                <a:cubicBezTo>
                  <a:pt x="59534" y="102711"/>
                  <a:pt x="63255" y="107796"/>
                  <a:pt x="66976" y="108813"/>
                </a:cubicBezTo>
                <a:cubicBezTo>
                  <a:pt x="72558" y="108813"/>
                  <a:pt x="71627" y="104745"/>
                  <a:pt x="78139" y="102711"/>
                </a:cubicBezTo>
                <a:cubicBezTo>
                  <a:pt x="87441" y="101694"/>
                  <a:pt x="91162" y="108813"/>
                  <a:pt x="93023" y="104745"/>
                </a:cubicBezTo>
                <a:cubicBezTo>
                  <a:pt x="93953" y="99661"/>
                  <a:pt x="95813" y="102711"/>
                  <a:pt x="99534" y="99661"/>
                </a:cubicBezTo>
                <a:cubicBezTo>
                  <a:pt x="96744" y="90508"/>
                  <a:pt x="110697" y="71186"/>
                  <a:pt x="112558" y="69152"/>
                </a:cubicBezTo>
                <a:cubicBezTo>
                  <a:pt x="114418" y="68135"/>
                  <a:pt x="115348" y="53898"/>
                  <a:pt x="115348" y="44745"/>
                </a:cubicBezTo>
                <a:cubicBezTo>
                  <a:pt x="115348" y="33559"/>
                  <a:pt x="120000" y="37627"/>
                  <a:pt x="114418" y="27457"/>
                </a:cubicBezTo>
                <a:cubicBezTo>
                  <a:pt x="109767" y="17288"/>
                  <a:pt x="114418" y="14237"/>
                  <a:pt x="109767" y="5084"/>
                </a:cubicBezTo>
                <a:cubicBezTo>
                  <a:pt x="104186" y="9152"/>
                  <a:pt x="105116" y="11186"/>
                  <a:pt x="102325" y="6101"/>
                </a:cubicBezTo>
                <a:cubicBezTo>
                  <a:pt x="99534" y="2033"/>
                  <a:pt x="91162" y="3050"/>
                  <a:pt x="88372" y="0"/>
                </a:cubicBezTo>
                <a:cubicBezTo>
                  <a:pt x="83720" y="3050"/>
                  <a:pt x="64186" y="19322"/>
                  <a:pt x="55813" y="27457"/>
                </a:cubicBezTo>
                <a:cubicBezTo>
                  <a:pt x="47441" y="33559"/>
                  <a:pt x="50232" y="44745"/>
                  <a:pt x="29767" y="44745"/>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12" name="Shape 1875"/>
          <p:cNvSpPr/>
          <p:nvPr/>
        </p:nvSpPr>
        <p:spPr>
          <a:xfrm>
            <a:off x="5200041" y="4246669"/>
            <a:ext cx="440063" cy="471812"/>
          </a:xfrm>
          <a:custGeom>
            <a:avLst/>
            <a:gdLst/>
            <a:ahLst/>
            <a:cxnLst/>
            <a:rect l="0" t="0" r="0" b="0"/>
            <a:pathLst>
              <a:path w="120000" h="120000" extrusionOk="0">
                <a:moveTo>
                  <a:pt x="91127" y="79215"/>
                </a:moveTo>
                <a:cubicBezTo>
                  <a:pt x="99248" y="80784"/>
                  <a:pt x="95639" y="76862"/>
                  <a:pt x="101954" y="76862"/>
                </a:cubicBezTo>
                <a:cubicBezTo>
                  <a:pt x="110977" y="76862"/>
                  <a:pt x="111879" y="76078"/>
                  <a:pt x="113684" y="76078"/>
                </a:cubicBezTo>
                <a:cubicBezTo>
                  <a:pt x="114586" y="76862"/>
                  <a:pt x="113684" y="74509"/>
                  <a:pt x="116390" y="74509"/>
                </a:cubicBezTo>
                <a:cubicBezTo>
                  <a:pt x="119097" y="74509"/>
                  <a:pt x="117293" y="70588"/>
                  <a:pt x="119097" y="68235"/>
                </a:cubicBezTo>
                <a:cubicBezTo>
                  <a:pt x="120000" y="67450"/>
                  <a:pt x="119097" y="46274"/>
                  <a:pt x="119097" y="46274"/>
                </a:cubicBezTo>
                <a:cubicBezTo>
                  <a:pt x="111879" y="48627"/>
                  <a:pt x="110977" y="47843"/>
                  <a:pt x="111879" y="46274"/>
                </a:cubicBezTo>
                <a:cubicBezTo>
                  <a:pt x="113684" y="43921"/>
                  <a:pt x="113684" y="40000"/>
                  <a:pt x="109172" y="40000"/>
                </a:cubicBezTo>
                <a:cubicBezTo>
                  <a:pt x="104661" y="40000"/>
                  <a:pt x="108270" y="37647"/>
                  <a:pt x="103759" y="37647"/>
                </a:cubicBezTo>
                <a:cubicBezTo>
                  <a:pt x="101052" y="39215"/>
                  <a:pt x="101954" y="35294"/>
                  <a:pt x="99248" y="34509"/>
                </a:cubicBezTo>
                <a:cubicBezTo>
                  <a:pt x="96541" y="32941"/>
                  <a:pt x="99248" y="32941"/>
                  <a:pt x="96541" y="30588"/>
                </a:cubicBezTo>
                <a:cubicBezTo>
                  <a:pt x="95639" y="29019"/>
                  <a:pt x="55037" y="0"/>
                  <a:pt x="55037" y="0"/>
                </a:cubicBezTo>
                <a:cubicBezTo>
                  <a:pt x="41503" y="0"/>
                  <a:pt x="41503" y="0"/>
                  <a:pt x="41503" y="0"/>
                </a:cubicBezTo>
                <a:cubicBezTo>
                  <a:pt x="41503" y="0"/>
                  <a:pt x="48721" y="63529"/>
                  <a:pt x="48721" y="67450"/>
                </a:cubicBezTo>
                <a:cubicBezTo>
                  <a:pt x="49624" y="70588"/>
                  <a:pt x="52330" y="65098"/>
                  <a:pt x="49624" y="76078"/>
                </a:cubicBezTo>
                <a:cubicBezTo>
                  <a:pt x="49624" y="76078"/>
                  <a:pt x="27969" y="76078"/>
                  <a:pt x="23458" y="76078"/>
                </a:cubicBezTo>
                <a:cubicBezTo>
                  <a:pt x="20751" y="76078"/>
                  <a:pt x="22556" y="72941"/>
                  <a:pt x="20751" y="76078"/>
                </a:cubicBezTo>
                <a:cubicBezTo>
                  <a:pt x="20751" y="76862"/>
                  <a:pt x="17142" y="76862"/>
                  <a:pt x="14436" y="76078"/>
                </a:cubicBezTo>
                <a:cubicBezTo>
                  <a:pt x="9924" y="74509"/>
                  <a:pt x="11729" y="80784"/>
                  <a:pt x="9924" y="78431"/>
                </a:cubicBezTo>
                <a:cubicBezTo>
                  <a:pt x="9022" y="76078"/>
                  <a:pt x="7218" y="72156"/>
                  <a:pt x="4511" y="76078"/>
                </a:cubicBezTo>
                <a:cubicBezTo>
                  <a:pt x="1804" y="79215"/>
                  <a:pt x="7218" y="79215"/>
                  <a:pt x="1804" y="81568"/>
                </a:cubicBezTo>
                <a:cubicBezTo>
                  <a:pt x="0" y="85490"/>
                  <a:pt x="2706" y="83137"/>
                  <a:pt x="2706" y="87058"/>
                </a:cubicBezTo>
                <a:cubicBezTo>
                  <a:pt x="2706" y="90196"/>
                  <a:pt x="1804" y="87843"/>
                  <a:pt x="2706" y="90196"/>
                </a:cubicBezTo>
                <a:cubicBezTo>
                  <a:pt x="4511" y="94117"/>
                  <a:pt x="4511" y="90196"/>
                  <a:pt x="7218" y="94117"/>
                </a:cubicBezTo>
                <a:cubicBezTo>
                  <a:pt x="9022" y="96470"/>
                  <a:pt x="7218" y="96470"/>
                  <a:pt x="7218" y="98823"/>
                </a:cubicBezTo>
                <a:cubicBezTo>
                  <a:pt x="5413" y="102745"/>
                  <a:pt x="9022" y="103529"/>
                  <a:pt x="9924" y="101176"/>
                </a:cubicBezTo>
                <a:cubicBezTo>
                  <a:pt x="9924" y="100392"/>
                  <a:pt x="11729" y="101176"/>
                  <a:pt x="11729" y="102745"/>
                </a:cubicBezTo>
                <a:cubicBezTo>
                  <a:pt x="14436" y="105098"/>
                  <a:pt x="12631" y="98823"/>
                  <a:pt x="18045" y="101176"/>
                </a:cubicBezTo>
                <a:cubicBezTo>
                  <a:pt x="20751" y="103529"/>
                  <a:pt x="19849" y="101176"/>
                  <a:pt x="20751" y="100392"/>
                </a:cubicBezTo>
                <a:cubicBezTo>
                  <a:pt x="23458" y="100392"/>
                  <a:pt x="19849" y="98039"/>
                  <a:pt x="23458" y="98823"/>
                </a:cubicBezTo>
                <a:cubicBezTo>
                  <a:pt x="26165" y="100392"/>
                  <a:pt x="25263" y="101176"/>
                  <a:pt x="25263" y="102745"/>
                </a:cubicBezTo>
                <a:cubicBezTo>
                  <a:pt x="26165" y="102745"/>
                  <a:pt x="25263" y="105098"/>
                  <a:pt x="26165" y="105098"/>
                </a:cubicBezTo>
                <a:cubicBezTo>
                  <a:pt x="27969" y="105098"/>
                  <a:pt x="30676" y="107450"/>
                  <a:pt x="27969" y="107450"/>
                </a:cubicBezTo>
                <a:cubicBezTo>
                  <a:pt x="26165" y="109019"/>
                  <a:pt x="26165" y="112156"/>
                  <a:pt x="27969" y="109803"/>
                </a:cubicBezTo>
                <a:cubicBezTo>
                  <a:pt x="28872" y="109019"/>
                  <a:pt x="30676" y="109803"/>
                  <a:pt x="28872" y="113725"/>
                </a:cubicBezTo>
                <a:cubicBezTo>
                  <a:pt x="28872" y="116078"/>
                  <a:pt x="30676" y="113725"/>
                  <a:pt x="31578" y="117647"/>
                </a:cubicBezTo>
                <a:cubicBezTo>
                  <a:pt x="37894" y="111372"/>
                  <a:pt x="36090" y="120000"/>
                  <a:pt x="40601" y="116078"/>
                </a:cubicBezTo>
                <a:cubicBezTo>
                  <a:pt x="43308" y="112156"/>
                  <a:pt x="44210" y="109803"/>
                  <a:pt x="44210" y="114509"/>
                </a:cubicBezTo>
                <a:cubicBezTo>
                  <a:pt x="44210" y="118431"/>
                  <a:pt x="46917" y="114509"/>
                  <a:pt x="49624" y="114509"/>
                </a:cubicBezTo>
                <a:cubicBezTo>
                  <a:pt x="51428" y="111372"/>
                  <a:pt x="48721" y="109803"/>
                  <a:pt x="49624" y="109803"/>
                </a:cubicBezTo>
                <a:cubicBezTo>
                  <a:pt x="51428" y="109019"/>
                  <a:pt x="51428" y="105098"/>
                  <a:pt x="51428" y="103529"/>
                </a:cubicBezTo>
                <a:cubicBezTo>
                  <a:pt x="49624" y="102745"/>
                  <a:pt x="55037" y="103529"/>
                  <a:pt x="56842" y="101176"/>
                </a:cubicBezTo>
                <a:cubicBezTo>
                  <a:pt x="58646" y="98823"/>
                  <a:pt x="58646" y="98823"/>
                  <a:pt x="56842" y="98039"/>
                </a:cubicBezTo>
                <a:cubicBezTo>
                  <a:pt x="56842" y="96470"/>
                  <a:pt x="61353" y="98039"/>
                  <a:pt x="59548" y="95686"/>
                </a:cubicBezTo>
                <a:cubicBezTo>
                  <a:pt x="58646" y="94117"/>
                  <a:pt x="58646" y="92549"/>
                  <a:pt x="59548" y="91764"/>
                </a:cubicBezTo>
                <a:cubicBezTo>
                  <a:pt x="61353" y="90196"/>
                  <a:pt x="59548" y="92549"/>
                  <a:pt x="62255" y="92549"/>
                </a:cubicBezTo>
                <a:cubicBezTo>
                  <a:pt x="64962" y="94117"/>
                  <a:pt x="64962" y="91764"/>
                  <a:pt x="64962" y="90196"/>
                </a:cubicBezTo>
                <a:cubicBezTo>
                  <a:pt x="64962" y="87843"/>
                  <a:pt x="69473" y="91764"/>
                  <a:pt x="69473" y="89411"/>
                </a:cubicBezTo>
                <a:cubicBezTo>
                  <a:pt x="69473" y="85490"/>
                  <a:pt x="70375" y="84705"/>
                  <a:pt x="73082" y="85490"/>
                </a:cubicBezTo>
                <a:cubicBezTo>
                  <a:pt x="75789" y="87058"/>
                  <a:pt x="73082" y="83137"/>
                  <a:pt x="77593" y="81568"/>
                </a:cubicBezTo>
                <a:cubicBezTo>
                  <a:pt x="85714" y="79215"/>
                  <a:pt x="83007" y="76862"/>
                  <a:pt x="85714" y="78431"/>
                </a:cubicBezTo>
                <a:cubicBezTo>
                  <a:pt x="87518" y="79215"/>
                  <a:pt x="87518" y="78431"/>
                  <a:pt x="88421" y="79215"/>
                </a:cubicBezTo>
                <a:cubicBezTo>
                  <a:pt x="90225" y="79215"/>
                  <a:pt x="90225" y="79215"/>
                  <a:pt x="91127" y="79215"/>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13" name="Shape 1876"/>
          <p:cNvSpPr/>
          <p:nvPr/>
        </p:nvSpPr>
        <p:spPr>
          <a:xfrm>
            <a:off x="5075529" y="4176770"/>
            <a:ext cx="327489" cy="393970"/>
          </a:xfrm>
          <a:custGeom>
            <a:avLst/>
            <a:gdLst/>
            <a:ahLst/>
            <a:cxnLst/>
            <a:rect l="0" t="0" r="0" b="0"/>
            <a:pathLst>
              <a:path w="120000" h="120000" extrusionOk="0">
                <a:moveTo>
                  <a:pt x="8484" y="105000"/>
                </a:moveTo>
                <a:cubicBezTo>
                  <a:pt x="8484" y="100312"/>
                  <a:pt x="20606" y="102187"/>
                  <a:pt x="26666" y="102187"/>
                </a:cubicBezTo>
                <a:cubicBezTo>
                  <a:pt x="30303" y="100312"/>
                  <a:pt x="33939" y="105000"/>
                  <a:pt x="35151" y="106875"/>
                </a:cubicBezTo>
                <a:cubicBezTo>
                  <a:pt x="38787" y="107812"/>
                  <a:pt x="44848" y="117187"/>
                  <a:pt x="48484" y="120000"/>
                </a:cubicBezTo>
                <a:cubicBezTo>
                  <a:pt x="55757" y="117187"/>
                  <a:pt x="48484" y="117187"/>
                  <a:pt x="52121" y="112500"/>
                </a:cubicBezTo>
                <a:cubicBezTo>
                  <a:pt x="55757" y="107812"/>
                  <a:pt x="58181" y="112500"/>
                  <a:pt x="59393" y="115312"/>
                </a:cubicBezTo>
                <a:cubicBezTo>
                  <a:pt x="61818" y="118125"/>
                  <a:pt x="59393" y="110625"/>
                  <a:pt x="65454" y="112500"/>
                </a:cubicBezTo>
                <a:cubicBezTo>
                  <a:pt x="69090" y="113437"/>
                  <a:pt x="73939" y="113437"/>
                  <a:pt x="73939" y="112500"/>
                </a:cubicBezTo>
                <a:cubicBezTo>
                  <a:pt x="76363" y="109687"/>
                  <a:pt x="73939" y="112500"/>
                  <a:pt x="77575" y="112500"/>
                </a:cubicBezTo>
                <a:cubicBezTo>
                  <a:pt x="83636" y="112500"/>
                  <a:pt x="112727" y="112500"/>
                  <a:pt x="112727" y="112500"/>
                </a:cubicBezTo>
                <a:cubicBezTo>
                  <a:pt x="116363" y="99375"/>
                  <a:pt x="112727" y="106875"/>
                  <a:pt x="111515" y="102187"/>
                </a:cubicBezTo>
                <a:cubicBezTo>
                  <a:pt x="111515" y="97500"/>
                  <a:pt x="101818" y="21562"/>
                  <a:pt x="101818" y="21562"/>
                </a:cubicBezTo>
                <a:cubicBezTo>
                  <a:pt x="119999" y="21562"/>
                  <a:pt x="119999" y="21562"/>
                  <a:pt x="119999" y="21562"/>
                </a:cubicBezTo>
                <a:cubicBezTo>
                  <a:pt x="81212" y="0"/>
                  <a:pt x="81212" y="0"/>
                  <a:pt x="81212" y="0"/>
                </a:cubicBezTo>
                <a:cubicBezTo>
                  <a:pt x="81212" y="13125"/>
                  <a:pt x="81212" y="13125"/>
                  <a:pt x="81212" y="13125"/>
                </a:cubicBezTo>
                <a:cubicBezTo>
                  <a:pt x="50909" y="13125"/>
                  <a:pt x="50909" y="13125"/>
                  <a:pt x="50909" y="13125"/>
                </a:cubicBezTo>
                <a:cubicBezTo>
                  <a:pt x="50909" y="36562"/>
                  <a:pt x="50909" y="36562"/>
                  <a:pt x="50909" y="36562"/>
                </a:cubicBezTo>
                <a:cubicBezTo>
                  <a:pt x="38787" y="41250"/>
                  <a:pt x="37575" y="39375"/>
                  <a:pt x="41212" y="57187"/>
                </a:cubicBezTo>
                <a:cubicBezTo>
                  <a:pt x="41212" y="57187"/>
                  <a:pt x="6060" y="57187"/>
                  <a:pt x="3636" y="57187"/>
                </a:cubicBezTo>
                <a:cubicBezTo>
                  <a:pt x="2424" y="57187"/>
                  <a:pt x="0" y="60000"/>
                  <a:pt x="2424" y="62812"/>
                </a:cubicBezTo>
                <a:cubicBezTo>
                  <a:pt x="3636" y="62812"/>
                  <a:pt x="2424" y="58125"/>
                  <a:pt x="3636" y="60000"/>
                </a:cubicBezTo>
                <a:cubicBezTo>
                  <a:pt x="6060" y="60000"/>
                  <a:pt x="3636" y="64687"/>
                  <a:pt x="6060" y="64687"/>
                </a:cubicBezTo>
                <a:cubicBezTo>
                  <a:pt x="8484" y="62812"/>
                  <a:pt x="9696" y="67500"/>
                  <a:pt x="9696" y="70312"/>
                </a:cubicBezTo>
                <a:cubicBezTo>
                  <a:pt x="9696" y="74062"/>
                  <a:pt x="3636" y="74062"/>
                  <a:pt x="8484" y="75937"/>
                </a:cubicBezTo>
                <a:cubicBezTo>
                  <a:pt x="9696" y="76875"/>
                  <a:pt x="13333" y="87187"/>
                  <a:pt x="9696" y="94687"/>
                </a:cubicBezTo>
                <a:cubicBezTo>
                  <a:pt x="8484" y="100312"/>
                  <a:pt x="6060" y="102187"/>
                  <a:pt x="8484" y="105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14" name="Shape 1877"/>
          <p:cNvSpPr/>
          <p:nvPr/>
        </p:nvSpPr>
        <p:spPr>
          <a:xfrm>
            <a:off x="5600877" y="4589806"/>
            <a:ext cx="317255" cy="295476"/>
          </a:xfrm>
          <a:custGeom>
            <a:avLst/>
            <a:gdLst/>
            <a:ahLst/>
            <a:cxnLst/>
            <a:rect l="0" t="0" r="0" b="0"/>
            <a:pathLst>
              <a:path w="120000" h="120000" extrusionOk="0">
                <a:moveTo>
                  <a:pt x="112500" y="11250"/>
                </a:moveTo>
                <a:cubicBezTo>
                  <a:pt x="110000" y="27500"/>
                  <a:pt x="120000" y="17500"/>
                  <a:pt x="116250" y="27500"/>
                </a:cubicBezTo>
                <a:cubicBezTo>
                  <a:pt x="113750" y="38750"/>
                  <a:pt x="110000" y="28750"/>
                  <a:pt x="105000" y="48750"/>
                </a:cubicBezTo>
                <a:cubicBezTo>
                  <a:pt x="100000" y="66250"/>
                  <a:pt x="100000" y="66250"/>
                  <a:pt x="96250" y="67500"/>
                </a:cubicBezTo>
                <a:cubicBezTo>
                  <a:pt x="92500" y="70000"/>
                  <a:pt x="91250" y="81250"/>
                  <a:pt x="87500" y="87500"/>
                </a:cubicBezTo>
                <a:cubicBezTo>
                  <a:pt x="83750" y="95000"/>
                  <a:pt x="85000" y="95000"/>
                  <a:pt x="80000" y="88750"/>
                </a:cubicBezTo>
                <a:cubicBezTo>
                  <a:pt x="76250" y="83750"/>
                  <a:pt x="70000" y="85000"/>
                  <a:pt x="70000" y="91250"/>
                </a:cubicBezTo>
                <a:cubicBezTo>
                  <a:pt x="68750" y="95000"/>
                  <a:pt x="65000" y="91250"/>
                  <a:pt x="62500" y="98750"/>
                </a:cubicBezTo>
                <a:cubicBezTo>
                  <a:pt x="58750" y="105000"/>
                  <a:pt x="61250" y="106250"/>
                  <a:pt x="56250" y="115000"/>
                </a:cubicBezTo>
                <a:cubicBezTo>
                  <a:pt x="52500" y="110000"/>
                  <a:pt x="52500" y="110000"/>
                  <a:pt x="52500" y="110000"/>
                </a:cubicBezTo>
                <a:cubicBezTo>
                  <a:pt x="58750" y="118750"/>
                  <a:pt x="45000" y="118750"/>
                  <a:pt x="43750" y="116250"/>
                </a:cubicBezTo>
                <a:cubicBezTo>
                  <a:pt x="41250" y="115000"/>
                  <a:pt x="45000" y="118750"/>
                  <a:pt x="40000" y="118750"/>
                </a:cubicBezTo>
                <a:cubicBezTo>
                  <a:pt x="37500" y="120000"/>
                  <a:pt x="37500" y="120000"/>
                  <a:pt x="32500" y="120000"/>
                </a:cubicBezTo>
                <a:cubicBezTo>
                  <a:pt x="26250" y="120000"/>
                  <a:pt x="25000" y="105000"/>
                  <a:pt x="22500" y="101250"/>
                </a:cubicBezTo>
                <a:cubicBezTo>
                  <a:pt x="16250" y="95000"/>
                  <a:pt x="15000" y="93750"/>
                  <a:pt x="11250" y="93750"/>
                </a:cubicBezTo>
                <a:cubicBezTo>
                  <a:pt x="5000" y="95000"/>
                  <a:pt x="7500" y="91250"/>
                  <a:pt x="5000" y="93750"/>
                </a:cubicBezTo>
                <a:cubicBezTo>
                  <a:pt x="5000" y="95000"/>
                  <a:pt x="3750" y="95000"/>
                  <a:pt x="0" y="95000"/>
                </a:cubicBezTo>
                <a:cubicBezTo>
                  <a:pt x="1250" y="83750"/>
                  <a:pt x="0" y="77500"/>
                  <a:pt x="0" y="67500"/>
                </a:cubicBezTo>
                <a:cubicBezTo>
                  <a:pt x="0" y="58750"/>
                  <a:pt x="1250" y="63750"/>
                  <a:pt x="3750" y="58750"/>
                </a:cubicBezTo>
                <a:cubicBezTo>
                  <a:pt x="3750" y="52500"/>
                  <a:pt x="5000" y="55000"/>
                  <a:pt x="8750" y="45000"/>
                </a:cubicBezTo>
                <a:cubicBezTo>
                  <a:pt x="12500" y="35000"/>
                  <a:pt x="5000" y="35000"/>
                  <a:pt x="7500" y="28750"/>
                </a:cubicBezTo>
                <a:cubicBezTo>
                  <a:pt x="8750" y="25000"/>
                  <a:pt x="5000" y="20000"/>
                  <a:pt x="11250" y="17500"/>
                </a:cubicBezTo>
                <a:cubicBezTo>
                  <a:pt x="15000" y="13750"/>
                  <a:pt x="11250" y="10000"/>
                  <a:pt x="12500" y="6250"/>
                </a:cubicBezTo>
                <a:cubicBezTo>
                  <a:pt x="16250" y="3750"/>
                  <a:pt x="16250" y="3750"/>
                  <a:pt x="22500" y="3750"/>
                </a:cubicBezTo>
                <a:cubicBezTo>
                  <a:pt x="26250" y="3750"/>
                  <a:pt x="25000" y="0"/>
                  <a:pt x="28750" y="2500"/>
                </a:cubicBezTo>
                <a:cubicBezTo>
                  <a:pt x="32500" y="3750"/>
                  <a:pt x="36250" y="2500"/>
                  <a:pt x="37500" y="10000"/>
                </a:cubicBezTo>
                <a:cubicBezTo>
                  <a:pt x="41250" y="17500"/>
                  <a:pt x="47500" y="7500"/>
                  <a:pt x="51250" y="7500"/>
                </a:cubicBezTo>
                <a:cubicBezTo>
                  <a:pt x="52500" y="7500"/>
                  <a:pt x="56250" y="13750"/>
                  <a:pt x="62500" y="16250"/>
                </a:cubicBezTo>
                <a:cubicBezTo>
                  <a:pt x="70000" y="16250"/>
                  <a:pt x="68750" y="10000"/>
                  <a:pt x="77500" y="7500"/>
                </a:cubicBezTo>
                <a:cubicBezTo>
                  <a:pt x="88750" y="6250"/>
                  <a:pt x="95000" y="16250"/>
                  <a:pt x="96250" y="10000"/>
                </a:cubicBezTo>
                <a:cubicBezTo>
                  <a:pt x="98750" y="3750"/>
                  <a:pt x="100000" y="7500"/>
                  <a:pt x="106250" y="3750"/>
                </a:cubicBezTo>
                <a:cubicBezTo>
                  <a:pt x="112500" y="11250"/>
                  <a:pt x="112500" y="11250"/>
                  <a:pt x="112500" y="11250"/>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15" name="Shape 1878"/>
          <p:cNvSpPr/>
          <p:nvPr/>
        </p:nvSpPr>
        <p:spPr>
          <a:xfrm>
            <a:off x="5902778" y="4681946"/>
            <a:ext cx="346254" cy="265295"/>
          </a:xfrm>
          <a:custGeom>
            <a:avLst/>
            <a:gdLst/>
            <a:ahLst/>
            <a:cxnLst/>
            <a:rect l="0" t="0" r="0" b="0"/>
            <a:pathLst>
              <a:path w="120000" h="120000" extrusionOk="0">
                <a:moveTo>
                  <a:pt x="120000" y="80930"/>
                </a:moveTo>
                <a:cubicBezTo>
                  <a:pt x="116571" y="80930"/>
                  <a:pt x="116571" y="76744"/>
                  <a:pt x="113142" y="80930"/>
                </a:cubicBezTo>
                <a:cubicBezTo>
                  <a:pt x="110857" y="86511"/>
                  <a:pt x="102857" y="72558"/>
                  <a:pt x="99428" y="79534"/>
                </a:cubicBezTo>
                <a:cubicBezTo>
                  <a:pt x="96000" y="86511"/>
                  <a:pt x="96000" y="76744"/>
                  <a:pt x="86857" y="83720"/>
                </a:cubicBezTo>
                <a:cubicBezTo>
                  <a:pt x="76571" y="92093"/>
                  <a:pt x="80000" y="76744"/>
                  <a:pt x="76571" y="87906"/>
                </a:cubicBezTo>
                <a:cubicBezTo>
                  <a:pt x="73142" y="99069"/>
                  <a:pt x="67428" y="90697"/>
                  <a:pt x="57142" y="90697"/>
                </a:cubicBezTo>
                <a:cubicBezTo>
                  <a:pt x="53714" y="90697"/>
                  <a:pt x="57142" y="86511"/>
                  <a:pt x="50285" y="80930"/>
                </a:cubicBezTo>
                <a:cubicBezTo>
                  <a:pt x="42285" y="76744"/>
                  <a:pt x="42285" y="87906"/>
                  <a:pt x="40000" y="90697"/>
                </a:cubicBezTo>
                <a:cubicBezTo>
                  <a:pt x="36571" y="92093"/>
                  <a:pt x="38857" y="96279"/>
                  <a:pt x="40000" y="103255"/>
                </a:cubicBezTo>
                <a:cubicBezTo>
                  <a:pt x="36571" y="99069"/>
                  <a:pt x="35428" y="104651"/>
                  <a:pt x="32000" y="100465"/>
                </a:cubicBezTo>
                <a:cubicBezTo>
                  <a:pt x="28571" y="99069"/>
                  <a:pt x="28571" y="103255"/>
                  <a:pt x="22857" y="100465"/>
                </a:cubicBezTo>
                <a:cubicBezTo>
                  <a:pt x="17142" y="100465"/>
                  <a:pt x="20571" y="111627"/>
                  <a:pt x="17142" y="120000"/>
                </a:cubicBezTo>
                <a:cubicBezTo>
                  <a:pt x="16000" y="104651"/>
                  <a:pt x="12571" y="103255"/>
                  <a:pt x="9142" y="99069"/>
                </a:cubicBezTo>
                <a:cubicBezTo>
                  <a:pt x="5714" y="94883"/>
                  <a:pt x="9142" y="90697"/>
                  <a:pt x="5714" y="90697"/>
                </a:cubicBezTo>
                <a:cubicBezTo>
                  <a:pt x="3428" y="87906"/>
                  <a:pt x="2285" y="80930"/>
                  <a:pt x="2285" y="72558"/>
                </a:cubicBezTo>
                <a:cubicBezTo>
                  <a:pt x="3428" y="66976"/>
                  <a:pt x="0" y="68372"/>
                  <a:pt x="2285" y="66976"/>
                </a:cubicBezTo>
                <a:cubicBezTo>
                  <a:pt x="5714" y="64186"/>
                  <a:pt x="6857" y="55813"/>
                  <a:pt x="10285" y="47441"/>
                </a:cubicBezTo>
                <a:cubicBezTo>
                  <a:pt x="13714" y="48837"/>
                  <a:pt x="17142" y="47441"/>
                  <a:pt x="19428" y="44651"/>
                </a:cubicBezTo>
                <a:cubicBezTo>
                  <a:pt x="20571" y="40465"/>
                  <a:pt x="20571" y="48837"/>
                  <a:pt x="24000" y="44651"/>
                </a:cubicBezTo>
                <a:cubicBezTo>
                  <a:pt x="32000" y="37674"/>
                  <a:pt x="36571" y="44651"/>
                  <a:pt x="42285" y="36279"/>
                </a:cubicBezTo>
                <a:cubicBezTo>
                  <a:pt x="45714" y="29302"/>
                  <a:pt x="40000" y="29302"/>
                  <a:pt x="42285" y="27906"/>
                </a:cubicBezTo>
                <a:cubicBezTo>
                  <a:pt x="43428" y="25116"/>
                  <a:pt x="53714" y="29302"/>
                  <a:pt x="60571" y="19534"/>
                </a:cubicBezTo>
                <a:cubicBezTo>
                  <a:pt x="66285" y="8372"/>
                  <a:pt x="67428" y="12558"/>
                  <a:pt x="66285" y="5581"/>
                </a:cubicBezTo>
                <a:cubicBezTo>
                  <a:pt x="66285" y="4186"/>
                  <a:pt x="75428" y="0"/>
                  <a:pt x="78857" y="1395"/>
                </a:cubicBezTo>
                <a:cubicBezTo>
                  <a:pt x="82285" y="8372"/>
                  <a:pt x="86857" y="13953"/>
                  <a:pt x="83428" y="23720"/>
                </a:cubicBezTo>
                <a:cubicBezTo>
                  <a:pt x="82285" y="37674"/>
                  <a:pt x="92571" y="29302"/>
                  <a:pt x="89142" y="33488"/>
                </a:cubicBezTo>
                <a:cubicBezTo>
                  <a:pt x="86857" y="40465"/>
                  <a:pt x="93714" y="36279"/>
                  <a:pt x="97142" y="40465"/>
                </a:cubicBezTo>
                <a:cubicBezTo>
                  <a:pt x="100571" y="47441"/>
                  <a:pt x="96000" y="44651"/>
                  <a:pt x="102857" y="51627"/>
                </a:cubicBezTo>
                <a:cubicBezTo>
                  <a:pt x="107428" y="57209"/>
                  <a:pt x="109714" y="57209"/>
                  <a:pt x="109714" y="61395"/>
                </a:cubicBezTo>
                <a:cubicBezTo>
                  <a:pt x="107428" y="66976"/>
                  <a:pt x="109714" y="66976"/>
                  <a:pt x="115428" y="71162"/>
                </a:cubicBezTo>
                <a:cubicBezTo>
                  <a:pt x="118857" y="71162"/>
                  <a:pt x="116571" y="76744"/>
                  <a:pt x="120000" y="8093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16" name="Shape 1879"/>
          <p:cNvSpPr/>
          <p:nvPr/>
        </p:nvSpPr>
        <p:spPr>
          <a:xfrm>
            <a:off x="5749270" y="4616812"/>
            <a:ext cx="206386" cy="347903"/>
          </a:xfrm>
          <a:custGeom>
            <a:avLst/>
            <a:gdLst/>
            <a:ahLst/>
            <a:cxnLst/>
            <a:rect l="0" t="0" r="0" b="0"/>
            <a:pathLst>
              <a:path w="120000" h="120000" extrusionOk="0">
                <a:moveTo>
                  <a:pt x="75483" y="113628"/>
                </a:moveTo>
                <a:cubicBezTo>
                  <a:pt x="94838" y="113628"/>
                  <a:pt x="94838" y="113628"/>
                  <a:pt x="94838" y="113628"/>
                </a:cubicBezTo>
                <a:cubicBezTo>
                  <a:pt x="94838" y="113628"/>
                  <a:pt x="100645" y="115752"/>
                  <a:pt x="108387" y="115752"/>
                </a:cubicBezTo>
                <a:cubicBezTo>
                  <a:pt x="114193" y="116814"/>
                  <a:pt x="116129" y="120000"/>
                  <a:pt x="116129" y="118938"/>
                </a:cubicBezTo>
                <a:cubicBezTo>
                  <a:pt x="120000" y="118938"/>
                  <a:pt x="116129" y="115752"/>
                  <a:pt x="120000" y="113628"/>
                </a:cubicBezTo>
                <a:cubicBezTo>
                  <a:pt x="116129" y="101946"/>
                  <a:pt x="110322" y="100884"/>
                  <a:pt x="104516" y="97699"/>
                </a:cubicBezTo>
                <a:cubicBezTo>
                  <a:pt x="98709" y="93451"/>
                  <a:pt x="104516" y="90265"/>
                  <a:pt x="98709" y="90265"/>
                </a:cubicBezTo>
                <a:cubicBezTo>
                  <a:pt x="94838" y="89203"/>
                  <a:pt x="92903" y="83893"/>
                  <a:pt x="92903" y="77522"/>
                </a:cubicBezTo>
                <a:cubicBezTo>
                  <a:pt x="94838" y="72212"/>
                  <a:pt x="89032" y="74336"/>
                  <a:pt x="92903" y="72212"/>
                </a:cubicBezTo>
                <a:cubicBezTo>
                  <a:pt x="98709" y="71150"/>
                  <a:pt x="100645" y="64778"/>
                  <a:pt x="108387" y="57345"/>
                </a:cubicBezTo>
                <a:cubicBezTo>
                  <a:pt x="110322" y="54159"/>
                  <a:pt x="108387" y="57345"/>
                  <a:pt x="104516" y="50973"/>
                </a:cubicBezTo>
                <a:cubicBezTo>
                  <a:pt x="104516" y="46725"/>
                  <a:pt x="98709" y="47787"/>
                  <a:pt x="87096" y="38230"/>
                </a:cubicBezTo>
                <a:cubicBezTo>
                  <a:pt x="83225" y="36106"/>
                  <a:pt x="87096" y="31858"/>
                  <a:pt x="92903" y="32920"/>
                </a:cubicBezTo>
                <a:cubicBezTo>
                  <a:pt x="94838" y="32920"/>
                  <a:pt x="100645" y="35044"/>
                  <a:pt x="110322" y="31858"/>
                </a:cubicBezTo>
                <a:cubicBezTo>
                  <a:pt x="94838" y="26548"/>
                  <a:pt x="104516" y="11681"/>
                  <a:pt x="98709" y="9557"/>
                </a:cubicBezTo>
                <a:cubicBezTo>
                  <a:pt x="94838" y="9557"/>
                  <a:pt x="100645" y="5309"/>
                  <a:pt x="94838" y="3185"/>
                </a:cubicBezTo>
                <a:cubicBezTo>
                  <a:pt x="87096" y="2123"/>
                  <a:pt x="104516" y="0"/>
                  <a:pt x="87096" y="0"/>
                </a:cubicBezTo>
                <a:cubicBezTo>
                  <a:pt x="83225" y="13805"/>
                  <a:pt x="98709" y="5309"/>
                  <a:pt x="92903" y="13805"/>
                </a:cubicBezTo>
                <a:cubicBezTo>
                  <a:pt x="89032" y="23362"/>
                  <a:pt x="83225" y="14867"/>
                  <a:pt x="75483" y="31858"/>
                </a:cubicBezTo>
                <a:cubicBezTo>
                  <a:pt x="69677" y="46725"/>
                  <a:pt x="69677" y="46725"/>
                  <a:pt x="61935" y="47787"/>
                </a:cubicBezTo>
                <a:cubicBezTo>
                  <a:pt x="56129" y="49911"/>
                  <a:pt x="54193" y="59469"/>
                  <a:pt x="48387" y="64778"/>
                </a:cubicBezTo>
                <a:cubicBezTo>
                  <a:pt x="42580" y="71150"/>
                  <a:pt x="44516" y="71150"/>
                  <a:pt x="36774" y="65840"/>
                </a:cubicBezTo>
                <a:cubicBezTo>
                  <a:pt x="30967" y="60530"/>
                  <a:pt x="21290" y="62654"/>
                  <a:pt x="21290" y="67964"/>
                </a:cubicBezTo>
                <a:cubicBezTo>
                  <a:pt x="17419" y="71150"/>
                  <a:pt x="11612" y="67964"/>
                  <a:pt x="9677" y="74336"/>
                </a:cubicBezTo>
                <a:cubicBezTo>
                  <a:pt x="3870" y="78584"/>
                  <a:pt x="5806" y="80707"/>
                  <a:pt x="0" y="87079"/>
                </a:cubicBezTo>
                <a:cubicBezTo>
                  <a:pt x="0" y="92389"/>
                  <a:pt x="3870" y="86017"/>
                  <a:pt x="5806" y="90265"/>
                </a:cubicBezTo>
                <a:cubicBezTo>
                  <a:pt x="5806" y="93451"/>
                  <a:pt x="5806" y="93451"/>
                  <a:pt x="9677" y="95575"/>
                </a:cubicBezTo>
                <a:cubicBezTo>
                  <a:pt x="15483" y="97699"/>
                  <a:pt x="11612" y="92389"/>
                  <a:pt x="17419" y="93451"/>
                </a:cubicBezTo>
                <a:cubicBezTo>
                  <a:pt x="21290" y="95575"/>
                  <a:pt x="11612" y="95575"/>
                  <a:pt x="17419" y="98761"/>
                </a:cubicBezTo>
                <a:cubicBezTo>
                  <a:pt x="21290" y="100884"/>
                  <a:pt x="15483" y="98761"/>
                  <a:pt x="17419" y="101946"/>
                </a:cubicBezTo>
                <a:cubicBezTo>
                  <a:pt x="23225" y="105132"/>
                  <a:pt x="17419" y="108318"/>
                  <a:pt x="17419" y="111504"/>
                </a:cubicBezTo>
                <a:cubicBezTo>
                  <a:pt x="23225" y="115752"/>
                  <a:pt x="27096" y="113628"/>
                  <a:pt x="42580" y="113628"/>
                </a:cubicBezTo>
                <a:cubicBezTo>
                  <a:pt x="44516" y="111504"/>
                  <a:pt x="44516" y="111504"/>
                  <a:pt x="60000" y="111504"/>
                </a:cubicBezTo>
                <a:cubicBezTo>
                  <a:pt x="77419" y="111504"/>
                  <a:pt x="71612" y="111504"/>
                  <a:pt x="75483" y="113628"/>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17" name="Shape 1880"/>
          <p:cNvSpPr/>
          <p:nvPr/>
        </p:nvSpPr>
        <p:spPr>
          <a:xfrm>
            <a:off x="5843081" y="5144224"/>
            <a:ext cx="28996" cy="42894"/>
          </a:xfrm>
          <a:custGeom>
            <a:avLst/>
            <a:gdLst/>
            <a:ahLst/>
            <a:cxnLst/>
            <a:rect l="0" t="0" r="0" b="0"/>
            <a:pathLst>
              <a:path w="120000" h="120000" extrusionOk="0">
                <a:moveTo>
                  <a:pt x="0" y="51428"/>
                </a:moveTo>
                <a:cubicBezTo>
                  <a:pt x="13333" y="25714"/>
                  <a:pt x="53333" y="17142"/>
                  <a:pt x="80000" y="17142"/>
                </a:cubicBezTo>
                <a:cubicBezTo>
                  <a:pt x="80000" y="0"/>
                  <a:pt x="106666" y="17142"/>
                  <a:pt x="120000" y="25714"/>
                </a:cubicBezTo>
                <a:cubicBezTo>
                  <a:pt x="106666" y="25714"/>
                  <a:pt x="106666" y="25714"/>
                  <a:pt x="53333" y="42857"/>
                </a:cubicBezTo>
                <a:cubicBezTo>
                  <a:pt x="40000" y="68571"/>
                  <a:pt x="80000" y="119999"/>
                  <a:pt x="13333" y="119999"/>
                </a:cubicBezTo>
                <a:cubicBezTo>
                  <a:pt x="13333" y="111428"/>
                  <a:pt x="0" y="119999"/>
                  <a:pt x="13333" y="94285"/>
                </a:cubicBezTo>
                <a:cubicBezTo>
                  <a:pt x="13333" y="85714"/>
                  <a:pt x="13333" y="68571"/>
                  <a:pt x="0" y="51428"/>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18" name="Shape 1881"/>
          <p:cNvSpPr/>
          <p:nvPr/>
        </p:nvSpPr>
        <p:spPr>
          <a:xfrm>
            <a:off x="5815790" y="4901170"/>
            <a:ext cx="201269" cy="266884"/>
          </a:xfrm>
          <a:custGeom>
            <a:avLst/>
            <a:gdLst/>
            <a:ahLst/>
            <a:cxnLst/>
            <a:rect l="0" t="0" r="0" b="0"/>
            <a:pathLst>
              <a:path w="120000" h="120000" extrusionOk="0">
                <a:moveTo>
                  <a:pt x="35409" y="22068"/>
                </a:moveTo>
                <a:cubicBezTo>
                  <a:pt x="35409" y="26206"/>
                  <a:pt x="29508" y="26206"/>
                  <a:pt x="33442" y="31724"/>
                </a:cubicBezTo>
                <a:cubicBezTo>
                  <a:pt x="35409" y="35862"/>
                  <a:pt x="43278" y="31724"/>
                  <a:pt x="45245" y="31724"/>
                </a:cubicBezTo>
                <a:cubicBezTo>
                  <a:pt x="51147" y="31724"/>
                  <a:pt x="55081" y="35862"/>
                  <a:pt x="51147" y="41379"/>
                </a:cubicBezTo>
                <a:cubicBezTo>
                  <a:pt x="49180" y="46896"/>
                  <a:pt x="49180" y="38620"/>
                  <a:pt x="45245" y="51034"/>
                </a:cubicBezTo>
                <a:cubicBezTo>
                  <a:pt x="43278" y="57931"/>
                  <a:pt x="55081" y="55172"/>
                  <a:pt x="55081" y="59310"/>
                </a:cubicBezTo>
                <a:cubicBezTo>
                  <a:pt x="51147" y="64827"/>
                  <a:pt x="55081" y="73103"/>
                  <a:pt x="51147" y="77241"/>
                </a:cubicBezTo>
                <a:cubicBezTo>
                  <a:pt x="49180" y="81379"/>
                  <a:pt x="55081" y="82758"/>
                  <a:pt x="49180" y="82758"/>
                </a:cubicBezTo>
                <a:cubicBezTo>
                  <a:pt x="43278" y="85517"/>
                  <a:pt x="45245" y="77241"/>
                  <a:pt x="43278" y="81379"/>
                </a:cubicBezTo>
                <a:cubicBezTo>
                  <a:pt x="35409" y="85517"/>
                  <a:pt x="33442" y="85517"/>
                  <a:pt x="27540" y="77241"/>
                </a:cubicBezTo>
                <a:cubicBezTo>
                  <a:pt x="21639" y="70344"/>
                  <a:pt x="21639" y="74482"/>
                  <a:pt x="23606" y="78620"/>
                </a:cubicBezTo>
                <a:cubicBezTo>
                  <a:pt x="23606" y="82758"/>
                  <a:pt x="17704" y="82758"/>
                  <a:pt x="11803" y="82758"/>
                </a:cubicBezTo>
                <a:cubicBezTo>
                  <a:pt x="5901" y="82758"/>
                  <a:pt x="9836" y="92413"/>
                  <a:pt x="11803" y="93793"/>
                </a:cubicBezTo>
                <a:cubicBezTo>
                  <a:pt x="15737" y="96551"/>
                  <a:pt x="15737" y="102068"/>
                  <a:pt x="9836" y="100689"/>
                </a:cubicBezTo>
                <a:cubicBezTo>
                  <a:pt x="5901" y="97931"/>
                  <a:pt x="5901" y="97931"/>
                  <a:pt x="0" y="102068"/>
                </a:cubicBezTo>
                <a:cubicBezTo>
                  <a:pt x="9836" y="108965"/>
                  <a:pt x="9836" y="108965"/>
                  <a:pt x="11803" y="113103"/>
                </a:cubicBezTo>
                <a:cubicBezTo>
                  <a:pt x="11803" y="115862"/>
                  <a:pt x="15737" y="117241"/>
                  <a:pt x="15737" y="117241"/>
                </a:cubicBezTo>
                <a:cubicBezTo>
                  <a:pt x="17704" y="113103"/>
                  <a:pt x="23606" y="111724"/>
                  <a:pt x="27540" y="111724"/>
                </a:cubicBezTo>
                <a:cubicBezTo>
                  <a:pt x="27540" y="108965"/>
                  <a:pt x="29508" y="111724"/>
                  <a:pt x="33442" y="113103"/>
                </a:cubicBezTo>
                <a:cubicBezTo>
                  <a:pt x="39344" y="120000"/>
                  <a:pt x="45245" y="106206"/>
                  <a:pt x="51147" y="108965"/>
                </a:cubicBezTo>
                <a:cubicBezTo>
                  <a:pt x="57049" y="111724"/>
                  <a:pt x="49180" y="115862"/>
                  <a:pt x="55081" y="115862"/>
                </a:cubicBezTo>
                <a:cubicBezTo>
                  <a:pt x="62950" y="117241"/>
                  <a:pt x="68852" y="104827"/>
                  <a:pt x="72786" y="104827"/>
                </a:cubicBezTo>
                <a:cubicBezTo>
                  <a:pt x="78688" y="104827"/>
                  <a:pt x="84590" y="96551"/>
                  <a:pt x="80655" y="92413"/>
                </a:cubicBezTo>
                <a:cubicBezTo>
                  <a:pt x="74754" y="82758"/>
                  <a:pt x="90491" y="66206"/>
                  <a:pt x="98360" y="64827"/>
                </a:cubicBezTo>
                <a:cubicBezTo>
                  <a:pt x="108196" y="59310"/>
                  <a:pt x="102295" y="55172"/>
                  <a:pt x="108196" y="46896"/>
                </a:cubicBezTo>
                <a:cubicBezTo>
                  <a:pt x="112131" y="41379"/>
                  <a:pt x="106229" y="42758"/>
                  <a:pt x="108196" y="31724"/>
                </a:cubicBezTo>
                <a:cubicBezTo>
                  <a:pt x="112131" y="22068"/>
                  <a:pt x="106229" y="23448"/>
                  <a:pt x="112131" y="15172"/>
                </a:cubicBezTo>
                <a:cubicBezTo>
                  <a:pt x="120000" y="8275"/>
                  <a:pt x="120000" y="6896"/>
                  <a:pt x="120000" y="4137"/>
                </a:cubicBezTo>
                <a:cubicBezTo>
                  <a:pt x="114098" y="0"/>
                  <a:pt x="112131" y="6896"/>
                  <a:pt x="106229" y="2758"/>
                </a:cubicBezTo>
                <a:cubicBezTo>
                  <a:pt x="98360" y="0"/>
                  <a:pt x="98360" y="4137"/>
                  <a:pt x="90491" y="2758"/>
                </a:cubicBezTo>
                <a:cubicBezTo>
                  <a:pt x="80655" y="2758"/>
                  <a:pt x="86557" y="12413"/>
                  <a:pt x="80655" y="22068"/>
                </a:cubicBezTo>
                <a:cubicBezTo>
                  <a:pt x="78688" y="23448"/>
                  <a:pt x="80655" y="27586"/>
                  <a:pt x="78688" y="27586"/>
                </a:cubicBezTo>
                <a:cubicBezTo>
                  <a:pt x="78688" y="30344"/>
                  <a:pt x="74754" y="26206"/>
                  <a:pt x="68852" y="23448"/>
                </a:cubicBezTo>
                <a:cubicBezTo>
                  <a:pt x="62950" y="23448"/>
                  <a:pt x="57049" y="22068"/>
                  <a:pt x="57049" y="22068"/>
                </a:cubicBezTo>
                <a:cubicBezTo>
                  <a:pt x="35409" y="22068"/>
                  <a:pt x="35409" y="22068"/>
                  <a:pt x="35409" y="22068"/>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19" name="Shape 1882"/>
          <p:cNvSpPr/>
          <p:nvPr/>
        </p:nvSpPr>
        <p:spPr>
          <a:xfrm>
            <a:off x="5749270" y="4944063"/>
            <a:ext cx="158628" cy="187454"/>
          </a:xfrm>
          <a:custGeom>
            <a:avLst/>
            <a:gdLst/>
            <a:ahLst/>
            <a:cxnLst/>
            <a:rect l="0" t="0" r="0" b="0"/>
            <a:pathLst>
              <a:path w="120000" h="120000" extrusionOk="0">
                <a:moveTo>
                  <a:pt x="55000" y="1967"/>
                </a:moveTo>
                <a:cubicBezTo>
                  <a:pt x="57500" y="0"/>
                  <a:pt x="57500" y="0"/>
                  <a:pt x="77500" y="0"/>
                </a:cubicBezTo>
                <a:cubicBezTo>
                  <a:pt x="100000" y="0"/>
                  <a:pt x="92500" y="0"/>
                  <a:pt x="97500" y="1967"/>
                </a:cubicBezTo>
                <a:cubicBezTo>
                  <a:pt x="97500" y="7868"/>
                  <a:pt x="87500" y="7868"/>
                  <a:pt x="92500" y="17704"/>
                </a:cubicBezTo>
                <a:cubicBezTo>
                  <a:pt x="97500" y="23606"/>
                  <a:pt x="105000" y="17704"/>
                  <a:pt x="107500" y="17704"/>
                </a:cubicBezTo>
                <a:cubicBezTo>
                  <a:pt x="115000" y="17704"/>
                  <a:pt x="120000" y="23606"/>
                  <a:pt x="115000" y="29508"/>
                </a:cubicBezTo>
                <a:cubicBezTo>
                  <a:pt x="112500" y="39344"/>
                  <a:pt x="112500" y="27540"/>
                  <a:pt x="107500" y="45245"/>
                </a:cubicBezTo>
                <a:cubicBezTo>
                  <a:pt x="105000" y="55081"/>
                  <a:pt x="120000" y="51147"/>
                  <a:pt x="120000" y="57049"/>
                </a:cubicBezTo>
                <a:cubicBezTo>
                  <a:pt x="115000" y="64918"/>
                  <a:pt x="120000" y="76721"/>
                  <a:pt x="115000" y="82622"/>
                </a:cubicBezTo>
                <a:cubicBezTo>
                  <a:pt x="112500" y="88524"/>
                  <a:pt x="120000" y="92459"/>
                  <a:pt x="112500" y="92459"/>
                </a:cubicBezTo>
                <a:cubicBezTo>
                  <a:pt x="105000" y="94426"/>
                  <a:pt x="107500" y="82622"/>
                  <a:pt x="105000" y="88524"/>
                </a:cubicBezTo>
                <a:cubicBezTo>
                  <a:pt x="97500" y="94426"/>
                  <a:pt x="92500" y="94426"/>
                  <a:pt x="85000" y="82622"/>
                </a:cubicBezTo>
                <a:cubicBezTo>
                  <a:pt x="77500" y="72786"/>
                  <a:pt x="77500" y="78688"/>
                  <a:pt x="80000" y="86557"/>
                </a:cubicBezTo>
                <a:cubicBezTo>
                  <a:pt x="80000" y="92459"/>
                  <a:pt x="72500" y="92459"/>
                  <a:pt x="65000" y="92459"/>
                </a:cubicBezTo>
                <a:cubicBezTo>
                  <a:pt x="57500" y="92459"/>
                  <a:pt x="62500" y="104262"/>
                  <a:pt x="65000" y="106229"/>
                </a:cubicBezTo>
                <a:cubicBezTo>
                  <a:pt x="70000" y="110163"/>
                  <a:pt x="70000" y="120000"/>
                  <a:pt x="62500" y="116065"/>
                </a:cubicBezTo>
                <a:cubicBezTo>
                  <a:pt x="57500" y="114098"/>
                  <a:pt x="57500" y="114098"/>
                  <a:pt x="50000" y="120000"/>
                </a:cubicBezTo>
                <a:cubicBezTo>
                  <a:pt x="40000" y="110163"/>
                  <a:pt x="55000" y="116065"/>
                  <a:pt x="30000" y="98360"/>
                </a:cubicBezTo>
                <a:cubicBezTo>
                  <a:pt x="22500" y="92459"/>
                  <a:pt x="20000" y="88524"/>
                  <a:pt x="15000" y="86557"/>
                </a:cubicBezTo>
                <a:cubicBezTo>
                  <a:pt x="12500" y="78688"/>
                  <a:pt x="12500" y="76721"/>
                  <a:pt x="7500" y="66885"/>
                </a:cubicBezTo>
                <a:cubicBezTo>
                  <a:pt x="0" y="57049"/>
                  <a:pt x="0" y="51147"/>
                  <a:pt x="7500" y="57049"/>
                </a:cubicBezTo>
                <a:cubicBezTo>
                  <a:pt x="12500" y="60983"/>
                  <a:pt x="15000" y="51147"/>
                  <a:pt x="15000" y="45245"/>
                </a:cubicBezTo>
                <a:cubicBezTo>
                  <a:pt x="15000" y="35409"/>
                  <a:pt x="15000" y="35409"/>
                  <a:pt x="20000" y="43278"/>
                </a:cubicBezTo>
                <a:cubicBezTo>
                  <a:pt x="22500" y="45245"/>
                  <a:pt x="35000" y="43278"/>
                  <a:pt x="27500" y="39344"/>
                </a:cubicBezTo>
                <a:cubicBezTo>
                  <a:pt x="20000" y="39344"/>
                  <a:pt x="15000" y="35409"/>
                  <a:pt x="15000" y="33442"/>
                </a:cubicBezTo>
                <a:cubicBezTo>
                  <a:pt x="20000" y="29508"/>
                  <a:pt x="20000" y="33442"/>
                  <a:pt x="20000" y="33442"/>
                </a:cubicBezTo>
                <a:cubicBezTo>
                  <a:pt x="22500" y="29508"/>
                  <a:pt x="20000" y="27540"/>
                  <a:pt x="20000" y="23606"/>
                </a:cubicBezTo>
                <a:cubicBezTo>
                  <a:pt x="40000" y="23606"/>
                  <a:pt x="42500" y="27540"/>
                  <a:pt x="55000" y="23606"/>
                </a:cubicBezTo>
                <a:cubicBezTo>
                  <a:pt x="55000" y="1967"/>
                  <a:pt x="55000" y="1967"/>
                  <a:pt x="55000" y="1967"/>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20" name="Shape 1883"/>
          <p:cNvSpPr/>
          <p:nvPr/>
        </p:nvSpPr>
        <p:spPr>
          <a:xfrm>
            <a:off x="5769740" y="4944063"/>
            <a:ext cx="52875" cy="42894"/>
          </a:xfrm>
          <a:custGeom>
            <a:avLst/>
            <a:gdLst/>
            <a:ahLst/>
            <a:cxnLst/>
            <a:rect l="0" t="0" r="0" b="0"/>
            <a:pathLst>
              <a:path w="120000" h="120000" extrusionOk="0">
                <a:moveTo>
                  <a:pt x="22500" y="0"/>
                </a:moveTo>
                <a:cubicBezTo>
                  <a:pt x="45000" y="25714"/>
                  <a:pt x="60000" y="8571"/>
                  <a:pt x="120000" y="8571"/>
                </a:cubicBezTo>
                <a:cubicBezTo>
                  <a:pt x="120000" y="111428"/>
                  <a:pt x="120000" y="111428"/>
                  <a:pt x="120000" y="111428"/>
                </a:cubicBezTo>
                <a:cubicBezTo>
                  <a:pt x="82500" y="119999"/>
                  <a:pt x="67500" y="111428"/>
                  <a:pt x="15000" y="111428"/>
                </a:cubicBezTo>
                <a:cubicBezTo>
                  <a:pt x="22500" y="94285"/>
                  <a:pt x="0" y="119999"/>
                  <a:pt x="0" y="94285"/>
                </a:cubicBezTo>
                <a:cubicBezTo>
                  <a:pt x="0" y="68571"/>
                  <a:pt x="37500" y="68571"/>
                  <a:pt x="22500"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21" name="Shape 1884"/>
          <p:cNvSpPr/>
          <p:nvPr/>
        </p:nvSpPr>
        <p:spPr>
          <a:xfrm>
            <a:off x="5740743" y="4901171"/>
            <a:ext cx="18761" cy="17474"/>
          </a:xfrm>
          <a:custGeom>
            <a:avLst/>
            <a:gdLst/>
            <a:ahLst/>
            <a:cxnLst/>
            <a:rect l="0" t="0" r="0" b="0"/>
            <a:pathLst>
              <a:path w="120000" h="120000" extrusionOk="0">
                <a:moveTo>
                  <a:pt x="60000" y="120000"/>
                </a:moveTo>
                <a:cubicBezTo>
                  <a:pt x="0" y="100000"/>
                  <a:pt x="60000" y="60000"/>
                  <a:pt x="60000" y="40000"/>
                </a:cubicBezTo>
                <a:cubicBezTo>
                  <a:pt x="100000" y="0"/>
                  <a:pt x="120000" y="0"/>
                  <a:pt x="100000" y="60000"/>
                </a:cubicBezTo>
                <a:cubicBezTo>
                  <a:pt x="60000" y="120000"/>
                  <a:pt x="60000" y="120000"/>
                  <a:pt x="6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22" name="Shape 1885"/>
          <p:cNvSpPr/>
          <p:nvPr/>
        </p:nvSpPr>
        <p:spPr>
          <a:xfrm>
            <a:off x="5689572" y="5002840"/>
            <a:ext cx="17056" cy="11119"/>
          </a:xfrm>
          <a:custGeom>
            <a:avLst/>
            <a:gdLst/>
            <a:ahLst/>
            <a:cxnLst/>
            <a:rect l="0" t="0" r="0" b="0"/>
            <a:pathLst>
              <a:path w="120000" h="120000" extrusionOk="0">
                <a:moveTo>
                  <a:pt x="72000" y="0"/>
                </a:moveTo>
                <a:cubicBezTo>
                  <a:pt x="120000" y="30000"/>
                  <a:pt x="72000" y="120000"/>
                  <a:pt x="48000" y="120000"/>
                </a:cubicBezTo>
                <a:cubicBezTo>
                  <a:pt x="0" y="90000"/>
                  <a:pt x="48000" y="0"/>
                  <a:pt x="72000"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23" name="Shape 1886"/>
          <p:cNvSpPr/>
          <p:nvPr/>
        </p:nvSpPr>
        <p:spPr>
          <a:xfrm>
            <a:off x="6276325" y="5042554"/>
            <a:ext cx="59697" cy="58779"/>
          </a:xfrm>
          <a:custGeom>
            <a:avLst/>
            <a:gdLst/>
            <a:ahLst/>
            <a:cxnLst/>
            <a:rect l="0" t="0" r="0" b="0"/>
            <a:pathLst>
              <a:path w="120000" h="120000" extrusionOk="0">
                <a:moveTo>
                  <a:pt x="20000" y="113684"/>
                </a:moveTo>
                <a:cubicBezTo>
                  <a:pt x="33333" y="94736"/>
                  <a:pt x="40000" y="101052"/>
                  <a:pt x="40000" y="113684"/>
                </a:cubicBezTo>
                <a:cubicBezTo>
                  <a:pt x="40000" y="120000"/>
                  <a:pt x="73333" y="120000"/>
                  <a:pt x="73333" y="101052"/>
                </a:cubicBezTo>
                <a:cubicBezTo>
                  <a:pt x="73333" y="82105"/>
                  <a:pt x="80000" y="82105"/>
                  <a:pt x="80000" y="94736"/>
                </a:cubicBezTo>
                <a:cubicBezTo>
                  <a:pt x="80000" y="94736"/>
                  <a:pt x="93333" y="82105"/>
                  <a:pt x="113333" y="94736"/>
                </a:cubicBezTo>
                <a:cubicBezTo>
                  <a:pt x="120000" y="94736"/>
                  <a:pt x="120000" y="82105"/>
                  <a:pt x="120000" y="50526"/>
                </a:cubicBezTo>
                <a:cubicBezTo>
                  <a:pt x="113333" y="12631"/>
                  <a:pt x="100000" y="18947"/>
                  <a:pt x="100000" y="0"/>
                </a:cubicBezTo>
                <a:cubicBezTo>
                  <a:pt x="93333" y="12631"/>
                  <a:pt x="93333" y="18947"/>
                  <a:pt x="80000" y="31578"/>
                </a:cubicBezTo>
                <a:cubicBezTo>
                  <a:pt x="60000" y="31578"/>
                  <a:pt x="80000" y="12631"/>
                  <a:pt x="60000" y="18947"/>
                </a:cubicBezTo>
                <a:cubicBezTo>
                  <a:pt x="0" y="63157"/>
                  <a:pt x="53333" y="63157"/>
                  <a:pt x="33333" y="82105"/>
                </a:cubicBezTo>
                <a:cubicBezTo>
                  <a:pt x="13333" y="94736"/>
                  <a:pt x="20000" y="94736"/>
                  <a:pt x="20000" y="113684"/>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24" name="Shape 1887"/>
          <p:cNvSpPr/>
          <p:nvPr/>
        </p:nvSpPr>
        <p:spPr>
          <a:xfrm>
            <a:off x="6286560" y="5082271"/>
            <a:ext cx="61403" cy="68308"/>
          </a:xfrm>
          <a:custGeom>
            <a:avLst/>
            <a:gdLst/>
            <a:ahLst/>
            <a:cxnLst/>
            <a:rect l="0" t="0" r="0" b="0"/>
            <a:pathLst>
              <a:path w="120000" h="120000" extrusionOk="0">
                <a:moveTo>
                  <a:pt x="88421" y="10909"/>
                </a:moveTo>
                <a:cubicBezTo>
                  <a:pt x="88421" y="16363"/>
                  <a:pt x="75789" y="16363"/>
                  <a:pt x="75789" y="27272"/>
                </a:cubicBezTo>
                <a:cubicBezTo>
                  <a:pt x="75789" y="32727"/>
                  <a:pt x="120000" y="32727"/>
                  <a:pt x="88421" y="60000"/>
                </a:cubicBezTo>
                <a:cubicBezTo>
                  <a:pt x="56842" y="87272"/>
                  <a:pt x="69473" y="109090"/>
                  <a:pt x="31578" y="120000"/>
                </a:cubicBezTo>
                <a:cubicBezTo>
                  <a:pt x="31578" y="92727"/>
                  <a:pt x="12631" y="92727"/>
                  <a:pt x="12631" y="70909"/>
                </a:cubicBezTo>
                <a:cubicBezTo>
                  <a:pt x="18947" y="43636"/>
                  <a:pt x="12631" y="43636"/>
                  <a:pt x="0" y="27272"/>
                </a:cubicBezTo>
                <a:cubicBezTo>
                  <a:pt x="12631" y="10909"/>
                  <a:pt x="18947" y="16363"/>
                  <a:pt x="18947" y="27272"/>
                </a:cubicBezTo>
                <a:cubicBezTo>
                  <a:pt x="18947" y="32727"/>
                  <a:pt x="50526" y="32727"/>
                  <a:pt x="50526" y="16363"/>
                </a:cubicBezTo>
                <a:cubicBezTo>
                  <a:pt x="50526" y="0"/>
                  <a:pt x="56842" y="0"/>
                  <a:pt x="56842" y="10909"/>
                </a:cubicBezTo>
                <a:cubicBezTo>
                  <a:pt x="56842" y="10909"/>
                  <a:pt x="69473" y="0"/>
                  <a:pt x="88421" y="10909"/>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25" name="Shape 1888"/>
          <p:cNvSpPr/>
          <p:nvPr/>
        </p:nvSpPr>
        <p:spPr>
          <a:xfrm>
            <a:off x="5379136" y="4548501"/>
            <a:ext cx="211503" cy="182689"/>
          </a:xfrm>
          <a:custGeom>
            <a:avLst/>
            <a:gdLst/>
            <a:ahLst/>
            <a:cxnLst/>
            <a:rect l="0" t="0" r="0" b="0"/>
            <a:pathLst>
              <a:path w="120000" h="120000" extrusionOk="0">
                <a:moveTo>
                  <a:pt x="45000" y="117966"/>
                </a:moveTo>
                <a:cubicBezTo>
                  <a:pt x="43125" y="109830"/>
                  <a:pt x="43125" y="101694"/>
                  <a:pt x="43125" y="97627"/>
                </a:cubicBezTo>
                <a:cubicBezTo>
                  <a:pt x="43125" y="97627"/>
                  <a:pt x="37500" y="85423"/>
                  <a:pt x="43125" y="85423"/>
                </a:cubicBezTo>
                <a:cubicBezTo>
                  <a:pt x="48750" y="85423"/>
                  <a:pt x="67500" y="85423"/>
                  <a:pt x="71250" y="85423"/>
                </a:cubicBezTo>
                <a:cubicBezTo>
                  <a:pt x="73125" y="85423"/>
                  <a:pt x="73125" y="89491"/>
                  <a:pt x="76875" y="85423"/>
                </a:cubicBezTo>
                <a:cubicBezTo>
                  <a:pt x="78750" y="85423"/>
                  <a:pt x="78750" y="83389"/>
                  <a:pt x="82500" y="83389"/>
                </a:cubicBezTo>
                <a:cubicBezTo>
                  <a:pt x="91875" y="85423"/>
                  <a:pt x="91875" y="89491"/>
                  <a:pt x="91875" y="89491"/>
                </a:cubicBezTo>
                <a:cubicBezTo>
                  <a:pt x="93750" y="89491"/>
                  <a:pt x="97500" y="85423"/>
                  <a:pt x="97500" y="85423"/>
                </a:cubicBezTo>
                <a:cubicBezTo>
                  <a:pt x="108750" y="73220"/>
                  <a:pt x="110625" y="85423"/>
                  <a:pt x="120000" y="69152"/>
                </a:cubicBezTo>
                <a:cubicBezTo>
                  <a:pt x="116250" y="63050"/>
                  <a:pt x="114375" y="61016"/>
                  <a:pt x="116250" y="61016"/>
                </a:cubicBezTo>
                <a:cubicBezTo>
                  <a:pt x="120000" y="56949"/>
                  <a:pt x="114375" y="46779"/>
                  <a:pt x="110625" y="54915"/>
                </a:cubicBezTo>
                <a:cubicBezTo>
                  <a:pt x="108750" y="56949"/>
                  <a:pt x="103125" y="46779"/>
                  <a:pt x="99375" y="44745"/>
                </a:cubicBezTo>
                <a:cubicBezTo>
                  <a:pt x="97500" y="44745"/>
                  <a:pt x="97500" y="38644"/>
                  <a:pt x="99375" y="38644"/>
                </a:cubicBezTo>
                <a:cubicBezTo>
                  <a:pt x="103125" y="40677"/>
                  <a:pt x="103125" y="38644"/>
                  <a:pt x="97500" y="34576"/>
                </a:cubicBezTo>
                <a:cubicBezTo>
                  <a:pt x="93750" y="28474"/>
                  <a:pt x="91875" y="34576"/>
                  <a:pt x="91875" y="26440"/>
                </a:cubicBezTo>
                <a:cubicBezTo>
                  <a:pt x="88125" y="12203"/>
                  <a:pt x="84375" y="18305"/>
                  <a:pt x="88125" y="6101"/>
                </a:cubicBezTo>
                <a:cubicBezTo>
                  <a:pt x="84375" y="6101"/>
                  <a:pt x="84375" y="6101"/>
                  <a:pt x="82500" y="6101"/>
                </a:cubicBezTo>
                <a:cubicBezTo>
                  <a:pt x="78750" y="4067"/>
                  <a:pt x="78750" y="6101"/>
                  <a:pt x="76875" y="4067"/>
                </a:cubicBezTo>
                <a:cubicBezTo>
                  <a:pt x="71250" y="0"/>
                  <a:pt x="76875" y="6101"/>
                  <a:pt x="60000" y="12203"/>
                </a:cubicBezTo>
                <a:cubicBezTo>
                  <a:pt x="50625" y="16271"/>
                  <a:pt x="56250" y="26440"/>
                  <a:pt x="50625" y="22372"/>
                </a:cubicBezTo>
                <a:cubicBezTo>
                  <a:pt x="45000" y="18305"/>
                  <a:pt x="43125" y="22372"/>
                  <a:pt x="43125" y="32542"/>
                </a:cubicBezTo>
                <a:cubicBezTo>
                  <a:pt x="43125" y="38644"/>
                  <a:pt x="33750" y="28474"/>
                  <a:pt x="33750" y="34576"/>
                </a:cubicBezTo>
                <a:cubicBezTo>
                  <a:pt x="33750" y="38644"/>
                  <a:pt x="33750" y="44745"/>
                  <a:pt x="28125" y="40677"/>
                </a:cubicBezTo>
                <a:cubicBezTo>
                  <a:pt x="22500" y="40677"/>
                  <a:pt x="26250" y="34576"/>
                  <a:pt x="22500" y="38644"/>
                </a:cubicBezTo>
                <a:cubicBezTo>
                  <a:pt x="18750" y="40677"/>
                  <a:pt x="18750" y="44745"/>
                  <a:pt x="22500" y="46779"/>
                </a:cubicBezTo>
                <a:cubicBezTo>
                  <a:pt x="26250" y="54915"/>
                  <a:pt x="16875" y="50847"/>
                  <a:pt x="16875" y="54915"/>
                </a:cubicBezTo>
                <a:cubicBezTo>
                  <a:pt x="18750" y="56949"/>
                  <a:pt x="18750" y="56949"/>
                  <a:pt x="16875" y="63050"/>
                </a:cubicBezTo>
                <a:cubicBezTo>
                  <a:pt x="13125" y="69152"/>
                  <a:pt x="1875" y="67118"/>
                  <a:pt x="5625" y="69152"/>
                </a:cubicBezTo>
                <a:cubicBezTo>
                  <a:pt x="5625" y="73220"/>
                  <a:pt x="5625" y="83389"/>
                  <a:pt x="1875" y="85423"/>
                </a:cubicBezTo>
                <a:cubicBezTo>
                  <a:pt x="0" y="85423"/>
                  <a:pt x="5625" y="89491"/>
                  <a:pt x="1875" y="97627"/>
                </a:cubicBezTo>
                <a:cubicBezTo>
                  <a:pt x="13125" y="101694"/>
                  <a:pt x="1875" y="101694"/>
                  <a:pt x="13125" y="109830"/>
                </a:cubicBezTo>
                <a:cubicBezTo>
                  <a:pt x="26250" y="120000"/>
                  <a:pt x="16875" y="107796"/>
                  <a:pt x="28125" y="107796"/>
                </a:cubicBezTo>
                <a:cubicBezTo>
                  <a:pt x="39375" y="107796"/>
                  <a:pt x="37500" y="117966"/>
                  <a:pt x="45000" y="117966"/>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26" name="Shape 1889"/>
          <p:cNvSpPr/>
          <p:nvPr/>
        </p:nvSpPr>
        <p:spPr>
          <a:xfrm>
            <a:off x="5544589" y="4632697"/>
            <a:ext cx="92105" cy="190632"/>
          </a:xfrm>
          <a:custGeom>
            <a:avLst/>
            <a:gdLst/>
            <a:ahLst/>
            <a:cxnLst/>
            <a:rect l="0" t="0" r="0" b="0"/>
            <a:pathLst>
              <a:path w="120000" h="120000" extrusionOk="0">
                <a:moveTo>
                  <a:pt x="59999" y="13548"/>
                </a:moveTo>
                <a:cubicBezTo>
                  <a:pt x="38571" y="29032"/>
                  <a:pt x="34285" y="17419"/>
                  <a:pt x="8571" y="29032"/>
                </a:cubicBezTo>
                <a:cubicBezTo>
                  <a:pt x="0" y="42580"/>
                  <a:pt x="8571" y="44516"/>
                  <a:pt x="21428" y="48387"/>
                </a:cubicBezTo>
                <a:cubicBezTo>
                  <a:pt x="34285" y="48387"/>
                  <a:pt x="21428" y="61935"/>
                  <a:pt x="25714" y="61935"/>
                </a:cubicBezTo>
                <a:cubicBezTo>
                  <a:pt x="38571" y="65806"/>
                  <a:pt x="34285" y="98709"/>
                  <a:pt x="34285" y="104516"/>
                </a:cubicBezTo>
                <a:cubicBezTo>
                  <a:pt x="34285" y="108387"/>
                  <a:pt x="25714" y="104516"/>
                  <a:pt x="25714" y="108387"/>
                </a:cubicBezTo>
                <a:cubicBezTo>
                  <a:pt x="34285" y="112258"/>
                  <a:pt x="38571" y="118064"/>
                  <a:pt x="34285" y="120000"/>
                </a:cubicBezTo>
                <a:cubicBezTo>
                  <a:pt x="55714" y="120000"/>
                  <a:pt x="59999" y="120000"/>
                  <a:pt x="72857" y="120000"/>
                </a:cubicBezTo>
                <a:cubicBezTo>
                  <a:pt x="81428" y="102580"/>
                  <a:pt x="72857" y="92903"/>
                  <a:pt x="72857" y="77419"/>
                </a:cubicBezTo>
                <a:cubicBezTo>
                  <a:pt x="72857" y="61935"/>
                  <a:pt x="81428" y="71612"/>
                  <a:pt x="85714" y="61935"/>
                </a:cubicBezTo>
                <a:cubicBezTo>
                  <a:pt x="85714" y="54193"/>
                  <a:pt x="94285" y="56129"/>
                  <a:pt x="107142" y="42580"/>
                </a:cubicBezTo>
                <a:cubicBezTo>
                  <a:pt x="119999" y="27096"/>
                  <a:pt x="94285" y="27096"/>
                  <a:pt x="98571" y="17419"/>
                </a:cubicBezTo>
                <a:cubicBezTo>
                  <a:pt x="94285" y="11612"/>
                  <a:pt x="94285" y="11612"/>
                  <a:pt x="81428" y="5806"/>
                </a:cubicBezTo>
                <a:cubicBezTo>
                  <a:pt x="68571" y="0"/>
                  <a:pt x="72857" y="5806"/>
                  <a:pt x="68571" y="5806"/>
                </a:cubicBezTo>
                <a:cubicBezTo>
                  <a:pt x="55714" y="5806"/>
                  <a:pt x="68571" y="7741"/>
                  <a:pt x="59999" y="13548"/>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27" name="Shape 1890"/>
          <p:cNvSpPr/>
          <p:nvPr/>
        </p:nvSpPr>
        <p:spPr>
          <a:xfrm>
            <a:off x="5300676" y="4681943"/>
            <a:ext cx="167157" cy="200162"/>
          </a:xfrm>
          <a:custGeom>
            <a:avLst/>
            <a:gdLst/>
            <a:ahLst/>
            <a:cxnLst/>
            <a:rect l="0" t="0" r="0" b="0"/>
            <a:pathLst>
              <a:path w="120000" h="120000" extrusionOk="0">
                <a:moveTo>
                  <a:pt x="112941" y="27692"/>
                </a:moveTo>
                <a:cubicBezTo>
                  <a:pt x="110588" y="33230"/>
                  <a:pt x="120000" y="53538"/>
                  <a:pt x="112941" y="53538"/>
                </a:cubicBezTo>
                <a:cubicBezTo>
                  <a:pt x="110588" y="57230"/>
                  <a:pt x="105882" y="68307"/>
                  <a:pt x="103529" y="79384"/>
                </a:cubicBezTo>
                <a:cubicBezTo>
                  <a:pt x="98823" y="83076"/>
                  <a:pt x="105882" y="94153"/>
                  <a:pt x="105882" y="96000"/>
                </a:cubicBezTo>
                <a:cubicBezTo>
                  <a:pt x="110588" y="99692"/>
                  <a:pt x="112941" y="108923"/>
                  <a:pt x="110588" y="105230"/>
                </a:cubicBezTo>
                <a:cubicBezTo>
                  <a:pt x="110588" y="105230"/>
                  <a:pt x="110588" y="105230"/>
                  <a:pt x="103529" y="105230"/>
                </a:cubicBezTo>
                <a:cubicBezTo>
                  <a:pt x="98823" y="105230"/>
                  <a:pt x="103529" y="108923"/>
                  <a:pt x="91764" y="105230"/>
                </a:cubicBezTo>
                <a:cubicBezTo>
                  <a:pt x="82352" y="105230"/>
                  <a:pt x="89411" y="105230"/>
                  <a:pt x="82352" y="105230"/>
                </a:cubicBezTo>
                <a:cubicBezTo>
                  <a:pt x="70588" y="108923"/>
                  <a:pt x="70588" y="105230"/>
                  <a:pt x="49411" y="108923"/>
                </a:cubicBezTo>
                <a:cubicBezTo>
                  <a:pt x="28235" y="114461"/>
                  <a:pt x="28235" y="120000"/>
                  <a:pt x="21176" y="120000"/>
                </a:cubicBezTo>
                <a:cubicBezTo>
                  <a:pt x="21176" y="110769"/>
                  <a:pt x="23529" y="105230"/>
                  <a:pt x="23529" y="96000"/>
                </a:cubicBezTo>
                <a:cubicBezTo>
                  <a:pt x="23529" y="90461"/>
                  <a:pt x="16470" y="94153"/>
                  <a:pt x="16470" y="88615"/>
                </a:cubicBezTo>
                <a:cubicBezTo>
                  <a:pt x="16470" y="83076"/>
                  <a:pt x="0" y="84923"/>
                  <a:pt x="2352" y="79384"/>
                </a:cubicBezTo>
                <a:cubicBezTo>
                  <a:pt x="7058" y="73846"/>
                  <a:pt x="9411" y="70153"/>
                  <a:pt x="2352" y="59076"/>
                </a:cubicBezTo>
                <a:cubicBezTo>
                  <a:pt x="9411" y="64615"/>
                  <a:pt x="14117" y="59076"/>
                  <a:pt x="14117" y="53538"/>
                </a:cubicBezTo>
                <a:cubicBezTo>
                  <a:pt x="14117" y="48000"/>
                  <a:pt x="9411" y="53538"/>
                  <a:pt x="7058" y="48000"/>
                </a:cubicBezTo>
                <a:cubicBezTo>
                  <a:pt x="7058" y="44307"/>
                  <a:pt x="9411" y="44307"/>
                  <a:pt x="21176" y="48000"/>
                </a:cubicBezTo>
                <a:cubicBezTo>
                  <a:pt x="21176" y="38769"/>
                  <a:pt x="9411" y="42461"/>
                  <a:pt x="16470" y="36923"/>
                </a:cubicBezTo>
                <a:cubicBezTo>
                  <a:pt x="21176" y="31384"/>
                  <a:pt x="9411" y="31384"/>
                  <a:pt x="9411" y="25846"/>
                </a:cubicBezTo>
                <a:cubicBezTo>
                  <a:pt x="14117" y="18461"/>
                  <a:pt x="7058" y="18461"/>
                  <a:pt x="14117" y="16615"/>
                </a:cubicBezTo>
                <a:cubicBezTo>
                  <a:pt x="28235" y="1846"/>
                  <a:pt x="23529" y="22153"/>
                  <a:pt x="35294" y="12923"/>
                </a:cubicBezTo>
                <a:cubicBezTo>
                  <a:pt x="42352" y="5538"/>
                  <a:pt x="47058" y="0"/>
                  <a:pt x="47058" y="11076"/>
                </a:cubicBezTo>
                <a:cubicBezTo>
                  <a:pt x="47058" y="18461"/>
                  <a:pt x="54117" y="11076"/>
                  <a:pt x="61176" y="11076"/>
                </a:cubicBezTo>
                <a:cubicBezTo>
                  <a:pt x="75294" y="12923"/>
                  <a:pt x="61176" y="12923"/>
                  <a:pt x="75294" y="22153"/>
                </a:cubicBezTo>
                <a:cubicBezTo>
                  <a:pt x="89411" y="31384"/>
                  <a:pt x="77647" y="18461"/>
                  <a:pt x="91764" y="18461"/>
                </a:cubicBezTo>
                <a:cubicBezTo>
                  <a:pt x="105882" y="18461"/>
                  <a:pt x="103529" y="27692"/>
                  <a:pt x="112941" y="27692"/>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28" name="Shape 1891"/>
          <p:cNvSpPr/>
          <p:nvPr/>
        </p:nvSpPr>
        <p:spPr>
          <a:xfrm>
            <a:off x="5438837" y="4675590"/>
            <a:ext cx="122807" cy="200162"/>
          </a:xfrm>
          <a:custGeom>
            <a:avLst/>
            <a:gdLst/>
            <a:ahLst/>
            <a:cxnLst/>
            <a:rect l="0" t="0" r="0" b="0"/>
            <a:pathLst>
              <a:path w="120000" h="120000" extrusionOk="0">
                <a:moveTo>
                  <a:pt x="84324" y="0"/>
                </a:moveTo>
                <a:cubicBezTo>
                  <a:pt x="84324" y="16615"/>
                  <a:pt x="100540" y="11076"/>
                  <a:pt x="94054" y="25846"/>
                </a:cubicBezTo>
                <a:cubicBezTo>
                  <a:pt x="90810" y="40615"/>
                  <a:pt x="103783" y="25846"/>
                  <a:pt x="100540" y="40615"/>
                </a:cubicBezTo>
                <a:cubicBezTo>
                  <a:pt x="94054" y="51692"/>
                  <a:pt x="110270" y="42461"/>
                  <a:pt x="100540" y="60923"/>
                </a:cubicBezTo>
                <a:cubicBezTo>
                  <a:pt x="94054" y="77538"/>
                  <a:pt x="103783" y="62769"/>
                  <a:pt x="103783" y="73846"/>
                </a:cubicBezTo>
                <a:cubicBezTo>
                  <a:pt x="100540" y="83076"/>
                  <a:pt x="110270" y="86769"/>
                  <a:pt x="120000" y="92307"/>
                </a:cubicBezTo>
                <a:cubicBezTo>
                  <a:pt x="110270" y="94153"/>
                  <a:pt x="120000" y="97846"/>
                  <a:pt x="103783" y="97846"/>
                </a:cubicBezTo>
                <a:cubicBezTo>
                  <a:pt x="74594" y="99692"/>
                  <a:pt x="77837" y="108923"/>
                  <a:pt x="58378" y="108923"/>
                </a:cubicBezTo>
                <a:cubicBezTo>
                  <a:pt x="45405" y="112615"/>
                  <a:pt x="38918" y="120000"/>
                  <a:pt x="29189" y="118153"/>
                </a:cubicBezTo>
                <a:cubicBezTo>
                  <a:pt x="25945" y="112615"/>
                  <a:pt x="9729" y="112615"/>
                  <a:pt x="3243" y="112615"/>
                </a:cubicBezTo>
                <a:cubicBezTo>
                  <a:pt x="0" y="112615"/>
                  <a:pt x="9729" y="112615"/>
                  <a:pt x="12972" y="108923"/>
                </a:cubicBezTo>
                <a:cubicBezTo>
                  <a:pt x="19459" y="112615"/>
                  <a:pt x="12972" y="103384"/>
                  <a:pt x="9729" y="99692"/>
                </a:cubicBezTo>
                <a:cubicBezTo>
                  <a:pt x="9729" y="97846"/>
                  <a:pt x="0" y="86769"/>
                  <a:pt x="3243" y="83076"/>
                </a:cubicBezTo>
                <a:cubicBezTo>
                  <a:pt x="9729" y="72000"/>
                  <a:pt x="12972" y="60923"/>
                  <a:pt x="19459" y="57230"/>
                </a:cubicBezTo>
                <a:cubicBezTo>
                  <a:pt x="29189" y="57230"/>
                  <a:pt x="12972" y="36923"/>
                  <a:pt x="19459" y="31384"/>
                </a:cubicBezTo>
                <a:cubicBezTo>
                  <a:pt x="12972" y="25846"/>
                  <a:pt x="12972" y="16615"/>
                  <a:pt x="12972" y="14769"/>
                </a:cubicBezTo>
                <a:cubicBezTo>
                  <a:pt x="12972" y="14769"/>
                  <a:pt x="3243" y="3692"/>
                  <a:pt x="12972" y="3692"/>
                </a:cubicBezTo>
                <a:cubicBezTo>
                  <a:pt x="25945" y="3692"/>
                  <a:pt x="58378" y="3692"/>
                  <a:pt x="64864" y="3692"/>
                </a:cubicBezTo>
                <a:cubicBezTo>
                  <a:pt x="68108" y="3692"/>
                  <a:pt x="68108" y="5538"/>
                  <a:pt x="74594" y="3692"/>
                </a:cubicBezTo>
                <a:cubicBezTo>
                  <a:pt x="77837" y="3692"/>
                  <a:pt x="77837" y="0"/>
                  <a:pt x="84324"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29" name="Shape 1892"/>
          <p:cNvSpPr/>
          <p:nvPr/>
        </p:nvSpPr>
        <p:spPr>
          <a:xfrm>
            <a:off x="5524123" y="4675591"/>
            <a:ext cx="51168" cy="154093"/>
          </a:xfrm>
          <a:custGeom>
            <a:avLst/>
            <a:gdLst/>
            <a:ahLst/>
            <a:cxnLst/>
            <a:rect l="0" t="0" r="0" b="0"/>
            <a:pathLst>
              <a:path w="120000" h="120000" extrusionOk="0">
                <a:moveTo>
                  <a:pt x="0" y="0"/>
                </a:moveTo>
                <a:cubicBezTo>
                  <a:pt x="32000" y="4800"/>
                  <a:pt x="32000" y="7200"/>
                  <a:pt x="32000" y="7200"/>
                </a:cubicBezTo>
                <a:cubicBezTo>
                  <a:pt x="48000" y="7200"/>
                  <a:pt x="64000" y="4800"/>
                  <a:pt x="64000" y="4800"/>
                </a:cubicBezTo>
                <a:cubicBezTo>
                  <a:pt x="48000" y="19200"/>
                  <a:pt x="64000" y="21600"/>
                  <a:pt x="88000" y="26400"/>
                </a:cubicBezTo>
                <a:cubicBezTo>
                  <a:pt x="112000" y="26400"/>
                  <a:pt x="88000" y="45600"/>
                  <a:pt x="96000" y="45600"/>
                </a:cubicBezTo>
                <a:cubicBezTo>
                  <a:pt x="120000" y="48000"/>
                  <a:pt x="112000" y="88800"/>
                  <a:pt x="112000" y="96000"/>
                </a:cubicBezTo>
                <a:cubicBezTo>
                  <a:pt x="112000" y="100800"/>
                  <a:pt x="96000" y="96000"/>
                  <a:pt x="96000" y="100800"/>
                </a:cubicBezTo>
                <a:cubicBezTo>
                  <a:pt x="112000" y="105600"/>
                  <a:pt x="120000" y="112800"/>
                  <a:pt x="112000" y="115200"/>
                </a:cubicBezTo>
                <a:cubicBezTo>
                  <a:pt x="96000" y="120000"/>
                  <a:pt x="88000" y="120000"/>
                  <a:pt x="88000" y="120000"/>
                </a:cubicBezTo>
                <a:cubicBezTo>
                  <a:pt x="64000" y="112800"/>
                  <a:pt x="32000" y="108000"/>
                  <a:pt x="48000" y="96000"/>
                </a:cubicBezTo>
                <a:cubicBezTo>
                  <a:pt x="48000" y="81600"/>
                  <a:pt x="24000" y="100800"/>
                  <a:pt x="32000" y="79200"/>
                </a:cubicBezTo>
                <a:cubicBezTo>
                  <a:pt x="64000" y="55200"/>
                  <a:pt x="24000" y="67200"/>
                  <a:pt x="32000" y="52800"/>
                </a:cubicBezTo>
                <a:cubicBezTo>
                  <a:pt x="48000" y="33600"/>
                  <a:pt x="8000" y="52800"/>
                  <a:pt x="24000" y="33600"/>
                </a:cubicBezTo>
                <a:cubicBezTo>
                  <a:pt x="32000" y="14400"/>
                  <a:pt x="0" y="21600"/>
                  <a:pt x="0"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30" name="Shape 1893"/>
          <p:cNvSpPr/>
          <p:nvPr/>
        </p:nvSpPr>
        <p:spPr>
          <a:xfrm>
            <a:off x="5181278" y="3895588"/>
            <a:ext cx="324080" cy="268472"/>
          </a:xfrm>
          <a:custGeom>
            <a:avLst/>
            <a:gdLst/>
            <a:ahLst/>
            <a:cxnLst/>
            <a:rect l="0" t="0" r="0" b="0"/>
            <a:pathLst>
              <a:path w="120000" h="120000" extrusionOk="0">
                <a:moveTo>
                  <a:pt x="42857" y="120000"/>
                </a:moveTo>
                <a:cubicBezTo>
                  <a:pt x="0" y="120000"/>
                  <a:pt x="0" y="120000"/>
                  <a:pt x="0" y="120000"/>
                </a:cubicBezTo>
                <a:cubicBezTo>
                  <a:pt x="2448" y="110344"/>
                  <a:pt x="12244" y="117241"/>
                  <a:pt x="19591" y="108965"/>
                </a:cubicBezTo>
                <a:cubicBezTo>
                  <a:pt x="24489" y="97931"/>
                  <a:pt x="24489" y="108965"/>
                  <a:pt x="31836" y="89655"/>
                </a:cubicBezTo>
                <a:cubicBezTo>
                  <a:pt x="35510" y="81379"/>
                  <a:pt x="28163" y="70344"/>
                  <a:pt x="35510" y="59310"/>
                </a:cubicBezTo>
                <a:cubicBezTo>
                  <a:pt x="41632" y="51034"/>
                  <a:pt x="34285" y="52413"/>
                  <a:pt x="39183" y="46896"/>
                </a:cubicBezTo>
                <a:cubicBezTo>
                  <a:pt x="45306" y="40000"/>
                  <a:pt x="39183" y="40000"/>
                  <a:pt x="55102" y="33103"/>
                </a:cubicBezTo>
                <a:cubicBezTo>
                  <a:pt x="69795" y="27586"/>
                  <a:pt x="66122" y="4137"/>
                  <a:pt x="73469" y="1379"/>
                </a:cubicBezTo>
                <a:cubicBezTo>
                  <a:pt x="78367" y="0"/>
                  <a:pt x="73469" y="5517"/>
                  <a:pt x="80816" y="9655"/>
                </a:cubicBezTo>
                <a:cubicBezTo>
                  <a:pt x="88163" y="13793"/>
                  <a:pt x="89387" y="8275"/>
                  <a:pt x="93061" y="9655"/>
                </a:cubicBezTo>
                <a:cubicBezTo>
                  <a:pt x="97959" y="12413"/>
                  <a:pt x="99183" y="4137"/>
                  <a:pt x="99183" y="8275"/>
                </a:cubicBezTo>
                <a:cubicBezTo>
                  <a:pt x="99183" y="13793"/>
                  <a:pt x="105306" y="12413"/>
                  <a:pt x="106530" y="12413"/>
                </a:cubicBezTo>
                <a:cubicBezTo>
                  <a:pt x="113877" y="16551"/>
                  <a:pt x="108979" y="44137"/>
                  <a:pt x="116326" y="48275"/>
                </a:cubicBezTo>
                <a:cubicBezTo>
                  <a:pt x="119999" y="51034"/>
                  <a:pt x="116326" y="51034"/>
                  <a:pt x="116326" y="55172"/>
                </a:cubicBezTo>
                <a:cubicBezTo>
                  <a:pt x="116326" y="59310"/>
                  <a:pt x="102857" y="52413"/>
                  <a:pt x="99183" y="59310"/>
                </a:cubicBezTo>
                <a:cubicBezTo>
                  <a:pt x="95510" y="63448"/>
                  <a:pt x="88163" y="59310"/>
                  <a:pt x="89387" y="66206"/>
                </a:cubicBezTo>
                <a:cubicBezTo>
                  <a:pt x="93061" y="71724"/>
                  <a:pt x="95510" y="71724"/>
                  <a:pt x="88163" y="75862"/>
                </a:cubicBezTo>
                <a:cubicBezTo>
                  <a:pt x="80816" y="78620"/>
                  <a:pt x="80816" y="78620"/>
                  <a:pt x="77142" y="85517"/>
                </a:cubicBezTo>
                <a:cubicBezTo>
                  <a:pt x="77142" y="86896"/>
                  <a:pt x="55102" y="93793"/>
                  <a:pt x="52653" y="97931"/>
                </a:cubicBezTo>
                <a:cubicBezTo>
                  <a:pt x="42857" y="104827"/>
                  <a:pt x="42857" y="104827"/>
                  <a:pt x="42857" y="104827"/>
                </a:cubicBezTo>
                <a:cubicBezTo>
                  <a:pt x="42857" y="120000"/>
                  <a:pt x="42857" y="120000"/>
                  <a:pt x="42857" y="120000"/>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31" name="Shape 1894"/>
          <p:cNvSpPr/>
          <p:nvPr/>
        </p:nvSpPr>
        <p:spPr>
          <a:xfrm>
            <a:off x="5075527" y="4164061"/>
            <a:ext cx="225150" cy="219225"/>
          </a:xfrm>
          <a:custGeom>
            <a:avLst/>
            <a:gdLst/>
            <a:ahLst/>
            <a:cxnLst/>
            <a:rect l="0" t="0" r="0" b="0"/>
            <a:pathLst>
              <a:path w="120000" h="120000" extrusionOk="0">
                <a:moveTo>
                  <a:pt x="120000" y="6760"/>
                </a:moveTo>
                <a:cubicBezTo>
                  <a:pt x="120000" y="30422"/>
                  <a:pt x="120000" y="30422"/>
                  <a:pt x="120000" y="30422"/>
                </a:cubicBezTo>
                <a:cubicBezTo>
                  <a:pt x="74117" y="30422"/>
                  <a:pt x="74117" y="30422"/>
                  <a:pt x="74117" y="30422"/>
                </a:cubicBezTo>
                <a:cubicBezTo>
                  <a:pt x="74117" y="72676"/>
                  <a:pt x="74117" y="72676"/>
                  <a:pt x="74117" y="72676"/>
                </a:cubicBezTo>
                <a:cubicBezTo>
                  <a:pt x="58235" y="81126"/>
                  <a:pt x="54705" y="77746"/>
                  <a:pt x="60000" y="109859"/>
                </a:cubicBezTo>
                <a:cubicBezTo>
                  <a:pt x="60000" y="109859"/>
                  <a:pt x="8823" y="109859"/>
                  <a:pt x="5294" y="109859"/>
                </a:cubicBezTo>
                <a:cubicBezTo>
                  <a:pt x="3529" y="109859"/>
                  <a:pt x="0" y="114929"/>
                  <a:pt x="3529" y="120000"/>
                </a:cubicBezTo>
                <a:cubicBezTo>
                  <a:pt x="0" y="120000"/>
                  <a:pt x="0" y="114929"/>
                  <a:pt x="3529" y="101408"/>
                </a:cubicBezTo>
                <a:cubicBezTo>
                  <a:pt x="5294" y="91267"/>
                  <a:pt x="12352" y="96338"/>
                  <a:pt x="14117" y="86197"/>
                </a:cubicBezTo>
                <a:cubicBezTo>
                  <a:pt x="14117" y="76056"/>
                  <a:pt x="22941" y="70985"/>
                  <a:pt x="19411" y="70985"/>
                </a:cubicBezTo>
                <a:cubicBezTo>
                  <a:pt x="17647" y="70985"/>
                  <a:pt x="14117" y="70985"/>
                  <a:pt x="22941" y="62535"/>
                </a:cubicBezTo>
                <a:cubicBezTo>
                  <a:pt x="30000" y="54084"/>
                  <a:pt x="33529" y="57464"/>
                  <a:pt x="33529" y="43943"/>
                </a:cubicBezTo>
                <a:cubicBezTo>
                  <a:pt x="35294" y="30422"/>
                  <a:pt x="35294" y="38873"/>
                  <a:pt x="38823" y="30422"/>
                </a:cubicBezTo>
                <a:cubicBezTo>
                  <a:pt x="40588" y="15211"/>
                  <a:pt x="45882" y="30422"/>
                  <a:pt x="58235" y="0"/>
                </a:cubicBezTo>
                <a:cubicBezTo>
                  <a:pt x="120000" y="0"/>
                  <a:pt x="120000" y="0"/>
                  <a:pt x="120000" y="0"/>
                </a:cubicBezTo>
                <a:cubicBezTo>
                  <a:pt x="120000" y="6760"/>
                  <a:pt x="120000" y="6760"/>
                  <a:pt x="120000" y="6760"/>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32" name="Shape 1895"/>
          <p:cNvSpPr/>
          <p:nvPr/>
        </p:nvSpPr>
        <p:spPr>
          <a:xfrm>
            <a:off x="5104524" y="4148178"/>
            <a:ext cx="20466" cy="15887"/>
          </a:xfrm>
          <a:custGeom>
            <a:avLst/>
            <a:gdLst/>
            <a:ahLst/>
            <a:cxnLst/>
            <a:rect l="0" t="0" r="0" b="0"/>
            <a:pathLst>
              <a:path w="120000" h="120000" extrusionOk="0">
                <a:moveTo>
                  <a:pt x="60000" y="120000"/>
                </a:moveTo>
                <a:cubicBezTo>
                  <a:pt x="0" y="120000"/>
                  <a:pt x="40000" y="0"/>
                  <a:pt x="60000" y="0"/>
                </a:cubicBezTo>
                <a:cubicBezTo>
                  <a:pt x="120000" y="48000"/>
                  <a:pt x="100000" y="120000"/>
                  <a:pt x="6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33" name="Shape 1896"/>
          <p:cNvSpPr/>
          <p:nvPr/>
        </p:nvSpPr>
        <p:spPr>
          <a:xfrm>
            <a:off x="5140345" y="4130697"/>
            <a:ext cx="27291" cy="23832"/>
          </a:xfrm>
          <a:custGeom>
            <a:avLst/>
            <a:gdLst/>
            <a:ahLst/>
            <a:cxnLst/>
            <a:rect l="0" t="0" r="0" b="0"/>
            <a:pathLst>
              <a:path w="120000" h="120000" extrusionOk="0">
                <a:moveTo>
                  <a:pt x="75000" y="90000"/>
                </a:moveTo>
                <a:cubicBezTo>
                  <a:pt x="0" y="120000"/>
                  <a:pt x="0" y="120000"/>
                  <a:pt x="30000" y="90000"/>
                </a:cubicBezTo>
                <a:cubicBezTo>
                  <a:pt x="75000" y="60000"/>
                  <a:pt x="75000" y="0"/>
                  <a:pt x="90000" y="0"/>
                </a:cubicBezTo>
                <a:cubicBezTo>
                  <a:pt x="120000" y="15000"/>
                  <a:pt x="90000" y="90000"/>
                  <a:pt x="75000" y="9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34" name="Shape 1897"/>
          <p:cNvSpPr/>
          <p:nvPr/>
        </p:nvSpPr>
        <p:spPr>
          <a:xfrm>
            <a:off x="5160812" y="4114815"/>
            <a:ext cx="10232" cy="15887"/>
          </a:xfrm>
          <a:custGeom>
            <a:avLst/>
            <a:gdLst/>
            <a:ahLst/>
            <a:cxnLst/>
            <a:rect l="0" t="0" r="0" b="0"/>
            <a:pathLst>
              <a:path w="120000" h="120000" extrusionOk="0">
                <a:moveTo>
                  <a:pt x="0" y="72000"/>
                </a:moveTo>
                <a:cubicBezTo>
                  <a:pt x="0" y="0"/>
                  <a:pt x="80000" y="24000"/>
                  <a:pt x="120000" y="0"/>
                </a:cubicBezTo>
                <a:cubicBezTo>
                  <a:pt x="120000" y="0"/>
                  <a:pt x="120000" y="24000"/>
                  <a:pt x="80000" y="72000"/>
                </a:cubicBezTo>
                <a:cubicBezTo>
                  <a:pt x="80000" y="72000"/>
                  <a:pt x="0" y="120000"/>
                  <a:pt x="0" y="72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35" name="Shape 1898"/>
          <p:cNvSpPr/>
          <p:nvPr/>
        </p:nvSpPr>
        <p:spPr>
          <a:xfrm>
            <a:off x="5075525" y="4133877"/>
            <a:ext cx="25587" cy="23832"/>
          </a:xfrm>
          <a:custGeom>
            <a:avLst/>
            <a:gdLst/>
            <a:ahLst/>
            <a:cxnLst/>
            <a:rect l="0" t="0" r="0" b="0"/>
            <a:pathLst>
              <a:path w="120000" h="120000" extrusionOk="0">
                <a:moveTo>
                  <a:pt x="45000" y="90000"/>
                </a:moveTo>
                <a:cubicBezTo>
                  <a:pt x="30000" y="45000"/>
                  <a:pt x="0" y="45000"/>
                  <a:pt x="30000" y="45000"/>
                </a:cubicBezTo>
                <a:cubicBezTo>
                  <a:pt x="75000" y="30000"/>
                  <a:pt x="120000" y="0"/>
                  <a:pt x="120000" y="0"/>
                </a:cubicBezTo>
                <a:cubicBezTo>
                  <a:pt x="120000" y="30000"/>
                  <a:pt x="90000" y="30000"/>
                  <a:pt x="90000" y="75000"/>
                </a:cubicBezTo>
                <a:cubicBezTo>
                  <a:pt x="75000" y="90000"/>
                  <a:pt x="45000" y="120000"/>
                  <a:pt x="45000" y="9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36" name="Shape 1899"/>
          <p:cNvSpPr/>
          <p:nvPr/>
        </p:nvSpPr>
        <p:spPr>
          <a:xfrm>
            <a:off x="5051649" y="4124348"/>
            <a:ext cx="10232" cy="17474"/>
          </a:xfrm>
          <a:custGeom>
            <a:avLst/>
            <a:gdLst/>
            <a:ahLst/>
            <a:cxnLst/>
            <a:rect l="0" t="0" r="0" b="0"/>
            <a:pathLst>
              <a:path w="120000" h="120000" extrusionOk="0">
                <a:moveTo>
                  <a:pt x="40000" y="40000"/>
                </a:moveTo>
                <a:cubicBezTo>
                  <a:pt x="40000" y="0"/>
                  <a:pt x="120000" y="60000"/>
                  <a:pt x="40000" y="100000"/>
                </a:cubicBezTo>
                <a:cubicBezTo>
                  <a:pt x="40000" y="120000"/>
                  <a:pt x="0" y="40000"/>
                  <a:pt x="40000" y="4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37" name="Shape 1900"/>
          <p:cNvSpPr/>
          <p:nvPr/>
        </p:nvSpPr>
        <p:spPr>
          <a:xfrm>
            <a:off x="5065296" y="4148176"/>
            <a:ext cx="10232" cy="6353"/>
          </a:xfrm>
          <a:custGeom>
            <a:avLst/>
            <a:gdLst/>
            <a:ahLst/>
            <a:cxnLst/>
            <a:rect l="0" t="0" r="0" b="0"/>
            <a:pathLst>
              <a:path w="120000" h="120000" extrusionOk="0">
                <a:moveTo>
                  <a:pt x="80000" y="0"/>
                </a:moveTo>
                <a:cubicBezTo>
                  <a:pt x="120000" y="0"/>
                  <a:pt x="120000" y="120000"/>
                  <a:pt x="120000" y="120000"/>
                </a:cubicBezTo>
                <a:cubicBezTo>
                  <a:pt x="80000" y="120000"/>
                  <a:pt x="0" y="0"/>
                  <a:pt x="80000"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38" name="Shape 1901"/>
          <p:cNvSpPr/>
          <p:nvPr/>
        </p:nvSpPr>
        <p:spPr>
          <a:xfrm>
            <a:off x="5044826" y="4157707"/>
            <a:ext cx="10232" cy="9530"/>
          </a:xfrm>
          <a:custGeom>
            <a:avLst/>
            <a:gdLst/>
            <a:ahLst/>
            <a:cxnLst/>
            <a:rect l="0" t="0" r="0" b="0"/>
            <a:pathLst>
              <a:path w="120000" h="120000" extrusionOk="0">
                <a:moveTo>
                  <a:pt x="80000" y="0"/>
                </a:moveTo>
                <a:cubicBezTo>
                  <a:pt x="120000" y="0"/>
                  <a:pt x="120000" y="0"/>
                  <a:pt x="120000" y="80000"/>
                </a:cubicBezTo>
                <a:cubicBezTo>
                  <a:pt x="80000" y="120000"/>
                  <a:pt x="0" y="80000"/>
                  <a:pt x="80000"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39" name="Shape 1902"/>
          <p:cNvSpPr/>
          <p:nvPr/>
        </p:nvSpPr>
        <p:spPr>
          <a:xfrm>
            <a:off x="5227334" y="4755019"/>
            <a:ext cx="105751" cy="130264"/>
          </a:xfrm>
          <a:custGeom>
            <a:avLst/>
            <a:gdLst/>
            <a:ahLst/>
            <a:cxnLst/>
            <a:rect l="0" t="0" r="0" b="0"/>
            <a:pathLst>
              <a:path w="120000" h="120000" extrusionOk="0">
                <a:moveTo>
                  <a:pt x="33750" y="0"/>
                </a:moveTo>
                <a:cubicBezTo>
                  <a:pt x="41250" y="0"/>
                  <a:pt x="63750" y="0"/>
                  <a:pt x="60000" y="8571"/>
                </a:cubicBezTo>
                <a:cubicBezTo>
                  <a:pt x="60000" y="14285"/>
                  <a:pt x="63750" y="17142"/>
                  <a:pt x="60000" y="28571"/>
                </a:cubicBezTo>
                <a:cubicBezTo>
                  <a:pt x="60000" y="37142"/>
                  <a:pt x="63750" y="28571"/>
                  <a:pt x="71250" y="37142"/>
                </a:cubicBezTo>
                <a:cubicBezTo>
                  <a:pt x="75000" y="45714"/>
                  <a:pt x="82500" y="17142"/>
                  <a:pt x="86250" y="22857"/>
                </a:cubicBezTo>
                <a:cubicBezTo>
                  <a:pt x="97500" y="40000"/>
                  <a:pt x="93750" y="45714"/>
                  <a:pt x="86250" y="54285"/>
                </a:cubicBezTo>
                <a:cubicBezTo>
                  <a:pt x="82500" y="62857"/>
                  <a:pt x="108750" y="57142"/>
                  <a:pt x="108750" y="68571"/>
                </a:cubicBezTo>
                <a:cubicBezTo>
                  <a:pt x="108750" y="77142"/>
                  <a:pt x="120000" y="71428"/>
                  <a:pt x="120000" y="80000"/>
                </a:cubicBezTo>
                <a:cubicBezTo>
                  <a:pt x="120000" y="94285"/>
                  <a:pt x="116250" y="102857"/>
                  <a:pt x="116250" y="117142"/>
                </a:cubicBezTo>
                <a:cubicBezTo>
                  <a:pt x="108750" y="120000"/>
                  <a:pt x="116250" y="117142"/>
                  <a:pt x="97500" y="111428"/>
                </a:cubicBezTo>
                <a:cubicBezTo>
                  <a:pt x="86250" y="108571"/>
                  <a:pt x="63750" y="97142"/>
                  <a:pt x="48750" y="80000"/>
                </a:cubicBezTo>
                <a:cubicBezTo>
                  <a:pt x="30000" y="62857"/>
                  <a:pt x="22500" y="68571"/>
                  <a:pt x="18750" y="62857"/>
                </a:cubicBezTo>
                <a:cubicBezTo>
                  <a:pt x="18750" y="54285"/>
                  <a:pt x="7500" y="54285"/>
                  <a:pt x="0" y="45714"/>
                </a:cubicBezTo>
                <a:cubicBezTo>
                  <a:pt x="18750" y="22857"/>
                  <a:pt x="22500" y="28571"/>
                  <a:pt x="22500" y="17142"/>
                </a:cubicBezTo>
                <a:cubicBezTo>
                  <a:pt x="22500" y="8571"/>
                  <a:pt x="33750" y="14285"/>
                  <a:pt x="33750"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43" name="Shape 1903"/>
          <p:cNvSpPr/>
          <p:nvPr/>
        </p:nvSpPr>
        <p:spPr>
          <a:xfrm>
            <a:off x="5177867" y="4708950"/>
            <a:ext cx="78461" cy="95314"/>
          </a:xfrm>
          <a:custGeom>
            <a:avLst/>
            <a:gdLst/>
            <a:ahLst/>
            <a:cxnLst/>
            <a:rect l="0" t="0" r="0" b="0"/>
            <a:pathLst>
              <a:path w="120000" h="120000" extrusionOk="0">
                <a:moveTo>
                  <a:pt x="75000" y="120000"/>
                </a:moveTo>
                <a:cubicBezTo>
                  <a:pt x="100000" y="89032"/>
                  <a:pt x="105000" y="92903"/>
                  <a:pt x="105000" y="81290"/>
                </a:cubicBezTo>
                <a:cubicBezTo>
                  <a:pt x="105000" y="69677"/>
                  <a:pt x="120000" y="77419"/>
                  <a:pt x="120000" y="58064"/>
                </a:cubicBezTo>
                <a:cubicBezTo>
                  <a:pt x="100000" y="77419"/>
                  <a:pt x="115000" y="54193"/>
                  <a:pt x="115000" y="46451"/>
                </a:cubicBezTo>
                <a:cubicBezTo>
                  <a:pt x="105000" y="34838"/>
                  <a:pt x="105000" y="34838"/>
                  <a:pt x="105000" y="34838"/>
                </a:cubicBezTo>
                <a:cubicBezTo>
                  <a:pt x="105000" y="23225"/>
                  <a:pt x="100000" y="27096"/>
                  <a:pt x="90000" y="11612"/>
                </a:cubicBezTo>
                <a:cubicBezTo>
                  <a:pt x="85000" y="0"/>
                  <a:pt x="55000" y="0"/>
                  <a:pt x="55000" y="3870"/>
                </a:cubicBezTo>
                <a:cubicBezTo>
                  <a:pt x="55000" y="11612"/>
                  <a:pt x="40000" y="0"/>
                  <a:pt x="30000" y="11612"/>
                </a:cubicBezTo>
                <a:cubicBezTo>
                  <a:pt x="30000" y="27096"/>
                  <a:pt x="15000" y="34838"/>
                  <a:pt x="0" y="42580"/>
                </a:cubicBezTo>
                <a:cubicBezTo>
                  <a:pt x="15000" y="46451"/>
                  <a:pt x="0" y="46451"/>
                  <a:pt x="0" y="54193"/>
                </a:cubicBezTo>
                <a:cubicBezTo>
                  <a:pt x="5000" y="58064"/>
                  <a:pt x="5000" y="54193"/>
                  <a:pt x="15000" y="58064"/>
                </a:cubicBezTo>
                <a:cubicBezTo>
                  <a:pt x="5000" y="65806"/>
                  <a:pt x="0" y="54193"/>
                  <a:pt x="0" y="65806"/>
                </a:cubicBezTo>
                <a:cubicBezTo>
                  <a:pt x="5000" y="77419"/>
                  <a:pt x="15000" y="65806"/>
                  <a:pt x="15000" y="77419"/>
                </a:cubicBezTo>
                <a:cubicBezTo>
                  <a:pt x="20000" y="81290"/>
                  <a:pt x="5000" y="77419"/>
                  <a:pt x="15000" y="81290"/>
                </a:cubicBezTo>
                <a:cubicBezTo>
                  <a:pt x="15000" y="89032"/>
                  <a:pt x="30000" y="89032"/>
                  <a:pt x="30000" y="92903"/>
                </a:cubicBezTo>
                <a:cubicBezTo>
                  <a:pt x="40000" y="100645"/>
                  <a:pt x="20000" y="100645"/>
                  <a:pt x="40000" y="108387"/>
                </a:cubicBezTo>
                <a:cubicBezTo>
                  <a:pt x="55000" y="108387"/>
                  <a:pt x="70000" y="112258"/>
                  <a:pt x="75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44" name="Shape 1904"/>
          <p:cNvSpPr/>
          <p:nvPr/>
        </p:nvSpPr>
        <p:spPr>
          <a:xfrm>
            <a:off x="5065293" y="4508787"/>
            <a:ext cx="168861" cy="133441"/>
          </a:xfrm>
          <a:custGeom>
            <a:avLst/>
            <a:gdLst/>
            <a:ahLst/>
            <a:cxnLst/>
            <a:rect l="0" t="0" r="0" b="0"/>
            <a:pathLst>
              <a:path w="120000" h="120000" extrusionOk="0">
                <a:moveTo>
                  <a:pt x="18823" y="83720"/>
                </a:moveTo>
                <a:cubicBezTo>
                  <a:pt x="11764" y="75348"/>
                  <a:pt x="11764" y="50232"/>
                  <a:pt x="7058" y="55813"/>
                </a:cubicBezTo>
                <a:cubicBezTo>
                  <a:pt x="0" y="55813"/>
                  <a:pt x="0" y="50232"/>
                  <a:pt x="4705" y="50232"/>
                </a:cubicBezTo>
                <a:cubicBezTo>
                  <a:pt x="16470" y="41860"/>
                  <a:pt x="23529" y="19534"/>
                  <a:pt x="23529" y="11162"/>
                </a:cubicBezTo>
                <a:cubicBezTo>
                  <a:pt x="23529" y="0"/>
                  <a:pt x="47058" y="2790"/>
                  <a:pt x="58823" y="2790"/>
                </a:cubicBezTo>
                <a:cubicBezTo>
                  <a:pt x="65882" y="0"/>
                  <a:pt x="72941" y="11162"/>
                  <a:pt x="77647" y="16744"/>
                </a:cubicBezTo>
                <a:cubicBezTo>
                  <a:pt x="84705" y="19534"/>
                  <a:pt x="94117" y="47441"/>
                  <a:pt x="101176" y="55813"/>
                </a:cubicBezTo>
                <a:cubicBezTo>
                  <a:pt x="98823" y="66976"/>
                  <a:pt x="105882" y="58604"/>
                  <a:pt x="105882" y="72558"/>
                </a:cubicBezTo>
                <a:cubicBezTo>
                  <a:pt x="105882" y="83720"/>
                  <a:pt x="101176" y="75348"/>
                  <a:pt x="105882" y="83720"/>
                </a:cubicBezTo>
                <a:cubicBezTo>
                  <a:pt x="108235" y="97674"/>
                  <a:pt x="108235" y="83720"/>
                  <a:pt x="115294" y="97674"/>
                </a:cubicBezTo>
                <a:cubicBezTo>
                  <a:pt x="120000" y="106046"/>
                  <a:pt x="115294" y="106046"/>
                  <a:pt x="115294" y="114418"/>
                </a:cubicBezTo>
                <a:cubicBezTo>
                  <a:pt x="112941" y="114418"/>
                  <a:pt x="105882" y="111627"/>
                  <a:pt x="101176" y="114418"/>
                </a:cubicBezTo>
                <a:cubicBezTo>
                  <a:pt x="94117" y="120000"/>
                  <a:pt x="87058" y="111627"/>
                  <a:pt x="72941" y="111627"/>
                </a:cubicBezTo>
                <a:cubicBezTo>
                  <a:pt x="65882" y="111627"/>
                  <a:pt x="51764" y="106046"/>
                  <a:pt x="44705" y="111627"/>
                </a:cubicBezTo>
                <a:cubicBezTo>
                  <a:pt x="32941" y="111627"/>
                  <a:pt x="47058" y="111627"/>
                  <a:pt x="40000" y="114418"/>
                </a:cubicBezTo>
                <a:cubicBezTo>
                  <a:pt x="32941" y="120000"/>
                  <a:pt x="25882" y="114418"/>
                  <a:pt x="18823" y="120000"/>
                </a:cubicBezTo>
                <a:cubicBezTo>
                  <a:pt x="18823" y="114418"/>
                  <a:pt x="16470" y="120000"/>
                  <a:pt x="16470" y="114418"/>
                </a:cubicBezTo>
                <a:cubicBezTo>
                  <a:pt x="23529" y="106046"/>
                  <a:pt x="18823" y="114418"/>
                  <a:pt x="37647" y="111627"/>
                </a:cubicBezTo>
                <a:cubicBezTo>
                  <a:pt x="32941" y="111627"/>
                  <a:pt x="30588" y="106046"/>
                  <a:pt x="25882" y="111627"/>
                </a:cubicBezTo>
                <a:cubicBezTo>
                  <a:pt x="23529" y="111627"/>
                  <a:pt x="23529" y="106046"/>
                  <a:pt x="18823" y="111627"/>
                </a:cubicBezTo>
                <a:cubicBezTo>
                  <a:pt x="16470" y="114418"/>
                  <a:pt x="18823" y="106046"/>
                  <a:pt x="16470" y="97674"/>
                </a:cubicBezTo>
                <a:cubicBezTo>
                  <a:pt x="23529" y="92093"/>
                  <a:pt x="37647" y="103255"/>
                  <a:pt x="32941" y="92093"/>
                </a:cubicBezTo>
                <a:cubicBezTo>
                  <a:pt x="32941" y="89302"/>
                  <a:pt x="44705" y="92093"/>
                  <a:pt x="44705" y="89302"/>
                </a:cubicBezTo>
                <a:cubicBezTo>
                  <a:pt x="47058" y="80930"/>
                  <a:pt x="44705" y="83720"/>
                  <a:pt x="58823" y="89302"/>
                </a:cubicBezTo>
                <a:cubicBezTo>
                  <a:pt x="65882" y="92093"/>
                  <a:pt x="72941" y="92093"/>
                  <a:pt x="72941" y="83720"/>
                </a:cubicBezTo>
                <a:cubicBezTo>
                  <a:pt x="68235" y="80930"/>
                  <a:pt x="61176" y="92093"/>
                  <a:pt x="58823" y="83720"/>
                </a:cubicBezTo>
                <a:cubicBezTo>
                  <a:pt x="54117" y="75348"/>
                  <a:pt x="54117" y="83720"/>
                  <a:pt x="51764" y="80930"/>
                </a:cubicBezTo>
                <a:cubicBezTo>
                  <a:pt x="51764" y="75348"/>
                  <a:pt x="44705" y="80930"/>
                  <a:pt x="40000" y="83720"/>
                </a:cubicBezTo>
                <a:cubicBezTo>
                  <a:pt x="40000" y="83720"/>
                  <a:pt x="37647" y="83720"/>
                  <a:pt x="18823" y="8372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45" name="Shape 1905"/>
          <p:cNvSpPr/>
          <p:nvPr/>
        </p:nvSpPr>
        <p:spPr>
          <a:xfrm>
            <a:off x="5082348" y="4596161"/>
            <a:ext cx="85284" cy="27005"/>
          </a:xfrm>
          <a:custGeom>
            <a:avLst/>
            <a:gdLst/>
            <a:ahLst/>
            <a:cxnLst/>
            <a:rect l="0" t="0" r="0" b="0"/>
            <a:pathLst>
              <a:path w="120000" h="120000" extrusionOk="0">
                <a:moveTo>
                  <a:pt x="13846" y="40000"/>
                </a:moveTo>
                <a:cubicBezTo>
                  <a:pt x="23076" y="80000"/>
                  <a:pt x="27692" y="40000"/>
                  <a:pt x="55384" y="53333"/>
                </a:cubicBezTo>
                <a:cubicBezTo>
                  <a:pt x="27692" y="53333"/>
                  <a:pt x="23076" y="93333"/>
                  <a:pt x="13846" y="53333"/>
                </a:cubicBezTo>
                <a:cubicBezTo>
                  <a:pt x="4615" y="40000"/>
                  <a:pt x="0" y="80000"/>
                  <a:pt x="4615" y="93333"/>
                </a:cubicBezTo>
                <a:cubicBezTo>
                  <a:pt x="23076" y="80000"/>
                  <a:pt x="50769" y="120000"/>
                  <a:pt x="41538" y="80000"/>
                </a:cubicBezTo>
                <a:cubicBezTo>
                  <a:pt x="41538" y="53333"/>
                  <a:pt x="64615" y="80000"/>
                  <a:pt x="64615" y="53333"/>
                </a:cubicBezTo>
                <a:cubicBezTo>
                  <a:pt x="69230" y="13333"/>
                  <a:pt x="64615" y="40000"/>
                  <a:pt x="92307" y="53333"/>
                </a:cubicBezTo>
                <a:cubicBezTo>
                  <a:pt x="106153" y="80000"/>
                  <a:pt x="120000" y="80000"/>
                  <a:pt x="120000" y="40000"/>
                </a:cubicBezTo>
                <a:cubicBezTo>
                  <a:pt x="110769" y="13333"/>
                  <a:pt x="96923" y="80000"/>
                  <a:pt x="92307" y="40000"/>
                </a:cubicBezTo>
                <a:cubicBezTo>
                  <a:pt x="83076" y="0"/>
                  <a:pt x="83076" y="40000"/>
                  <a:pt x="78461" y="13333"/>
                </a:cubicBezTo>
                <a:cubicBezTo>
                  <a:pt x="78461" y="0"/>
                  <a:pt x="64615" y="13333"/>
                  <a:pt x="55384" y="40000"/>
                </a:cubicBezTo>
                <a:cubicBezTo>
                  <a:pt x="55384" y="40000"/>
                  <a:pt x="50769" y="40000"/>
                  <a:pt x="13846" y="4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46" name="Shape 1906"/>
          <p:cNvSpPr/>
          <p:nvPr/>
        </p:nvSpPr>
        <p:spPr>
          <a:xfrm>
            <a:off x="5131816" y="4632698"/>
            <a:ext cx="197857" cy="171569"/>
          </a:xfrm>
          <a:custGeom>
            <a:avLst/>
            <a:gdLst/>
            <a:ahLst/>
            <a:cxnLst/>
            <a:rect l="0" t="0" r="0" b="0"/>
            <a:pathLst>
              <a:path w="120000" h="120000" extrusionOk="0">
                <a:moveTo>
                  <a:pt x="76000" y="85714"/>
                </a:moveTo>
                <a:cubicBezTo>
                  <a:pt x="68000" y="96428"/>
                  <a:pt x="74000" y="83571"/>
                  <a:pt x="74000" y="79285"/>
                </a:cubicBezTo>
                <a:cubicBezTo>
                  <a:pt x="70000" y="72857"/>
                  <a:pt x="70000" y="72857"/>
                  <a:pt x="70000" y="72857"/>
                </a:cubicBezTo>
                <a:cubicBezTo>
                  <a:pt x="70000" y="66428"/>
                  <a:pt x="68000" y="68571"/>
                  <a:pt x="64000" y="59999"/>
                </a:cubicBezTo>
                <a:cubicBezTo>
                  <a:pt x="62000" y="53571"/>
                  <a:pt x="50000" y="53571"/>
                  <a:pt x="50000" y="55714"/>
                </a:cubicBezTo>
                <a:cubicBezTo>
                  <a:pt x="50000" y="59999"/>
                  <a:pt x="44000" y="53571"/>
                  <a:pt x="40000" y="59999"/>
                </a:cubicBezTo>
                <a:cubicBezTo>
                  <a:pt x="40000" y="68571"/>
                  <a:pt x="34000" y="72857"/>
                  <a:pt x="28000" y="75000"/>
                </a:cubicBezTo>
                <a:cubicBezTo>
                  <a:pt x="28000" y="72857"/>
                  <a:pt x="32000" y="72857"/>
                  <a:pt x="28000" y="72857"/>
                </a:cubicBezTo>
                <a:cubicBezTo>
                  <a:pt x="26000" y="68571"/>
                  <a:pt x="28000" y="68571"/>
                  <a:pt x="26000" y="66428"/>
                </a:cubicBezTo>
                <a:cubicBezTo>
                  <a:pt x="22000" y="66428"/>
                  <a:pt x="22000" y="66428"/>
                  <a:pt x="26000" y="62142"/>
                </a:cubicBezTo>
                <a:cubicBezTo>
                  <a:pt x="26000" y="59999"/>
                  <a:pt x="20000" y="59999"/>
                  <a:pt x="16000" y="53571"/>
                </a:cubicBezTo>
                <a:cubicBezTo>
                  <a:pt x="16000" y="49285"/>
                  <a:pt x="10000" y="53571"/>
                  <a:pt x="10000" y="49285"/>
                </a:cubicBezTo>
                <a:cubicBezTo>
                  <a:pt x="10000" y="42857"/>
                  <a:pt x="6000" y="49285"/>
                  <a:pt x="10000" y="38571"/>
                </a:cubicBezTo>
                <a:cubicBezTo>
                  <a:pt x="10000" y="32142"/>
                  <a:pt x="6000" y="42857"/>
                  <a:pt x="6000" y="38571"/>
                </a:cubicBezTo>
                <a:cubicBezTo>
                  <a:pt x="4000" y="36428"/>
                  <a:pt x="10000" y="32142"/>
                  <a:pt x="6000" y="32142"/>
                </a:cubicBezTo>
                <a:cubicBezTo>
                  <a:pt x="0" y="32142"/>
                  <a:pt x="4000" y="38571"/>
                  <a:pt x="0" y="38571"/>
                </a:cubicBezTo>
                <a:cubicBezTo>
                  <a:pt x="0" y="36428"/>
                  <a:pt x="0" y="36428"/>
                  <a:pt x="0" y="36428"/>
                </a:cubicBezTo>
                <a:cubicBezTo>
                  <a:pt x="6000" y="19285"/>
                  <a:pt x="10000" y="25714"/>
                  <a:pt x="12000" y="19285"/>
                </a:cubicBezTo>
                <a:cubicBezTo>
                  <a:pt x="16000" y="14999"/>
                  <a:pt x="16000" y="23571"/>
                  <a:pt x="20000" y="19285"/>
                </a:cubicBezTo>
                <a:cubicBezTo>
                  <a:pt x="26000" y="19285"/>
                  <a:pt x="26000" y="12857"/>
                  <a:pt x="20000" y="8571"/>
                </a:cubicBezTo>
                <a:cubicBezTo>
                  <a:pt x="16000" y="6428"/>
                  <a:pt x="26000" y="8571"/>
                  <a:pt x="22000" y="0"/>
                </a:cubicBezTo>
                <a:cubicBezTo>
                  <a:pt x="34000" y="0"/>
                  <a:pt x="40000" y="6428"/>
                  <a:pt x="46000" y="2142"/>
                </a:cubicBezTo>
                <a:cubicBezTo>
                  <a:pt x="50000" y="0"/>
                  <a:pt x="56000" y="2142"/>
                  <a:pt x="58000" y="2142"/>
                </a:cubicBezTo>
                <a:cubicBezTo>
                  <a:pt x="56000" y="12857"/>
                  <a:pt x="62000" y="14999"/>
                  <a:pt x="64000" y="8571"/>
                </a:cubicBezTo>
                <a:cubicBezTo>
                  <a:pt x="64000" y="6428"/>
                  <a:pt x="68000" y="8571"/>
                  <a:pt x="68000" y="12857"/>
                </a:cubicBezTo>
                <a:cubicBezTo>
                  <a:pt x="74000" y="19285"/>
                  <a:pt x="70000" y="2142"/>
                  <a:pt x="84000" y="8571"/>
                </a:cubicBezTo>
                <a:cubicBezTo>
                  <a:pt x="90000" y="14999"/>
                  <a:pt x="86000" y="8571"/>
                  <a:pt x="90000" y="6428"/>
                </a:cubicBezTo>
                <a:cubicBezTo>
                  <a:pt x="96000" y="6428"/>
                  <a:pt x="86000" y="0"/>
                  <a:pt x="96000" y="2142"/>
                </a:cubicBezTo>
                <a:cubicBezTo>
                  <a:pt x="102000" y="6428"/>
                  <a:pt x="98000" y="8571"/>
                  <a:pt x="98000" y="12857"/>
                </a:cubicBezTo>
                <a:cubicBezTo>
                  <a:pt x="102000" y="12857"/>
                  <a:pt x="98000" y="19285"/>
                  <a:pt x="102000" y="19285"/>
                </a:cubicBezTo>
                <a:cubicBezTo>
                  <a:pt x="104000" y="19285"/>
                  <a:pt x="110000" y="25714"/>
                  <a:pt x="104000" y="25714"/>
                </a:cubicBezTo>
                <a:cubicBezTo>
                  <a:pt x="102000" y="29999"/>
                  <a:pt x="102000" y="38571"/>
                  <a:pt x="104000" y="32142"/>
                </a:cubicBezTo>
                <a:cubicBezTo>
                  <a:pt x="108000" y="29999"/>
                  <a:pt x="110000" y="32142"/>
                  <a:pt x="108000" y="42857"/>
                </a:cubicBezTo>
                <a:cubicBezTo>
                  <a:pt x="108000" y="49285"/>
                  <a:pt x="110000" y="42857"/>
                  <a:pt x="114000" y="53571"/>
                </a:cubicBezTo>
                <a:cubicBezTo>
                  <a:pt x="108000" y="55714"/>
                  <a:pt x="114000" y="55714"/>
                  <a:pt x="110000" y="62142"/>
                </a:cubicBezTo>
                <a:cubicBezTo>
                  <a:pt x="110000" y="68571"/>
                  <a:pt x="120000" y="68571"/>
                  <a:pt x="116000" y="75000"/>
                </a:cubicBezTo>
                <a:cubicBezTo>
                  <a:pt x="110000" y="83571"/>
                  <a:pt x="120000" y="79285"/>
                  <a:pt x="120000" y="89999"/>
                </a:cubicBezTo>
                <a:cubicBezTo>
                  <a:pt x="110000" y="85714"/>
                  <a:pt x="108000" y="85714"/>
                  <a:pt x="108000" y="89999"/>
                </a:cubicBezTo>
                <a:cubicBezTo>
                  <a:pt x="110000" y="96428"/>
                  <a:pt x="114000" y="89999"/>
                  <a:pt x="114000" y="96428"/>
                </a:cubicBezTo>
                <a:cubicBezTo>
                  <a:pt x="114000" y="102857"/>
                  <a:pt x="110000" y="109285"/>
                  <a:pt x="104000" y="102857"/>
                </a:cubicBezTo>
                <a:cubicBezTo>
                  <a:pt x="102000" y="98571"/>
                  <a:pt x="98000" y="119999"/>
                  <a:pt x="96000" y="113571"/>
                </a:cubicBezTo>
                <a:cubicBezTo>
                  <a:pt x="92000" y="104999"/>
                  <a:pt x="90000" y="113571"/>
                  <a:pt x="90000" y="104999"/>
                </a:cubicBezTo>
                <a:cubicBezTo>
                  <a:pt x="92000" y="98571"/>
                  <a:pt x="90000" y="96428"/>
                  <a:pt x="90000" y="92142"/>
                </a:cubicBezTo>
                <a:cubicBezTo>
                  <a:pt x="92000" y="85714"/>
                  <a:pt x="80000" y="85714"/>
                  <a:pt x="76000" y="85714"/>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47" name="Shape 1907"/>
          <p:cNvSpPr/>
          <p:nvPr/>
        </p:nvSpPr>
        <p:spPr>
          <a:xfrm>
            <a:off x="5090878" y="4626344"/>
            <a:ext cx="80165" cy="58779"/>
          </a:xfrm>
          <a:custGeom>
            <a:avLst/>
            <a:gdLst/>
            <a:ahLst/>
            <a:cxnLst/>
            <a:rect l="0" t="0" r="0" b="0"/>
            <a:pathLst>
              <a:path w="120000" h="120000" extrusionOk="0">
                <a:moveTo>
                  <a:pt x="60000" y="120000"/>
                </a:moveTo>
                <a:cubicBezTo>
                  <a:pt x="75000" y="69473"/>
                  <a:pt x="85000" y="88421"/>
                  <a:pt x="90000" y="69473"/>
                </a:cubicBezTo>
                <a:cubicBezTo>
                  <a:pt x="100000" y="63157"/>
                  <a:pt x="100000" y="82105"/>
                  <a:pt x="105000" y="69473"/>
                </a:cubicBezTo>
                <a:cubicBezTo>
                  <a:pt x="120000" y="69473"/>
                  <a:pt x="120000" y="50526"/>
                  <a:pt x="105000" y="44210"/>
                </a:cubicBezTo>
                <a:cubicBezTo>
                  <a:pt x="100000" y="31578"/>
                  <a:pt x="120000" y="44210"/>
                  <a:pt x="115000" y="12631"/>
                </a:cubicBezTo>
                <a:cubicBezTo>
                  <a:pt x="100000" y="12631"/>
                  <a:pt x="70000" y="0"/>
                  <a:pt x="55000" y="12631"/>
                </a:cubicBezTo>
                <a:cubicBezTo>
                  <a:pt x="30000" y="12631"/>
                  <a:pt x="60000" y="12631"/>
                  <a:pt x="45000" y="18947"/>
                </a:cubicBezTo>
                <a:cubicBezTo>
                  <a:pt x="30000" y="31578"/>
                  <a:pt x="15000" y="18947"/>
                  <a:pt x="0" y="31578"/>
                </a:cubicBezTo>
                <a:cubicBezTo>
                  <a:pt x="5000" y="44210"/>
                  <a:pt x="25000" y="31578"/>
                  <a:pt x="15000" y="44210"/>
                </a:cubicBezTo>
                <a:cubicBezTo>
                  <a:pt x="5000" y="63157"/>
                  <a:pt x="15000" y="63157"/>
                  <a:pt x="25000" y="50526"/>
                </a:cubicBezTo>
                <a:cubicBezTo>
                  <a:pt x="40000" y="50526"/>
                  <a:pt x="15000" y="82105"/>
                  <a:pt x="30000" y="69473"/>
                </a:cubicBezTo>
                <a:cubicBezTo>
                  <a:pt x="45000" y="50526"/>
                  <a:pt x="60000" y="50526"/>
                  <a:pt x="45000" y="63157"/>
                </a:cubicBezTo>
                <a:cubicBezTo>
                  <a:pt x="40000" y="69473"/>
                  <a:pt x="55000" y="69473"/>
                  <a:pt x="45000" y="88421"/>
                </a:cubicBezTo>
                <a:cubicBezTo>
                  <a:pt x="40000" y="101052"/>
                  <a:pt x="45000" y="88421"/>
                  <a:pt x="45000" y="101052"/>
                </a:cubicBezTo>
                <a:cubicBezTo>
                  <a:pt x="45000" y="113684"/>
                  <a:pt x="55000" y="101052"/>
                  <a:pt x="55000" y="113684"/>
                </a:cubicBezTo>
                <a:cubicBezTo>
                  <a:pt x="55000" y="120000"/>
                  <a:pt x="60000" y="113684"/>
                  <a:pt x="60000" y="101052"/>
                </a:cubicBezTo>
                <a:cubicBezTo>
                  <a:pt x="60000" y="120000"/>
                  <a:pt x="60000" y="113684"/>
                  <a:pt x="6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48" name="Shape 1908"/>
          <p:cNvSpPr/>
          <p:nvPr/>
        </p:nvSpPr>
        <p:spPr>
          <a:xfrm>
            <a:off x="5101114" y="4650174"/>
            <a:ext cx="3410" cy="9530"/>
          </a:xfrm>
          <a:custGeom>
            <a:avLst/>
            <a:gdLst/>
            <a:ahLst/>
            <a:cxnLst/>
            <a:rect l="0" t="0" r="0" b="0"/>
            <a:pathLst>
              <a:path w="120000" h="120000" extrusionOk="0">
                <a:moveTo>
                  <a:pt x="0" y="40000"/>
                </a:moveTo>
                <a:cubicBezTo>
                  <a:pt x="0" y="40000"/>
                  <a:pt x="120000" y="0"/>
                  <a:pt x="120000" y="40000"/>
                </a:cubicBezTo>
                <a:cubicBezTo>
                  <a:pt x="120000" y="120000"/>
                  <a:pt x="120000" y="120000"/>
                  <a:pt x="0" y="4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49" name="Shape 1909"/>
          <p:cNvSpPr/>
          <p:nvPr/>
        </p:nvSpPr>
        <p:spPr>
          <a:xfrm>
            <a:off x="5101113" y="4659703"/>
            <a:ext cx="10232" cy="12709"/>
          </a:xfrm>
          <a:custGeom>
            <a:avLst/>
            <a:gdLst/>
            <a:ahLst/>
            <a:cxnLst/>
            <a:rect l="0" t="0" r="0" b="0"/>
            <a:pathLst>
              <a:path w="120000" h="120000" extrusionOk="0">
                <a:moveTo>
                  <a:pt x="40000" y="120000"/>
                </a:moveTo>
                <a:cubicBezTo>
                  <a:pt x="0" y="60000"/>
                  <a:pt x="40000" y="0"/>
                  <a:pt x="40000" y="60000"/>
                </a:cubicBezTo>
                <a:cubicBezTo>
                  <a:pt x="120000" y="60000"/>
                  <a:pt x="40000" y="120000"/>
                  <a:pt x="4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50" name="Shape 1910"/>
          <p:cNvSpPr/>
          <p:nvPr/>
        </p:nvSpPr>
        <p:spPr>
          <a:xfrm>
            <a:off x="5101114" y="4675591"/>
            <a:ext cx="3410" cy="9530"/>
          </a:xfrm>
          <a:custGeom>
            <a:avLst/>
            <a:gdLst/>
            <a:ahLst/>
            <a:cxnLst/>
            <a:rect l="0" t="0" r="0" b="0"/>
            <a:pathLst>
              <a:path w="120000" h="120000" extrusionOk="0">
                <a:moveTo>
                  <a:pt x="0" y="80000"/>
                </a:moveTo>
                <a:cubicBezTo>
                  <a:pt x="0" y="0"/>
                  <a:pt x="120000" y="0"/>
                  <a:pt x="120000" y="80000"/>
                </a:cubicBezTo>
                <a:cubicBezTo>
                  <a:pt x="120000" y="120000"/>
                  <a:pt x="0" y="80000"/>
                  <a:pt x="0" y="8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51" name="Shape 1911"/>
          <p:cNvSpPr/>
          <p:nvPr/>
        </p:nvSpPr>
        <p:spPr>
          <a:xfrm>
            <a:off x="5104525" y="4675589"/>
            <a:ext cx="6821" cy="6353"/>
          </a:xfrm>
          <a:custGeom>
            <a:avLst/>
            <a:gdLst/>
            <a:ahLst/>
            <a:cxnLst/>
            <a:rect l="0" t="0" r="0" b="0"/>
            <a:pathLst>
              <a:path w="120000" h="120000" extrusionOk="0">
                <a:moveTo>
                  <a:pt x="0" y="120000"/>
                </a:moveTo>
                <a:cubicBezTo>
                  <a:pt x="0" y="0"/>
                  <a:pt x="0" y="0"/>
                  <a:pt x="0" y="0"/>
                </a:cubicBezTo>
                <a:cubicBezTo>
                  <a:pt x="120000" y="0"/>
                  <a:pt x="120000" y="120000"/>
                  <a:pt x="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52" name="Shape 1912"/>
          <p:cNvSpPr/>
          <p:nvPr/>
        </p:nvSpPr>
        <p:spPr>
          <a:xfrm>
            <a:off x="5111348" y="4672413"/>
            <a:ext cx="3410" cy="3176"/>
          </a:xfrm>
          <a:custGeom>
            <a:avLst/>
            <a:gdLst/>
            <a:ahLst/>
            <a:cxnLst/>
            <a:rect l="0" t="0" r="0" b="0"/>
            <a:pathLst>
              <a:path w="120000" h="120000" extrusionOk="0">
                <a:moveTo>
                  <a:pt x="0" y="120000"/>
                </a:moveTo>
                <a:cubicBezTo>
                  <a:pt x="120000" y="0"/>
                  <a:pt x="120000" y="0"/>
                  <a:pt x="120000" y="0"/>
                </a:cubicBezTo>
                <a:cubicBezTo>
                  <a:pt x="120000" y="120000"/>
                  <a:pt x="120000" y="120000"/>
                  <a:pt x="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53" name="Shape 1913"/>
          <p:cNvSpPr/>
          <p:nvPr/>
        </p:nvSpPr>
        <p:spPr>
          <a:xfrm>
            <a:off x="5094292" y="4659704"/>
            <a:ext cx="6821" cy="6353"/>
          </a:xfrm>
          <a:custGeom>
            <a:avLst/>
            <a:gdLst/>
            <a:ahLst/>
            <a:cxnLst/>
            <a:rect l="0" t="0" r="0" b="0"/>
            <a:pathLst>
              <a:path w="120000" h="120000" extrusionOk="0">
                <a:moveTo>
                  <a:pt x="0" y="120000"/>
                </a:moveTo>
                <a:cubicBezTo>
                  <a:pt x="0" y="120000"/>
                  <a:pt x="120000" y="0"/>
                  <a:pt x="120000" y="120000"/>
                </a:cubicBezTo>
                <a:cubicBezTo>
                  <a:pt x="0" y="120000"/>
                  <a:pt x="0" y="120000"/>
                  <a:pt x="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54" name="Shape 1914"/>
          <p:cNvSpPr/>
          <p:nvPr/>
        </p:nvSpPr>
        <p:spPr>
          <a:xfrm>
            <a:off x="5114761" y="4659704"/>
            <a:ext cx="6821" cy="6353"/>
          </a:xfrm>
          <a:custGeom>
            <a:avLst/>
            <a:gdLst/>
            <a:ahLst/>
            <a:cxnLst/>
            <a:rect l="0" t="0" r="0" b="0"/>
            <a:pathLst>
              <a:path w="120000" h="120000" extrusionOk="0">
                <a:moveTo>
                  <a:pt x="0" y="120000"/>
                </a:moveTo>
                <a:cubicBezTo>
                  <a:pt x="0" y="120000"/>
                  <a:pt x="0" y="0"/>
                  <a:pt x="120000" y="120000"/>
                </a:cubicBezTo>
                <a:cubicBezTo>
                  <a:pt x="0" y="120000"/>
                  <a:pt x="0" y="120000"/>
                  <a:pt x="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55" name="Shape 1915"/>
          <p:cNvSpPr/>
          <p:nvPr/>
        </p:nvSpPr>
        <p:spPr>
          <a:xfrm>
            <a:off x="4899845" y="4546916"/>
            <a:ext cx="17056" cy="17474"/>
          </a:xfrm>
          <a:custGeom>
            <a:avLst/>
            <a:gdLst/>
            <a:ahLst/>
            <a:cxnLst/>
            <a:rect l="0" t="0" r="0" b="0"/>
            <a:pathLst>
              <a:path w="120000" h="120000" extrusionOk="0">
                <a:moveTo>
                  <a:pt x="48000" y="120000"/>
                </a:moveTo>
                <a:cubicBezTo>
                  <a:pt x="0" y="120000"/>
                  <a:pt x="0" y="0"/>
                  <a:pt x="48000" y="20000"/>
                </a:cubicBezTo>
                <a:cubicBezTo>
                  <a:pt x="72000" y="60000"/>
                  <a:pt x="120000" y="100000"/>
                  <a:pt x="48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56" name="Shape 1916"/>
          <p:cNvSpPr/>
          <p:nvPr/>
        </p:nvSpPr>
        <p:spPr>
          <a:xfrm>
            <a:off x="4918606" y="4521498"/>
            <a:ext cx="17056" cy="9530"/>
          </a:xfrm>
          <a:custGeom>
            <a:avLst/>
            <a:gdLst/>
            <a:ahLst/>
            <a:cxnLst/>
            <a:rect l="0" t="0" r="0" b="0"/>
            <a:pathLst>
              <a:path w="120000" h="120000" extrusionOk="0">
                <a:moveTo>
                  <a:pt x="48000" y="80000"/>
                </a:moveTo>
                <a:cubicBezTo>
                  <a:pt x="48000" y="0"/>
                  <a:pt x="120000" y="0"/>
                  <a:pt x="72000" y="80000"/>
                </a:cubicBezTo>
                <a:cubicBezTo>
                  <a:pt x="48000" y="120000"/>
                  <a:pt x="0" y="120000"/>
                  <a:pt x="48000" y="8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57" name="Shape 1917"/>
          <p:cNvSpPr/>
          <p:nvPr/>
        </p:nvSpPr>
        <p:spPr>
          <a:xfrm>
            <a:off x="4910078" y="4548503"/>
            <a:ext cx="8529" cy="6353"/>
          </a:xfrm>
          <a:custGeom>
            <a:avLst/>
            <a:gdLst/>
            <a:ahLst/>
            <a:cxnLst/>
            <a:rect l="0" t="0" r="0" b="0"/>
            <a:pathLst>
              <a:path w="120000" h="120000" extrusionOk="0">
                <a:moveTo>
                  <a:pt x="80000" y="120000"/>
                </a:moveTo>
                <a:cubicBezTo>
                  <a:pt x="0" y="120000"/>
                  <a:pt x="80000" y="0"/>
                  <a:pt x="80000" y="0"/>
                </a:cubicBezTo>
                <a:cubicBezTo>
                  <a:pt x="120000" y="0"/>
                  <a:pt x="120000" y="120000"/>
                  <a:pt x="8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58" name="Shape 1918"/>
          <p:cNvSpPr/>
          <p:nvPr/>
        </p:nvSpPr>
        <p:spPr>
          <a:xfrm>
            <a:off x="6226859" y="3458723"/>
            <a:ext cx="95518" cy="108026"/>
          </a:xfrm>
          <a:custGeom>
            <a:avLst/>
            <a:gdLst/>
            <a:ahLst/>
            <a:cxnLst/>
            <a:rect l="0" t="0" r="0" b="0"/>
            <a:pathLst>
              <a:path w="120000" h="120000" extrusionOk="0">
                <a:moveTo>
                  <a:pt x="49655" y="120000"/>
                </a:moveTo>
                <a:cubicBezTo>
                  <a:pt x="41379" y="116571"/>
                  <a:pt x="49655" y="116571"/>
                  <a:pt x="49655" y="106285"/>
                </a:cubicBezTo>
                <a:cubicBezTo>
                  <a:pt x="41379" y="89142"/>
                  <a:pt x="62068" y="78857"/>
                  <a:pt x="41379" y="61714"/>
                </a:cubicBezTo>
                <a:cubicBezTo>
                  <a:pt x="24827" y="41142"/>
                  <a:pt x="28965" y="48000"/>
                  <a:pt x="28965" y="41142"/>
                </a:cubicBezTo>
                <a:cubicBezTo>
                  <a:pt x="16551" y="37714"/>
                  <a:pt x="12413" y="3428"/>
                  <a:pt x="0" y="10285"/>
                </a:cubicBezTo>
                <a:cubicBezTo>
                  <a:pt x="4137" y="3428"/>
                  <a:pt x="16551" y="3428"/>
                  <a:pt x="24827" y="3428"/>
                </a:cubicBezTo>
                <a:cubicBezTo>
                  <a:pt x="28965" y="0"/>
                  <a:pt x="53793" y="17142"/>
                  <a:pt x="62068" y="17142"/>
                </a:cubicBezTo>
                <a:cubicBezTo>
                  <a:pt x="66206" y="10285"/>
                  <a:pt x="66206" y="27428"/>
                  <a:pt x="78620" y="20571"/>
                </a:cubicBezTo>
                <a:cubicBezTo>
                  <a:pt x="86896" y="20571"/>
                  <a:pt x="86896" y="27428"/>
                  <a:pt x="78620" y="30857"/>
                </a:cubicBezTo>
                <a:cubicBezTo>
                  <a:pt x="74482" y="41142"/>
                  <a:pt x="86896" y="48000"/>
                  <a:pt x="91034" y="48000"/>
                </a:cubicBezTo>
                <a:cubicBezTo>
                  <a:pt x="99310" y="48000"/>
                  <a:pt x="86896" y="58285"/>
                  <a:pt x="99310" y="61714"/>
                </a:cubicBezTo>
                <a:cubicBezTo>
                  <a:pt x="111724" y="68571"/>
                  <a:pt x="99310" y="78857"/>
                  <a:pt x="103448" y="85714"/>
                </a:cubicBezTo>
                <a:cubicBezTo>
                  <a:pt x="120000" y="85714"/>
                  <a:pt x="103448" y="89142"/>
                  <a:pt x="103448" y="85714"/>
                </a:cubicBezTo>
                <a:cubicBezTo>
                  <a:pt x="99310" y="85714"/>
                  <a:pt x="86896" y="89142"/>
                  <a:pt x="78620" y="85714"/>
                </a:cubicBezTo>
                <a:cubicBezTo>
                  <a:pt x="74482" y="78857"/>
                  <a:pt x="66206" y="85714"/>
                  <a:pt x="74482" y="89142"/>
                </a:cubicBezTo>
                <a:cubicBezTo>
                  <a:pt x="78620" y="99428"/>
                  <a:pt x="53793" y="109714"/>
                  <a:pt x="62068" y="116571"/>
                </a:cubicBezTo>
                <a:cubicBezTo>
                  <a:pt x="62068" y="120000"/>
                  <a:pt x="53793" y="120000"/>
                  <a:pt x="49655"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59" name="Shape 1919"/>
          <p:cNvSpPr/>
          <p:nvPr/>
        </p:nvSpPr>
        <p:spPr>
          <a:xfrm>
            <a:off x="6061408" y="3468258"/>
            <a:ext cx="243911" cy="165213"/>
          </a:xfrm>
          <a:custGeom>
            <a:avLst/>
            <a:gdLst/>
            <a:ahLst/>
            <a:cxnLst/>
            <a:rect l="0" t="0" r="0" b="0"/>
            <a:pathLst>
              <a:path w="120000" h="120000" extrusionOk="0">
                <a:moveTo>
                  <a:pt x="34054" y="6666"/>
                </a:moveTo>
                <a:cubicBezTo>
                  <a:pt x="29189" y="17777"/>
                  <a:pt x="25945" y="11111"/>
                  <a:pt x="24324" y="13333"/>
                </a:cubicBezTo>
                <a:cubicBezTo>
                  <a:pt x="21081" y="17777"/>
                  <a:pt x="24324" y="17777"/>
                  <a:pt x="19459" y="24444"/>
                </a:cubicBezTo>
                <a:cubicBezTo>
                  <a:pt x="14594" y="31111"/>
                  <a:pt x="19459" y="31111"/>
                  <a:pt x="16216" y="33333"/>
                </a:cubicBezTo>
                <a:cubicBezTo>
                  <a:pt x="14594" y="42222"/>
                  <a:pt x="9729" y="51111"/>
                  <a:pt x="9729" y="51111"/>
                </a:cubicBezTo>
                <a:cubicBezTo>
                  <a:pt x="6486" y="51111"/>
                  <a:pt x="6486" y="48888"/>
                  <a:pt x="4864" y="51111"/>
                </a:cubicBezTo>
                <a:cubicBezTo>
                  <a:pt x="4864" y="51111"/>
                  <a:pt x="6486" y="51111"/>
                  <a:pt x="4864" y="51111"/>
                </a:cubicBezTo>
                <a:cubicBezTo>
                  <a:pt x="1621" y="51111"/>
                  <a:pt x="0" y="51111"/>
                  <a:pt x="0" y="55555"/>
                </a:cubicBezTo>
                <a:cubicBezTo>
                  <a:pt x="1621" y="62222"/>
                  <a:pt x="6486" y="62222"/>
                  <a:pt x="4864" y="66666"/>
                </a:cubicBezTo>
                <a:cubicBezTo>
                  <a:pt x="4864" y="75555"/>
                  <a:pt x="16216" y="75555"/>
                  <a:pt x="14594" y="80000"/>
                </a:cubicBezTo>
                <a:cubicBezTo>
                  <a:pt x="11351" y="86666"/>
                  <a:pt x="14594" y="93333"/>
                  <a:pt x="21081" y="93333"/>
                </a:cubicBezTo>
                <a:cubicBezTo>
                  <a:pt x="25945" y="97777"/>
                  <a:pt x="24324" y="88888"/>
                  <a:pt x="25945" y="88888"/>
                </a:cubicBezTo>
                <a:cubicBezTo>
                  <a:pt x="35675" y="100000"/>
                  <a:pt x="21081" y="93333"/>
                  <a:pt x="29189" y="104444"/>
                </a:cubicBezTo>
                <a:cubicBezTo>
                  <a:pt x="38918" y="111111"/>
                  <a:pt x="29189" y="111111"/>
                  <a:pt x="30810" y="113333"/>
                </a:cubicBezTo>
                <a:cubicBezTo>
                  <a:pt x="34054" y="117777"/>
                  <a:pt x="35675" y="111111"/>
                  <a:pt x="40540" y="113333"/>
                </a:cubicBezTo>
                <a:cubicBezTo>
                  <a:pt x="48648" y="120000"/>
                  <a:pt x="48648" y="113333"/>
                  <a:pt x="53513" y="113333"/>
                </a:cubicBezTo>
                <a:cubicBezTo>
                  <a:pt x="58378" y="117777"/>
                  <a:pt x="63243" y="120000"/>
                  <a:pt x="68108" y="113333"/>
                </a:cubicBezTo>
                <a:cubicBezTo>
                  <a:pt x="72972" y="111111"/>
                  <a:pt x="85945" y="104444"/>
                  <a:pt x="87567" y="111111"/>
                </a:cubicBezTo>
                <a:cubicBezTo>
                  <a:pt x="90810" y="113333"/>
                  <a:pt x="92432" y="106666"/>
                  <a:pt x="97297" y="113333"/>
                </a:cubicBezTo>
                <a:cubicBezTo>
                  <a:pt x="97297" y="117777"/>
                  <a:pt x="102162" y="117777"/>
                  <a:pt x="105405" y="117777"/>
                </a:cubicBezTo>
                <a:cubicBezTo>
                  <a:pt x="105405" y="100000"/>
                  <a:pt x="107027" y="93333"/>
                  <a:pt x="115135" y="88888"/>
                </a:cubicBezTo>
                <a:cubicBezTo>
                  <a:pt x="120000" y="88888"/>
                  <a:pt x="120000" y="86666"/>
                  <a:pt x="120000" y="80000"/>
                </a:cubicBezTo>
                <a:cubicBezTo>
                  <a:pt x="118378" y="73333"/>
                  <a:pt x="111891" y="75555"/>
                  <a:pt x="111891" y="75555"/>
                </a:cubicBezTo>
                <a:cubicBezTo>
                  <a:pt x="110270" y="80000"/>
                  <a:pt x="107027" y="75555"/>
                  <a:pt x="107027" y="80000"/>
                </a:cubicBezTo>
                <a:cubicBezTo>
                  <a:pt x="105405" y="82222"/>
                  <a:pt x="102162" y="80000"/>
                  <a:pt x="100540" y="73333"/>
                </a:cubicBezTo>
                <a:cubicBezTo>
                  <a:pt x="97297" y="68888"/>
                  <a:pt x="100540" y="73333"/>
                  <a:pt x="100540" y="62222"/>
                </a:cubicBezTo>
                <a:cubicBezTo>
                  <a:pt x="97297" y="55555"/>
                  <a:pt x="105405" y="44444"/>
                  <a:pt x="97297" y="33333"/>
                </a:cubicBezTo>
                <a:cubicBezTo>
                  <a:pt x="90810" y="24444"/>
                  <a:pt x="95675" y="24444"/>
                  <a:pt x="92432" y="20000"/>
                </a:cubicBezTo>
                <a:cubicBezTo>
                  <a:pt x="87567" y="17777"/>
                  <a:pt x="87567" y="0"/>
                  <a:pt x="81081" y="0"/>
                </a:cubicBezTo>
                <a:cubicBezTo>
                  <a:pt x="76216" y="2222"/>
                  <a:pt x="77837" y="6666"/>
                  <a:pt x="71351" y="11111"/>
                </a:cubicBezTo>
                <a:cubicBezTo>
                  <a:pt x="63243" y="11111"/>
                  <a:pt x="63243" y="11111"/>
                  <a:pt x="61621" y="13333"/>
                </a:cubicBezTo>
                <a:cubicBezTo>
                  <a:pt x="58378" y="17777"/>
                  <a:pt x="56756" y="6666"/>
                  <a:pt x="53513" y="6666"/>
                </a:cubicBezTo>
                <a:cubicBezTo>
                  <a:pt x="48648" y="11111"/>
                  <a:pt x="48648" y="6666"/>
                  <a:pt x="43783" y="6666"/>
                </a:cubicBezTo>
                <a:cubicBezTo>
                  <a:pt x="38918" y="6666"/>
                  <a:pt x="35675" y="2222"/>
                  <a:pt x="35675" y="6666"/>
                </a:cubicBezTo>
                <a:cubicBezTo>
                  <a:pt x="34054" y="11111"/>
                  <a:pt x="34054" y="6666"/>
                  <a:pt x="34054" y="6666"/>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60" name="Shape 1920"/>
          <p:cNvSpPr/>
          <p:nvPr/>
        </p:nvSpPr>
        <p:spPr>
          <a:xfrm>
            <a:off x="6209800" y="3682715"/>
            <a:ext cx="81871" cy="77840"/>
          </a:xfrm>
          <a:custGeom>
            <a:avLst/>
            <a:gdLst/>
            <a:ahLst/>
            <a:cxnLst/>
            <a:rect l="0" t="0" r="0" b="0"/>
            <a:pathLst>
              <a:path w="120000" h="120000" extrusionOk="0">
                <a:moveTo>
                  <a:pt x="9600" y="24000"/>
                </a:moveTo>
                <a:cubicBezTo>
                  <a:pt x="24000" y="38400"/>
                  <a:pt x="24000" y="43200"/>
                  <a:pt x="14400" y="52800"/>
                </a:cubicBezTo>
                <a:cubicBezTo>
                  <a:pt x="9600" y="52800"/>
                  <a:pt x="14400" y="67200"/>
                  <a:pt x="0" y="76800"/>
                </a:cubicBezTo>
                <a:cubicBezTo>
                  <a:pt x="0" y="96000"/>
                  <a:pt x="43200" y="76800"/>
                  <a:pt x="24000" y="81600"/>
                </a:cubicBezTo>
                <a:cubicBezTo>
                  <a:pt x="9600" y="96000"/>
                  <a:pt x="9600" y="91200"/>
                  <a:pt x="9600" y="105600"/>
                </a:cubicBezTo>
                <a:cubicBezTo>
                  <a:pt x="0" y="120000"/>
                  <a:pt x="9600" y="105600"/>
                  <a:pt x="24000" y="96000"/>
                </a:cubicBezTo>
                <a:cubicBezTo>
                  <a:pt x="38400" y="81600"/>
                  <a:pt x="43200" y="91200"/>
                  <a:pt x="52800" y="76800"/>
                </a:cubicBezTo>
                <a:cubicBezTo>
                  <a:pt x="67200" y="43200"/>
                  <a:pt x="67200" y="76800"/>
                  <a:pt x="72000" y="67200"/>
                </a:cubicBezTo>
                <a:cubicBezTo>
                  <a:pt x="86400" y="52800"/>
                  <a:pt x="100800" y="76800"/>
                  <a:pt x="110400" y="57600"/>
                </a:cubicBezTo>
                <a:cubicBezTo>
                  <a:pt x="120000" y="43200"/>
                  <a:pt x="110400" y="52800"/>
                  <a:pt x="96000" y="43200"/>
                </a:cubicBezTo>
                <a:cubicBezTo>
                  <a:pt x="72000" y="28800"/>
                  <a:pt x="72000" y="24000"/>
                  <a:pt x="72000" y="9600"/>
                </a:cubicBezTo>
                <a:cubicBezTo>
                  <a:pt x="67200" y="9600"/>
                  <a:pt x="67200" y="14400"/>
                  <a:pt x="57600" y="14400"/>
                </a:cubicBezTo>
                <a:cubicBezTo>
                  <a:pt x="52800" y="14400"/>
                  <a:pt x="43200" y="0"/>
                  <a:pt x="38400" y="9600"/>
                </a:cubicBezTo>
                <a:cubicBezTo>
                  <a:pt x="28800" y="14400"/>
                  <a:pt x="24000" y="0"/>
                  <a:pt x="24000" y="14400"/>
                </a:cubicBezTo>
                <a:cubicBezTo>
                  <a:pt x="14400" y="24000"/>
                  <a:pt x="9600" y="14400"/>
                  <a:pt x="9600" y="24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61" name="Shape 1921"/>
          <p:cNvSpPr/>
          <p:nvPr/>
        </p:nvSpPr>
        <p:spPr>
          <a:xfrm>
            <a:off x="6139870" y="3032978"/>
            <a:ext cx="133042" cy="88963"/>
          </a:xfrm>
          <a:custGeom>
            <a:avLst/>
            <a:gdLst/>
            <a:ahLst/>
            <a:cxnLst/>
            <a:rect l="0" t="0" r="0" b="0"/>
            <a:pathLst>
              <a:path w="120000" h="120000" extrusionOk="0">
                <a:moveTo>
                  <a:pt x="21000" y="74482"/>
                </a:moveTo>
                <a:cubicBezTo>
                  <a:pt x="9000" y="82758"/>
                  <a:pt x="9000" y="70344"/>
                  <a:pt x="3000" y="62068"/>
                </a:cubicBezTo>
                <a:cubicBezTo>
                  <a:pt x="0" y="49655"/>
                  <a:pt x="0" y="49655"/>
                  <a:pt x="3000" y="37241"/>
                </a:cubicBezTo>
                <a:cubicBezTo>
                  <a:pt x="3000" y="24827"/>
                  <a:pt x="12000" y="33103"/>
                  <a:pt x="12000" y="16551"/>
                </a:cubicBezTo>
                <a:cubicBezTo>
                  <a:pt x="18000" y="12413"/>
                  <a:pt x="30000" y="12413"/>
                  <a:pt x="39000" y="12413"/>
                </a:cubicBezTo>
                <a:cubicBezTo>
                  <a:pt x="54000" y="12413"/>
                  <a:pt x="39000" y="0"/>
                  <a:pt x="54000" y="4137"/>
                </a:cubicBezTo>
                <a:cubicBezTo>
                  <a:pt x="69000" y="12413"/>
                  <a:pt x="78000" y="4137"/>
                  <a:pt x="81000" y="12413"/>
                </a:cubicBezTo>
                <a:cubicBezTo>
                  <a:pt x="90000" y="16551"/>
                  <a:pt x="99000" y="16551"/>
                  <a:pt x="108000" y="12413"/>
                </a:cubicBezTo>
                <a:cubicBezTo>
                  <a:pt x="120000" y="24827"/>
                  <a:pt x="105000" y="16551"/>
                  <a:pt x="105000" y="33103"/>
                </a:cubicBezTo>
                <a:cubicBezTo>
                  <a:pt x="105000" y="49655"/>
                  <a:pt x="90000" y="37241"/>
                  <a:pt x="96000" y="62068"/>
                </a:cubicBezTo>
                <a:cubicBezTo>
                  <a:pt x="105000" y="82758"/>
                  <a:pt x="90000" y="70344"/>
                  <a:pt x="99000" y="91034"/>
                </a:cubicBezTo>
                <a:cubicBezTo>
                  <a:pt x="108000" y="107586"/>
                  <a:pt x="99000" y="95172"/>
                  <a:pt x="96000" y="115862"/>
                </a:cubicBezTo>
                <a:cubicBezTo>
                  <a:pt x="87000" y="120000"/>
                  <a:pt x="90000" y="107586"/>
                  <a:pt x="78000" y="115862"/>
                </a:cubicBezTo>
                <a:cubicBezTo>
                  <a:pt x="69000" y="120000"/>
                  <a:pt x="63000" y="103448"/>
                  <a:pt x="60000" y="103448"/>
                </a:cubicBezTo>
                <a:cubicBezTo>
                  <a:pt x="54000" y="103448"/>
                  <a:pt x="51000" y="91034"/>
                  <a:pt x="45000" y="91034"/>
                </a:cubicBezTo>
                <a:cubicBezTo>
                  <a:pt x="36000" y="82758"/>
                  <a:pt x="36000" y="95172"/>
                  <a:pt x="21000" y="103448"/>
                </a:cubicBezTo>
                <a:cubicBezTo>
                  <a:pt x="27000" y="74482"/>
                  <a:pt x="30000" y="62068"/>
                  <a:pt x="21000" y="74482"/>
                </a:cubicBezTo>
              </a:path>
            </a:pathLst>
          </a:custGeom>
          <a:solidFill>
            <a:schemeClr val="accent2"/>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62" name="Shape 1922"/>
          <p:cNvSpPr/>
          <p:nvPr/>
        </p:nvSpPr>
        <p:spPr>
          <a:xfrm>
            <a:off x="6073348" y="3091758"/>
            <a:ext cx="199563" cy="98493"/>
          </a:xfrm>
          <a:custGeom>
            <a:avLst/>
            <a:gdLst/>
            <a:ahLst/>
            <a:cxnLst/>
            <a:rect l="0" t="0" r="0" b="0"/>
            <a:pathLst>
              <a:path w="120000" h="120000" extrusionOk="0">
                <a:moveTo>
                  <a:pt x="0" y="101250"/>
                </a:moveTo>
                <a:cubicBezTo>
                  <a:pt x="14000" y="82500"/>
                  <a:pt x="18000" y="82500"/>
                  <a:pt x="30000" y="90000"/>
                </a:cubicBezTo>
                <a:cubicBezTo>
                  <a:pt x="42000" y="90000"/>
                  <a:pt x="46000" y="82500"/>
                  <a:pt x="52000" y="90000"/>
                </a:cubicBezTo>
                <a:cubicBezTo>
                  <a:pt x="60000" y="97500"/>
                  <a:pt x="60000" y="82500"/>
                  <a:pt x="64000" y="82500"/>
                </a:cubicBezTo>
                <a:cubicBezTo>
                  <a:pt x="66000" y="90000"/>
                  <a:pt x="60000" y="97500"/>
                  <a:pt x="70000" y="97500"/>
                </a:cubicBezTo>
                <a:cubicBezTo>
                  <a:pt x="80000" y="97500"/>
                  <a:pt x="82000" y="112500"/>
                  <a:pt x="92000" y="120000"/>
                </a:cubicBezTo>
                <a:cubicBezTo>
                  <a:pt x="100000" y="108750"/>
                  <a:pt x="104000" y="120000"/>
                  <a:pt x="106000" y="112500"/>
                </a:cubicBezTo>
                <a:cubicBezTo>
                  <a:pt x="110000" y="101250"/>
                  <a:pt x="110000" y="101250"/>
                  <a:pt x="116000" y="101250"/>
                </a:cubicBezTo>
                <a:cubicBezTo>
                  <a:pt x="116000" y="101250"/>
                  <a:pt x="120000" y="90000"/>
                  <a:pt x="112000" y="78750"/>
                </a:cubicBezTo>
                <a:cubicBezTo>
                  <a:pt x="110000" y="67500"/>
                  <a:pt x="112000" y="67500"/>
                  <a:pt x="110000" y="67500"/>
                </a:cubicBezTo>
                <a:cubicBezTo>
                  <a:pt x="106000" y="67500"/>
                  <a:pt x="110000" y="56250"/>
                  <a:pt x="110000" y="48750"/>
                </a:cubicBezTo>
                <a:cubicBezTo>
                  <a:pt x="112000" y="41250"/>
                  <a:pt x="106000" y="41250"/>
                  <a:pt x="104000" y="30000"/>
                </a:cubicBezTo>
                <a:cubicBezTo>
                  <a:pt x="98000" y="37500"/>
                  <a:pt x="100000" y="26250"/>
                  <a:pt x="92000" y="30000"/>
                </a:cubicBezTo>
                <a:cubicBezTo>
                  <a:pt x="86000" y="37500"/>
                  <a:pt x="82000" y="18750"/>
                  <a:pt x="80000" y="18750"/>
                </a:cubicBezTo>
                <a:cubicBezTo>
                  <a:pt x="76000" y="18750"/>
                  <a:pt x="74000" y="7500"/>
                  <a:pt x="70000" y="7500"/>
                </a:cubicBezTo>
                <a:cubicBezTo>
                  <a:pt x="64000" y="0"/>
                  <a:pt x="64000" y="11250"/>
                  <a:pt x="54000" y="18750"/>
                </a:cubicBezTo>
                <a:cubicBezTo>
                  <a:pt x="52000" y="30000"/>
                  <a:pt x="60000" y="48750"/>
                  <a:pt x="48000" y="56250"/>
                </a:cubicBezTo>
                <a:cubicBezTo>
                  <a:pt x="34000" y="67500"/>
                  <a:pt x="40000" y="41250"/>
                  <a:pt x="30000" y="37500"/>
                </a:cubicBezTo>
                <a:cubicBezTo>
                  <a:pt x="20000" y="30000"/>
                  <a:pt x="30000" y="18750"/>
                  <a:pt x="24000" y="26250"/>
                </a:cubicBezTo>
                <a:cubicBezTo>
                  <a:pt x="14000" y="30000"/>
                  <a:pt x="12000" y="30000"/>
                  <a:pt x="8000" y="37500"/>
                </a:cubicBezTo>
                <a:cubicBezTo>
                  <a:pt x="8000" y="41250"/>
                  <a:pt x="6000" y="41250"/>
                  <a:pt x="8000" y="48750"/>
                </a:cubicBezTo>
                <a:cubicBezTo>
                  <a:pt x="8000" y="60000"/>
                  <a:pt x="2000" y="60000"/>
                  <a:pt x="2000" y="71250"/>
                </a:cubicBezTo>
                <a:cubicBezTo>
                  <a:pt x="0" y="82500"/>
                  <a:pt x="0" y="90000"/>
                  <a:pt x="0" y="101250"/>
                </a:cubicBezTo>
              </a:path>
            </a:pathLst>
          </a:custGeom>
          <a:solidFill>
            <a:schemeClr val="accent2"/>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63" name="Shape 1923"/>
          <p:cNvSpPr/>
          <p:nvPr/>
        </p:nvSpPr>
        <p:spPr>
          <a:xfrm>
            <a:off x="6073346" y="3160066"/>
            <a:ext cx="156922" cy="108026"/>
          </a:xfrm>
          <a:custGeom>
            <a:avLst/>
            <a:gdLst/>
            <a:ahLst/>
            <a:cxnLst/>
            <a:rect l="0" t="0" r="0" b="0"/>
            <a:pathLst>
              <a:path w="120000" h="120000" extrusionOk="0">
                <a:moveTo>
                  <a:pt x="117446" y="34285"/>
                </a:moveTo>
                <a:cubicBezTo>
                  <a:pt x="107234" y="61714"/>
                  <a:pt x="120000" y="44571"/>
                  <a:pt x="117446" y="54857"/>
                </a:cubicBezTo>
                <a:cubicBezTo>
                  <a:pt x="112340" y="65142"/>
                  <a:pt x="107234" y="54857"/>
                  <a:pt x="97021" y="75428"/>
                </a:cubicBezTo>
                <a:cubicBezTo>
                  <a:pt x="89361" y="92571"/>
                  <a:pt x="104680" y="92571"/>
                  <a:pt x="97021" y="99428"/>
                </a:cubicBezTo>
                <a:cubicBezTo>
                  <a:pt x="91914" y="109714"/>
                  <a:pt x="97021" y="82285"/>
                  <a:pt x="81702" y="102857"/>
                </a:cubicBezTo>
                <a:cubicBezTo>
                  <a:pt x="68936" y="120000"/>
                  <a:pt x="66382" y="102857"/>
                  <a:pt x="53617" y="109714"/>
                </a:cubicBezTo>
                <a:cubicBezTo>
                  <a:pt x="53617" y="99428"/>
                  <a:pt x="40851" y="85714"/>
                  <a:pt x="38297" y="92571"/>
                </a:cubicBezTo>
                <a:cubicBezTo>
                  <a:pt x="33191" y="75428"/>
                  <a:pt x="40851" y="72000"/>
                  <a:pt x="33191" y="65142"/>
                </a:cubicBezTo>
                <a:cubicBezTo>
                  <a:pt x="25531" y="54857"/>
                  <a:pt x="33191" y="72000"/>
                  <a:pt x="7659" y="54857"/>
                </a:cubicBezTo>
                <a:cubicBezTo>
                  <a:pt x="7659" y="48000"/>
                  <a:pt x="7659" y="37714"/>
                  <a:pt x="2553" y="34285"/>
                </a:cubicBezTo>
                <a:cubicBezTo>
                  <a:pt x="0" y="27428"/>
                  <a:pt x="0" y="27428"/>
                  <a:pt x="0" y="17142"/>
                </a:cubicBezTo>
                <a:cubicBezTo>
                  <a:pt x="17872" y="0"/>
                  <a:pt x="22978" y="0"/>
                  <a:pt x="38297" y="6857"/>
                </a:cubicBezTo>
                <a:cubicBezTo>
                  <a:pt x="53617" y="6857"/>
                  <a:pt x="58723" y="0"/>
                  <a:pt x="66382" y="6857"/>
                </a:cubicBezTo>
                <a:cubicBezTo>
                  <a:pt x="76595" y="10285"/>
                  <a:pt x="76595" y="0"/>
                  <a:pt x="81702" y="0"/>
                </a:cubicBezTo>
                <a:cubicBezTo>
                  <a:pt x="84255" y="6857"/>
                  <a:pt x="76595" y="10285"/>
                  <a:pt x="89361" y="10285"/>
                </a:cubicBezTo>
                <a:cubicBezTo>
                  <a:pt x="99574" y="10285"/>
                  <a:pt x="104680" y="27428"/>
                  <a:pt x="117446" y="34285"/>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64" name="Shape 1924"/>
          <p:cNvSpPr/>
          <p:nvPr/>
        </p:nvSpPr>
        <p:spPr>
          <a:xfrm>
            <a:off x="6124518" y="3169601"/>
            <a:ext cx="267789" cy="193808"/>
          </a:xfrm>
          <a:custGeom>
            <a:avLst/>
            <a:gdLst/>
            <a:ahLst/>
            <a:cxnLst/>
            <a:rect l="0" t="0" r="0" b="0"/>
            <a:pathLst>
              <a:path w="120000" h="120000" extrusionOk="0">
                <a:moveTo>
                  <a:pt x="103703" y="95238"/>
                </a:moveTo>
                <a:cubicBezTo>
                  <a:pt x="94814" y="95238"/>
                  <a:pt x="93333" y="102857"/>
                  <a:pt x="93333" y="110476"/>
                </a:cubicBezTo>
                <a:cubicBezTo>
                  <a:pt x="93333" y="120000"/>
                  <a:pt x="90370" y="120000"/>
                  <a:pt x="88888" y="114285"/>
                </a:cubicBezTo>
                <a:cubicBezTo>
                  <a:pt x="85925" y="114285"/>
                  <a:pt x="81481" y="114285"/>
                  <a:pt x="80000" y="114285"/>
                </a:cubicBezTo>
                <a:cubicBezTo>
                  <a:pt x="74074" y="116190"/>
                  <a:pt x="77037" y="104761"/>
                  <a:pt x="69629" y="110476"/>
                </a:cubicBezTo>
                <a:cubicBezTo>
                  <a:pt x="65185" y="116190"/>
                  <a:pt x="72592" y="108571"/>
                  <a:pt x="59259" y="108571"/>
                </a:cubicBezTo>
                <a:cubicBezTo>
                  <a:pt x="50370" y="108571"/>
                  <a:pt x="54814" y="104761"/>
                  <a:pt x="47407" y="104761"/>
                </a:cubicBezTo>
                <a:cubicBezTo>
                  <a:pt x="42962" y="108571"/>
                  <a:pt x="41481" y="99047"/>
                  <a:pt x="25185" y="102857"/>
                </a:cubicBezTo>
                <a:cubicBezTo>
                  <a:pt x="11851" y="104761"/>
                  <a:pt x="17777" y="110476"/>
                  <a:pt x="13333" y="108571"/>
                </a:cubicBezTo>
                <a:cubicBezTo>
                  <a:pt x="11851" y="108571"/>
                  <a:pt x="8888" y="110476"/>
                  <a:pt x="8888" y="110476"/>
                </a:cubicBezTo>
                <a:cubicBezTo>
                  <a:pt x="7407" y="104761"/>
                  <a:pt x="13333" y="99047"/>
                  <a:pt x="4444" y="95238"/>
                </a:cubicBezTo>
                <a:cubicBezTo>
                  <a:pt x="0" y="93333"/>
                  <a:pt x="7407" y="87619"/>
                  <a:pt x="11851" y="87619"/>
                </a:cubicBezTo>
                <a:cubicBezTo>
                  <a:pt x="16296" y="83809"/>
                  <a:pt x="11851" y="72380"/>
                  <a:pt x="8888" y="55238"/>
                </a:cubicBezTo>
                <a:cubicBezTo>
                  <a:pt x="16296" y="51428"/>
                  <a:pt x="17777" y="60952"/>
                  <a:pt x="25185" y="51428"/>
                </a:cubicBezTo>
                <a:cubicBezTo>
                  <a:pt x="34074" y="40000"/>
                  <a:pt x="31111" y="55238"/>
                  <a:pt x="34074" y="47619"/>
                </a:cubicBezTo>
                <a:cubicBezTo>
                  <a:pt x="38518" y="45714"/>
                  <a:pt x="29629" y="45714"/>
                  <a:pt x="34074" y="36190"/>
                </a:cubicBezTo>
                <a:cubicBezTo>
                  <a:pt x="41481" y="24761"/>
                  <a:pt x="42962" y="30476"/>
                  <a:pt x="45925" y="24761"/>
                </a:cubicBezTo>
                <a:cubicBezTo>
                  <a:pt x="47407" y="19047"/>
                  <a:pt x="41481" y="26666"/>
                  <a:pt x="45925" y="13333"/>
                </a:cubicBezTo>
                <a:cubicBezTo>
                  <a:pt x="51851" y="5714"/>
                  <a:pt x="54814" y="13333"/>
                  <a:pt x="56296" y="9523"/>
                </a:cubicBezTo>
                <a:cubicBezTo>
                  <a:pt x="59259" y="3809"/>
                  <a:pt x="59259" y="3809"/>
                  <a:pt x="63703" y="3809"/>
                </a:cubicBezTo>
                <a:cubicBezTo>
                  <a:pt x="69629" y="0"/>
                  <a:pt x="65185" y="5714"/>
                  <a:pt x="72592" y="5714"/>
                </a:cubicBezTo>
                <a:cubicBezTo>
                  <a:pt x="81481" y="3809"/>
                  <a:pt x="74074" y="15238"/>
                  <a:pt x="81481" y="13333"/>
                </a:cubicBezTo>
                <a:cubicBezTo>
                  <a:pt x="85925" y="5714"/>
                  <a:pt x="90370" y="9523"/>
                  <a:pt x="90370" y="13333"/>
                </a:cubicBezTo>
                <a:cubicBezTo>
                  <a:pt x="93333" y="15238"/>
                  <a:pt x="97777" y="13333"/>
                  <a:pt x="94814" y="19047"/>
                </a:cubicBezTo>
                <a:cubicBezTo>
                  <a:pt x="93333" y="26666"/>
                  <a:pt x="99259" y="26666"/>
                  <a:pt x="94814" y="30476"/>
                </a:cubicBezTo>
                <a:cubicBezTo>
                  <a:pt x="90370" y="36190"/>
                  <a:pt x="97777" y="34285"/>
                  <a:pt x="97777" y="41904"/>
                </a:cubicBezTo>
                <a:cubicBezTo>
                  <a:pt x="99259" y="55238"/>
                  <a:pt x="108148" y="51428"/>
                  <a:pt x="106666" y="55238"/>
                </a:cubicBezTo>
                <a:cubicBezTo>
                  <a:pt x="102222" y="62857"/>
                  <a:pt x="112592" y="55238"/>
                  <a:pt x="112592" y="62857"/>
                </a:cubicBezTo>
                <a:cubicBezTo>
                  <a:pt x="112592" y="66666"/>
                  <a:pt x="120000" y="66666"/>
                  <a:pt x="115555" y="68571"/>
                </a:cubicBezTo>
                <a:cubicBezTo>
                  <a:pt x="111111" y="72380"/>
                  <a:pt x="111111" y="78095"/>
                  <a:pt x="103703" y="72380"/>
                </a:cubicBezTo>
                <a:cubicBezTo>
                  <a:pt x="102222" y="68571"/>
                  <a:pt x="99259" y="74285"/>
                  <a:pt x="102222" y="78095"/>
                </a:cubicBezTo>
                <a:cubicBezTo>
                  <a:pt x="106666" y="87619"/>
                  <a:pt x="99259" y="87619"/>
                  <a:pt x="103703" y="95238"/>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65" name="Shape 1925"/>
          <p:cNvSpPr/>
          <p:nvPr/>
        </p:nvSpPr>
        <p:spPr>
          <a:xfrm>
            <a:off x="5889135" y="3223612"/>
            <a:ext cx="281434" cy="219225"/>
          </a:xfrm>
          <a:custGeom>
            <a:avLst/>
            <a:gdLst/>
            <a:ahLst/>
            <a:cxnLst/>
            <a:rect l="0" t="0" r="0" b="0"/>
            <a:pathLst>
              <a:path w="120000" h="120000" extrusionOk="0">
                <a:moveTo>
                  <a:pt x="108705" y="67605"/>
                </a:moveTo>
                <a:cubicBezTo>
                  <a:pt x="111529" y="72676"/>
                  <a:pt x="107294" y="70985"/>
                  <a:pt x="111529" y="79436"/>
                </a:cubicBezTo>
                <a:cubicBezTo>
                  <a:pt x="120000" y="86197"/>
                  <a:pt x="111529" y="81126"/>
                  <a:pt x="112941" y="84507"/>
                </a:cubicBezTo>
                <a:cubicBezTo>
                  <a:pt x="115764" y="86197"/>
                  <a:pt x="117176" y="89577"/>
                  <a:pt x="111529" y="91267"/>
                </a:cubicBezTo>
                <a:cubicBezTo>
                  <a:pt x="108705" y="91267"/>
                  <a:pt x="101647" y="99718"/>
                  <a:pt x="100235" y="104788"/>
                </a:cubicBezTo>
                <a:cubicBezTo>
                  <a:pt x="96000" y="109859"/>
                  <a:pt x="100235" y="113239"/>
                  <a:pt x="100235" y="114929"/>
                </a:cubicBezTo>
                <a:cubicBezTo>
                  <a:pt x="97411" y="118309"/>
                  <a:pt x="104470" y="120000"/>
                  <a:pt x="96000" y="118309"/>
                </a:cubicBezTo>
                <a:cubicBezTo>
                  <a:pt x="88941" y="114929"/>
                  <a:pt x="91764" y="113239"/>
                  <a:pt x="88941" y="113239"/>
                </a:cubicBezTo>
                <a:cubicBezTo>
                  <a:pt x="83294" y="109859"/>
                  <a:pt x="76235" y="109859"/>
                  <a:pt x="74823" y="109859"/>
                </a:cubicBezTo>
                <a:cubicBezTo>
                  <a:pt x="70588" y="109859"/>
                  <a:pt x="70588" y="118309"/>
                  <a:pt x="67764" y="114929"/>
                </a:cubicBezTo>
                <a:cubicBezTo>
                  <a:pt x="67764" y="114929"/>
                  <a:pt x="66352" y="114929"/>
                  <a:pt x="66352" y="113239"/>
                </a:cubicBezTo>
                <a:cubicBezTo>
                  <a:pt x="67764" y="108169"/>
                  <a:pt x="62117" y="104788"/>
                  <a:pt x="59294" y="109859"/>
                </a:cubicBezTo>
                <a:cubicBezTo>
                  <a:pt x="59294" y="113239"/>
                  <a:pt x="57882" y="113239"/>
                  <a:pt x="57882" y="109859"/>
                </a:cubicBezTo>
                <a:cubicBezTo>
                  <a:pt x="57882" y="109859"/>
                  <a:pt x="57882" y="109859"/>
                  <a:pt x="55058" y="109859"/>
                </a:cubicBezTo>
                <a:cubicBezTo>
                  <a:pt x="55058" y="104788"/>
                  <a:pt x="53647" y="103098"/>
                  <a:pt x="49411" y="99718"/>
                </a:cubicBezTo>
                <a:cubicBezTo>
                  <a:pt x="45176" y="96338"/>
                  <a:pt x="46588" y="99718"/>
                  <a:pt x="42352" y="96338"/>
                </a:cubicBezTo>
                <a:cubicBezTo>
                  <a:pt x="39529" y="94647"/>
                  <a:pt x="45176" y="94647"/>
                  <a:pt x="39529" y="94647"/>
                </a:cubicBezTo>
                <a:cubicBezTo>
                  <a:pt x="35294" y="91267"/>
                  <a:pt x="31058" y="89577"/>
                  <a:pt x="33882" y="91267"/>
                </a:cubicBezTo>
                <a:cubicBezTo>
                  <a:pt x="35294" y="94647"/>
                  <a:pt x="33882" y="99718"/>
                  <a:pt x="29647" y="94647"/>
                </a:cubicBezTo>
                <a:cubicBezTo>
                  <a:pt x="22588" y="86197"/>
                  <a:pt x="29647" y="89577"/>
                  <a:pt x="29647" y="86197"/>
                </a:cubicBezTo>
                <a:cubicBezTo>
                  <a:pt x="26823" y="84507"/>
                  <a:pt x="26823" y="86197"/>
                  <a:pt x="21176" y="84507"/>
                </a:cubicBezTo>
                <a:cubicBezTo>
                  <a:pt x="12705" y="79436"/>
                  <a:pt x="16941" y="76056"/>
                  <a:pt x="12705" y="81126"/>
                </a:cubicBezTo>
                <a:cubicBezTo>
                  <a:pt x="14117" y="65915"/>
                  <a:pt x="9882" y="72676"/>
                  <a:pt x="8470" y="65915"/>
                </a:cubicBezTo>
                <a:cubicBezTo>
                  <a:pt x="8470" y="60845"/>
                  <a:pt x="12705" y="60845"/>
                  <a:pt x="8470" y="52394"/>
                </a:cubicBezTo>
                <a:cubicBezTo>
                  <a:pt x="5647" y="49014"/>
                  <a:pt x="12705" y="49014"/>
                  <a:pt x="5647" y="43943"/>
                </a:cubicBezTo>
                <a:cubicBezTo>
                  <a:pt x="0" y="38873"/>
                  <a:pt x="8470" y="37183"/>
                  <a:pt x="4235" y="23661"/>
                </a:cubicBezTo>
                <a:cubicBezTo>
                  <a:pt x="8470" y="23661"/>
                  <a:pt x="8470" y="25352"/>
                  <a:pt x="8470" y="23661"/>
                </a:cubicBezTo>
                <a:cubicBezTo>
                  <a:pt x="8470" y="20281"/>
                  <a:pt x="8470" y="20281"/>
                  <a:pt x="8470" y="20281"/>
                </a:cubicBezTo>
                <a:cubicBezTo>
                  <a:pt x="5647" y="20281"/>
                  <a:pt x="5647" y="23661"/>
                  <a:pt x="4235" y="20281"/>
                </a:cubicBezTo>
                <a:cubicBezTo>
                  <a:pt x="4235" y="18591"/>
                  <a:pt x="4235" y="18591"/>
                  <a:pt x="4235" y="18591"/>
                </a:cubicBezTo>
                <a:cubicBezTo>
                  <a:pt x="9882" y="20281"/>
                  <a:pt x="9882" y="15211"/>
                  <a:pt x="21176" y="13521"/>
                </a:cubicBezTo>
                <a:cubicBezTo>
                  <a:pt x="31058" y="10140"/>
                  <a:pt x="25411" y="8450"/>
                  <a:pt x="31058" y="5070"/>
                </a:cubicBezTo>
                <a:cubicBezTo>
                  <a:pt x="39529" y="1690"/>
                  <a:pt x="31058" y="1690"/>
                  <a:pt x="42352" y="0"/>
                </a:cubicBezTo>
                <a:cubicBezTo>
                  <a:pt x="50823" y="0"/>
                  <a:pt x="49411" y="0"/>
                  <a:pt x="55058" y="5070"/>
                </a:cubicBezTo>
                <a:cubicBezTo>
                  <a:pt x="57882" y="5070"/>
                  <a:pt x="55058" y="8450"/>
                  <a:pt x="53647" y="5070"/>
                </a:cubicBezTo>
                <a:cubicBezTo>
                  <a:pt x="50823" y="0"/>
                  <a:pt x="50823" y="1690"/>
                  <a:pt x="53647" y="8450"/>
                </a:cubicBezTo>
                <a:cubicBezTo>
                  <a:pt x="53647" y="10140"/>
                  <a:pt x="62117" y="10140"/>
                  <a:pt x="63529" y="8450"/>
                </a:cubicBezTo>
                <a:cubicBezTo>
                  <a:pt x="79058" y="10140"/>
                  <a:pt x="91764" y="13521"/>
                  <a:pt x="100235" y="10140"/>
                </a:cubicBezTo>
                <a:cubicBezTo>
                  <a:pt x="101647" y="8450"/>
                  <a:pt x="108705" y="13521"/>
                  <a:pt x="108705" y="18591"/>
                </a:cubicBezTo>
                <a:cubicBezTo>
                  <a:pt x="111529" y="33802"/>
                  <a:pt x="115764" y="43943"/>
                  <a:pt x="111529" y="47323"/>
                </a:cubicBezTo>
                <a:cubicBezTo>
                  <a:pt x="107294" y="47323"/>
                  <a:pt x="100235" y="52394"/>
                  <a:pt x="104470" y="55774"/>
                </a:cubicBezTo>
                <a:cubicBezTo>
                  <a:pt x="112941" y="57464"/>
                  <a:pt x="107294" y="62535"/>
                  <a:pt x="108705" y="67605"/>
                </a:cubicBezTo>
              </a:path>
            </a:pathLst>
          </a:custGeom>
          <a:solidFill>
            <a:schemeClr val="accent2"/>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66" name="Shape 1926"/>
          <p:cNvSpPr/>
          <p:nvPr/>
        </p:nvSpPr>
        <p:spPr>
          <a:xfrm>
            <a:off x="5392786" y="3366587"/>
            <a:ext cx="353073" cy="311365"/>
          </a:xfrm>
          <a:custGeom>
            <a:avLst/>
            <a:gdLst/>
            <a:ahLst/>
            <a:cxnLst/>
            <a:rect l="0" t="0" r="0" b="0"/>
            <a:pathLst>
              <a:path w="120000" h="120000" extrusionOk="0">
                <a:moveTo>
                  <a:pt x="106542" y="72475"/>
                </a:moveTo>
                <a:cubicBezTo>
                  <a:pt x="104299" y="76039"/>
                  <a:pt x="109906" y="78415"/>
                  <a:pt x="107663" y="79603"/>
                </a:cubicBezTo>
                <a:cubicBezTo>
                  <a:pt x="106542" y="83168"/>
                  <a:pt x="100934" y="81980"/>
                  <a:pt x="106542" y="85544"/>
                </a:cubicBezTo>
                <a:cubicBezTo>
                  <a:pt x="111028" y="89108"/>
                  <a:pt x="104299" y="89108"/>
                  <a:pt x="106542" y="92673"/>
                </a:cubicBezTo>
                <a:cubicBezTo>
                  <a:pt x="107663" y="98613"/>
                  <a:pt x="113271" y="95049"/>
                  <a:pt x="113271" y="95049"/>
                </a:cubicBezTo>
                <a:cubicBezTo>
                  <a:pt x="114392" y="96237"/>
                  <a:pt x="111028" y="99801"/>
                  <a:pt x="111028" y="102178"/>
                </a:cubicBezTo>
                <a:cubicBezTo>
                  <a:pt x="109906" y="102178"/>
                  <a:pt x="104299" y="105742"/>
                  <a:pt x="104299" y="105742"/>
                </a:cubicBezTo>
                <a:cubicBezTo>
                  <a:pt x="104299" y="109306"/>
                  <a:pt x="97570" y="111683"/>
                  <a:pt x="95327" y="109306"/>
                </a:cubicBezTo>
                <a:cubicBezTo>
                  <a:pt x="94205" y="108118"/>
                  <a:pt x="94205" y="111683"/>
                  <a:pt x="91962" y="108118"/>
                </a:cubicBezTo>
                <a:cubicBezTo>
                  <a:pt x="90841" y="105742"/>
                  <a:pt x="90841" y="105742"/>
                  <a:pt x="87476" y="105742"/>
                </a:cubicBezTo>
                <a:cubicBezTo>
                  <a:pt x="84112" y="108118"/>
                  <a:pt x="87476" y="105742"/>
                  <a:pt x="84112" y="105742"/>
                </a:cubicBezTo>
                <a:cubicBezTo>
                  <a:pt x="80747" y="105742"/>
                  <a:pt x="84112" y="99801"/>
                  <a:pt x="77383" y="105742"/>
                </a:cubicBezTo>
                <a:cubicBezTo>
                  <a:pt x="75140" y="108118"/>
                  <a:pt x="71775" y="108118"/>
                  <a:pt x="71775" y="111683"/>
                </a:cubicBezTo>
                <a:cubicBezTo>
                  <a:pt x="74018" y="115247"/>
                  <a:pt x="71775" y="112871"/>
                  <a:pt x="71775" y="118811"/>
                </a:cubicBezTo>
                <a:cubicBezTo>
                  <a:pt x="68411" y="118811"/>
                  <a:pt x="70654" y="120000"/>
                  <a:pt x="67289" y="118811"/>
                </a:cubicBezTo>
                <a:cubicBezTo>
                  <a:pt x="65046" y="118811"/>
                  <a:pt x="65046" y="120000"/>
                  <a:pt x="60560" y="118811"/>
                </a:cubicBezTo>
                <a:cubicBezTo>
                  <a:pt x="60560" y="116435"/>
                  <a:pt x="60560" y="115247"/>
                  <a:pt x="58317" y="116435"/>
                </a:cubicBezTo>
                <a:cubicBezTo>
                  <a:pt x="48224" y="109306"/>
                  <a:pt x="52710" y="115247"/>
                  <a:pt x="49345" y="115247"/>
                </a:cubicBezTo>
                <a:cubicBezTo>
                  <a:pt x="45981" y="112871"/>
                  <a:pt x="45981" y="116435"/>
                  <a:pt x="44859" y="115247"/>
                </a:cubicBezTo>
                <a:cubicBezTo>
                  <a:pt x="42616" y="112871"/>
                  <a:pt x="39252" y="115247"/>
                  <a:pt x="39252" y="112871"/>
                </a:cubicBezTo>
                <a:cubicBezTo>
                  <a:pt x="38130" y="109306"/>
                  <a:pt x="32523" y="111683"/>
                  <a:pt x="32523" y="109306"/>
                </a:cubicBezTo>
                <a:cubicBezTo>
                  <a:pt x="32523" y="105742"/>
                  <a:pt x="31401" y="108118"/>
                  <a:pt x="29158" y="105742"/>
                </a:cubicBezTo>
                <a:cubicBezTo>
                  <a:pt x="31401" y="105742"/>
                  <a:pt x="32523" y="103366"/>
                  <a:pt x="32523" y="96237"/>
                </a:cubicBezTo>
                <a:cubicBezTo>
                  <a:pt x="34766" y="89108"/>
                  <a:pt x="34766" y="89108"/>
                  <a:pt x="34766" y="89108"/>
                </a:cubicBezTo>
                <a:cubicBezTo>
                  <a:pt x="35887" y="89108"/>
                  <a:pt x="34766" y="86732"/>
                  <a:pt x="34766" y="86732"/>
                </a:cubicBezTo>
                <a:cubicBezTo>
                  <a:pt x="32523" y="89108"/>
                  <a:pt x="32523" y="86732"/>
                  <a:pt x="34766" y="83168"/>
                </a:cubicBezTo>
                <a:cubicBezTo>
                  <a:pt x="34766" y="79603"/>
                  <a:pt x="35887" y="78415"/>
                  <a:pt x="35887" y="78415"/>
                </a:cubicBezTo>
                <a:cubicBezTo>
                  <a:pt x="38130" y="78415"/>
                  <a:pt x="39252" y="85544"/>
                  <a:pt x="39252" y="81980"/>
                </a:cubicBezTo>
                <a:cubicBezTo>
                  <a:pt x="38130" y="79603"/>
                  <a:pt x="39252" y="78415"/>
                  <a:pt x="34766" y="76039"/>
                </a:cubicBezTo>
                <a:cubicBezTo>
                  <a:pt x="31401" y="72475"/>
                  <a:pt x="34766" y="74851"/>
                  <a:pt x="34766" y="72475"/>
                </a:cubicBezTo>
                <a:cubicBezTo>
                  <a:pt x="35887" y="68910"/>
                  <a:pt x="32523" y="68910"/>
                  <a:pt x="34766" y="66534"/>
                </a:cubicBezTo>
                <a:cubicBezTo>
                  <a:pt x="34766" y="65346"/>
                  <a:pt x="34766" y="66534"/>
                  <a:pt x="31401" y="65346"/>
                </a:cubicBezTo>
                <a:cubicBezTo>
                  <a:pt x="28037" y="62970"/>
                  <a:pt x="24672" y="59405"/>
                  <a:pt x="25794" y="58217"/>
                </a:cubicBezTo>
                <a:cubicBezTo>
                  <a:pt x="28037" y="58217"/>
                  <a:pt x="28037" y="55841"/>
                  <a:pt x="25794" y="55841"/>
                </a:cubicBezTo>
                <a:cubicBezTo>
                  <a:pt x="24672" y="55841"/>
                  <a:pt x="28037" y="52277"/>
                  <a:pt x="24672" y="53465"/>
                </a:cubicBezTo>
                <a:cubicBezTo>
                  <a:pt x="21308" y="53465"/>
                  <a:pt x="22429" y="52277"/>
                  <a:pt x="22429" y="49900"/>
                </a:cubicBezTo>
                <a:cubicBezTo>
                  <a:pt x="24672" y="49900"/>
                  <a:pt x="22429" y="49900"/>
                  <a:pt x="21308" y="49900"/>
                </a:cubicBezTo>
                <a:cubicBezTo>
                  <a:pt x="17943" y="49900"/>
                  <a:pt x="21308" y="48712"/>
                  <a:pt x="19065" y="48712"/>
                </a:cubicBezTo>
                <a:cubicBezTo>
                  <a:pt x="15700" y="48712"/>
                  <a:pt x="15700" y="46336"/>
                  <a:pt x="13457" y="46336"/>
                </a:cubicBezTo>
                <a:cubicBezTo>
                  <a:pt x="10093" y="45148"/>
                  <a:pt x="8971" y="45148"/>
                  <a:pt x="6728" y="45148"/>
                </a:cubicBezTo>
                <a:cubicBezTo>
                  <a:pt x="5607" y="46336"/>
                  <a:pt x="6728" y="45148"/>
                  <a:pt x="3364" y="42772"/>
                </a:cubicBezTo>
                <a:cubicBezTo>
                  <a:pt x="0" y="41584"/>
                  <a:pt x="6728" y="41584"/>
                  <a:pt x="6728" y="41584"/>
                </a:cubicBezTo>
                <a:cubicBezTo>
                  <a:pt x="5607" y="39207"/>
                  <a:pt x="3364" y="41584"/>
                  <a:pt x="3364" y="39207"/>
                </a:cubicBezTo>
                <a:cubicBezTo>
                  <a:pt x="3364" y="39207"/>
                  <a:pt x="6728" y="39207"/>
                  <a:pt x="5607" y="38019"/>
                </a:cubicBezTo>
                <a:cubicBezTo>
                  <a:pt x="3364" y="38019"/>
                  <a:pt x="2242" y="39207"/>
                  <a:pt x="2242" y="38019"/>
                </a:cubicBezTo>
                <a:cubicBezTo>
                  <a:pt x="2242" y="35643"/>
                  <a:pt x="3364" y="33267"/>
                  <a:pt x="6728" y="33267"/>
                </a:cubicBezTo>
                <a:cubicBezTo>
                  <a:pt x="10093" y="33267"/>
                  <a:pt x="6728" y="32079"/>
                  <a:pt x="10093" y="33267"/>
                </a:cubicBezTo>
                <a:cubicBezTo>
                  <a:pt x="12336" y="33267"/>
                  <a:pt x="13457" y="33267"/>
                  <a:pt x="13457" y="32079"/>
                </a:cubicBezTo>
                <a:cubicBezTo>
                  <a:pt x="12336" y="29702"/>
                  <a:pt x="13457" y="32079"/>
                  <a:pt x="15700" y="29702"/>
                </a:cubicBezTo>
                <a:cubicBezTo>
                  <a:pt x="17943" y="29702"/>
                  <a:pt x="19065" y="33267"/>
                  <a:pt x="21308" y="35643"/>
                </a:cubicBezTo>
                <a:cubicBezTo>
                  <a:pt x="21308" y="38019"/>
                  <a:pt x="22429" y="33267"/>
                  <a:pt x="24672" y="33267"/>
                </a:cubicBezTo>
                <a:cubicBezTo>
                  <a:pt x="25794" y="32079"/>
                  <a:pt x="24672" y="35643"/>
                  <a:pt x="25794" y="33267"/>
                </a:cubicBezTo>
                <a:cubicBezTo>
                  <a:pt x="28037" y="33267"/>
                  <a:pt x="25794" y="33267"/>
                  <a:pt x="28037" y="33267"/>
                </a:cubicBezTo>
                <a:cubicBezTo>
                  <a:pt x="29158" y="33267"/>
                  <a:pt x="28037" y="35643"/>
                  <a:pt x="31401" y="35643"/>
                </a:cubicBezTo>
                <a:cubicBezTo>
                  <a:pt x="32523" y="33267"/>
                  <a:pt x="31401" y="33267"/>
                  <a:pt x="31401" y="29702"/>
                </a:cubicBezTo>
                <a:cubicBezTo>
                  <a:pt x="31401" y="28514"/>
                  <a:pt x="31401" y="24950"/>
                  <a:pt x="29158" y="24950"/>
                </a:cubicBezTo>
                <a:cubicBezTo>
                  <a:pt x="28037" y="22574"/>
                  <a:pt x="29158" y="22574"/>
                  <a:pt x="28037" y="21386"/>
                </a:cubicBezTo>
                <a:cubicBezTo>
                  <a:pt x="28037" y="16633"/>
                  <a:pt x="29158" y="21386"/>
                  <a:pt x="32523" y="19009"/>
                </a:cubicBezTo>
                <a:cubicBezTo>
                  <a:pt x="34766" y="19009"/>
                  <a:pt x="32523" y="24950"/>
                  <a:pt x="34766" y="24950"/>
                </a:cubicBezTo>
                <a:cubicBezTo>
                  <a:pt x="39252" y="22574"/>
                  <a:pt x="42616" y="26138"/>
                  <a:pt x="44859" y="24950"/>
                </a:cubicBezTo>
                <a:cubicBezTo>
                  <a:pt x="45981" y="22574"/>
                  <a:pt x="48224" y="22574"/>
                  <a:pt x="45981" y="22574"/>
                </a:cubicBezTo>
                <a:cubicBezTo>
                  <a:pt x="45981" y="22574"/>
                  <a:pt x="42616" y="21386"/>
                  <a:pt x="49345" y="16633"/>
                </a:cubicBezTo>
                <a:cubicBezTo>
                  <a:pt x="56074" y="15445"/>
                  <a:pt x="56074" y="15445"/>
                  <a:pt x="58317" y="13069"/>
                </a:cubicBezTo>
                <a:cubicBezTo>
                  <a:pt x="58317" y="11881"/>
                  <a:pt x="60560" y="13069"/>
                  <a:pt x="58317" y="11881"/>
                </a:cubicBezTo>
                <a:cubicBezTo>
                  <a:pt x="58317" y="9504"/>
                  <a:pt x="60560" y="9504"/>
                  <a:pt x="58317" y="9504"/>
                </a:cubicBezTo>
                <a:cubicBezTo>
                  <a:pt x="58317" y="8316"/>
                  <a:pt x="58317" y="8316"/>
                  <a:pt x="58317" y="4752"/>
                </a:cubicBezTo>
                <a:cubicBezTo>
                  <a:pt x="58317" y="2376"/>
                  <a:pt x="60560" y="0"/>
                  <a:pt x="67289" y="0"/>
                </a:cubicBezTo>
                <a:cubicBezTo>
                  <a:pt x="70654" y="8316"/>
                  <a:pt x="71775" y="2376"/>
                  <a:pt x="74018" y="5940"/>
                </a:cubicBezTo>
                <a:cubicBezTo>
                  <a:pt x="75140" y="9504"/>
                  <a:pt x="75140" y="5940"/>
                  <a:pt x="77383" y="9504"/>
                </a:cubicBezTo>
                <a:cubicBezTo>
                  <a:pt x="78504" y="11881"/>
                  <a:pt x="81869" y="9504"/>
                  <a:pt x="81869" y="13069"/>
                </a:cubicBezTo>
                <a:cubicBezTo>
                  <a:pt x="84112" y="19009"/>
                  <a:pt x="85233" y="11881"/>
                  <a:pt x="87476" y="13069"/>
                </a:cubicBezTo>
                <a:cubicBezTo>
                  <a:pt x="88598" y="13069"/>
                  <a:pt x="85233" y="16633"/>
                  <a:pt x="90841" y="19009"/>
                </a:cubicBezTo>
                <a:cubicBezTo>
                  <a:pt x="91962" y="19009"/>
                  <a:pt x="91962" y="22574"/>
                  <a:pt x="95327" y="22574"/>
                </a:cubicBezTo>
                <a:cubicBezTo>
                  <a:pt x="98691" y="22574"/>
                  <a:pt x="98691" y="22574"/>
                  <a:pt x="100934" y="22574"/>
                </a:cubicBezTo>
                <a:cubicBezTo>
                  <a:pt x="104299" y="22574"/>
                  <a:pt x="103177" y="26138"/>
                  <a:pt x="106542" y="26138"/>
                </a:cubicBezTo>
                <a:cubicBezTo>
                  <a:pt x="107663" y="26138"/>
                  <a:pt x="106542" y="28514"/>
                  <a:pt x="109906" y="28514"/>
                </a:cubicBezTo>
                <a:cubicBezTo>
                  <a:pt x="113271" y="26138"/>
                  <a:pt x="114392" y="28514"/>
                  <a:pt x="116635" y="29702"/>
                </a:cubicBezTo>
                <a:cubicBezTo>
                  <a:pt x="120000" y="29702"/>
                  <a:pt x="111028" y="33267"/>
                  <a:pt x="111028" y="48712"/>
                </a:cubicBezTo>
                <a:cubicBezTo>
                  <a:pt x="109906" y="52277"/>
                  <a:pt x="107663" y="48712"/>
                  <a:pt x="107663" y="49900"/>
                </a:cubicBezTo>
                <a:cubicBezTo>
                  <a:pt x="106542" y="52277"/>
                  <a:pt x="107663" y="52277"/>
                  <a:pt x="106542" y="53465"/>
                </a:cubicBezTo>
                <a:cubicBezTo>
                  <a:pt x="104299" y="53465"/>
                  <a:pt x="106542" y="55841"/>
                  <a:pt x="103177" y="58217"/>
                </a:cubicBezTo>
                <a:cubicBezTo>
                  <a:pt x="100934" y="58217"/>
                  <a:pt x="104299" y="59405"/>
                  <a:pt x="100934" y="61782"/>
                </a:cubicBezTo>
                <a:cubicBezTo>
                  <a:pt x="97570" y="62970"/>
                  <a:pt x="100934" y="65346"/>
                  <a:pt x="98691" y="66534"/>
                </a:cubicBezTo>
                <a:cubicBezTo>
                  <a:pt x="95327" y="68910"/>
                  <a:pt x="97570" y="68910"/>
                  <a:pt x="98691" y="68910"/>
                </a:cubicBezTo>
                <a:cubicBezTo>
                  <a:pt x="103177" y="66534"/>
                  <a:pt x="98691" y="65346"/>
                  <a:pt x="103177" y="65346"/>
                </a:cubicBezTo>
                <a:cubicBezTo>
                  <a:pt x="106542" y="62970"/>
                  <a:pt x="104299" y="66534"/>
                  <a:pt x="104299" y="68910"/>
                </a:cubicBezTo>
                <a:cubicBezTo>
                  <a:pt x="104299" y="68910"/>
                  <a:pt x="106542" y="68910"/>
                  <a:pt x="106542" y="72475"/>
                </a:cubicBezTo>
              </a:path>
            </a:pathLst>
          </a:custGeom>
          <a:solidFill>
            <a:srgbClr val="C00000"/>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67" name="Shape 1927"/>
          <p:cNvSpPr/>
          <p:nvPr/>
        </p:nvSpPr>
        <p:spPr>
          <a:xfrm>
            <a:off x="5266565" y="3682716"/>
            <a:ext cx="105751" cy="182689"/>
          </a:xfrm>
          <a:custGeom>
            <a:avLst/>
            <a:gdLst/>
            <a:ahLst/>
            <a:cxnLst/>
            <a:rect l="0" t="0" r="0" b="0"/>
            <a:pathLst>
              <a:path w="120000" h="120000" extrusionOk="0">
                <a:moveTo>
                  <a:pt x="30000" y="6101"/>
                </a:moveTo>
                <a:cubicBezTo>
                  <a:pt x="48750" y="0"/>
                  <a:pt x="48750" y="0"/>
                  <a:pt x="52500" y="0"/>
                </a:cubicBezTo>
                <a:cubicBezTo>
                  <a:pt x="60000" y="4067"/>
                  <a:pt x="41250" y="6101"/>
                  <a:pt x="48750" y="6101"/>
                </a:cubicBezTo>
                <a:cubicBezTo>
                  <a:pt x="52500" y="10169"/>
                  <a:pt x="52500" y="4067"/>
                  <a:pt x="63750" y="6101"/>
                </a:cubicBezTo>
                <a:cubicBezTo>
                  <a:pt x="82500" y="10169"/>
                  <a:pt x="71250" y="4067"/>
                  <a:pt x="86250" y="4067"/>
                </a:cubicBezTo>
                <a:cubicBezTo>
                  <a:pt x="105000" y="6101"/>
                  <a:pt x="93750" y="10169"/>
                  <a:pt x="105000" y="12203"/>
                </a:cubicBezTo>
                <a:cubicBezTo>
                  <a:pt x="120000" y="12203"/>
                  <a:pt x="86250" y="24406"/>
                  <a:pt x="86250" y="28474"/>
                </a:cubicBezTo>
                <a:cubicBezTo>
                  <a:pt x="93750" y="44745"/>
                  <a:pt x="82500" y="44745"/>
                  <a:pt x="86250" y="46779"/>
                </a:cubicBezTo>
                <a:cubicBezTo>
                  <a:pt x="86250" y="52881"/>
                  <a:pt x="86250" y="56949"/>
                  <a:pt x="75000" y="56949"/>
                </a:cubicBezTo>
                <a:cubicBezTo>
                  <a:pt x="63750" y="56949"/>
                  <a:pt x="75000" y="56949"/>
                  <a:pt x="75000" y="67118"/>
                </a:cubicBezTo>
                <a:cubicBezTo>
                  <a:pt x="82500" y="73220"/>
                  <a:pt x="93750" y="67118"/>
                  <a:pt x="82500" y="75254"/>
                </a:cubicBezTo>
                <a:cubicBezTo>
                  <a:pt x="71250" y="85423"/>
                  <a:pt x="75000" y="87457"/>
                  <a:pt x="82500" y="87457"/>
                </a:cubicBezTo>
                <a:cubicBezTo>
                  <a:pt x="86250" y="87457"/>
                  <a:pt x="93750" y="87457"/>
                  <a:pt x="82500" y="95593"/>
                </a:cubicBezTo>
                <a:cubicBezTo>
                  <a:pt x="71250" y="97627"/>
                  <a:pt x="71250" y="107796"/>
                  <a:pt x="71250" y="109830"/>
                </a:cubicBezTo>
                <a:cubicBezTo>
                  <a:pt x="60000" y="113898"/>
                  <a:pt x="63750" y="120000"/>
                  <a:pt x="52500" y="115932"/>
                </a:cubicBezTo>
                <a:cubicBezTo>
                  <a:pt x="33750" y="113898"/>
                  <a:pt x="30000" y="113898"/>
                  <a:pt x="30000" y="115932"/>
                </a:cubicBezTo>
                <a:cubicBezTo>
                  <a:pt x="22500" y="115932"/>
                  <a:pt x="22500" y="115932"/>
                  <a:pt x="30000" y="109830"/>
                </a:cubicBezTo>
                <a:cubicBezTo>
                  <a:pt x="33750" y="95593"/>
                  <a:pt x="22500" y="97627"/>
                  <a:pt x="30000" y="91525"/>
                </a:cubicBezTo>
                <a:cubicBezTo>
                  <a:pt x="33750" y="81355"/>
                  <a:pt x="22500" y="81355"/>
                  <a:pt x="18750" y="85423"/>
                </a:cubicBezTo>
                <a:cubicBezTo>
                  <a:pt x="18750" y="81355"/>
                  <a:pt x="18750" y="81355"/>
                  <a:pt x="18750" y="81355"/>
                </a:cubicBezTo>
                <a:cubicBezTo>
                  <a:pt x="18750" y="79322"/>
                  <a:pt x="22500" y="79322"/>
                  <a:pt x="11250" y="79322"/>
                </a:cubicBezTo>
                <a:cubicBezTo>
                  <a:pt x="0" y="79322"/>
                  <a:pt x="18750" y="69152"/>
                  <a:pt x="11250" y="67118"/>
                </a:cubicBezTo>
                <a:cubicBezTo>
                  <a:pt x="11250" y="58983"/>
                  <a:pt x="18750" y="67118"/>
                  <a:pt x="22500" y="56949"/>
                </a:cubicBezTo>
                <a:cubicBezTo>
                  <a:pt x="30000" y="46779"/>
                  <a:pt x="30000" y="46779"/>
                  <a:pt x="30000" y="44745"/>
                </a:cubicBezTo>
                <a:cubicBezTo>
                  <a:pt x="30000" y="40677"/>
                  <a:pt x="41250" y="28474"/>
                  <a:pt x="33750" y="22372"/>
                </a:cubicBezTo>
                <a:cubicBezTo>
                  <a:pt x="30000" y="18305"/>
                  <a:pt x="30000" y="16271"/>
                  <a:pt x="30000" y="12203"/>
                </a:cubicBezTo>
                <a:cubicBezTo>
                  <a:pt x="30000" y="10169"/>
                  <a:pt x="22500" y="10169"/>
                  <a:pt x="30000" y="6101"/>
                </a:cubicBezTo>
              </a:path>
            </a:pathLst>
          </a:custGeom>
          <a:solidFill>
            <a:schemeClr val="accent2"/>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68" name="Shape 1928"/>
          <p:cNvSpPr/>
          <p:nvPr/>
        </p:nvSpPr>
        <p:spPr>
          <a:xfrm>
            <a:off x="5749270" y="3655711"/>
            <a:ext cx="27291" cy="55599"/>
          </a:xfrm>
          <a:custGeom>
            <a:avLst/>
            <a:gdLst/>
            <a:ahLst/>
            <a:cxnLst/>
            <a:rect l="0" t="0" r="0" b="0"/>
            <a:pathLst>
              <a:path w="120000" h="120000" extrusionOk="0">
                <a:moveTo>
                  <a:pt x="105000" y="0"/>
                </a:moveTo>
                <a:cubicBezTo>
                  <a:pt x="75000" y="0"/>
                  <a:pt x="105000" y="26666"/>
                  <a:pt x="75000" y="20000"/>
                </a:cubicBezTo>
                <a:cubicBezTo>
                  <a:pt x="45000" y="20000"/>
                  <a:pt x="30000" y="26666"/>
                  <a:pt x="30000" y="26666"/>
                </a:cubicBezTo>
                <a:cubicBezTo>
                  <a:pt x="0" y="26666"/>
                  <a:pt x="0" y="80000"/>
                  <a:pt x="0" y="80000"/>
                </a:cubicBezTo>
                <a:cubicBezTo>
                  <a:pt x="30000" y="80000"/>
                  <a:pt x="30000" y="80000"/>
                  <a:pt x="0" y="86666"/>
                </a:cubicBezTo>
                <a:cubicBezTo>
                  <a:pt x="0" y="86666"/>
                  <a:pt x="0" y="86666"/>
                  <a:pt x="30000" y="86666"/>
                </a:cubicBezTo>
                <a:cubicBezTo>
                  <a:pt x="45000" y="100000"/>
                  <a:pt x="0" y="100000"/>
                  <a:pt x="30000" y="106666"/>
                </a:cubicBezTo>
                <a:cubicBezTo>
                  <a:pt x="75000" y="120000"/>
                  <a:pt x="45000" y="120000"/>
                  <a:pt x="75000" y="120000"/>
                </a:cubicBezTo>
                <a:cubicBezTo>
                  <a:pt x="105000" y="120000"/>
                  <a:pt x="75000" y="106666"/>
                  <a:pt x="75000" y="106666"/>
                </a:cubicBezTo>
                <a:cubicBezTo>
                  <a:pt x="105000" y="100000"/>
                  <a:pt x="105000" y="86666"/>
                  <a:pt x="105000" y="80000"/>
                </a:cubicBezTo>
                <a:cubicBezTo>
                  <a:pt x="105000" y="66666"/>
                  <a:pt x="120000" y="66666"/>
                  <a:pt x="120000" y="46666"/>
                </a:cubicBezTo>
                <a:cubicBezTo>
                  <a:pt x="120000" y="20000"/>
                  <a:pt x="105000" y="26666"/>
                  <a:pt x="105000" y="20000"/>
                </a:cubicBezTo>
                <a:cubicBezTo>
                  <a:pt x="120000" y="6666"/>
                  <a:pt x="120000" y="0"/>
                  <a:pt x="105000"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69" name="Shape 1929"/>
          <p:cNvSpPr/>
          <p:nvPr/>
        </p:nvSpPr>
        <p:spPr>
          <a:xfrm>
            <a:off x="5689572" y="3511147"/>
            <a:ext cx="325783" cy="363787"/>
          </a:xfrm>
          <a:custGeom>
            <a:avLst/>
            <a:gdLst/>
            <a:ahLst/>
            <a:cxnLst/>
            <a:rect l="0" t="0" r="0" b="0"/>
            <a:pathLst>
              <a:path w="120000" h="120000" extrusionOk="0">
                <a:moveTo>
                  <a:pt x="69795" y="15254"/>
                </a:moveTo>
                <a:cubicBezTo>
                  <a:pt x="67346" y="17288"/>
                  <a:pt x="69795" y="14237"/>
                  <a:pt x="66122" y="15254"/>
                </a:cubicBezTo>
                <a:cubicBezTo>
                  <a:pt x="61224" y="17288"/>
                  <a:pt x="61224" y="20338"/>
                  <a:pt x="59999" y="19322"/>
                </a:cubicBezTo>
                <a:cubicBezTo>
                  <a:pt x="57551" y="17288"/>
                  <a:pt x="56326" y="20338"/>
                  <a:pt x="57551" y="22372"/>
                </a:cubicBezTo>
                <a:cubicBezTo>
                  <a:pt x="59999" y="23389"/>
                  <a:pt x="61224" y="25423"/>
                  <a:pt x="59999" y="26440"/>
                </a:cubicBezTo>
                <a:cubicBezTo>
                  <a:pt x="56326" y="26440"/>
                  <a:pt x="57551" y="33559"/>
                  <a:pt x="61224" y="36610"/>
                </a:cubicBezTo>
                <a:cubicBezTo>
                  <a:pt x="66122" y="37627"/>
                  <a:pt x="67346" y="40677"/>
                  <a:pt x="69795" y="40677"/>
                </a:cubicBezTo>
                <a:cubicBezTo>
                  <a:pt x="73469" y="40677"/>
                  <a:pt x="71020" y="48813"/>
                  <a:pt x="82040" y="57966"/>
                </a:cubicBezTo>
                <a:cubicBezTo>
                  <a:pt x="85714" y="62033"/>
                  <a:pt x="100408" y="57966"/>
                  <a:pt x="95510" y="63050"/>
                </a:cubicBezTo>
                <a:cubicBezTo>
                  <a:pt x="89387" y="66101"/>
                  <a:pt x="104081" y="68135"/>
                  <a:pt x="106530" y="69152"/>
                </a:cubicBezTo>
                <a:cubicBezTo>
                  <a:pt x="106530" y="71186"/>
                  <a:pt x="108979" y="72203"/>
                  <a:pt x="112653" y="74237"/>
                </a:cubicBezTo>
                <a:cubicBezTo>
                  <a:pt x="113877" y="76271"/>
                  <a:pt x="119999" y="77288"/>
                  <a:pt x="117551" y="80338"/>
                </a:cubicBezTo>
                <a:cubicBezTo>
                  <a:pt x="117551" y="83389"/>
                  <a:pt x="119999" y="83389"/>
                  <a:pt x="116326" y="83389"/>
                </a:cubicBezTo>
                <a:cubicBezTo>
                  <a:pt x="112653" y="83389"/>
                  <a:pt x="113877" y="77288"/>
                  <a:pt x="110204" y="77288"/>
                </a:cubicBezTo>
                <a:cubicBezTo>
                  <a:pt x="106530" y="77288"/>
                  <a:pt x="106530" y="76271"/>
                  <a:pt x="102857" y="77288"/>
                </a:cubicBezTo>
                <a:cubicBezTo>
                  <a:pt x="99183" y="79322"/>
                  <a:pt x="100408" y="80338"/>
                  <a:pt x="99183" y="82372"/>
                </a:cubicBezTo>
                <a:cubicBezTo>
                  <a:pt x="96734" y="85423"/>
                  <a:pt x="99183" y="85423"/>
                  <a:pt x="100408" y="86440"/>
                </a:cubicBezTo>
                <a:cubicBezTo>
                  <a:pt x="104081" y="86440"/>
                  <a:pt x="108979" y="91525"/>
                  <a:pt x="102857" y="93559"/>
                </a:cubicBezTo>
                <a:cubicBezTo>
                  <a:pt x="99183" y="96610"/>
                  <a:pt x="100408" y="97627"/>
                  <a:pt x="99183" y="100677"/>
                </a:cubicBezTo>
                <a:cubicBezTo>
                  <a:pt x="95510" y="102711"/>
                  <a:pt x="95510" y="107796"/>
                  <a:pt x="91836" y="103728"/>
                </a:cubicBezTo>
                <a:cubicBezTo>
                  <a:pt x="89387" y="103728"/>
                  <a:pt x="89387" y="102711"/>
                  <a:pt x="91836" y="99661"/>
                </a:cubicBezTo>
                <a:cubicBezTo>
                  <a:pt x="93061" y="97627"/>
                  <a:pt x="91836" y="97627"/>
                  <a:pt x="93061" y="96610"/>
                </a:cubicBezTo>
                <a:cubicBezTo>
                  <a:pt x="95510" y="94576"/>
                  <a:pt x="95510" y="94576"/>
                  <a:pt x="93061" y="86440"/>
                </a:cubicBezTo>
                <a:cubicBezTo>
                  <a:pt x="91836" y="80338"/>
                  <a:pt x="89387" y="82372"/>
                  <a:pt x="85714" y="80338"/>
                </a:cubicBezTo>
                <a:cubicBezTo>
                  <a:pt x="80816" y="77288"/>
                  <a:pt x="85714" y="74237"/>
                  <a:pt x="80816" y="74237"/>
                </a:cubicBezTo>
                <a:cubicBezTo>
                  <a:pt x="77142" y="76271"/>
                  <a:pt x="80816" y="72203"/>
                  <a:pt x="77142" y="72203"/>
                </a:cubicBezTo>
                <a:cubicBezTo>
                  <a:pt x="73469" y="72203"/>
                  <a:pt x="74693" y="68135"/>
                  <a:pt x="71020" y="68135"/>
                </a:cubicBezTo>
                <a:cubicBezTo>
                  <a:pt x="67346" y="68135"/>
                  <a:pt x="61224" y="66101"/>
                  <a:pt x="57551" y="62033"/>
                </a:cubicBezTo>
                <a:cubicBezTo>
                  <a:pt x="53877" y="57966"/>
                  <a:pt x="53877" y="62033"/>
                  <a:pt x="52653" y="57966"/>
                </a:cubicBezTo>
                <a:cubicBezTo>
                  <a:pt x="52653" y="53898"/>
                  <a:pt x="46530" y="54915"/>
                  <a:pt x="46530" y="53898"/>
                </a:cubicBezTo>
                <a:cubicBezTo>
                  <a:pt x="46530" y="51864"/>
                  <a:pt x="46530" y="51864"/>
                  <a:pt x="42857" y="48813"/>
                </a:cubicBezTo>
                <a:cubicBezTo>
                  <a:pt x="39183" y="47796"/>
                  <a:pt x="42857" y="45762"/>
                  <a:pt x="39183" y="42711"/>
                </a:cubicBezTo>
                <a:cubicBezTo>
                  <a:pt x="37959" y="40677"/>
                  <a:pt x="39183" y="34576"/>
                  <a:pt x="34285" y="34576"/>
                </a:cubicBezTo>
                <a:cubicBezTo>
                  <a:pt x="30612" y="36610"/>
                  <a:pt x="28163" y="29491"/>
                  <a:pt x="23265" y="31525"/>
                </a:cubicBezTo>
                <a:cubicBezTo>
                  <a:pt x="18367" y="33559"/>
                  <a:pt x="23265" y="36610"/>
                  <a:pt x="11020" y="39661"/>
                </a:cubicBezTo>
                <a:cubicBezTo>
                  <a:pt x="11020" y="37627"/>
                  <a:pt x="14693" y="34576"/>
                  <a:pt x="13469" y="33559"/>
                </a:cubicBezTo>
                <a:cubicBezTo>
                  <a:pt x="13469" y="33559"/>
                  <a:pt x="7346" y="36610"/>
                  <a:pt x="6122" y="31525"/>
                </a:cubicBezTo>
                <a:cubicBezTo>
                  <a:pt x="3673" y="28474"/>
                  <a:pt x="11020" y="28474"/>
                  <a:pt x="6122" y="25423"/>
                </a:cubicBezTo>
                <a:cubicBezTo>
                  <a:pt x="0" y="22372"/>
                  <a:pt x="6122" y="23389"/>
                  <a:pt x="7346" y="20338"/>
                </a:cubicBezTo>
                <a:cubicBezTo>
                  <a:pt x="9795" y="19322"/>
                  <a:pt x="3673" y="17288"/>
                  <a:pt x="6122" y="14237"/>
                </a:cubicBezTo>
                <a:cubicBezTo>
                  <a:pt x="7346" y="14237"/>
                  <a:pt x="7346" y="14237"/>
                  <a:pt x="11020" y="14237"/>
                </a:cubicBezTo>
                <a:cubicBezTo>
                  <a:pt x="13469" y="12203"/>
                  <a:pt x="13469" y="14237"/>
                  <a:pt x="17142" y="12203"/>
                </a:cubicBezTo>
                <a:cubicBezTo>
                  <a:pt x="20816" y="9152"/>
                  <a:pt x="17142" y="9152"/>
                  <a:pt x="18367" y="9152"/>
                </a:cubicBezTo>
                <a:cubicBezTo>
                  <a:pt x="18367" y="8135"/>
                  <a:pt x="20816" y="6101"/>
                  <a:pt x="20816" y="8135"/>
                </a:cubicBezTo>
                <a:cubicBezTo>
                  <a:pt x="20816" y="8135"/>
                  <a:pt x="20816" y="9152"/>
                  <a:pt x="23265" y="11186"/>
                </a:cubicBezTo>
                <a:cubicBezTo>
                  <a:pt x="24489" y="12203"/>
                  <a:pt x="24489" y="15254"/>
                  <a:pt x="26938" y="14237"/>
                </a:cubicBezTo>
                <a:cubicBezTo>
                  <a:pt x="28163" y="14237"/>
                  <a:pt x="24489" y="12203"/>
                  <a:pt x="28163" y="11186"/>
                </a:cubicBezTo>
                <a:cubicBezTo>
                  <a:pt x="30612" y="9152"/>
                  <a:pt x="28163" y="6101"/>
                  <a:pt x="30612" y="6101"/>
                </a:cubicBezTo>
                <a:cubicBezTo>
                  <a:pt x="31836" y="6101"/>
                  <a:pt x="31836" y="9152"/>
                  <a:pt x="34285" y="9152"/>
                </a:cubicBezTo>
                <a:cubicBezTo>
                  <a:pt x="35510" y="8135"/>
                  <a:pt x="35510" y="11186"/>
                  <a:pt x="37959" y="9152"/>
                </a:cubicBezTo>
                <a:cubicBezTo>
                  <a:pt x="39183" y="9152"/>
                  <a:pt x="35510" y="6101"/>
                  <a:pt x="37959" y="6101"/>
                </a:cubicBezTo>
                <a:cubicBezTo>
                  <a:pt x="37959" y="5084"/>
                  <a:pt x="39183" y="8135"/>
                  <a:pt x="41632" y="6101"/>
                </a:cubicBezTo>
                <a:cubicBezTo>
                  <a:pt x="41632" y="6101"/>
                  <a:pt x="39183" y="5084"/>
                  <a:pt x="41632" y="1016"/>
                </a:cubicBezTo>
                <a:cubicBezTo>
                  <a:pt x="42857" y="1016"/>
                  <a:pt x="42857" y="5084"/>
                  <a:pt x="45306" y="3050"/>
                </a:cubicBezTo>
                <a:cubicBezTo>
                  <a:pt x="46530" y="3050"/>
                  <a:pt x="46530" y="1016"/>
                  <a:pt x="48979" y="1016"/>
                </a:cubicBezTo>
                <a:cubicBezTo>
                  <a:pt x="50204" y="0"/>
                  <a:pt x="50204" y="1016"/>
                  <a:pt x="53877" y="0"/>
                </a:cubicBezTo>
                <a:cubicBezTo>
                  <a:pt x="59999" y="0"/>
                  <a:pt x="56326" y="0"/>
                  <a:pt x="56326" y="1016"/>
                </a:cubicBezTo>
                <a:cubicBezTo>
                  <a:pt x="57551" y="1016"/>
                  <a:pt x="57551" y="1016"/>
                  <a:pt x="57551" y="3050"/>
                </a:cubicBezTo>
                <a:cubicBezTo>
                  <a:pt x="57551" y="5084"/>
                  <a:pt x="61224" y="6101"/>
                  <a:pt x="71020" y="6101"/>
                </a:cubicBezTo>
                <a:cubicBezTo>
                  <a:pt x="71020" y="8135"/>
                  <a:pt x="69795" y="8135"/>
                  <a:pt x="69795" y="9152"/>
                </a:cubicBezTo>
                <a:cubicBezTo>
                  <a:pt x="69795" y="11186"/>
                  <a:pt x="73469" y="9152"/>
                  <a:pt x="71020" y="11186"/>
                </a:cubicBezTo>
                <a:cubicBezTo>
                  <a:pt x="69795" y="12203"/>
                  <a:pt x="69795" y="14237"/>
                  <a:pt x="71020" y="14237"/>
                </a:cubicBezTo>
                <a:cubicBezTo>
                  <a:pt x="73469" y="15254"/>
                  <a:pt x="74693" y="17288"/>
                  <a:pt x="71020" y="17288"/>
                </a:cubicBezTo>
                <a:cubicBezTo>
                  <a:pt x="71020" y="17288"/>
                  <a:pt x="73469" y="15254"/>
                  <a:pt x="69795" y="15254"/>
                </a:cubicBezTo>
                <a:close/>
                <a:moveTo>
                  <a:pt x="66122" y="108813"/>
                </a:moveTo>
                <a:cubicBezTo>
                  <a:pt x="67346" y="110847"/>
                  <a:pt x="71020" y="113898"/>
                  <a:pt x="74693" y="113898"/>
                </a:cubicBezTo>
                <a:cubicBezTo>
                  <a:pt x="78367" y="113898"/>
                  <a:pt x="78367" y="116949"/>
                  <a:pt x="82040" y="116949"/>
                </a:cubicBezTo>
                <a:cubicBezTo>
                  <a:pt x="85714" y="117966"/>
                  <a:pt x="85714" y="120000"/>
                  <a:pt x="85714" y="116949"/>
                </a:cubicBezTo>
                <a:cubicBezTo>
                  <a:pt x="85714" y="114915"/>
                  <a:pt x="88163" y="111864"/>
                  <a:pt x="85714" y="110847"/>
                </a:cubicBezTo>
                <a:cubicBezTo>
                  <a:pt x="84489" y="110847"/>
                  <a:pt x="89387" y="102711"/>
                  <a:pt x="89387" y="100677"/>
                </a:cubicBezTo>
                <a:cubicBezTo>
                  <a:pt x="91836" y="99661"/>
                  <a:pt x="85714" y="102711"/>
                  <a:pt x="84489" y="102711"/>
                </a:cubicBezTo>
                <a:cubicBezTo>
                  <a:pt x="80816" y="100677"/>
                  <a:pt x="74693" y="105762"/>
                  <a:pt x="69795" y="102711"/>
                </a:cubicBezTo>
                <a:cubicBezTo>
                  <a:pt x="66122" y="97627"/>
                  <a:pt x="66122" y="105762"/>
                  <a:pt x="63673" y="102711"/>
                </a:cubicBezTo>
                <a:cubicBezTo>
                  <a:pt x="61224" y="100677"/>
                  <a:pt x="59999" y="102711"/>
                  <a:pt x="59999" y="105762"/>
                </a:cubicBezTo>
                <a:cubicBezTo>
                  <a:pt x="59999" y="108813"/>
                  <a:pt x="61224" y="108813"/>
                  <a:pt x="66122" y="108813"/>
                </a:cubicBezTo>
                <a:close/>
                <a:moveTo>
                  <a:pt x="20816" y="80338"/>
                </a:moveTo>
                <a:cubicBezTo>
                  <a:pt x="20816" y="83389"/>
                  <a:pt x="23265" y="82372"/>
                  <a:pt x="20816" y="85423"/>
                </a:cubicBezTo>
                <a:cubicBezTo>
                  <a:pt x="18367" y="89491"/>
                  <a:pt x="20816" y="94576"/>
                  <a:pt x="24489" y="93559"/>
                </a:cubicBezTo>
                <a:cubicBezTo>
                  <a:pt x="28163" y="93559"/>
                  <a:pt x="26938" y="89491"/>
                  <a:pt x="28163" y="91525"/>
                </a:cubicBezTo>
                <a:cubicBezTo>
                  <a:pt x="31836" y="91525"/>
                  <a:pt x="31836" y="91525"/>
                  <a:pt x="34285" y="85423"/>
                </a:cubicBezTo>
                <a:cubicBezTo>
                  <a:pt x="34285" y="79322"/>
                  <a:pt x="30612" y="79322"/>
                  <a:pt x="34285" y="77288"/>
                </a:cubicBezTo>
                <a:cubicBezTo>
                  <a:pt x="35510" y="76271"/>
                  <a:pt x="34285" y="71186"/>
                  <a:pt x="31836" y="69152"/>
                </a:cubicBezTo>
                <a:cubicBezTo>
                  <a:pt x="30612" y="68135"/>
                  <a:pt x="30612" y="66101"/>
                  <a:pt x="24489" y="71186"/>
                </a:cubicBezTo>
                <a:cubicBezTo>
                  <a:pt x="18367" y="74237"/>
                  <a:pt x="17142" y="68135"/>
                  <a:pt x="17142" y="72203"/>
                </a:cubicBezTo>
                <a:cubicBezTo>
                  <a:pt x="17142" y="76271"/>
                  <a:pt x="20816" y="76271"/>
                  <a:pt x="20816" y="80338"/>
                </a:cubicBezTo>
                <a:close/>
              </a:path>
            </a:pathLst>
          </a:custGeom>
          <a:solidFill>
            <a:schemeClr val="accent2"/>
          </a:solidFill>
          <a:ln w="3175" cap="flat" cmpd="sng" algn="ctr">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70" name="Shape 1930"/>
          <p:cNvSpPr/>
          <p:nvPr/>
        </p:nvSpPr>
        <p:spPr>
          <a:xfrm>
            <a:off x="5677631" y="3479376"/>
            <a:ext cx="124513" cy="77840"/>
          </a:xfrm>
          <a:custGeom>
            <a:avLst/>
            <a:gdLst/>
            <a:ahLst/>
            <a:cxnLst/>
            <a:rect l="0" t="0" r="0" b="0"/>
            <a:pathLst>
              <a:path w="120000" h="120000" extrusionOk="0">
                <a:moveTo>
                  <a:pt x="94736" y="24000"/>
                </a:moveTo>
                <a:cubicBezTo>
                  <a:pt x="101052" y="33600"/>
                  <a:pt x="85263" y="52800"/>
                  <a:pt x="94736" y="48000"/>
                </a:cubicBezTo>
                <a:cubicBezTo>
                  <a:pt x="110526" y="48000"/>
                  <a:pt x="101052" y="62400"/>
                  <a:pt x="110526" y="62400"/>
                </a:cubicBezTo>
                <a:cubicBezTo>
                  <a:pt x="113684" y="62400"/>
                  <a:pt x="113684" y="38400"/>
                  <a:pt x="120000" y="52800"/>
                </a:cubicBezTo>
                <a:cubicBezTo>
                  <a:pt x="113684" y="67200"/>
                  <a:pt x="120000" y="76800"/>
                  <a:pt x="120000" y="76800"/>
                </a:cubicBezTo>
                <a:cubicBezTo>
                  <a:pt x="113684" y="86400"/>
                  <a:pt x="110526" y="67200"/>
                  <a:pt x="110526" y="76800"/>
                </a:cubicBezTo>
                <a:cubicBezTo>
                  <a:pt x="104210" y="76800"/>
                  <a:pt x="113684" y="91200"/>
                  <a:pt x="110526" y="91200"/>
                </a:cubicBezTo>
                <a:cubicBezTo>
                  <a:pt x="104210" y="100800"/>
                  <a:pt x="104210" y="86400"/>
                  <a:pt x="101052" y="91200"/>
                </a:cubicBezTo>
                <a:cubicBezTo>
                  <a:pt x="94736" y="91200"/>
                  <a:pt x="94736" y="76800"/>
                  <a:pt x="91578" y="76800"/>
                </a:cubicBezTo>
                <a:cubicBezTo>
                  <a:pt x="85263" y="76800"/>
                  <a:pt x="91578" y="91200"/>
                  <a:pt x="85263" y="100800"/>
                </a:cubicBezTo>
                <a:cubicBezTo>
                  <a:pt x="75789" y="105600"/>
                  <a:pt x="85263" y="115200"/>
                  <a:pt x="82105" y="115200"/>
                </a:cubicBezTo>
                <a:cubicBezTo>
                  <a:pt x="75789" y="120000"/>
                  <a:pt x="75789" y="105600"/>
                  <a:pt x="72631" y="100800"/>
                </a:cubicBezTo>
                <a:cubicBezTo>
                  <a:pt x="66315" y="91200"/>
                  <a:pt x="66315" y="86400"/>
                  <a:pt x="66315" y="86400"/>
                </a:cubicBezTo>
                <a:cubicBezTo>
                  <a:pt x="66315" y="76800"/>
                  <a:pt x="60000" y="86400"/>
                  <a:pt x="60000" y="91200"/>
                </a:cubicBezTo>
                <a:cubicBezTo>
                  <a:pt x="56842" y="91200"/>
                  <a:pt x="66315" y="91200"/>
                  <a:pt x="56842" y="105600"/>
                </a:cubicBezTo>
                <a:cubicBezTo>
                  <a:pt x="47368" y="115200"/>
                  <a:pt x="47368" y="105600"/>
                  <a:pt x="41052" y="115200"/>
                </a:cubicBezTo>
                <a:cubicBezTo>
                  <a:pt x="31578" y="115200"/>
                  <a:pt x="31578" y="115200"/>
                  <a:pt x="28421" y="115200"/>
                </a:cubicBezTo>
                <a:cubicBezTo>
                  <a:pt x="28421" y="100800"/>
                  <a:pt x="22105" y="100800"/>
                  <a:pt x="22105" y="100800"/>
                </a:cubicBezTo>
                <a:cubicBezTo>
                  <a:pt x="22105" y="91200"/>
                  <a:pt x="28421" y="76800"/>
                  <a:pt x="18947" y="86400"/>
                </a:cubicBezTo>
                <a:cubicBezTo>
                  <a:pt x="9473" y="86400"/>
                  <a:pt x="18947" y="91200"/>
                  <a:pt x="9473" y="100800"/>
                </a:cubicBezTo>
                <a:cubicBezTo>
                  <a:pt x="3157" y="100800"/>
                  <a:pt x="0" y="100800"/>
                  <a:pt x="9473" y="91200"/>
                </a:cubicBezTo>
                <a:cubicBezTo>
                  <a:pt x="12631" y="86400"/>
                  <a:pt x="3157" y="76800"/>
                  <a:pt x="12631" y="67200"/>
                </a:cubicBezTo>
                <a:cubicBezTo>
                  <a:pt x="22105" y="62400"/>
                  <a:pt x="12631" y="52800"/>
                  <a:pt x="18947" y="52800"/>
                </a:cubicBezTo>
                <a:cubicBezTo>
                  <a:pt x="28421" y="48000"/>
                  <a:pt x="22105" y="38400"/>
                  <a:pt x="28421" y="38400"/>
                </a:cubicBezTo>
                <a:cubicBezTo>
                  <a:pt x="31578" y="33600"/>
                  <a:pt x="28421" y="33600"/>
                  <a:pt x="31578" y="24000"/>
                </a:cubicBezTo>
                <a:cubicBezTo>
                  <a:pt x="31578" y="19200"/>
                  <a:pt x="37894" y="33600"/>
                  <a:pt x="41052" y="19200"/>
                </a:cubicBezTo>
                <a:cubicBezTo>
                  <a:pt x="50526" y="24000"/>
                  <a:pt x="50526" y="19200"/>
                  <a:pt x="60000" y="19200"/>
                </a:cubicBezTo>
                <a:cubicBezTo>
                  <a:pt x="72631" y="19200"/>
                  <a:pt x="60000" y="9600"/>
                  <a:pt x="72631" y="9600"/>
                </a:cubicBezTo>
                <a:cubicBezTo>
                  <a:pt x="75789" y="0"/>
                  <a:pt x="75789" y="19200"/>
                  <a:pt x="82105" y="19200"/>
                </a:cubicBezTo>
                <a:cubicBezTo>
                  <a:pt x="85263" y="9600"/>
                  <a:pt x="91578" y="19200"/>
                  <a:pt x="94736" y="24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71" name="Shape 1931"/>
          <p:cNvSpPr/>
          <p:nvPr/>
        </p:nvSpPr>
        <p:spPr>
          <a:xfrm>
            <a:off x="5766326" y="3433306"/>
            <a:ext cx="211503" cy="104845"/>
          </a:xfrm>
          <a:custGeom>
            <a:avLst/>
            <a:gdLst/>
            <a:ahLst/>
            <a:cxnLst/>
            <a:rect l="0" t="0" r="0" b="0"/>
            <a:pathLst>
              <a:path w="120000" h="120000" extrusionOk="0">
                <a:moveTo>
                  <a:pt x="5625" y="70588"/>
                </a:moveTo>
                <a:cubicBezTo>
                  <a:pt x="11250" y="60000"/>
                  <a:pt x="13125" y="77647"/>
                  <a:pt x="16875" y="77647"/>
                </a:cubicBezTo>
                <a:cubicBezTo>
                  <a:pt x="18750" y="77647"/>
                  <a:pt x="16875" y="67058"/>
                  <a:pt x="18750" y="67058"/>
                </a:cubicBezTo>
                <a:cubicBezTo>
                  <a:pt x="22500" y="70588"/>
                  <a:pt x="24375" y="67058"/>
                  <a:pt x="24375" y="70588"/>
                </a:cubicBezTo>
                <a:cubicBezTo>
                  <a:pt x="28125" y="77647"/>
                  <a:pt x="31875" y="70588"/>
                  <a:pt x="37500" y="67058"/>
                </a:cubicBezTo>
                <a:cubicBezTo>
                  <a:pt x="39375" y="60000"/>
                  <a:pt x="43125" y="70588"/>
                  <a:pt x="45000" y="60000"/>
                </a:cubicBezTo>
                <a:cubicBezTo>
                  <a:pt x="45000" y="56470"/>
                  <a:pt x="48750" y="67058"/>
                  <a:pt x="50625" y="67058"/>
                </a:cubicBezTo>
                <a:cubicBezTo>
                  <a:pt x="54375" y="60000"/>
                  <a:pt x="54375" y="77647"/>
                  <a:pt x="56250" y="70588"/>
                </a:cubicBezTo>
                <a:cubicBezTo>
                  <a:pt x="60000" y="67058"/>
                  <a:pt x="50625" y="60000"/>
                  <a:pt x="56250" y="56470"/>
                </a:cubicBezTo>
                <a:cubicBezTo>
                  <a:pt x="60000" y="56470"/>
                  <a:pt x="50625" y="49411"/>
                  <a:pt x="54375" y="38823"/>
                </a:cubicBezTo>
                <a:cubicBezTo>
                  <a:pt x="60000" y="35294"/>
                  <a:pt x="61875" y="38823"/>
                  <a:pt x="61875" y="35294"/>
                </a:cubicBezTo>
                <a:cubicBezTo>
                  <a:pt x="61875" y="24705"/>
                  <a:pt x="69375" y="35294"/>
                  <a:pt x="69375" y="17647"/>
                </a:cubicBezTo>
                <a:cubicBezTo>
                  <a:pt x="75000" y="24705"/>
                  <a:pt x="69375" y="28235"/>
                  <a:pt x="75000" y="28235"/>
                </a:cubicBezTo>
                <a:cubicBezTo>
                  <a:pt x="80625" y="24705"/>
                  <a:pt x="86250" y="24705"/>
                  <a:pt x="86250" y="14117"/>
                </a:cubicBezTo>
                <a:cubicBezTo>
                  <a:pt x="86250" y="0"/>
                  <a:pt x="88125" y="14117"/>
                  <a:pt x="91875" y="14117"/>
                </a:cubicBezTo>
                <a:cubicBezTo>
                  <a:pt x="93750" y="14117"/>
                  <a:pt x="103125" y="24705"/>
                  <a:pt x="105000" y="17647"/>
                </a:cubicBezTo>
                <a:cubicBezTo>
                  <a:pt x="112500" y="14117"/>
                  <a:pt x="114375" y="24705"/>
                  <a:pt x="118125" y="24705"/>
                </a:cubicBezTo>
                <a:cubicBezTo>
                  <a:pt x="114375" y="35294"/>
                  <a:pt x="112500" y="35294"/>
                  <a:pt x="118125" y="49411"/>
                </a:cubicBezTo>
                <a:cubicBezTo>
                  <a:pt x="118125" y="56470"/>
                  <a:pt x="120000" y="60000"/>
                  <a:pt x="118125" y="60000"/>
                </a:cubicBezTo>
                <a:cubicBezTo>
                  <a:pt x="114375" y="60000"/>
                  <a:pt x="108750" y="60000"/>
                  <a:pt x="108750" y="60000"/>
                </a:cubicBezTo>
                <a:cubicBezTo>
                  <a:pt x="108750" y="67058"/>
                  <a:pt x="112500" y="67058"/>
                  <a:pt x="112500" y="70588"/>
                </a:cubicBezTo>
                <a:cubicBezTo>
                  <a:pt x="112500" y="77647"/>
                  <a:pt x="108750" y="70588"/>
                  <a:pt x="108750" y="77647"/>
                </a:cubicBezTo>
                <a:cubicBezTo>
                  <a:pt x="108750" y="88235"/>
                  <a:pt x="108750" y="88235"/>
                  <a:pt x="108750" y="88235"/>
                </a:cubicBezTo>
                <a:cubicBezTo>
                  <a:pt x="108750" y="88235"/>
                  <a:pt x="105000" y="95294"/>
                  <a:pt x="103125" y="95294"/>
                </a:cubicBezTo>
                <a:cubicBezTo>
                  <a:pt x="103125" y="98823"/>
                  <a:pt x="99375" y="95294"/>
                  <a:pt x="103125" y="98823"/>
                </a:cubicBezTo>
                <a:cubicBezTo>
                  <a:pt x="103125" y="105882"/>
                  <a:pt x="103125" y="105882"/>
                  <a:pt x="97500" y="105882"/>
                </a:cubicBezTo>
                <a:cubicBezTo>
                  <a:pt x="93750" y="105882"/>
                  <a:pt x="97500" y="109411"/>
                  <a:pt x="91875" y="105882"/>
                </a:cubicBezTo>
                <a:cubicBezTo>
                  <a:pt x="86250" y="105882"/>
                  <a:pt x="86250" y="105882"/>
                  <a:pt x="82500" y="116470"/>
                </a:cubicBezTo>
                <a:cubicBezTo>
                  <a:pt x="76875" y="120000"/>
                  <a:pt x="80625" y="109411"/>
                  <a:pt x="76875" y="116470"/>
                </a:cubicBezTo>
                <a:cubicBezTo>
                  <a:pt x="71250" y="116470"/>
                  <a:pt x="75000" y="109411"/>
                  <a:pt x="65625" y="109411"/>
                </a:cubicBezTo>
                <a:cubicBezTo>
                  <a:pt x="50625" y="109411"/>
                  <a:pt x="45000" y="105882"/>
                  <a:pt x="45000" y="98823"/>
                </a:cubicBezTo>
                <a:cubicBezTo>
                  <a:pt x="45000" y="95294"/>
                  <a:pt x="45000" y="95294"/>
                  <a:pt x="43125" y="95294"/>
                </a:cubicBezTo>
                <a:cubicBezTo>
                  <a:pt x="43125" y="88235"/>
                  <a:pt x="48750" y="88235"/>
                  <a:pt x="39375" y="88235"/>
                </a:cubicBezTo>
                <a:cubicBezTo>
                  <a:pt x="33750" y="95294"/>
                  <a:pt x="33750" y="88235"/>
                  <a:pt x="31875" y="95294"/>
                </a:cubicBezTo>
                <a:cubicBezTo>
                  <a:pt x="28125" y="95294"/>
                  <a:pt x="28125" y="98823"/>
                  <a:pt x="24375" y="98823"/>
                </a:cubicBezTo>
                <a:cubicBezTo>
                  <a:pt x="22500" y="105882"/>
                  <a:pt x="22500" y="95294"/>
                  <a:pt x="18750" y="95294"/>
                </a:cubicBezTo>
                <a:cubicBezTo>
                  <a:pt x="16875" y="84705"/>
                  <a:pt x="16875" y="98823"/>
                  <a:pt x="13125" y="98823"/>
                </a:cubicBezTo>
                <a:cubicBezTo>
                  <a:pt x="7500" y="98823"/>
                  <a:pt x="13125" y="88235"/>
                  <a:pt x="5625" y="88235"/>
                </a:cubicBezTo>
                <a:cubicBezTo>
                  <a:pt x="0" y="95294"/>
                  <a:pt x="7500" y="77647"/>
                  <a:pt x="5625" y="70588"/>
                </a:cubicBezTo>
              </a:path>
            </a:pathLst>
          </a:custGeom>
          <a:solidFill>
            <a:srgbClr val="C00000"/>
          </a:solidFill>
          <a:ln w="3175" cap="flat" cmpd="sng" algn="ctr">
            <a:solidFill>
              <a:schemeClr val="tx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72" name="Shape 1932"/>
          <p:cNvSpPr/>
          <p:nvPr/>
        </p:nvSpPr>
        <p:spPr>
          <a:xfrm>
            <a:off x="5843082" y="3363406"/>
            <a:ext cx="173978" cy="95314"/>
          </a:xfrm>
          <a:custGeom>
            <a:avLst/>
            <a:gdLst/>
            <a:ahLst/>
            <a:cxnLst/>
            <a:rect l="0" t="0" r="0" b="0"/>
            <a:pathLst>
              <a:path w="120000" h="120000" extrusionOk="0">
                <a:moveTo>
                  <a:pt x="29433" y="108387"/>
                </a:moveTo>
                <a:cubicBezTo>
                  <a:pt x="38490" y="112258"/>
                  <a:pt x="29433" y="120000"/>
                  <a:pt x="38490" y="120000"/>
                </a:cubicBezTo>
                <a:cubicBezTo>
                  <a:pt x="45283" y="112258"/>
                  <a:pt x="52075" y="112258"/>
                  <a:pt x="52075" y="100645"/>
                </a:cubicBezTo>
                <a:cubicBezTo>
                  <a:pt x="52075" y="89032"/>
                  <a:pt x="54339" y="100645"/>
                  <a:pt x="58867" y="100645"/>
                </a:cubicBezTo>
                <a:cubicBezTo>
                  <a:pt x="61132" y="100645"/>
                  <a:pt x="72452" y="112258"/>
                  <a:pt x="74716" y="108387"/>
                </a:cubicBezTo>
                <a:cubicBezTo>
                  <a:pt x="81509" y="100645"/>
                  <a:pt x="86037" y="112258"/>
                  <a:pt x="88301" y="112258"/>
                </a:cubicBezTo>
                <a:cubicBezTo>
                  <a:pt x="92830" y="96774"/>
                  <a:pt x="95094" y="108387"/>
                  <a:pt x="104150" y="100645"/>
                </a:cubicBezTo>
                <a:cubicBezTo>
                  <a:pt x="113207" y="96774"/>
                  <a:pt x="104150" y="89032"/>
                  <a:pt x="120000" y="77419"/>
                </a:cubicBezTo>
                <a:cubicBezTo>
                  <a:pt x="120000" y="65806"/>
                  <a:pt x="117735" y="58064"/>
                  <a:pt x="110943" y="54193"/>
                </a:cubicBezTo>
                <a:cubicBezTo>
                  <a:pt x="104150" y="46451"/>
                  <a:pt x="106415" y="54193"/>
                  <a:pt x="99622" y="46451"/>
                </a:cubicBezTo>
                <a:cubicBezTo>
                  <a:pt x="95094" y="42580"/>
                  <a:pt x="104150" y="42580"/>
                  <a:pt x="95094" y="42580"/>
                </a:cubicBezTo>
                <a:cubicBezTo>
                  <a:pt x="88301" y="34838"/>
                  <a:pt x="81509" y="30967"/>
                  <a:pt x="86037" y="34838"/>
                </a:cubicBezTo>
                <a:cubicBezTo>
                  <a:pt x="88301" y="42580"/>
                  <a:pt x="86037" y="54193"/>
                  <a:pt x="79245" y="42580"/>
                </a:cubicBezTo>
                <a:cubicBezTo>
                  <a:pt x="67924" y="23225"/>
                  <a:pt x="79245" y="30967"/>
                  <a:pt x="79245" y="23225"/>
                </a:cubicBezTo>
                <a:cubicBezTo>
                  <a:pt x="74716" y="19354"/>
                  <a:pt x="74716" y="23225"/>
                  <a:pt x="65660" y="19354"/>
                </a:cubicBezTo>
                <a:cubicBezTo>
                  <a:pt x="52075" y="3870"/>
                  <a:pt x="58867" y="0"/>
                  <a:pt x="52075" y="11612"/>
                </a:cubicBezTo>
                <a:cubicBezTo>
                  <a:pt x="45283" y="19354"/>
                  <a:pt x="40754" y="3870"/>
                  <a:pt x="40754" y="3870"/>
                </a:cubicBezTo>
                <a:cubicBezTo>
                  <a:pt x="38490" y="3870"/>
                  <a:pt x="45283" y="11612"/>
                  <a:pt x="33962" y="19354"/>
                </a:cubicBezTo>
                <a:cubicBezTo>
                  <a:pt x="22641" y="19354"/>
                  <a:pt x="20377" y="30967"/>
                  <a:pt x="9056" y="34838"/>
                </a:cubicBezTo>
                <a:cubicBezTo>
                  <a:pt x="2264" y="42580"/>
                  <a:pt x="0" y="42580"/>
                  <a:pt x="2264" y="54193"/>
                </a:cubicBezTo>
                <a:cubicBezTo>
                  <a:pt x="9056" y="65806"/>
                  <a:pt x="0" y="73548"/>
                  <a:pt x="13584" y="77419"/>
                </a:cubicBezTo>
                <a:cubicBezTo>
                  <a:pt x="20377" y="85161"/>
                  <a:pt x="20377" y="96774"/>
                  <a:pt x="29433" y="108387"/>
                </a:cubicBezTo>
              </a:path>
            </a:pathLst>
          </a:custGeom>
          <a:solidFill>
            <a:srgbClr val="FFFFFF">
              <a:alpha val="35000"/>
            </a:srgbClr>
          </a:solidFill>
          <a:ln w="3175" cap="flat" cmpd="sng">
            <a:solidFill>
              <a:schemeClr val="accent2"/>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73" name="Shape 1933"/>
          <p:cNvSpPr/>
          <p:nvPr/>
        </p:nvSpPr>
        <p:spPr>
          <a:xfrm>
            <a:off x="6110872" y="3609642"/>
            <a:ext cx="165450" cy="111203"/>
          </a:xfrm>
          <a:custGeom>
            <a:avLst/>
            <a:gdLst/>
            <a:ahLst/>
            <a:cxnLst/>
            <a:rect l="0" t="0" r="0" b="0"/>
            <a:pathLst>
              <a:path w="120000" h="120000" extrusionOk="0">
                <a:moveTo>
                  <a:pt x="2400" y="73333"/>
                </a:moveTo>
                <a:cubicBezTo>
                  <a:pt x="2400" y="83333"/>
                  <a:pt x="9600" y="80000"/>
                  <a:pt x="9600" y="90000"/>
                </a:cubicBezTo>
                <a:cubicBezTo>
                  <a:pt x="14400" y="100000"/>
                  <a:pt x="9600" y="103333"/>
                  <a:pt x="14400" y="110000"/>
                </a:cubicBezTo>
                <a:cubicBezTo>
                  <a:pt x="16800" y="113333"/>
                  <a:pt x="14400" y="103333"/>
                  <a:pt x="24000" y="110000"/>
                </a:cubicBezTo>
                <a:cubicBezTo>
                  <a:pt x="31200" y="110000"/>
                  <a:pt x="36000" y="100000"/>
                  <a:pt x="38400" y="103333"/>
                </a:cubicBezTo>
                <a:cubicBezTo>
                  <a:pt x="43200" y="103333"/>
                  <a:pt x="38400" y="93333"/>
                  <a:pt x="45600" y="103333"/>
                </a:cubicBezTo>
                <a:cubicBezTo>
                  <a:pt x="50400" y="113333"/>
                  <a:pt x="50400" y="100000"/>
                  <a:pt x="55200" y="110000"/>
                </a:cubicBezTo>
                <a:cubicBezTo>
                  <a:pt x="57600" y="120000"/>
                  <a:pt x="62400" y="110000"/>
                  <a:pt x="69600" y="110000"/>
                </a:cubicBezTo>
                <a:cubicBezTo>
                  <a:pt x="79200" y="110000"/>
                  <a:pt x="64800" y="90000"/>
                  <a:pt x="76800" y="93333"/>
                </a:cubicBezTo>
                <a:cubicBezTo>
                  <a:pt x="76800" y="90000"/>
                  <a:pt x="79200" y="93333"/>
                  <a:pt x="84000" y="90000"/>
                </a:cubicBezTo>
                <a:cubicBezTo>
                  <a:pt x="84000" y="80000"/>
                  <a:pt x="86400" y="90000"/>
                  <a:pt x="91200" y="83333"/>
                </a:cubicBezTo>
                <a:cubicBezTo>
                  <a:pt x="93600" y="80000"/>
                  <a:pt x="98400" y="90000"/>
                  <a:pt x="100800" y="90000"/>
                </a:cubicBezTo>
                <a:cubicBezTo>
                  <a:pt x="105600" y="90000"/>
                  <a:pt x="105600" y="83333"/>
                  <a:pt x="108000" y="83333"/>
                </a:cubicBezTo>
                <a:cubicBezTo>
                  <a:pt x="108000" y="80000"/>
                  <a:pt x="100800" y="83333"/>
                  <a:pt x="105600" y="73333"/>
                </a:cubicBezTo>
                <a:cubicBezTo>
                  <a:pt x="105600" y="63333"/>
                  <a:pt x="91200" y="73333"/>
                  <a:pt x="100800" y="63333"/>
                </a:cubicBezTo>
                <a:cubicBezTo>
                  <a:pt x="112800" y="53333"/>
                  <a:pt x="100800" y="53333"/>
                  <a:pt x="108000" y="36666"/>
                </a:cubicBezTo>
                <a:cubicBezTo>
                  <a:pt x="112800" y="23333"/>
                  <a:pt x="120000" y="46666"/>
                  <a:pt x="120000" y="23333"/>
                </a:cubicBezTo>
                <a:cubicBezTo>
                  <a:pt x="117600" y="16666"/>
                  <a:pt x="112800" y="23333"/>
                  <a:pt x="108000" y="13333"/>
                </a:cubicBezTo>
                <a:cubicBezTo>
                  <a:pt x="100800" y="0"/>
                  <a:pt x="98400" y="16666"/>
                  <a:pt x="93600" y="6666"/>
                </a:cubicBezTo>
                <a:cubicBezTo>
                  <a:pt x="91200" y="0"/>
                  <a:pt x="76800" y="13333"/>
                  <a:pt x="69600" y="16666"/>
                </a:cubicBezTo>
                <a:cubicBezTo>
                  <a:pt x="57600" y="26666"/>
                  <a:pt x="50400" y="23333"/>
                  <a:pt x="45600" y="16666"/>
                </a:cubicBezTo>
                <a:cubicBezTo>
                  <a:pt x="38400" y="16666"/>
                  <a:pt x="36000" y="26666"/>
                  <a:pt x="28800" y="16666"/>
                </a:cubicBezTo>
                <a:cubicBezTo>
                  <a:pt x="16800" y="13333"/>
                  <a:pt x="16800" y="23333"/>
                  <a:pt x="9600" y="16666"/>
                </a:cubicBezTo>
                <a:cubicBezTo>
                  <a:pt x="7200" y="13333"/>
                  <a:pt x="21600" y="13333"/>
                  <a:pt x="7200" y="0"/>
                </a:cubicBezTo>
                <a:cubicBezTo>
                  <a:pt x="7200" y="13333"/>
                  <a:pt x="0" y="6666"/>
                  <a:pt x="2400" y="23333"/>
                </a:cubicBezTo>
                <a:cubicBezTo>
                  <a:pt x="7200" y="43333"/>
                  <a:pt x="16800" y="36666"/>
                  <a:pt x="9600" y="46666"/>
                </a:cubicBezTo>
                <a:cubicBezTo>
                  <a:pt x="7200" y="56666"/>
                  <a:pt x="2400" y="46666"/>
                  <a:pt x="2400" y="56666"/>
                </a:cubicBezTo>
                <a:cubicBezTo>
                  <a:pt x="2400" y="63333"/>
                  <a:pt x="9600" y="70000"/>
                  <a:pt x="2400" y="73333"/>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74" name="Shape 1934"/>
          <p:cNvSpPr/>
          <p:nvPr/>
        </p:nvSpPr>
        <p:spPr>
          <a:xfrm>
            <a:off x="6017061" y="3544509"/>
            <a:ext cx="115987" cy="147739"/>
          </a:xfrm>
          <a:custGeom>
            <a:avLst/>
            <a:gdLst/>
            <a:ahLst/>
            <a:cxnLst/>
            <a:rect l="0" t="0" r="0" b="0"/>
            <a:pathLst>
              <a:path w="120000" h="120000" extrusionOk="0">
                <a:moveTo>
                  <a:pt x="37714" y="100000"/>
                </a:moveTo>
                <a:cubicBezTo>
                  <a:pt x="41142" y="105000"/>
                  <a:pt x="37714" y="107500"/>
                  <a:pt x="41142" y="107500"/>
                </a:cubicBezTo>
                <a:cubicBezTo>
                  <a:pt x="51428" y="112500"/>
                  <a:pt x="48000" y="115000"/>
                  <a:pt x="48000" y="120000"/>
                </a:cubicBezTo>
                <a:cubicBezTo>
                  <a:pt x="58285" y="120000"/>
                  <a:pt x="48000" y="115000"/>
                  <a:pt x="58285" y="112500"/>
                </a:cubicBezTo>
                <a:cubicBezTo>
                  <a:pt x="72000" y="112500"/>
                  <a:pt x="68571" y="107500"/>
                  <a:pt x="78857" y="107500"/>
                </a:cubicBezTo>
                <a:cubicBezTo>
                  <a:pt x="89142" y="112500"/>
                  <a:pt x="89142" y="105000"/>
                  <a:pt x="99428" y="107500"/>
                </a:cubicBezTo>
                <a:cubicBezTo>
                  <a:pt x="109714" y="105000"/>
                  <a:pt x="99428" y="100000"/>
                  <a:pt x="99428" y="97500"/>
                </a:cubicBezTo>
                <a:cubicBezTo>
                  <a:pt x="99428" y="90000"/>
                  <a:pt x="106285" y="97500"/>
                  <a:pt x="109714" y="90000"/>
                </a:cubicBezTo>
                <a:cubicBezTo>
                  <a:pt x="120000" y="80000"/>
                  <a:pt x="106285" y="85000"/>
                  <a:pt x="99428" y="70000"/>
                </a:cubicBezTo>
                <a:cubicBezTo>
                  <a:pt x="96000" y="57500"/>
                  <a:pt x="106285" y="62500"/>
                  <a:pt x="106285" y="55000"/>
                </a:cubicBezTo>
                <a:cubicBezTo>
                  <a:pt x="89142" y="42500"/>
                  <a:pt x="120000" y="50000"/>
                  <a:pt x="99428" y="42500"/>
                </a:cubicBezTo>
                <a:cubicBezTo>
                  <a:pt x="96000" y="37500"/>
                  <a:pt x="99428" y="47500"/>
                  <a:pt x="89142" y="47500"/>
                </a:cubicBezTo>
                <a:cubicBezTo>
                  <a:pt x="72000" y="42500"/>
                  <a:pt x="68571" y="35000"/>
                  <a:pt x="72000" y="30000"/>
                </a:cubicBezTo>
                <a:cubicBezTo>
                  <a:pt x="78857" y="22500"/>
                  <a:pt x="51428" y="27500"/>
                  <a:pt x="51428" y="15000"/>
                </a:cubicBezTo>
                <a:cubicBezTo>
                  <a:pt x="58285" y="7500"/>
                  <a:pt x="48000" y="7500"/>
                  <a:pt x="41142" y="0"/>
                </a:cubicBezTo>
                <a:cubicBezTo>
                  <a:pt x="30857" y="0"/>
                  <a:pt x="27428" y="0"/>
                  <a:pt x="20571" y="0"/>
                </a:cubicBezTo>
                <a:cubicBezTo>
                  <a:pt x="17142" y="0"/>
                  <a:pt x="17142" y="2500"/>
                  <a:pt x="0" y="7500"/>
                </a:cubicBezTo>
                <a:cubicBezTo>
                  <a:pt x="6857" y="12500"/>
                  <a:pt x="6857" y="20000"/>
                  <a:pt x="6857" y="22500"/>
                </a:cubicBezTo>
                <a:cubicBezTo>
                  <a:pt x="17142" y="27500"/>
                  <a:pt x="20571" y="22500"/>
                  <a:pt x="17142" y="27500"/>
                </a:cubicBezTo>
                <a:cubicBezTo>
                  <a:pt x="17142" y="30000"/>
                  <a:pt x="10285" y="27500"/>
                  <a:pt x="6857" y="35000"/>
                </a:cubicBezTo>
                <a:cubicBezTo>
                  <a:pt x="20571" y="35000"/>
                  <a:pt x="17142" y="35000"/>
                  <a:pt x="10285" y="47500"/>
                </a:cubicBezTo>
                <a:cubicBezTo>
                  <a:pt x="6857" y="55000"/>
                  <a:pt x="27428" y="57500"/>
                  <a:pt x="20571" y="62500"/>
                </a:cubicBezTo>
                <a:cubicBezTo>
                  <a:pt x="17142" y="65000"/>
                  <a:pt x="17142" y="57500"/>
                  <a:pt x="10285" y="62500"/>
                </a:cubicBezTo>
                <a:cubicBezTo>
                  <a:pt x="10285" y="62500"/>
                  <a:pt x="20571" y="70000"/>
                  <a:pt x="20571" y="72500"/>
                </a:cubicBezTo>
                <a:cubicBezTo>
                  <a:pt x="17142" y="72500"/>
                  <a:pt x="17142" y="70000"/>
                  <a:pt x="10285" y="72500"/>
                </a:cubicBezTo>
                <a:cubicBezTo>
                  <a:pt x="20571" y="85000"/>
                  <a:pt x="41142" y="90000"/>
                  <a:pt x="41142" y="92500"/>
                </a:cubicBezTo>
                <a:cubicBezTo>
                  <a:pt x="41142" y="97500"/>
                  <a:pt x="27428" y="97500"/>
                  <a:pt x="30857" y="97500"/>
                </a:cubicBezTo>
                <a:cubicBezTo>
                  <a:pt x="37714" y="100000"/>
                  <a:pt x="30857" y="100000"/>
                  <a:pt x="37714" y="10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75" name="Shape 1935"/>
          <p:cNvSpPr/>
          <p:nvPr/>
        </p:nvSpPr>
        <p:spPr>
          <a:xfrm>
            <a:off x="6061410" y="3674775"/>
            <a:ext cx="68225" cy="55599"/>
          </a:xfrm>
          <a:custGeom>
            <a:avLst/>
            <a:gdLst/>
            <a:ahLst/>
            <a:cxnLst/>
            <a:rect l="0" t="0" r="0" b="0"/>
            <a:pathLst>
              <a:path w="120000" h="120000" extrusionOk="0">
                <a:moveTo>
                  <a:pt x="5714" y="40000"/>
                </a:moveTo>
                <a:cubicBezTo>
                  <a:pt x="5714" y="60000"/>
                  <a:pt x="5714" y="60000"/>
                  <a:pt x="5714" y="60000"/>
                </a:cubicBezTo>
                <a:cubicBezTo>
                  <a:pt x="0" y="73333"/>
                  <a:pt x="5714" y="73333"/>
                  <a:pt x="5714" y="80000"/>
                </a:cubicBezTo>
                <a:cubicBezTo>
                  <a:pt x="5714" y="93333"/>
                  <a:pt x="17142" y="113333"/>
                  <a:pt x="22857" y="113333"/>
                </a:cubicBezTo>
                <a:cubicBezTo>
                  <a:pt x="22857" y="100000"/>
                  <a:pt x="22857" y="113333"/>
                  <a:pt x="22857" y="120000"/>
                </a:cubicBezTo>
                <a:cubicBezTo>
                  <a:pt x="91428" y="113333"/>
                  <a:pt x="57142" y="80000"/>
                  <a:pt x="85714" y="93333"/>
                </a:cubicBezTo>
                <a:cubicBezTo>
                  <a:pt x="108571" y="113333"/>
                  <a:pt x="102857" y="80000"/>
                  <a:pt x="120000" y="80000"/>
                </a:cubicBezTo>
                <a:cubicBezTo>
                  <a:pt x="108571" y="73333"/>
                  <a:pt x="120000" y="60000"/>
                  <a:pt x="108571" y="40000"/>
                </a:cubicBezTo>
                <a:cubicBezTo>
                  <a:pt x="108571" y="20000"/>
                  <a:pt x="91428" y="33333"/>
                  <a:pt x="91428" y="13333"/>
                </a:cubicBezTo>
                <a:cubicBezTo>
                  <a:pt x="74285" y="0"/>
                  <a:pt x="74285" y="20000"/>
                  <a:pt x="57142" y="13333"/>
                </a:cubicBezTo>
                <a:cubicBezTo>
                  <a:pt x="40000" y="13333"/>
                  <a:pt x="51428" y="20000"/>
                  <a:pt x="22857" y="20000"/>
                </a:cubicBezTo>
                <a:cubicBezTo>
                  <a:pt x="5714" y="33333"/>
                  <a:pt x="22857" y="40000"/>
                  <a:pt x="5714" y="4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76" name="Shape 1936"/>
          <p:cNvSpPr/>
          <p:nvPr/>
        </p:nvSpPr>
        <p:spPr>
          <a:xfrm>
            <a:off x="6030708" y="3658890"/>
            <a:ext cx="46054" cy="111203"/>
          </a:xfrm>
          <a:custGeom>
            <a:avLst/>
            <a:gdLst/>
            <a:ahLst/>
            <a:cxnLst/>
            <a:rect l="0" t="0" r="0" b="0"/>
            <a:pathLst>
              <a:path w="120000" h="120000" extrusionOk="0">
                <a:moveTo>
                  <a:pt x="8571" y="36666"/>
                </a:moveTo>
                <a:cubicBezTo>
                  <a:pt x="34285" y="36666"/>
                  <a:pt x="8571" y="70000"/>
                  <a:pt x="8571" y="70000"/>
                </a:cubicBezTo>
                <a:cubicBezTo>
                  <a:pt x="25714" y="73333"/>
                  <a:pt x="0" y="73333"/>
                  <a:pt x="8571" y="90000"/>
                </a:cubicBezTo>
                <a:cubicBezTo>
                  <a:pt x="25714" y="100000"/>
                  <a:pt x="0" y="90000"/>
                  <a:pt x="25714" y="100000"/>
                </a:cubicBezTo>
                <a:cubicBezTo>
                  <a:pt x="59999" y="110000"/>
                  <a:pt x="34285" y="113333"/>
                  <a:pt x="59999" y="120000"/>
                </a:cubicBezTo>
                <a:cubicBezTo>
                  <a:pt x="59999" y="120000"/>
                  <a:pt x="68571" y="120000"/>
                  <a:pt x="68571" y="113333"/>
                </a:cubicBezTo>
                <a:cubicBezTo>
                  <a:pt x="68571" y="110000"/>
                  <a:pt x="68571" y="110000"/>
                  <a:pt x="68571" y="110000"/>
                </a:cubicBezTo>
                <a:cubicBezTo>
                  <a:pt x="68571" y="103333"/>
                  <a:pt x="94285" y="110000"/>
                  <a:pt x="94285" y="100000"/>
                </a:cubicBezTo>
                <a:cubicBezTo>
                  <a:pt x="94285" y="83333"/>
                  <a:pt x="111428" y="93333"/>
                  <a:pt x="119999" y="90000"/>
                </a:cubicBezTo>
                <a:cubicBezTo>
                  <a:pt x="119999" y="80000"/>
                  <a:pt x="111428" y="80000"/>
                  <a:pt x="111428" y="80000"/>
                </a:cubicBezTo>
                <a:cubicBezTo>
                  <a:pt x="111428" y="73333"/>
                  <a:pt x="111428" y="70000"/>
                  <a:pt x="111428" y="73333"/>
                </a:cubicBezTo>
                <a:cubicBezTo>
                  <a:pt x="94285" y="73333"/>
                  <a:pt x="85714" y="63333"/>
                  <a:pt x="85714" y="56666"/>
                </a:cubicBezTo>
                <a:cubicBezTo>
                  <a:pt x="85714" y="53333"/>
                  <a:pt x="68571" y="53333"/>
                  <a:pt x="85714" y="46666"/>
                </a:cubicBezTo>
                <a:cubicBezTo>
                  <a:pt x="85714" y="46666"/>
                  <a:pt x="85714" y="46666"/>
                  <a:pt x="85714" y="36666"/>
                </a:cubicBezTo>
                <a:cubicBezTo>
                  <a:pt x="85714" y="33333"/>
                  <a:pt x="94285" y="26666"/>
                  <a:pt x="68571" y="23333"/>
                </a:cubicBezTo>
                <a:cubicBezTo>
                  <a:pt x="59999" y="23333"/>
                  <a:pt x="68571" y="16666"/>
                  <a:pt x="59999" y="13333"/>
                </a:cubicBezTo>
                <a:cubicBezTo>
                  <a:pt x="34285" y="16666"/>
                  <a:pt x="34285" y="16666"/>
                  <a:pt x="34285" y="13333"/>
                </a:cubicBezTo>
                <a:cubicBezTo>
                  <a:pt x="34285" y="0"/>
                  <a:pt x="25714" y="16666"/>
                  <a:pt x="8571" y="23333"/>
                </a:cubicBezTo>
                <a:cubicBezTo>
                  <a:pt x="0" y="33333"/>
                  <a:pt x="25714" y="26666"/>
                  <a:pt x="8571" y="36666"/>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77" name="Shape 1937"/>
          <p:cNvSpPr/>
          <p:nvPr/>
        </p:nvSpPr>
        <p:spPr>
          <a:xfrm>
            <a:off x="5948835" y="3452372"/>
            <a:ext cx="175684" cy="104845"/>
          </a:xfrm>
          <a:custGeom>
            <a:avLst/>
            <a:gdLst/>
            <a:ahLst/>
            <a:cxnLst/>
            <a:rect l="0" t="0" r="0" b="0"/>
            <a:pathLst>
              <a:path w="120000" h="120000" extrusionOk="0">
                <a:moveTo>
                  <a:pt x="47547" y="116470"/>
                </a:moveTo>
                <a:cubicBezTo>
                  <a:pt x="58867" y="109411"/>
                  <a:pt x="58867" y="105882"/>
                  <a:pt x="61132" y="105882"/>
                </a:cubicBezTo>
                <a:cubicBezTo>
                  <a:pt x="65660" y="105882"/>
                  <a:pt x="67924" y="105882"/>
                  <a:pt x="74716" y="105882"/>
                </a:cubicBezTo>
                <a:cubicBezTo>
                  <a:pt x="74716" y="105882"/>
                  <a:pt x="79245" y="105882"/>
                  <a:pt x="81509" y="105882"/>
                </a:cubicBezTo>
                <a:cubicBezTo>
                  <a:pt x="86037" y="98823"/>
                  <a:pt x="81509" y="98823"/>
                  <a:pt x="81509" y="98823"/>
                </a:cubicBezTo>
                <a:cubicBezTo>
                  <a:pt x="86037" y="98823"/>
                  <a:pt x="86037" y="98823"/>
                  <a:pt x="88301" y="98823"/>
                </a:cubicBezTo>
                <a:cubicBezTo>
                  <a:pt x="88301" y="98823"/>
                  <a:pt x="97358" y="84705"/>
                  <a:pt x="99622" y="77647"/>
                </a:cubicBezTo>
                <a:cubicBezTo>
                  <a:pt x="99622" y="67058"/>
                  <a:pt x="97358" y="67058"/>
                  <a:pt x="104150" y="60000"/>
                </a:cubicBezTo>
                <a:cubicBezTo>
                  <a:pt x="110943" y="49411"/>
                  <a:pt x="106415" y="49411"/>
                  <a:pt x="110943" y="38823"/>
                </a:cubicBezTo>
                <a:cubicBezTo>
                  <a:pt x="113207" y="35294"/>
                  <a:pt x="113207" y="45882"/>
                  <a:pt x="120000" y="28235"/>
                </a:cubicBezTo>
                <a:cubicBezTo>
                  <a:pt x="120000" y="28235"/>
                  <a:pt x="120000" y="28235"/>
                  <a:pt x="120000" y="28235"/>
                </a:cubicBezTo>
                <a:cubicBezTo>
                  <a:pt x="120000" y="28235"/>
                  <a:pt x="120000" y="24705"/>
                  <a:pt x="117735" y="24705"/>
                </a:cubicBezTo>
                <a:cubicBezTo>
                  <a:pt x="113207" y="28235"/>
                  <a:pt x="117735" y="17647"/>
                  <a:pt x="106415" y="14117"/>
                </a:cubicBezTo>
                <a:cubicBezTo>
                  <a:pt x="106415" y="14117"/>
                  <a:pt x="99622" y="17647"/>
                  <a:pt x="99622" y="14117"/>
                </a:cubicBezTo>
                <a:cubicBezTo>
                  <a:pt x="99622" y="14117"/>
                  <a:pt x="97358" y="0"/>
                  <a:pt x="92830" y="7058"/>
                </a:cubicBezTo>
                <a:cubicBezTo>
                  <a:pt x="88301" y="14117"/>
                  <a:pt x="86037" y="7058"/>
                  <a:pt x="81509" y="7058"/>
                </a:cubicBezTo>
                <a:cubicBezTo>
                  <a:pt x="74716" y="7058"/>
                  <a:pt x="79245" y="17647"/>
                  <a:pt x="74716" y="17647"/>
                </a:cubicBezTo>
                <a:cubicBezTo>
                  <a:pt x="74716" y="17647"/>
                  <a:pt x="72452" y="24705"/>
                  <a:pt x="67924" y="24705"/>
                </a:cubicBezTo>
                <a:cubicBezTo>
                  <a:pt x="65660" y="24705"/>
                  <a:pt x="61132" y="14117"/>
                  <a:pt x="61132" y="24705"/>
                </a:cubicBezTo>
                <a:cubicBezTo>
                  <a:pt x="58867" y="28235"/>
                  <a:pt x="54339" y="24705"/>
                  <a:pt x="47547" y="28235"/>
                </a:cubicBezTo>
                <a:cubicBezTo>
                  <a:pt x="45283" y="28235"/>
                  <a:pt x="47547" y="35294"/>
                  <a:pt x="47547" y="35294"/>
                </a:cubicBezTo>
                <a:cubicBezTo>
                  <a:pt x="47547" y="38823"/>
                  <a:pt x="45283" y="38823"/>
                  <a:pt x="33962" y="38823"/>
                </a:cubicBezTo>
                <a:cubicBezTo>
                  <a:pt x="27169" y="45882"/>
                  <a:pt x="24905" y="28235"/>
                  <a:pt x="18113" y="28235"/>
                </a:cubicBezTo>
                <a:cubicBezTo>
                  <a:pt x="18113" y="35294"/>
                  <a:pt x="20377" y="38823"/>
                  <a:pt x="18113" y="38823"/>
                </a:cubicBezTo>
                <a:cubicBezTo>
                  <a:pt x="13584" y="38823"/>
                  <a:pt x="6792" y="38823"/>
                  <a:pt x="6792" y="38823"/>
                </a:cubicBezTo>
                <a:cubicBezTo>
                  <a:pt x="6792" y="45882"/>
                  <a:pt x="11320" y="45882"/>
                  <a:pt x="11320" y="49411"/>
                </a:cubicBezTo>
                <a:cubicBezTo>
                  <a:pt x="11320" y="56470"/>
                  <a:pt x="6792" y="49411"/>
                  <a:pt x="6792" y="56470"/>
                </a:cubicBezTo>
                <a:cubicBezTo>
                  <a:pt x="6792" y="67058"/>
                  <a:pt x="6792" y="67058"/>
                  <a:pt x="6792" y="67058"/>
                </a:cubicBezTo>
                <a:cubicBezTo>
                  <a:pt x="6792" y="67058"/>
                  <a:pt x="4528" y="70588"/>
                  <a:pt x="0" y="70588"/>
                </a:cubicBezTo>
                <a:cubicBezTo>
                  <a:pt x="6792" y="77647"/>
                  <a:pt x="4528" y="88235"/>
                  <a:pt x="6792" y="88235"/>
                </a:cubicBezTo>
                <a:cubicBezTo>
                  <a:pt x="24905" y="105882"/>
                  <a:pt x="20377" y="109411"/>
                  <a:pt x="24905" y="109411"/>
                </a:cubicBezTo>
                <a:cubicBezTo>
                  <a:pt x="27169" y="109411"/>
                  <a:pt x="33962" y="120000"/>
                  <a:pt x="40754" y="120000"/>
                </a:cubicBezTo>
                <a:cubicBezTo>
                  <a:pt x="45283" y="120000"/>
                  <a:pt x="45283" y="109411"/>
                  <a:pt x="47547" y="116470"/>
                </a:cubicBezTo>
              </a:path>
            </a:pathLst>
          </a:custGeom>
          <a:solidFill>
            <a:schemeClr val="accent2"/>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78" name="Shape 1938"/>
          <p:cNvSpPr/>
          <p:nvPr/>
        </p:nvSpPr>
        <p:spPr>
          <a:xfrm>
            <a:off x="5964185" y="3412655"/>
            <a:ext cx="156922" cy="76252"/>
          </a:xfrm>
          <a:custGeom>
            <a:avLst/>
            <a:gdLst/>
            <a:ahLst/>
            <a:cxnLst/>
            <a:rect l="0" t="0" r="0" b="0"/>
            <a:pathLst>
              <a:path w="120000" h="120000" extrusionOk="0">
                <a:moveTo>
                  <a:pt x="114893" y="38400"/>
                </a:moveTo>
                <a:cubicBezTo>
                  <a:pt x="104680" y="33600"/>
                  <a:pt x="107234" y="24000"/>
                  <a:pt x="104680" y="24000"/>
                </a:cubicBezTo>
                <a:cubicBezTo>
                  <a:pt x="91914" y="19200"/>
                  <a:pt x="79148" y="19200"/>
                  <a:pt x="76595" y="19200"/>
                </a:cubicBezTo>
                <a:cubicBezTo>
                  <a:pt x="68936" y="19200"/>
                  <a:pt x="68936" y="38400"/>
                  <a:pt x="63829" y="33600"/>
                </a:cubicBezTo>
                <a:cubicBezTo>
                  <a:pt x="63829" y="33600"/>
                  <a:pt x="61276" y="33600"/>
                  <a:pt x="61276" y="24000"/>
                </a:cubicBezTo>
                <a:cubicBezTo>
                  <a:pt x="63829" y="9600"/>
                  <a:pt x="53617" y="0"/>
                  <a:pt x="48510" y="19200"/>
                </a:cubicBezTo>
                <a:cubicBezTo>
                  <a:pt x="48510" y="24000"/>
                  <a:pt x="45957" y="24000"/>
                  <a:pt x="45957" y="19200"/>
                </a:cubicBezTo>
                <a:cubicBezTo>
                  <a:pt x="45957" y="19200"/>
                  <a:pt x="45957" y="19200"/>
                  <a:pt x="40851" y="19200"/>
                </a:cubicBezTo>
                <a:cubicBezTo>
                  <a:pt x="22978" y="33600"/>
                  <a:pt x="33191" y="38400"/>
                  <a:pt x="22978" y="48000"/>
                </a:cubicBezTo>
                <a:cubicBezTo>
                  <a:pt x="15319" y="52800"/>
                  <a:pt x="10212" y="38400"/>
                  <a:pt x="7659" y="62400"/>
                </a:cubicBezTo>
                <a:cubicBezTo>
                  <a:pt x="2553" y="76800"/>
                  <a:pt x="0" y="76800"/>
                  <a:pt x="7659" y="100800"/>
                </a:cubicBezTo>
                <a:cubicBezTo>
                  <a:pt x="15319" y="100800"/>
                  <a:pt x="17872" y="120000"/>
                  <a:pt x="25531" y="115200"/>
                </a:cubicBezTo>
                <a:cubicBezTo>
                  <a:pt x="38297" y="115200"/>
                  <a:pt x="40851" y="115200"/>
                  <a:pt x="40851" y="105600"/>
                </a:cubicBezTo>
                <a:cubicBezTo>
                  <a:pt x="40851" y="105600"/>
                  <a:pt x="38297" y="100800"/>
                  <a:pt x="40851" y="100800"/>
                </a:cubicBezTo>
                <a:cubicBezTo>
                  <a:pt x="48510" y="91200"/>
                  <a:pt x="53617" y="100800"/>
                  <a:pt x="56170" y="91200"/>
                </a:cubicBezTo>
                <a:cubicBezTo>
                  <a:pt x="56170" y="76800"/>
                  <a:pt x="61276" y="91200"/>
                  <a:pt x="63829" y="91200"/>
                </a:cubicBezTo>
                <a:cubicBezTo>
                  <a:pt x="68936" y="91200"/>
                  <a:pt x="71489" y="86400"/>
                  <a:pt x="71489" y="86400"/>
                </a:cubicBezTo>
                <a:cubicBezTo>
                  <a:pt x="76595" y="86400"/>
                  <a:pt x="71489" y="67200"/>
                  <a:pt x="79148" y="67200"/>
                </a:cubicBezTo>
                <a:cubicBezTo>
                  <a:pt x="84255" y="67200"/>
                  <a:pt x="86808" y="76800"/>
                  <a:pt x="91914" y="67200"/>
                </a:cubicBezTo>
                <a:cubicBezTo>
                  <a:pt x="97021" y="62400"/>
                  <a:pt x="99574" y="76800"/>
                  <a:pt x="99574" y="76800"/>
                </a:cubicBezTo>
                <a:cubicBezTo>
                  <a:pt x="99574" y="86400"/>
                  <a:pt x="107234" y="76800"/>
                  <a:pt x="107234" y="76800"/>
                </a:cubicBezTo>
                <a:cubicBezTo>
                  <a:pt x="112340" y="52800"/>
                  <a:pt x="114893" y="62400"/>
                  <a:pt x="114893" y="52800"/>
                </a:cubicBezTo>
                <a:cubicBezTo>
                  <a:pt x="114893" y="48000"/>
                  <a:pt x="120000" y="48000"/>
                  <a:pt x="114893" y="38400"/>
                </a:cubicBezTo>
              </a:path>
            </a:pathLst>
          </a:custGeom>
          <a:solidFill>
            <a:schemeClr val="accent2"/>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79" name="Shape 1939"/>
          <p:cNvSpPr/>
          <p:nvPr/>
        </p:nvSpPr>
        <p:spPr>
          <a:xfrm>
            <a:off x="5878903" y="3514326"/>
            <a:ext cx="80165" cy="58779"/>
          </a:xfrm>
          <a:custGeom>
            <a:avLst/>
            <a:gdLst/>
            <a:ahLst/>
            <a:cxnLst/>
            <a:rect l="0" t="0" r="0" b="0"/>
            <a:pathLst>
              <a:path w="120000" h="120000" extrusionOk="0">
                <a:moveTo>
                  <a:pt x="105000" y="0"/>
                </a:moveTo>
                <a:cubicBezTo>
                  <a:pt x="120000" y="12631"/>
                  <a:pt x="115000" y="31578"/>
                  <a:pt x="120000" y="31578"/>
                </a:cubicBezTo>
                <a:cubicBezTo>
                  <a:pt x="115000" y="31578"/>
                  <a:pt x="115000" y="31578"/>
                  <a:pt x="115000" y="31578"/>
                </a:cubicBezTo>
                <a:cubicBezTo>
                  <a:pt x="105000" y="31578"/>
                  <a:pt x="115000" y="44210"/>
                  <a:pt x="115000" y="44210"/>
                </a:cubicBezTo>
                <a:cubicBezTo>
                  <a:pt x="105000" y="50526"/>
                  <a:pt x="90000" y="50526"/>
                  <a:pt x="85000" y="63157"/>
                </a:cubicBezTo>
                <a:cubicBezTo>
                  <a:pt x="85000" y="63157"/>
                  <a:pt x="90000" y="69473"/>
                  <a:pt x="90000" y="82105"/>
                </a:cubicBezTo>
                <a:cubicBezTo>
                  <a:pt x="90000" y="88421"/>
                  <a:pt x="75000" y="88421"/>
                  <a:pt x="75000" y="107368"/>
                </a:cubicBezTo>
                <a:cubicBezTo>
                  <a:pt x="75000" y="120000"/>
                  <a:pt x="65000" y="107368"/>
                  <a:pt x="60000" y="107368"/>
                </a:cubicBezTo>
                <a:cubicBezTo>
                  <a:pt x="50000" y="101052"/>
                  <a:pt x="60000" y="120000"/>
                  <a:pt x="45000" y="101052"/>
                </a:cubicBezTo>
                <a:cubicBezTo>
                  <a:pt x="35000" y="88421"/>
                  <a:pt x="50000" y="107368"/>
                  <a:pt x="5000" y="107368"/>
                </a:cubicBezTo>
                <a:cubicBezTo>
                  <a:pt x="5000" y="101052"/>
                  <a:pt x="5000" y="107368"/>
                  <a:pt x="5000" y="101052"/>
                </a:cubicBezTo>
                <a:cubicBezTo>
                  <a:pt x="20000" y="101052"/>
                  <a:pt x="15000" y="88421"/>
                  <a:pt x="5000" y="82105"/>
                </a:cubicBezTo>
                <a:cubicBezTo>
                  <a:pt x="0" y="82105"/>
                  <a:pt x="0" y="69473"/>
                  <a:pt x="5000" y="63157"/>
                </a:cubicBezTo>
                <a:cubicBezTo>
                  <a:pt x="15000" y="50526"/>
                  <a:pt x="0" y="63157"/>
                  <a:pt x="0" y="50526"/>
                </a:cubicBezTo>
                <a:cubicBezTo>
                  <a:pt x="0" y="44210"/>
                  <a:pt x="5000" y="44210"/>
                  <a:pt x="5000" y="31578"/>
                </a:cubicBezTo>
                <a:cubicBezTo>
                  <a:pt x="30000" y="31578"/>
                  <a:pt x="20000" y="44210"/>
                  <a:pt x="35000" y="44210"/>
                </a:cubicBezTo>
                <a:cubicBezTo>
                  <a:pt x="45000" y="31578"/>
                  <a:pt x="35000" y="50526"/>
                  <a:pt x="50000" y="44210"/>
                </a:cubicBezTo>
                <a:cubicBezTo>
                  <a:pt x="60000" y="18947"/>
                  <a:pt x="60000" y="18947"/>
                  <a:pt x="75000" y="18947"/>
                </a:cubicBezTo>
                <a:cubicBezTo>
                  <a:pt x="90000" y="31578"/>
                  <a:pt x="85000" y="18947"/>
                  <a:pt x="90000" y="18947"/>
                </a:cubicBezTo>
                <a:cubicBezTo>
                  <a:pt x="105000" y="18947"/>
                  <a:pt x="105000" y="18947"/>
                  <a:pt x="105000" y="12631"/>
                </a:cubicBezTo>
                <a:cubicBezTo>
                  <a:pt x="100000" y="0"/>
                  <a:pt x="105000" y="12631"/>
                  <a:pt x="105000" y="0"/>
                </a:cubicBezTo>
              </a:path>
            </a:pathLst>
          </a:custGeom>
          <a:solidFill>
            <a:srgbClr val="FFFFFF">
              <a:alpha val="35000"/>
            </a:srgbClr>
          </a:solidFill>
          <a:ln w="3175" cap="flat" cmpd="sng">
            <a:solidFill>
              <a:schemeClr val="accent2"/>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80" name="Shape 1940"/>
          <p:cNvSpPr/>
          <p:nvPr/>
        </p:nvSpPr>
        <p:spPr>
          <a:xfrm>
            <a:off x="5878902" y="3528622"/>
            <a:ext cx="162039" cy="149328"/>
          </a:xfrm>
          <a:custGeom>
            <a:avLst/>
            <a:gdLst/>
            <a:ahLst/>
            <a:cxnLst/>
            <a:rect l="0" t="0" r="0" b="0"/>
            <a:pathLst>
              <a:path w="120000" h="120000" extrusionOk="0">
                <a:moveTo>
                  <a:pt x="107755" y="47500"/>
                </a:moveTo>
                <a:cubicBezTo>
                  <a:pt x="100408" y="52500"/>
                  <a:pt x="102857" y="40000"/>
                  <a:pt x="100408" y="42500"/>
                </a:cubicBezTo>
                <a:cubicBezTo>
                  <a:pt x="95510" y="42500"/>
                  <a:pt x="93061" y="40000"/>
                  <a:pt x="88163" y="42500"/>
                </a:cubicBezTo>
                <a:cubicBezTo>
                  <a:pt x="80816" y="47500"/>
                  <a:pt x="78367" y="40000"/>
                  <a:pt x="73469" y="40000"/>
                </a:cubicBezTo>
                <a:cubicBezTo>
                  <a:pt x="71020" y="42500"/>
                  <a:pt x="63673" y="35000"/>
                  <a:pt x="58775" y="40000"/>
                </a:cubicBezTo>
                <a:cubicBezTo>
                  <a:pt x="56326" y="42500"/>
                  <a:pt x="56326" y="47500"/>
                  <a:pt x="51428" y="42500"/>
                </a:cubicBezTo>
                <a:cubicBezTo>
                  <a:pt x="44081" y="32500"/>
                  <a:pt x="41632" y="52500"/>
                  <a:pt x="48979" y="52500"/>
                </a:cubicBezTo>
                <a:cubicBezTo>
                  <a:pt x="51428" y="55000"/>
                  <a:pt x="51428" y="60000"/>
                  <a:pt x="51428" y="62500"/>
                </a:cubicBezTo>
                <a:cubicBezTo>
                  <a:pt x="56326" y="62500"/>
                  <a:pt x="48979" y="67500"/>
                  <a:pt x="51428" y="67500"/>
                </a:cubicBezTo>
                <a:cubicBezTo>
                  <a:pt x="56326" y="67500"/>
                  <a:pt x="66122" y="87500"/>
                  <a:pt x="71020" y="87500"/>
                </a:cubicBezTo>
                <a:cubicBezTo>
                  <a:pt x="73469" y="90000"/>
                  <a:pt x="71020" y="95000"/>
                  <a:pt x="78367" y="95000"/>
                </a:cubicBezTo>
                <a:cubicBezTo>
                  <a:pt x="80816" y="97500"/>
                  <a:pt x="80816" y="102500"/>
                  <a:pt x="80816" y="102500"/>
                </a:cubicBezTo>
                <a:cubicBezTo>
                  <a:pt x="80816" y="105000"/>
                  <a:pt x="85714" y="102500"/>
                  <a:pt x="85714" y="105000"/>
                </a:cubicBezTo>
                <a:cubicBezTo>
                  <a:pt x="88163" y="110000"/>
                  <a:pt x="93061" y="112500"/>
                  <a:pt x="95510" y="112500"/>
                </a:cubicBezTo>
                <a:cubicBezTo>
                  <a:pt x="95510" y="117500"/>
                  <a:pt x="107755" y="117500"/>
                  <a:pt x="102857" y="120000"/>
                </a:cubicBezTo>
                <a:cubicBezTo>
                  <a:pt x="100408" y="117500"/>
                  <a:pt x="100408" y="117500"/>
                  <a:pt x="95510" y="117500"/>
                </a:cubicBezTo>
                <a:cubicBezTo>
                  <a:pt x="93061" y="120000"/>
                  <a:pt x="95510" y="112500"/>
                  <a:pt x="80816" y="110000"/>
                </a:cubicBezTo>
                <a:cubicBezTo>
                  <a:pt x="66122" y="102500"/>
                  <a:pt x="66122" y="97500"/>
                  <a:pt x="78367" y="102500"/>
                </a:cubicBezTo>
                <a:cubicBezTo>
                  <a:pt x="71020" y="95000"/>
                  <a:pt x="63673" y="87500"/>
                  <a:pt x="56326" y="87500"/>
                </a:cubicBezTo>
                <a:cubicBezTo>
                  <a:pt x="44081" y="90000"/>
                  <a:pt x="56326" y="87500"/>
                  <a:pt x="41632" y="75000"/>
                </a:cubicBezTo>
                <a:cubicBezTo>
                  <a:pt x="24489" y="62500"/>
                  <a:pt x="41632" y="70000"/>
                  <a:pt x="31836" y="60000"/>
                </a:cubicBezTo>
                <a:cubicBezTo>
                  <a:pt x="22040" y="52500"/>
                  <a:pt x="31836" y="47500"/>
                  <a:pt x="22040" y="35000"/>
                </a:cubicBezTo>
                <a:cubicBezTo>
                  <a:pt x="14693" y="32500"/>
                  <a:pt x="14693" y="42500"/>
                  <a:pt x="9795" y="52500"/>
                </a:cubicBezTo>
                <a:cubicBezTo>
                  <a:pt x="9795" y="60000"/>
                  <a:pt x="0" y="35000"/>
                  <a:pt x="2448" y="32500"/>
                </a:cubicBezTo>
                <a:cubicBezTo>
                  <a:pt x="2448" y="32500"/>
                  <a:pt x="2448" y="32500"/>
                  <a:pt x="2448" y="32500"/>
                </a:cubicBezTo>
                <a:cubicBezTo>
                  <a:pt x="24489" y="32500"/>
                  <a:pt x="17142" y="25000"/>
                  <a:pt x="22040" y="27500"/>
                </a:cubicBezTo>
                <a:cubicBezTo>
                  <a:pt x="29387" y="35000"/>
                  <a:pt x="24489" y="27500"/>
                  <a:pt x="29387" y="32500"/>
                </a:cubicBezTo>
                <a:cubicBezTo>
                  <a:pt x="31836" y="32500"/>
                  <a:pt x="36734" y="35000"/>
                  <a:pt x="36734" y="32500"/>
                </a:cubicBezTo>
                <a:cubicBezTo>
                  <a:pt x="36734" y="25000"/>
                  <a:pt x="44081" y="25000"/>
                  <a:pt x="44081" y="20000"/>
                </a:cubicBezTo>
                <a:cubicBezTo>
                  <a:pt x="44081" y="17500"/>
                  <a:pt x="41632" y="12500"/>
                  <a:pt x="41632" y="12500"/>
                </a:cubicBezTo>
                <a:cubicBezTo>
                  <a:pt x="44081" y="10000"/>
                  <a:pt x="51428" y="10000"/>
                  <a:pt x="56326" y="5000"/>
                </a:cubicBezTo>
                <a:cubicBezTo>
                  <a:pt x="56326" y="5000"/>
                  <a:pt x="51428" y="0"/>
                  <a:pt x="56326" y="0"/>
                </a:cubicBezTo>
                <a:cubicBezTo>
                  <a:pt x="58775" y="0"/>
                  <a:pt x="58775" y="0"/>
                  <a:pt x="58775" y="0"/>
                </a:cubicBezTo>
                <a:cubicBezTo>
                  <a:pt x="78367" y="12500"/>
                  <a:pt x="73469" y="17500"/>
                  <a:pt x="78367" y="17500"/>
                </a:cubicBezTo>
                <a:cubicBezTo>
                  <a:pt x="80816" y="17500"/>
                  <a:pt x="88163" y="25000"/>
                  <a:pt x="95510" y="25000"/>
                </a:cubicBezTo>
                <a:cubicBezTo>
                  <a:pt x="100408" y="25000"/>
                  <a:pt x="100408" y="17500"/>
                  <a:pt x="102857" y="20000"/>
                </a:cubicBezTo>
                <a:cubicBezTo>
                  <a:pt x="107755" y="25000"/>
                  <a:pt x="107755" y="32500"/>
                  <a:pt x="107755" y="35000"/>
                </a:cubicBezTo>
                <a:cubicBezTo>
                  <a:pt x="115102" y="40000"/>
                  <a:pt x="119999" y="35000"/>
                  <a:pt x="115102" y="40000"/>
                </a:cubicBezTo>
                <a:cubicBezTo>
                  <a:pt x="115102" y="42500"/>
                  <a:pt x="112653" y="40000"/>
                  <a:pt x="107755" y="475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81" name="Shape 1941"/>
          <p:cNvSpPr/>
          <p:nvPr/>
        </p:nvSpPr>
        <p:spPr>
          <a:xfrm>
            <a:off x="5931778" y="3566748"/>
            <a:ext cx="112573" cy="101670"/>
          </a:xfrm>
          <a:custGeom>
            <a:avLst/>
            <a:gdLst/>
            <a:ahLst/>
            <a:cxnLst/>
            <a:rect l="0" t="0" r="0" b="0"/>
            <a:pathLst>
              <a:path w="120000" h="120000" extrusionOk="0">
                <a:moveTo>
                  <a:pt x="102352" y="80000"/>
                </a:moveTo>
                <a:cubicBezTo>
                  <a:pt x="109411" y="76363"/>
                  <a:pt x="109411" y="80000"/>
                  <a:pt x="116470" y="80000"/>
                </a:cubicBezTo>
                <a:cubicBezTo>
                  <a:pt x="116470" y="76363"/>
                  <a:pt x="102352" y="65454"/>
                  <a:pt x="102352" y="65454"/>
                </a:cubicBezTo>
                <a:cubicBezTo>
                  <a:pt x="109411" y="58181"/>
                  <a:pt x="109411" y="69090"/>
                  <a:pt x="116470" y="65454"/>
                </a:cubicBezTo>
                <a:cubicBezTo>
                  <a:pt x="120000" y="58181"/>
                  <a:pt x="98823" y="54545"/>
                  <a:pt x="102352" y="40000"/>
                </a:cubicBezTo>
                <a:cubicBezTo>
                  <a:pt x="109411" y="25454"/>
                  <a:pt x="116470" y="25454"/>
                  <a:pt x="98823" y="25454"/>
                </a:cubicBezTo>
                <a:cubicBezTo>
                  <a:pt x="88235" y="29090"/>
                  <a:pt x="91764" y="14545"/>
                  <a:pt x="88235" y="18181"/>
                </a:cubicBezTo>
                <a:cubicBezTo>
                  <a:pt x="81176" y="18181"/>
                  <a:pt x="77647" y="14545"/>
                  <a:pt x="70588" y="18181"/>
                </a:cubicBezTo>
                <a:cubicBezTo>
                  <a:pt x="60000" y="25454"/>
                  <a:pt x="56470" y="14545"/>
                  <a:pt x="49411" y="14545"/>
                </a:cubicBezTo>
                <a:cubicBezTo>
                  <a:pt x="45882" y="18181"/>
                  <a:pt x="31764" y="7272"/>
                  <a:pt x="28235" y="14545"/>
                </a:cubicBezTo>
                <a:cubicBezTo>
                  <a:pt x="21176" y="18181"/>
                  <a:pt x="21176" y="25454"/>
                  <a:pt x="17647" y="18181"/>
                </a:cubicBezTo>
                <a:cubicBezTo>
                  <a:pt x="7058" y="0"/>
                  <a:pt x="0" y="29090"/>
                  <a:pt x="10588" y="29090"/>
                </a:cubicBezTo>
                <a:cubicBezTo>
                  <a:pt x="17647" y="36363"/>
                  <a:pt x="17647" y="40000"/>
                  <a:pt x="17647" y="47272"/>
                </a:cubicBezTo>
                <a:cubicBezTo>
                  <a:pt x="21176" y="47272"/>
                  <a:pt x="10588" y="54545"/>
                  <a:pt x="17647" y="54545"/>
                </a:cubicBezTo>
                <a:cubicBezTo>
                  <a:pt x="21176" y="54545"/>
                  <a:pt x="38823" y="80000"/>
                  <a:pt x="45882" y="80000"/>
                </a:cubicBezTo>
                <a:cubicBezTo>
                  <a:pt x="49411" y="87272"/>
                  <a:pt x="45882" y="94545"/>
                  <a:pt x="56470" y="94545"/>
                </a:cubicBezTo>
                <a:cubicBezTo>
                  <a:pt x="60000" y="98181"/>
                  <a:pt x="60000" y="105454"/>
                  <a:pt x="60000" y="105454"/>
                </a:cubicBezTo>
                <a:cubicBezTo>
                  <a:pt x="60000" y="109090"/>
                  <a:pt x="67058" y="105454"/>
                  <a:pt x="67058" y="109090"/>
                </a:cubicBezTo>
                <a:cubicBezTo>
                  <a:pt x="70588" y="116363"/>
                  <a:pt x="77647" y="120000"/>
                  <a:pt x="81176" y="120000"/>
                </a:cubicBezTo>
                <a:cubicBezTo>
                  <a:pt x="91764" y="116363"/>
                  <a:pt x="77647" y="109090"/>
                  <a:pt x="88235" y="105454"/>
                </a:cubicBezTo>
                <a:cubicBezTo>
                  <a:pt x="91764" y="98181"/>
                  <a:pt x="88235" y="94545"/>
                  <a:pt x="91764" y="94545"/>
                </a:cubicBezTo>
                <a:cubicBezTo>
                  <a:pt x="98823" y="87272"/>
                  <a:pt x="98823" y="98181"/>
                  <a:pt x="98823" y="94545"/>
                </a:cubicBezTo>
                <a:cubicBezTo>
                  <a:pt x="102352" y="94545"/>
                  <a:pt x="88235" y="76363"/>
                  <a:pt x="102352" y="8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82" name="Shape 1942"/>
          <p:cNvSpPr/>
          <p:nvPr/>
        </p:nvSpPr>
        <p:spPr>
          <a:xfrm>
            <a:off x="6005124" y="3630294"/>
            <a:ext cx="56286" cy="61957"/>
          </a:xfrm>
          <a:custGeom>
            <a:avLst/>
            <a:gdLst/>
            <a:ahLst/>
            <a:cxnLst/>
            <a:rect l="0" t="0" r="0" b="0"/>
            <a:pathLst>
              <a:path w="120000" h="120000" extrusionOk="0">
                <a:moveTo>
                  <a:pt x="49411" y="6000"/>
                </a:moveTo>
                <a:cubicBezTo>
                  <a:pt x="70588" y="36000"/>
                  <a:pt x="120000" y="48000"/>
                  <a:pt x="120000" y="54000"/>
                </a:cubicBezTo>
                <a:cubicBezTo>
                  <a:pt x="120000" y="66000"/>
                  <a:pt x="84705" y="66000"/>
                  <a:pt x="98823" y="66000"/>
                </a:cubicBezTo>
                <a:cubicBezTo>
                  <a:pt x="105882" y="72000"/>
                  <a:pt x="98823" y="72000"/>
                  <a:pt x="105882" y="72000"/>
                </a:cubicBezTo>
                <a:cubicBezTo>
                  <a:pt x="84705" y="84000"/>
                  <a:pt x="84705" y="84000"/>
                  <a:pt x="84705" y="72000"/>
                </a:cubicBezTo>
                <a:cubicBezTo>
                  <a:pt x="84705" y="54000"/>
                  <a:pt x="70588" y="84000"/>
                  <a:pt x="63529" y="90000"/>
                </a:cubicBezTo>
                <a:cubicBezTo>
                  <a:pt x="49411" y="108000"/>
                  <a:pt x="70588" y="102000"/>
                  <a:pt x="63529" y="120000"/>
                </a:cubicBezTo>
                <a:cubicBezTo>
                  <a:pt x="42352" y="120000"/>
                  <a:pt x="49411" y="120000"/>
                  <a:pt x="42352" y="102000"/>
                </a:cubicBezTo>
                <a:cubicBezTo>
                  <a:pt x="42352" y="90000"/>
                  <a:pt x="28235" y="90000"/>
                  <a:pt x="28235" y="90000"/>
                </a:cubicBezTo>
                <a:cubicBezTo>
                  <a:pt x="42352" y="84000"/>
                  <a:pt x="7058" y="84000"/>
                  <a:pt x="7058" y="72000"/>
                </a:cubicBezTo>
                <a:cubicBezTo>
                  <a:pt x="28235" y="66000"/>
                  <a:pt x="0" y="54000"/>
                  <a:pt x="21176" y="48000"/>
                </a:cubicBezTo>
                <a:cubicBezTo>
                  <a:pt x="28235" y="36000"/>
                  <a:pt x="21176" y="30000"/>
                  <a:pt x="28235" y="30000"/>
                </a:cubicBezTo>
                <a:cubicBezTo>
                  <a:pt x="42352" y="18000"/>
                  <a:pt x="42352" y="36000"/>
                  <a:pt x="42352" y="30000"/>
                </a:cubicBezTo>
                <a:cubicBezTo>
                  <a:pt x="49411" y="30000"/>
                  <a:pt x="21176" y="0"/>
                  <a:pt x="49411" y="6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83" name="Shape 1943"/>
          <p:cNvSpPr/>
          <p:nvPr/>
        </p:nvSpPr>
        <p:spPr>
          <a:xfrm>
            <a:off x="5737330" y="3107642"/>
            <a:ext cx="191035" cy="128675"/>
          </a:xfrm>
          <a:custGeom>
            <a:avLst/>
            <a:gdLst/>
            <a:ahLst/>
            <a:cxnLst/>
            <a:rect l="0" t="0" r="0" b="0"/>
            <a:pathLst>
              <a:path w="120000" h="120000" extrusionOk="0">
                <a:moveTo>
                  <a:pt x="6206" y="100000"/>
                </a:moveTo>
                <a:cubicBezTo>
                  <a:pt x="6206" y="88571"/>
                  <a:pt x="8275" y="102857"/>
                  <a:pt x="8275" y="94285"/>
                </a:cubicBezTo>
                <a:cubicBezTo>
                  <a:pt x="8275" y="85714"/>
                  <a:pt x="6206" y="88571"/>
                  <a:pt x="6206" y="85714"/>
                </a:cubicBezTo>
                <a:cubicBezTo>
                  <a:pt x="2068" y="80000"/>
                  <a:pt x="6206" y="88571"/>
                  <a:pt x="2068" y="85714"/>
                </a:cubicBezTo>
                <a:cubicBezTo>
                  <a:pt x="0" y="80000"/>
                  <a:pt x="0" y="85714"/>
                  <a:pt x="0" y="80000"/>
                </a:cubicBezTo>
                <a:cubicBezTo>
                  <a:pt x="2068" y="71428"/>
                  <a:pt x="0" y="68571"/>
                  <a:pt x="0" y="54285"/>
                </a:cubicBezTo>
                <a:cubicBezTo>
                  <a:pt x="2068" y="40000"/>
                  <a:pt x="2068" y="22857"/>
                  <a:pt x="14482" y="22857"/>
                </a:cubicBezTo>
                <a:cubicBezTo>
                  <a:pt x="26896" y="28571"/>
                  <a:pt x="26896" y="8571"/>
                  <a:pt x="33103" y="8571"/>
                </a:cubicBezTo>
                <a:cubicBezTo>
                  <a:pt x="41379" y="8571"/>
                  <a:pt x="41379" y="0"/>
                  <a:pt x="41379" y="0"/>
                </a:cubicBezTo>
                <a:cubicBezTo>
                  <a:pt x="43448" y="5714"/>
                  <a:pt x="37241" y="5714"/>
                  <a:pt x="41379" y="14285"/>
                </a:cubicBezTo>
                <a:cubicBezTo>
                  <a:pt x="41379" y="20000"/>
                  <a:pt x="41379" y="22857"/>
                  <a:pt x="41379" y="22857"/>
                </a:cubicBezTo>
                <a:cubicBezTo>
                  <a:pt x="37241" y="28571"/>
                  <a:pt x="37241" y="28571"/>
                  <a:pt x="37241" y="31428"/>
                </a:cubicBezTo>
                <a:cubicBezTo>
                  <a:pt x="33103" y="37142"/>
                  <a:pt x="41379" y="40000"/>
                  <a:pt x="37241" y="45714"/>
                </a:cubicBezTo>
                <a:cubicBezTo>
                  <a:pt x="33103" y="48571"/>
                  <a:pt x="37241" y="45714"/>
                  <a:pt x="41379" y="48571"/>
                </a:cubicBezTo>
                <a:cubicBezTo>
                  <a:pt x="41379" y="48571"/>
                  <a:pt x="49655" y="45714"/>
                  <a:pt x="47586" y="54285"/>
                </a:cubicBezTo>
                <a:cubicBezTo>
                  <a:pt x="47586" y="60000"/>
                  <a:pt x="43448" y="62857"/>
                  <a:pt x="43448" y="60000"/>
                </a:cubicBezTo>
                <a:cubicBezTo>
                  <a:pt x="41379" y="60000"/>
                  <a:pt x="41379" y="62857"/>
                  <a:pt x="41379" y="62857"/>
                </a:cubicBezTo>
                <a:cubicBezTo>
                  <a:pt x="37241" y="60000"/>
                  <a:pt x="41379" y="54285"/>
                  <a:pt x="37241" y="54285"/>
                </a:cubicBezTo>
                <a:cubicBezTo>
                  <a:pt x="33103" y="54285"/>
                  <a:pt x="37241" y="68571"/>
                  <a:pt x="33103" y="71428"/>
                </a:cubicBezTo>
                <a:cubicBezTo>
                  <a:pt x="33103" y="77142"/>
                  <a:pt x="26896" y="68571"/>
                  <a:pt x="31034" y="71428"/>
                </a:cubicBezTo>
                <a:cubicBezTo>
                  <a:pt x="33103" y="77142"/>
                  <a:pt x="26896" y="77142"/>
                  <a:pt x="26896" y="80000"/>
                </a:cubicBezTo>
                <a:cubicBezTo>
                  <a:pt x="31034" y="80000"/>
                  <a:pt x="20689" y="80000"/>
                  <a:pt x="24827" y="85714"/>
                </a:cubicBezTo>
                <a:cubicBezTo>
                  <a:pt x="24827" y="88571"/>
                  <a:pt x="24827" y="88571"/>
                  <a:pt x="24827" y="88571"/>
                </a:cubicBezTo>
                <a:cubicBezTo>
                  <a:pt x="26896" y="94285"/>
                  <a:pt x="20689" y="94285"/>
                  <a:pt x="24827" y="100000"/>
                </a:cubicBezTo>
                <a:cubicBezTo>
                  <a:pt x="24827" y="102857"/>
                  <a:pt x="24827" y="100000"/>
                  <a:pt x="31034" y="102857"/>
                </a:cubicBezTo>
                <a:cubicBezTo>
                  <a:pt x="33103" y="108571"/>
                  <a:pt x="31034" y="108571"/>
                  <a:pt x="31034" y="108571"/>
                </a:cubicBezTo>
                <a:cubicBezTo>
                  <a:pt x="26896" y="102857"/>
                  <a:pt x="26896" y="108571"/>
                  <a:pt x="26896" y="108571"/>
                </a:cubicBezTo>
                <a:cubicBezTo>
                  <a:pt x="24827" y="108571"/>
                  <a:pt x="24827" y="102857"/>
                  <a:pt x="20689" y="108571"/>
                </a:cubicBezTo>
                <a:cubicBezTo>
                  <a:pt x="20689" y="108571"/>
                  <a:pt x="18620" y="108571"/>
                  <a:pt x="14482" y="108571"/>
                </a:cubicBezTo>
                <a:cubicBezTo>
                  <a:pt x="12413" y="102857"/>
                  <a:pt x="12413" y="108571"/>
                  <a:pt x="8275" y="108571"/>
                </a:cubicBezTo>
                <a:cubicBezTo>
                  <a:pt x="8275" y="88571"/>
                  <a:pt x="6206" y="102857"/>
                  <a:pt x="6206" y="100000"/>
                </a:cubicBezTo>
                <a:close/>
                <a:moveTo>
                  <a:pt x="109655" y="88571"/>
                </a:moveTo>
                <a:cubicBezTo>
                  <a:pt x="113793" y="88571"/>
                  <a:pt x="120000" y="100000"/>
                  <a:pt x="115862" y="102857"/>
                </a:cubicBezTo>
                <a:cubicBezTo>
                  <a:pt x="109655" y="102857"/>
                  <a:pt x="107586" y="94285"/>
                  <a:pt x="109655" y="88571"/>
                </a:cubicBezTo>
                <a:close/>
                <a:moveTo>
                  <a:pt x="47586" y="20000"/>
                </a:moveTo>
                <a:cubicBezTo>
                  <a:pt x="47586" y="20000"/>
                  <a:pt x="53793" y="20000"/>
                  <a:pt x="49655" y="20000"/>
                </a:cubicBezTo>
                <a:cubicBezTo>
                  <a:pt x="49655" y="22857"/>
                  <a:pt x="47586" y="22857"/>
                  <a:pt x="47586" y="20000"/>
                </a:cubicBezTo>
                <a:close/>
                <a:moveTo>
                  <a:pt x="43448" y="85714"/>
                </a:moveTo>
                <a:cubicBezTo>
                  <a:pt x="41379" y="80000"/>
                  <a:pt x="41379" y="80000"/>
                  <a:pt x="41379" y="80000"/>
                </a:cubicBezTo>
                <a:cubicBezTo>
                  <a:pt x="41379" y="85714"/>
                  <a:pt x="41379" y="85714"/>
                  <a:pt x="37241" y="80000"/>
                </a:cubicBezTo>
                <a:cubicBezTo>
                  <a:pt x="37241" y="80000"/>
                  <a:pt x="31034" y="85714"/>
                  <a:pt x="26896" y="85714"/>
                </a:cubicBezTo>
                <a:cubicBezTo>
                  <a:pt x="26896" y="80000"/>
                  <a:pt x="24827" y="85714"/>
                  <a:pt x="26896" y="85714"/>
                </a:cubicBezTo>
                <a:cubicBezTo>
                  <a:pt x="31034" y="88571"/>
                  <a:pt x="31034" y="88571"/>
                  <a:pt x="31034" y="94285"/>
                </a:cubicBezTo>
                <a:cubicBezTo>
                  <a:pt x="31034" y="100000"/>
                  <a:pt x="31034" y="94285"/>
                  <a:pt x="33103" y="94285"/>
                </a:cubicBezTo>
                <a:cubicBezTo>
                  <a:pt x="33103" y="100000"/>
                  <a:pt x="31034" y="100000"/>
                  <a:pt x="33103" y="100000"/>
                </a:cubicBezTo>
                <a:cubicBezTo>
                  <a:pt x="41379" y="100000"/>
                  <a:pt x="41379" y="102857"/>
                  <a:pt x="43448" y="100000"/>
                </a:cubicBezTo>
                <a:cubicBezTo>
                  <a:pt x="47586" y="94285"/>
                  <a:pt x="43448" y="88571"/>
                  <a:pt x="43448" y="85714"/>
                </a:cubicBezTo>
                <a:close/>
                <a:moveTo>
                  <a:pt x="41379" y="77142"/>
                </a:moveTo>
                <a:cubicBezTo>
                  <a:pt x="41379" y="71428"/>
                  <a:pt x="41379" y="68571"/>
                  <a:pt x="41379" y="68571"/>
                </a:cubicBezTo>
                <a:cubicBezTo>
                  <a:pt x="43448" y="71428"/>
                  <a:pt x="41379" y="77142"/>
                  <a:pt x="41379" y="77142"/>
                </a:cubicBezTo>
                <a:close/>
                <a:moveTo>
                  <a:pt x="47586" y="100000"/>
                </a:moveTo>
                <a:cubicBezTo>
                  <a:pt x="47586" y="100000"/>
                  <a:pt x="43448" y="100000"/>
                  <a:pt x="43448" y="102857"/>
                </a:cubicBezTo>
                <a:cubicBezTo>
                  <a:pt x="43448" y="102857"/>
                  <a:pt x="41379" y="108571"/>
                  <a:pt x="41379" y="111428"/>
                </a:cubicBezTo>
                <a:cubicBezTo>
                  <a:pt x="43448" y="117142"/>
                  <a:pt x="43448" y="102857"/>
                  <a:pt x="47586" y="100000"/>
                </a:cubicBezTo>
                <a:close/>
                <a:moveTo>
                  <a:pt x="60000" y="117142"/>
                </a:moveTo>
                <a:cubicBezTo>
                  <a:pt x="62068" y="117142"/>
                  <a:pt x="62068" y="111428"/>
                  <a:pt x="62068" y="111428"/>
                </a:cubicBezTo>
                <a:cubicBezTo>
                  <a:pt x="60000" y="108571"/>
                  <a:pt x="60000" y="102857"/>
                  <a:pt x="60000" y="108571"/>
                </a:cubicBezTo>
                <a:cubicBezTo>
                  <a:pt x="60000" y="108571"/>
                  <a:pt x="55862" y="108571"/>
                  <a:pt x="53793" y="102857"/>
                </a:cubicBezTo>
                <a:cubicBezTo>
                  <a:pt x="49655" y="102857"/>
                  <a:pt x="49655" y="108571"/>
                  <a:pt x="49655" y="108571"/>
                </a:cubicBezTo>
                <a:cubicBezTo>
                  <a:pt x="47586" y="111428"/>
                  <a:pt x="55862" y="117142"/>
                  <a:pt x="60000" y="117142"/>
                </a:cubicBezTo>
                <a:close/>
                <a:moveTo>
                  <a:pt x="66206" y="111428"/>
                </a:moveTo>
                <a:cubicBezTo>
                  <a:pt x="68275" y="108571"/>
                  <a:pt x="66206" y="108571"/>
                  <a:pt x="66206" y="108571"/>
                </a:cubicBezTo>
                <a:cubicBezTo>
                  <a:pt x="62068" y="102857"/>
                  <a:pt x="62068" y="102857"/>
                  <a:pt x="66206" y="102857"/>
                </a:cubicBezTo>
                <a:cubicBezTo>
                  <a:pt x="66206" y="102857"/>
                  <a:pt x="68275" y="102857"/>
                  <a:pt x="66206" y="100000"/>
                </a:cubicBezTo>
                <a:cubicBezTo>
                  <a:pt x="66206" y="94285"/>
                  <a:pt x="66206" y="94285"/>
                  <a:pt x="68275" y="94285"/>
                </a:cubicBezTo>
                <a:cubicBezTo>
                  <a:pt x="72413" y="94285"/>
                  <a:pt x="72413" y="88571"/>
                  <a:pt x="68275" y="88571"/>
                </a:cubicBezTo>
                <a:cubicBezTo>
                  <a:pt x="66206" y="85714"/>
                  <a:pt x="68275" y="80000"/>
                  <a:pt x="72413" y="80000"/>
                </a:cubicBezTo>
                <a:cubicBezTo>
                  <a:pt x="74482" y="80000"/>
                  <a:pt x="72413" y="71428"/>
                  <a:pt x="74482" y="68571"/>
                </a:cubicBezTo>
                <a:cubicBezTo>
                  <a:pt x="74482" y="62857"/>
                  <a:pt x="72413" y="62857"/>
                  <a:pt x="68275" y="62857"/>
                </a:cubicBezTo>
                <a:cubicBezTo>
                  <a:pt x="66206" y="60000"/>
                  <a:pt x="62068" y="68571"/>
                  <a:pt x="62068" y="68571"/>
                </a:cubicBezTo>
                <a:cubicBezTo>
                  <a:pt x="62068" y="71428"/>
                  <a:pt x="62068" y="71428"/>
                  <a:pt x="62068" y="77142"/>
                </a:cubicBezTo>
                <a:cubicBezTo>
                  <a:pt x="62068" y="80000"/>
                  <a:pt x="60000" y="77142"/>
                  <a:pt x="60000" y="71428"/>
                </a:cubicBezTo>
                <a:cubicBezTo>
                  <a:pt x="60000" y="71428"/>
                  <a:pt x="62068" y="68571"/>
                  <a:pt x="60000" y="68571"/>
                </a:cubicBezTo>
                <a:cubicBezTo>
                  <a:pt x="55862" y="71428"/>
                  <a:pt x="53793" y="68571"/>
                  <a:pt x="53793" y="68571"/>
                </a:cubicBezTo>
                <a:cubicBezTo>
                  <a:pt x="49655" y="68571"/>
                  <a:pt x="60000" y="68571"/>
                  <a:pt x="53793" y="77142"/>
                </a:cubicBezTo>
                <a:cubicBezTo>
                  <a:pt x="49655" y="77142"/>
                  <a:pt x="47586" y="77142"/>
                  <a:pt x="47586" y="77142"/>
                </a:cubicBezTo>
                <a:cubicBezTo>
                  <a:pt x="43448" y="77142"/>
                  <a:pt x="49655" y="80000"/>
                  <a:pt x="49655" y="80000"/>
                </a:cubicBezTo>
                <a:cubicBezTo>
                  <a:pt x="49655" y="85714"/>
                  <a:pt x="53793" y="85714"/>
                  <a:pt x="49655" y="88571"/>
                </a:cubicBezTo>
                <a:cubicBezTo>
                  <a:pt x="47586" y="88571"/>
                  <a:pt x="53793" y="88571"/>
                  <a:pt x="53793" y="94285"/>
                </a:cubicBezTo>
                <a:cubicBezTo>
                  <a:pt x="53793" y="100000"/>
                  <a:pt x="53793" y="94285"/>
                  <a:pt x="55862" y="94285"/>
                </a:cubicBezTo>
                <a:cubicBezTo>
                  <a:pt x="60000" y="100000"/>
                  <a:pt x="60000" y="94285"/>
                  <a:pt x="60000" y="100000"/>
                </a:cubicBezTo>
                <a:cubicBezTo>
                  <a:pt x="60000" y="102857"/>
                  <a:pt x="60000" y="100000"/>
                  <a:pt x="60000" y="100000"/>
                </a:cubicBezTo>
                <a:cubicBezTo>
                  <a:pt x="55862" y="102857"/>
                  <a:pt x="62068" y="102857"/>
                  <a:pt x="60000" y="102857"/>
                </a:cubicBezTo>
                <a:cubicBezTo>
                  <a:pt x="60000" y="102857"/>
                  <a:pt x="60000" y="108571"/>
                  <a:pt x="62068" y="108571"/>
                </a:cubicBezTo>
                <a:cubicBezTo>
                  <a:pt x="62068" y="111428"/>
                  <a:pt x="62068" y="117142"/>
                  <a:pt x="66206" y="117142"/>
                </a:cubicBezTo>
                <a:cubicBezTo>
                  <a:pt x="66206" y="120000"/>
                  <a:pt x="66206" y="111428"/>
                  <a:pt x="66206" y="111428"/>
                </a:cubicBezTo>
                <a:close/>
                <a:moveTo>
                  <a:pt x="68275" y="102857"/>
                </a:moveTo>
                <a:cubicBezTo>
                  <a:pt x="68275" y="102857"/>
                  <a:pt x="68275" y="100000"/>
                  <a:pt x="72413" y="102857"/>
                </a:cubicBezTo>
                <a:cubicBezTo>
                  <a:pt x="74482" y="102857"/>
                  <a:pt x="66206" y="108571"/>
                  <a:pt x="68275" y="102857"/>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84" name="Shape 1944"/>
          <p:cNvSpPr/>
          <p:nvPr/>
        </p:nvSpPr>
        <p:spPr>
          <a:xfrm>
            <a:off x="5677629" y="3218844"/>
            <a:ext cx="243911" cy="282771"/>
          </a:xfrm>
          <a:custGeom>
            <a:avLst/>
            <a:gdLst/>
            <a:ahLst/>
            <a:cxnLst/>
            <a:rect l="0" t="0" r="0" b="0"/>
            <a:pathLst>
              <a:path w="120000" h="120000" extrusionOk="0">
                <a:moveTo>
                  <a:pt x="98918" y="104347"/>
                </a:moveTo>
                <a:cubicBezTo>
                  <a:pt x="98918" y="105652"/>
                  <a:pt x="95675" y="104347"/>
                  <a:pt x="90810" y="105652"/>
                </a:cubicBezTo>
                <a:cubicBezTo>
                  <a:pt x="87567" y="109565"/>
                  <a:pt x="95675" y="112173"/>
                  <a:pt x="92432" y="112173"/>
                </a:cubicBezTo>
                <a:cubicBezTo>
                  <a:pt x="87567" y="113478"/>
                  <a:pt x="95675" y="116086"/>
                  <a:pt x="92432" y="117391"/>
                </a:cubicBezTo>
                <a:cubicBezTo>
                  <a:pt x="90810" y="120000"/>
                  <a:pt x="90810" y="113478"/>
                  <a:pt x="87567" y="116086"/>
                </a:cubicBezTo>
                <a:cubicBezTo>
                  <a:pt x="85945" y="116086"/>
                  <a:pt x="82702" y="112173"/>
                  <a:pt x="82702" y="113478"/>
                </a:cubicBezTo>
                <a:cubicBezTo>
                  <a:pt x="81081" y="117391"/>
                  <a:pt x="77837" y="113478"/>
                  <a:pt x="76216" y="116086"/>
                </a:cubicBezTo>
                <a:cubicBezTo>
                  <a:pt x="71351" y="117391"/>
                  <a:pt x="68108" y="120000"/>
                  <a:pt x="66486" y="117391"/>
                </a:cubicBezTo>
                <a:cubicBezTo>
                  <a:pt x="66486" y="116086"/>
                  <a:pt x="63243" y="117391"/>
                  <a:pt x="61621" y="116086"/>
                </a:cubicBezTo>
                <a:cubicBezTo>
                  <a:pt x="58378" y="116086"/>
                  <a:pt x="61621" y="120000"/>
                  <a:pt x="58378" y="120000"/>
                </a:cubicBezTo>
                <a:cubicBezTo>
                  <a:pt x="56756" y="120000"/>
                  <a:pt x="53513" y="113478"/>
                  <a:pt x="48648" y="117391"/>
                </a:cubicBezTo>
                <a:cubicBezTo>
                  <a:pt x="47027" y="116086"/>
                  <a:pt x="43783" y="113478"/>
                  <a:pt x="42162" y="116086"/>
                </a:cubicBezTo>
                <a:cubicBezTo>
                  <a:pt x="38918" y="116086"/>
                  <a:pt x="38918" y="112173"/>
                  <a:pt x="37297" y="113478"/>
                </a:cubicBezTo>
                <a:cubicBezTo>
                  <a:pt x="32432" y="113478"/>
                  <a:pt x="37297" y="116086"/>
                  <a:pt x="32432" y="116086"/>
                </a:cubicBezTo>
                <a:cubicBezTo>
                  <a:pt x="25945" y="116086"/>
                  <a:pt x="25945" y="117391"/>
                  <a:pt x="21081" y="116086"/>
                </a:cubicBezTo>
                <a:cubicBezTo>
                  <a:pt x="21081" y="99130"/>
                  <a:pt x="34054" y="95217"/>
                  <a:pt x="29189" y="95217"/>
                </a:cubicBezTo>
                <a:cubicBezTo>
                  <a:pt x="25945" y="93913"/>
                  <a:pt x="24324" y="91304"/>
                  <a:pt x="19459" y="93913"/>
                </a:cubicBezTo>
                <a:cubicBezTo>
                  <a:pt x="14594" y="93913"/>
                  <a:pt x="16216" y="91304"/>
                  <a:pt x="14594" y="91304"/>
                </a:cubicBezTo>
                <a:cubicBezTo>
                  <a:pt x="9729" y="91304"/>
                  <a:pt x="11351" y="87391"/>
                  <a:pt x="6486" y="87391"/>
                </a:cubicBezTo>
                <a:cubicBezTo>
                  <a:pt x="6486" y="83478"/>
                  <a:pt x="11351" y="83478"/>
                  <a:pt x="9729" y="80869"/>
                </a:cubicBezTo>
                <a:cubicBezTo>
                  <a:pt x="9729" y="80869"/>
                  <a:pt x="4864" y="80869"/>
                  <a:pt x="4864" y="75652"/>
                </a:cubicBezTo>
                <a:cubicBezTo>
                  <a:pt x="11351" y="71739"/>
                  <a:pt x="4864" y="73043"/>
                  <a:pt x="6486" y="71739"/>
                </a:cubicBezTo>
                <a:cubicBezTo>
                  <a:pt x="6486" y="69130"/>
                  <a:pt x="4864" y="69130"/>
                  <a:pt x="1621" y="67826"/>
                </a:cubicBezTo>
                <a:cubicBezTo>
                  <a:pt x="1621" y="67826"/>
                  <a:pt x="6486" y="65217"/>
                  <a:pt x="1621" y="62608"/>
                </a:cubicBezTo>
                <a:cubicBezTo>
                  <a:pt x="0" y="62608"/>
                  <a:pt x="4864" y="62608"/>
                  <a:pt x="4864" y="61304"/>
                </a:cubicBezTo>
                <a:cubicBezTo>
                  <a:pt x="4864" y="58695"/>
                  <a:pt x="6486" y="58695"/>
                  <a:pt x="4864" y="54782"/>
                </a:cubicBezTo>
                <a:cubicBezTo>
                  <a:pt x="1621" y="50869"/>
                  <a:pt x="1621" y="49565"/>
                  <a:pt x="6486" y="50869"/>
                </a:cubicBezTo>
                <a:cubicBezTo>
                  <a:pt x="9729" y="50869"/>
                  <a:pt x="14594" y="49565"/>
                  <a:pt x="11351" y="46956"/>
                </a:cubicBezTo>
                <a:cubicBezTo>
                  <a:pt x="9729" y="46956"/>
                  <a:pt x="16216" y="44347"/>
                  <a:pt x="16216" y="43043"/>
                </a:cubicBezTo>
                <a:cubicBezTo>
                  <a:pt x="16216" y="39130"/>
                  <a:pt x="11351" y="43043"/>
                  <a:pt x="11351" y="39130"/>
                </a:cubicBezTo>
                <a:cubicBezTo>
                  <a:pt x="11351" y="36521"/>
                  <a:pt x="11351" y="36521"/>
                  <a:pt x="14594" y="36521"/>
                </a:cubicBezTo>
                <a:cubicBezTo>
                  <a:pt x="16216" y="39130"/>
                  <a:pt x="16216" y="36521"/>
                  <a:pt x="19459" y="28695"/>
                </a:cubicBezTo>
                <a:cubicBezTo>
                  <a:pt x="19459" y="27391"/>
                  <a:pt x="14594" y="28695"/>
                  <a:pt x="16216" y="24782"/>
                </a:cubicBezTo>
                <a:cubicBezTo>
                  <a:pt x="16216" y="20869"/>
                  <a:pt x="19459" y="20869"/>
                  <a:pt x="24324" y="20869"/>
                </a:cubicBezTo>
                <a:cubicBezTo>
                  <a:pt x="34054" y="20869"/>
                  <a:pt x="25945" y="22173"/>
                  <a:pt x="32432" y="24782"/>
                </a:cubicBezTo>
                <a:cubicBezTo>
                  <a:pt x="34054" y="27391"/>
                  <a:pt x="29189" y="22173"/>
                  <a:pt x="34054" y="22173"/>
                </a:cubicBezTo>
                <a:cubicBezTo>
                  <a:pt x="37297" y="22173"/>
                  <a:pt x="34054" y="27391"/>
                  <a:pt x="37297" y="27391"/>
                </a:cubicBezTo>
                <a:cubicBezTo>
                  <a:pt x="38918" y="24782"/>
                  <a:pt x="34054" y="16956"/>
                  <a:pt x="37297" y="18260"/>
                </a:cubicBezTo>
                <a:cubicBezTo>
                  <a:pt x="42162" y="18260"/>
                  <a:pt x="43783" y="18260"/>
                  <a:pt x="47027" y="20869"/>
                </a:cubicBezTo>
                <a:cubicBezTo>
                  <a:pt x="48648" y="22173"/>
                  <a:pt x="47027" y="18260"/>
                  <a:pt x="42162" y="16956"/>
                </a:cubicBezTo>
                <a:cubicBezTo>
                  <a:pt x="38918" y="16956"/>
                  <a:pt x="38918" y="16956"/>
                  <a:pt x="42162" y="14347"/>
                </a:cubicBezTo>
                <a:cubicBezTo>
                  <a:pt x="43783" y="14347"/>
                  <a:pt x="37297" y="14347"/>
                  <a:pt x="38918" y="13043"/>
                </a:cubicBezTo>
                <a:cubicBezTo>
                  <a:pt x="42162" y="10434"/>
                  <a:pt x="37297" y="13043"/>
                  <a:pt x="37297" y="10434"/>
                </a:cubicBezTo>
                <a:cubicBezTo>
                  <a:pt x="37297" y="9130"/>
                  <a:pt x="43783" y="10434"/>
                  <a:pt x="42162" y="6521"/>
                </a:cubicBezTo>
                <a:cubicBezTo>
                  <a:pt x="38918" y="3913"/>
                  <a:pt x="37297" y="3913"/>
                  <a:pt x="37297" y="2608"/>
                </a:cubicBezTo>
                <a:cubicBezTo>
                  <a:pt x="38918" y="2608"/>
                  <a:pt x="38918" y="0"/>
                  <a:pt x="42162" y="2608"/>
                </a:cubicBezTo>
                <a:cubicBezTo>
                  <a:pt x="43783" y="2608"/>
                  <a:pt x="47027" y="2608"/>
                  <a:pt x="47027" y="2608"/>
                </a:cubicBezTo>
                <a:cubicBezTo>
                  <a:pt x="48648" y="3913"/>
                  <a:pt x="48648" y="2608"/>
                  <a:pt x="51891" y="2608"/>
                </a:cubicBezTo>
                <a:cubicBezTo>
                  <a:pt x="53513" y="3913"/>
                  <a:pt x="53513" y="2608"/>
                  <a:pt x="53513" y="3913"/>
                </a:cubicBezTo>
                <a:cubicBezTo>
                  <a:pt x="56756" y="9130"/>
                  <a:pt x="51891" y="9130"/>
                  <a:pt x="53513" y="9130"/>
                </a:cubicBezTo>
                <a:cubicBezTo>
                  <a:pt x="56756" y="9130"/>
                  <a:pt x="56756" y="10434"/>
                  <a:pt x="58378" y="9130"/>
                </a:cubicBezTo>
                <a:cubicBezTo>
                  <a:pt x="61621" y="9130"/>
                  <a:pt x="58378" y="13043"/>
                  <a:pt x="66486" y="10434"/>
                </a:cubicBezTo>
                <a:cubicBezTo>
                  <a:pt x="71351" y="9130"/>
                  <a:pt x="68108" y="10434"/>
                  <a:pt x="68108" y="13043"/>
                </a:cubicBezTo>
                <a:cubicBezTo>
                  <a:pt x="71351" y="14347"/>
                  <a:pt x="63243" y="14347"/>
                  <a:pt x="63243" y="16956"/>
                </a:cubicBezTo>
                <a:cubicBezTo>
                  <a:pt x="66486" y="18260"/>
                  <a:pt x="68108" y="14347"/>
                  <a:pt x="71351" y="16956"/>
                </a:cubicBezTo>
                <a:cubicBezTo>
                  <a:pt x="76216" y="18260"/>
                  <a:pt x="71351" y="13043"/>
                  <a:pt x="77837" y="13043"/>
                </a:cubicBezTo>
                <a:cubicBezTo>
                  <a:pt x="82702" y="13043"/>
                  <a:pt x="85945" y="9130"/>
                  <a:pt x="85945" y="9130"/>
                </a:cubicBezTo>
                <a:cubicBezTo>
                  <a:pt x="87567" y="6521"/>
                  <a:pt x="87567" y="10434"/>
                  <a:pt x="90810" y="9130"/>
                </a:cubicBezTo>
                <a:cubicBezTo>
                  <a:pt x="92432" y="9130"/>
                  <a:pt x="90810" y="10434"/>
                  <a:pt x="95675" y="13043"/>
                </a:cubicBezTo>
                <a:cubicBezTo>
                  <a:pt x="98918" y="16956"/>
                  <a:pt x="103783" y="13043"/>
                  <a:pt x="103783" y="14347"/>
                </a:cubicBezTo>
                <a:cubicBezTo>
                  <a:pt x="103783" y="16956"/>
                  <a:pt x="103783" y="16956"/>
                  <a:pt x="103783" y="16956"/>
                </a:cubicBezTo>
                <a:cubicBezTo>
                  <a:pt x="103783" y="18260"/>
                  <a:pt x="103783" y="20869"/>
                  <a:pt x="108648" y="20869"/>
                </a:cubicBezTo>
                <a:cubicBezTo>
                  <a:pt x="108648" y="20869"/>
                  <a:pt x="108648" y="20869"/>
                  <a:pt x="108648" y="20869"/>
                </a:cubicBezTo>
                <a:cubicBezTo>
                  <a:pt x="113513" y="31304"/>
                  <a:pt x="103783" y="32608"/>
                  <a:pt x="110270" y="36521"/>
                </a:cubicBezTo>
                <a:cubicBezTo>
                  <a:pt x="118378" y="40434"/>
                  <a:pt x="110270" y="40434"/>
                  <a:pt x="113513" y="43043"/>
                </a:cubicBezTo>
                <a:cubicBezTo>
                  <a:pt x="118378" y="49565"/>
                  <a:pt x="113513" y="49565"/>
                  <a:pt x="113513" y="53478"/>
                </a:cubicBezTo>
                <a:cubicBezTo>
                  <a:pt x="115135" y="58695"/>
                  <a:pt x="120000" y="53478"/>
                  <a:pt x="118378" y="65217"/>
                </a:cubicBezTo>
                <a:cubicBezTo>
                  <a:pt x="113513" y="67826"/>
                  <a:pt x="110270" y="62608"/>
                  <a:pt x="110270" y="62608"/>
                </a:cubicBezTo>
                <a:cubicBezTo>
                  <a:pt x="108648" y="62608"/>
                  <a:pt x="113513" y="65217"/>
                  <a:pt x="105405" y="67826"/>
                </a:cubicBezTo>
                <a:cubicBezTo>
                  <a:pt x="98918" y="67826"/>
                  <a:pt x="95675" y="71739"/>
                  <a:pt x="87567" y="73043"/>
                </a:cubicBezTo>
                <a:cubicBezTo>
                  <a:pt x="82702" y="75652"/>
                  <a:pt x="81081" y="75652"/>
                  <a:pt x="82702" y="79565"/>
                </a:cubicBezTo>
                <a:cubicBezTo>
                  <a:pt x="87567" y="83478"/>
                  <a:pt x="81081" y="86086"/>
                  <a:pt x="90810" y="87391"/>
                </a:cubicBezTo>
                <a:cubicBezTo>
                  <a:pt x="95675" y="90000"/>
                  <a:pt x="95675" y="93913"/>
                  <a:pt x="103783" y="97826"/>
                </a:cubicBezTo>
                <a:cubicBezTo>
                  <a:pt x="103783" y="104347"/>
                  <a:pt x="98918" y="99130"/>
                  <a:pt x="98918" y="104347"/>
                </a:cubicBezTo>
                <a:close/>
                <a:moveTo>
                  <a:pt x="108648" y="16956"/>
                </a:moveTo>
                <a:cubicBezTo>
                  <a:pt x="105405" y="16956"/>
                  <a:pt x="105405" y="14347"/>
                  <a:pt x="103783" y="14347"/>
                </a:cubicBezTo>
                <a:cubicBezTo>
                  <a:pt x="103783" y="13043"/>
                  <a:pt x="103783" y="16956"/>
                  <a:pt x="105405" y="16956"/>
                </a:cubicBezTo>
                <a:cubicBezTo>
                  <a:pt x="105405" y="18260"/>
                  <a:pt x="103783" y="18260"/>
                  <a:pt x="103783" y="18260"/>
                </a:cubicBezTo>
                <a:cubicBezTo>
                  <a:pt x="105405" y="18260"/>
                  <a:pt x="108648" y="18260"/>
                  <a:pt x="108648" y="18260"/>
                </a:cubicBezTo>
                <a:cubicBezTo>
                  <a:pt x="108648" y="16956"/>
                  <a:pt x="108648" y="16956"/>
                  <a:pt x="108648" y="16956"/>
                </a:cubicBezTo>
                <a:close/>
                <a:moveTo>
                  <a:pt x="68108" y="9130"/>
                </a:moveTo>
                <a:cubicBezTo>
                  <a:pt x="68108" y="6521"/>
                  <a:pt x="71351" y="9130"/>
                  <a:pt x="71351" y="9130"/>
                </a:cubicBezTo>
                <a:cubicBezTo>
                  <a:pt x="71351" y="10434"/>
                  <a:pt x="66486" y="9130"/>
                  <a:pt x="68108" y="9130"/>
                </a:cubicBezTo>
                <a:close/>
                <a:moveTo>
                  <a:pt x="98918" y="13043"/>
                </a:moveTo>
                <a:cubicBezTo>
                  <a:pt x="98918" y="10434"/>
                  <a:pt x="98918" y="9130"/>
                  <a:pt x="100540" y="10434"/>
                </a:cubicBezTo>
                <a:cubicBezTo>
                  <a:pt x="103783" y="13043"/>
                  <a:pt x="103783" y="10434"/>
                  <a:pt x="100540" y="10434"/>
                </a:cubicBezTo>
                <a:cubicBezTo>
                  <a:pt x="98918" y="9130"/>
                  <a:pt x="103783" y="6521"/>
                  <a:pt x="100540" y="6521"/>
                </a:cubicBezTo>
                <a:cubicBezTo>
                  <a:pt x="98918" y="6521"/>
                  <a:pt x="98918" y="3913"/>
                  <a:pt x="95675" y="3913"/>
                </a:cubicBezTo>
                <a:cubicBezTo>
                  <a:pt x="92432" y="6521"/>
                  <a:pt x="98918" y="6521"/>
                  <a:pt x="98918" y="9130"/>
                </a:cubicBezTo>
                <a:cubicBezTo>
                  <a:pt x="95675" y="6521"/>
                  <a:pt x="95675" y="6521"/>
                  <a:pt x="95675" y="6521"/>
                </a:cubicBezTo>
                <a:cubicBezTo>
                  <a:pt x="92432" y="6521"/>
                  <a:pt x="95675" y="9130"/>
                  <a:pt x="95675" y="10434"/>
                </a:cubicBezTo>
                <a:cubicBezTo>
                  <a:pt x="92432" y="10434"/>
                  <a:pt x="95675" y="10434"/>
                  <a:pt x="95675" y="13043"/>
                </a:cubicBezTo>
                <a:cubicBezTo>
                  <a:pt x="98918" y="13043"/>
                  <a:pt x="98918" y="13043"/>
                  <a:pt x="98918" y="13043"/>
                </a:cubicBezTo>
                <a:close/>
              </a:path>
            </a:pathLst>
          </a:custGeom>
          <a:solidFill>
            <a:srgbClr val="C00000"/>
          </a:solidFill>
          <a:ln w="3175" cap="flat" cmpd="sng" algn="ctr">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85" name="Shape 1945"/>
          <p:cNvSpPr/>
          <p:nvPr/>
        </p:nvSpPr>
        <p:spPr>
          <a:xfrm>
            <a:off x="5617933" y="3276036"/>
            <a:ext cx="98929" cy="98493"/>
          </a:xfrm>
          <a:custGeom>
            <a:avLst/>
            <a:gdLst/>
            <a:ahLst/>
            <a:cxnLst/>
            <a:rect l="0" t="0" r="0" b="0"/>
            <a:pathLst>
              <a:path w="120000" h="120000" extrusionOk="0">
                <a:moveTo>
                  <a:pt x="108000" y="33750"/>
                </a:moveTo>
                <a:cubicBezTo>
                  <a:pt x="100000" y="33750"/>
                  <a:pt x="100000" y="33750"/>
                  <a:pt x="100000" y="41250"/>
                </a:cubicBezTo>
                <a:cubicBezTo>
                  <a:pt x="100000" y="52500"/>
                  <a:pt x="112000" y="41250"/>
                  <a:pt x="112000" y="52500"/>
                </a:cubicBezTo>
                <a:cubicBezTo>
                  <a:pt x="112000" y="56250"/>
                  <a:pt x="96000" y="63750"/>
                  <a:pt x="100000" y="63750"/>
                </a:cubicBezTo>
                <a:cubicBezTo>
                  <a:pt x="108000" y="67500"/>
                  <a:pt x="96000" y="75000"/>
                  <a:pt x="88000" y="75000"/>
                </a:cubicBezTo>
                <a:cubicBezTo>
                  <a:pt x="76000" y="67500"/>
                  <a:pt x="76000" y="75000"/>
                  <a:pt x="84000" y="86250"/>
                </a:cubicBezTo>
                <a:cubicBezTo>
                  <a:pt x="88000" y="97500"/>
                  <a:pt x="84000" y="97500"/>
                  <a:pt x="84000" y="105000"/>
                </a:cubicBezTo>
                <a:cubicBezTo>
                  <a:pt x="84000" y="108750"/>
                  <a:pt x="72000" y="108750"/>
                  <a:pt x="76000" y="108750"/>
                </a:cubicBezTo>
                <a:cubicBezTo>
                  <a:pt x="88000" y="116250"/>
                  <a:pt x="76000" y="120000"/>
                  <a:pt x="76000" y="120000"/>
                </a:cubicBezTo>
                <a:cubicBezTo>
                  <a:pt x="52000" y="120000"/>
                  <a:pt x="88000" y="105000"/>
                  <a:pt x="64000" y="97500"/>
                </a:cubicBezTo>
                <a:cubicBezTo>
                  <a:pt x="48000" y="97500"/>
                  <a:pt x="52000" y="86250"/>
                  <a:pt x="48000" y="93750"/>
                </a:cubicBezTo>
                <a:cubicBezTo>
                  <a:pt x="40000" y="93750"/>
                  <a:pt x="48000" y="86250"/>
                  <a:pt x="36000" y="93750"/>
                </a:cubicBezTo>
                <a:cubicBezTo>
                  <a:pt x="28000" y="93750"/>
                  <a:pt x="36000" y="86250"/>
                  <a:pt x="28000" y="93750"/>
                </a:cubicBezTo>
                <a:cubicBezTo>
                  <a:pt x="28000" y="97500"/>
                  <a:pt x="24000" y="93750"/>
                  <a:pt x="16000" y="97500"/>
                </a:cubicBezTo>
                <a:cubicBezTo>
                  <a:pt x="12000" y="105000"/>
                  <a:pt x="4000" y="97500"/>
                  <a:pt x="4000" y="97500"/>
                </a:cubicBezTo>
                <a:cubicBezTo>
                  <a:pt x="0" y="97500"/>
                  <a:pt x="0" y="97500"/>
                  <a:pt x="0" y="93750"/>
                </a:cubicBezTo>
                <a:cubicBezTo>
                  <a:pt x="4000" y="93750"/>
                  <a:pt x="4000" y="93750"/>
                  <a:pt x="4000" y="97500"/>
                </a:cubicBezTo>
                <a:cubicBezTo>
                  <a:pt x="12000" y="97500"/>
                  <a:pt x="16000" y="93750"/>
                  <a:pt x="16000" y="93750"/>
                </a:cubicBezTo>
                <a:cubicBezTo>
                  <a:pt x="24000" y="93750"/>
                  <a:pt x="16000" y="86250"/>
                  <a:pt x="16000" y="93750"/>
                </a:cubicBezTo>
                <a:cubicBezTo>
                  <a:pt x="12000" y="93750"/>
                  <a:pt x="0" y="86250"/>
                  <a:pt x="0" y="86250"/>
                </a:cubicBezTo>
                <a:cubicBezTo>
                  <a:pt x="4000" y="82500"/>
                  <a:pt x="4000" y="86250"/>
                  <a:pt x="16000" y="86250"/>
                </a:cubicBezTo>
                <a:cubicBezTo>
                  <a:pt x="36000" y="82500"/>
                  <a:pt x="12000" y="82500"/>
                  <a:pt x="4000" y="82500"/>
                </a:cubicBezTo>
                <a:cubicBezTo>
                  <a:pt x="4000" y="75000"/>
                  <a:pt x="24000" y="75000"/>
                  <a:pt x="16000" y="67500"/>
                </a:cubicBezTo>
                <a:cubicBezTo>
                  <a:pt x="16000" y="63750"/>
                  <a:pt x="24000" y="75000"/>
                  <a:pt x="28000" y="52500"/>
                </a:cubicBezTo>
                <a:cubicBezTo>
                  <a:pt x="40000" y="33750"/>
                  <a:pt x="36000" y="18750"/>
                  <a:pt x="40000" y="22500"/>
                </a:cubicBezTo>
                <a:cubicBezTo>
                  <a:pt x="60000" y="18750"/>
                  <a:pt x="48000" y="22500"/>
                  <a:pt x="48000" y="30000"/>
                </a:cubicBezTo>
                <a:cubicBezTo>
                  <a:pt x="48000" y="33750"/>
                  <a:pt x="60000" y="33750"/>
                  <a:pt x="52000" y="33750"/>
                </a:cubicBezTo>
                <a:cubicBezTo>
                  <a:pt x="48000" y="41250"/>
                  <a:pt x="48000" y="45000"/>
                  <a:pt x="52000" y="52500"/>
                </a:cubicBezTo>
                <a:cubicBezTo>
                  <a:pt x="64000" y="56250"/>
                  <a:pt x="76000" y="41250"/>
                  <a:pt x="64000" y="41250"/>
                </a:cubicBezTo>
                <a:cubicBezTo>
                  <a:pt x="60000" y="33750"/>
                  <a:pt x="72000" y="30000"/>
                  <a:pt x="64000" y="30000"/>
                </a:cubicBezTo>
                <a:cubicBezTo>
                  <a:pt x="60000" y="30000"/>
                  <a:pt x="64000" y="18750"/>
                  <a:pt x="60000" y="18750"/>
                </a:cubicBezTo>
                <a:cubicBezTo>
                  <a:pt x="52000" y="18750"/>
                  <a:pt x="60000" y="3750"/>
                  <a:pt x="76000" y="0"/>
                </a:cubicBezTo>
                <a:cubicBezTo>
                  <a:pt x="96000" y="0"/>
                  <a:pt x="100000" y="0"/>
                  <a:pt x="108000" y="3750"/>
                </a:cubicBezTo>
                <a:cubicBezTo>
                  <a:pt x="112000" y="3750"/>
                  <a:pt x="112000" y="11250"/>
                  <a:pt x="120000" y="11250"/>
                </a:cubicBezTo>
                <a:cubicBezTo>
                  <a:pt x="112000" y="33750"/>
                  <a:pt x="112000" y="41250"/>
                  <a:pt x="108000" y="33750"/>
                </a:cubicBezTo>
              </a:path>
            </a:pathLst>
          </a:custGeom>
          <a:solidFill>
            <a:srgbClr val="C00000"/>
          </a:solidFill>
          <a:ln w="3175" cap="flat" cmpd="sng" algn="ctr">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86" name="Shape 1946"/>
          <p:cNvSpPr/>
          <p:nvPr/>
        </p:nvSpPr>
        <p:spPr>
          <a:xfrm>
            <a:off x="5590640" y="3347522"/>
            <a:ext cx="112573" cy="77840"/>
          </a:xfrm>
          <a:custGeom>
            <a:avLst/>
            <a:gdLst/>
            <a:ahLst/>
            <a:cxnLst/>
            <a:rect l="0" t="0" r="0" b="0"/>
            <a:pathLst>
              <a:path w="120000" h="120000" extrusionOk="0">
                <a:moveTo>
                  <a:pt x="109411" y="62400"/>
                </a:moveTo>
                <a:cubicBezTo>
                  <a:pt x="102352" y="67200"/>
                  <a:pt x="120000" y="62400"/>
                  <a:pt x="102352" y="76800"/>
                </a:cubicBezTo>
                <a:cubicBezTo>
                  <a:pt x="84705" y="91200"/>
                  <a:pt x="91764" y="115200"/>
                  <a:pt x="91764" y="120000"/>
                </a:cubicBezTo>
                <a:cubicBezTo>
                  <a:pt x="81176" y="120000"/>
                  <a:pt x="81176" y="105600"/>
                  <a:pt x="74117" y="105600"/>
                </a:cubicBezTo>
                <a:cubicBezTo>
                  <a:pt x="60000" y="100800"/>
                  <a:pt x="70588" y="86400"/>
                  <a:pt x="63529" y="86400"/>
                </a:cubicBezTo>
                <a:cubicBezTo>
                  <a:pt x="60000" y="76800"/>
                  <a:pt x="52941" y="105600"/>
                  <a:pt x="49411" y="86400"/>
                </a:cubicBezTo>
                <a:cubicBezTo>
                  <a:pt x="49411" y="67200"/>
                  <a:pt x="38823" y="76800"/>
                  <a:pt x="31764" y="67200"/>
                </a:cubicBezTo>
                <a:cubicBezTo>
                  <a:pt x="28235" y="52800"/>
                  <a:pt x="28235" y="67200"/>
                  <a:pt x="21176" y="52800"/>
                </a:cubicBezTo>
                <a:cubicBezTo>
                  <a:pt x="14117" y="38400"/>
                  <a:pt x="10588" y="62400"/>
                  <a:pt x="0" y="33600"/>
                </a:cubicBezTo>
                <a:cubicBezTo>
                  <a:pt x="10588" y="24000"/>
                  <a:pt x="14117" y="19200"/>
                  <a:pt x="28235" y="9600"/>
                </a:cubicBezTo>
                <a:cubicBezTo>
                  <a:pt x="28235" y="19200"/>
                  <a:pt x="28235" y="19200"/>
                  <a:pt x="31764" y="19200"/>
                </a:cubicBezTo>
                <a:cubicBezTo>
                  <a:pt x="31764" y="19200"/>
                  <a:pt x="38823" y="24000"/>
                  <a:pt x="42352" y="19200"/>
                </a:cubicBezTo>
                <a:cubicBezTo>
                  <a:pt x="49411" y="9600"/>
                  <a:pt x="52941" y="19200"/>
                  <a:pt x="52941" y="9600"/>
                </a:cubicBezTo>
                <a:cubicBezTo>
                  <a:pt x="60000" y="0"/>
                  <a:pt x="52941" y="9600"/>
                  <a:pt x="60000" y="9600"/>
                </a:cubicBezTo>
                <a:cubicBezTo>
                  <a:pt x="70588" y="0"/>
                  <a:pt x="63529" y="9600"/>
                  <a:pt x="70588" y="9600"/>
                </a:cubicBezTo>
                <a:cubicBezTo>
                  <a:pt x="74117" y="0"/>
                  <a:pt x="70588" y="19200"/>
                  <a:pt x="84705" y="19200"/>
                </a:cubicBezTo>
                <a:cubicBezTo>
                  <a:pt x="109411" y="24000"/>
                  <a:pt x="74117" y="48000"/>
                  <a:pt x="98823" y="48000"/>
                </a:cubicBezTo>
                <a:cubicBezTo>
                  <a:pt x="102352" y="52800"/>
                  <a:pt x="109411" y="52800"/>
                  <a:pt x="109411" y="62400"/>
                </a:cubicBezTo>
              </a:path>
            </a:pathLst>
          </a:custGeom>
          <a:solidFill>
            <a:srgbClr val="C00000"/>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87" name="Shape 1947"/>
          <p:cNvSpPr/>
          <p:nvPr/>
        </p:nvSpPr>
        <p:spPr>
          <a:xfrm>
            <a:off x="5670809" y="3393592"/>
            <a:ext cx="32408" cy="31771"/>
          </a:xfrm>
          <a:custGeom>
            <a:avLst/>
            <a:gdLst/>
            <a:ahLst/>
            <a:cxnLst/>
            <a:rect l="0" t="0" r="0" b="0"/>
            <a:pathLst>
              <a:path w="120000" h="120000" extrusionOk="0">
                <a:moveTo>
                  <a:pt x="84000" y="120000"/>
                </a:moveTo>
                <a:cubicBezTo>
                  <a:pt x="84000" y="84000"/>
                  <a:pt x="120000" y="84000"/>
                  <a:pt x="96000" y="60000"/>
                </a:cubicBezTo>
                <a:cubicBezTo>
                  <a:pt x="96000" y="60000"/>
                  <a:pt x="60000" y="60000"/>
                  <a:pt x="60000" y="0"/>
                </a:cubicBezTo>
                <a:cubicBezTo>
                  <a:pt x="0" y="48000"/>
                  <a:pt x="24000" y="108000"/>
                  <a:pt x="24000" y="120000"/>
                </a:cubicBezTo>
                <a:cubicBezTo>
                  <a:pt x="60000" y="120000"/>
                  <a:pt x="60000" y="120000"/>
                  <a:pt x="84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88" name="Shape 1948"/>
          <p:cNvSpPr/>
          <p:nvPr/>
        </p:nvSpPr>
        <p:spPr>
          <a:xfrm>
            <a:off x="6093818" y="3072696"/>
            <a:ext cx="46054" cy="28593"/>
          </a:xfrm>
          <a:custGeom>
            <a:avLst/>
            <a:gdLst/>
            <a:ahLst/>
            <a:cxnLst/>
            <a:rect l="0" t="0" r="0" b="0"/>
            <a:pathLst>
              <a:path w="120000" h="120000" extrusionOk="0">
                <a:moveTo>
                  <a:pt x="25714" y="120000"/>
                </a:moveTo>
                <a:cubicBezTo>
                  <a:pt x="8571" y="120000"/>
                  <a:pt x="8571" y="106666"/>
                  <a:pt x="25714" y="106666"/>
                </a:cubicBezTo>
                <a:cubicBezTo>
                  <a:pt x="34285" y="106666"/>
                  <a:pt x="34285" y="80000"/>
                  <a:pt x="25714" y="80000"/>
                </a:cubicBezTo>
                <a:cubicBezTo>
                  <a:pt x="0" y="66666"/>
                  <a:pt x="8571" y="66666"/>
                  <a:pt x="8571" y="66666"/>
                </a:cubicBezTo>
                <a:cubicBezTo>
                  <a:pt x="25714" y="40000"/>
                  <a:pt x="0" y="26666"/>
                  <a:pt x="8571" y="26666"/>
                </a:cubicBezTo>
                <a:cubicBezTo>
                  <a:pt x="25714" y="26666"/>
                  <a:pt x="25714" y="40000"/>
                  <a:pt x="25714" y="26666"/>
                </a:cubicBezTo>
                <a:cubicBezTo>
                  <a:pt x="34285" y="0"/>
                  <a:pt x="59999" y="0"/>
                  <a:pt x="59999" y="0"/>
                </a:cubicBezTo>
                <a:cubicBezTo>
                  <a:pt x="59999" y="26666"/>
                  <a:pt x="77142" y="0"/>
                  <a:pt x="94285" y="26666"/>
                </a:cubicBezTo>
                <a:cubicBezTo>
                  <a:pt x="119999" y="40000"/>
                  <a:pt x="119999" y="40000"/>
                  <a:pt x="102857" y="40000"/>
                </a:cubicBezTo>
                <a:cubicBezTo>
                  <a:pt x="102857" y="40000"/>
                  <a:pt x="102857" y="26666"/>
                  <a:pt x="94285" y="40000"/>
                </a:cubicBezTo>
                <a:cubicBezTo>
                  <a:pt x="94285" y="66666"/>
                  <a:pt x="59999" y="80000"/>
                  <a:pt x="51428" y="80000"/>
                </a:cubicBezTo>
                <a:cubicBezTo>
                  <a:pt x="51428" y="66666"/>
                  <a:pt x="34285" y="106666"/>
                  <a:pt x="34285" y="106666"/>
                </a:cubicBezTo>
                <a:cubicBezTo>
                  <a:pt x="34285" y="120000"/>
                  <a:pt x="25714" y="120000"/>
                  <a:pt x="25714"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89" name="Shape 1949"/>
          <p:cNvSpPr/>
          <p:nvPr/>
        </p:nvSpPr>
        <p:spPr>
          <a:xfrm>
            <a:off x="6104052" y="3055221"/>
            <a:ext cx="28996" cy="17474"/>
          </a:xfrm>
          <a:custGeom>
            <a:avLst/>
            <a:gdLst/>
            <a:ahLst/>
            <a:cxnLst/>
            <a:rect l="0" t="0" r="0" b="0"/>
            <a:pathLst>
              <a:path w="120000" h="120000" extrusionOk="0">
                <a:moveTo>
                  <a:pt x="66666" y="120000"/>
                </a:moveTo>
                <a:cubicBezTo>
                  <a:pt x="40000" y="120000"/>
                  <a:pt x="40000" y="60000"/>
                  <a:pt x="26666" y="60000"/>
                </a:cubicBezTo>
                <a:cubicBezTo>
                  <a:pt x="0" y="60000"/>
                  <a:pt x="0" y="60000"/>
                  <a:pt x="0" y="60000"/>
                </a:cubicBezTo>
                <a:cubicBezTo>
                  <a:pt x="26666" y="40000"/>
                  <a:pt x="40000" y="60000"/>
                  <a:pt x="66666" y="40000"/>
                </a:cubicBezTo>
                <a:cubicBezTo>
                  <a:pt x="66666" y="0"/>
                  <a:pt x="66666" y="40000"/>
                  <a:pt x="80000" y="60000"/>
                </a:cubicBezTo>
                <a:cubicBezTo>
                  <a:pt x="120000" y="60000"/>
                  <a:pt x="106666" y="100000"/>
                  <a:pt x="106666" y="100000"/>
                </a:cubicBezTo>
                <a:cubicBezTo>
                  <a:pt x="80000" y="100000"/>
                  <a:pt x="80000" y="100000"/>
                  <a:pt x="80000" y="100000"/>
                </a:cubicBezTo>
                <a:cubicBezTo>
                  <a:pt x="66666" y="100000"/>
                  <a:pt x="66666" y="120000"/>
                  <a:pt x="66666"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90" name="Shape 1950"/>
          <p:cNvSpPr/>
          <p:nvPr/>
        </p:nvSpPr>
        <p:spPr>
          <a:xfrm>
            <a:off x="6129636" y="3069517"/>
            <a:ext cx="10232" cy="12709"/>
          </a:xfrm>
          <a:custGeom>
            <a:avLst/>
            <a:gdLst/>
            <a:ahLst/>
            <a:cxnLst/>
            <a:rect l="0" t="0" r="0" b="0"/>
            <a:pathLst>
              <a:path w="120000" h="120000" extrusionOk="0">
                <a:moveTo>
                  <a:pt x="0" y="30000"/>
                </a:moveTo>
                <a:cubicBezTo>
                  <a:pt x="40000" y="0"/>
                  <a:pt x="120000" y="30000"/>
                  <a:pt x="120000" y="90000"/>
                </a:cubicBezTo>
                <a:cubicBezTo>
                  <a:pt x="40000" y="120000"/>
                  <a:pt x="0" y="90000"/>
                  <a:pt x="0" y="3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91" name="Shape 1951"/>
          <p:cNvSpPr/>
          <p:nvPr/>
        </p:nvSpPr>
        <p:spPr>
          <a:xfrm>
            <a:off x="6129636" y="3061576"/>
            <a:ext cx="10232" cy="3176"/>
          </a:xfrm>
          <a:custGeom>
            <a:avLst/>
            <a:gdLst/>
            <a:ahLst/>
            <a:cxnLst/>
            <a:rect l="0" t="0" r="0" b="0"/>
            <a:pathLst>
              <a:path w="120000" h="120000" extrusionOk="0">
                <a:moveTo>
                  <a:pt x="40000" y="0"/>
                </a:moveTo>
                <a:cubicBezTo>
                  <a:pt x="0" y="0"/>
                  <a:pt x="120000" y="0"/>
                  <a:pt x="120000" y="0"/>
                </a:cubicBezTo>
                <a:cubicBezTo>
                  <a:pt x="120000" y="120000"/>
                  <a:pt x="40000" y="0"/>
                  <a:pt x="40000"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92" name="Shape 1952"/>
          <p:cNvSpPr/>
          <p:nvPr/>
        </p:nvSpPr>
        <p:spPr>
          <a:xfrm>
            <a:off x="5815791" y="2639007"/>
            <a:ext cx="344548" cy="570307"/>
          </a:xfrm>
          <a:custGeom>
            <a:avLst/>
            <a:gdLst/>
            <a:ahLst/>
            <a:cxnLst/>
            <a:rect l="0" t="0" r="0" b="0"/>
            <a:pathLst>
              <a:path w="120000" h="120000" extrusionOk="0">
                <a:moveTo>
                  <a:pt x="2307" y="87567"/>
                </a:moveTo>
                <a:cubicBezTo>
                  <a:pt x="2307" y="87567"/>
                  <a:pt x="2307" y="88864"/>
                  <a:pt x="3461" y="89513"/>
                </a:cubicBezTo>
                <a:cubicBezTo>
                  <a:pt x="3461" y="90810"/>
                  <a:pt x="6923" y="88864"/>
                  <a:pt x="5769" y="85621"/>
                </a:cubicBezTo>
                <a:cubicBezTo>
                  <a:pt x="3461" y="83675"/>
                  <a:pt x="6923" y="83675"/>
                  <a:pt x="6923" y="82378"/>
                </a:cubicBezTo>
                <a:cubicBezTo>
                  <a:pt x="5769" y="80432"/>
                  <a:pt x="9230" y="82378"/>
                  <a:pt x="10384" y="80432"/>
                </a:cubicBezTo>
                <a:cubicBezTo>
                  <a:pt x="13846" y="78486"/>
                  <a:pt x="10384" y="78486"/>
                  <a:pt x="12692" y="77837"/>
                </a:cubicBezTo>
                <a:cubicBezTo>
                  <a:pt x="16153" y="76540"/>
                  <a:pt x="9230" y="72648"/>
                  <a:pt x="10384" y="71351"/>
                </a:cubicBezTo>
                <a:cubicBezTo>
                  <a:pt x="10384" y="70702"/>
                  <a:pt x="13846" y="72648"/>
                  <a:pt x="13846" y="70702"/>
                </a:cubicBezTo>
                <a:cubicBezTo>
                  <a:pt x="16153" y="69405"/>
                  <a:pt x="17307" y="68756"/>
                  <a:pt x="12692" y="67459"/>
                </a:cubicBezTo>
                <a:cubicBezTo>
                  <a:pt x="5769" y="65513"/>
                  <a:pt x="12692" y="62270"/>
                  <a:pt x="10384" y="59675"/>
                </a:cubicBezTo>
                <a:cubicBezTo>
                  <a:pt x="6923" y="57081"/>
                  <a:pt x="10384" y="57081"/>
                  <a:pt x="9230" y="56432"/>
                </a:cubicBezTo>
                <a:cubicBezTo>
                  <a:pt x="6923" y="55135"/>
                  <a:pt x="10384" y="55135"/>
                  <a:pt x="9230" y="53189"/>
                </a:cubicBezTo>
                <a:cubicBezTo>
                  <a:pt x="5769" y="51243"/>
                  <a:pt x="10384" y="51243"/>
                  <a:pt x="9230" y="50594"/>
                </a:cubicBezTo>
                <a:cubicBezTo>
                  <a:pt x="9230" y="48000"/>
                  <a:pt x="16153" y="46054"/>
                  <a:pt x="17307" y="45405"/>
                </a:cubicBezTo>
                <a:cubicBezTo>
                  <a:pt x="20769" y="44108"/>
                  <a:pt x="26538" y="47351"/>
                  <a:pt x="28846" y="43459"/>
                </a:cubicBezTo>
                <a:cubicBezTo>
                  <a:pt x="30000" y="41513"/>
                  <a:pt x="26538" y="42162"/>
                  <a:pt x="25384" y="41513"/>
                </a:cubicBezTo>
                <a:cubicBezTo>
                  <a:pt x="20769" y="40216"/>
                  <a:pt x="30000" y="36972"/>
                  <a:pt x="30000" y="36324"/>
                </a:cubicBezTo>
                <a:cubicBezTo>
                  <a:pt x="30000" y="34378"/>
                  <a:pt x="32307" y="35027"/>
                  <a:pt x="32307" y="33081"/>
                </a:cubicBezTo>
                <a:cubicBezTo>
                  <a:pt x="30000" y="29837"/>
                  <a:pt x="33461" y="31135"/>
                  <a:pt x="30000" y="27243"/>
                </a:cubicBezTo>
                <a:cubicBezTo>
                  <a:pt x="30000" y="25945"/>
                  <a:pt x="42692" y="27243"/>
                  <a:pt x="39230" y="25297"/>
                </a:cubicBezTo>
                <a:cubicBezTo>
                  <a:pt x="36923" y="23351"/>
                  <a:pt x="40384" y="24000"/>
                  <a:pt x="42692" y="20756"/>
                </a:cubicBezTo>
                <a:cubicBezTo>
                  <a:pt x="46153" y="18810"/>
                  <a:pt x="47307" y="20108"/>
                  <a:pt x="47307" y="18162"/>
                </a:cubicBezTo>
                <a:cubicBezTo>
                  <a:pt x="49615" y="16864"/>
                  <a:pt x="46153" y="16216"/>
                  <a:pt x="46153" y="14918"/>
                </a:cubicBezTo>
                <a:cubicBezTo>
                  <a:pt x="46153" y="14270"/>
                  <a:pt x="47307" y="14918"/>
                  <a:pt x="50769" y="11675"/>
                </a:cubicBezTo>
                <a:cubicBezTo>
                  <a:pt x="50769" y="9729"/>
                  <a:pt x="54230" y="9729"/>
                  <a:pt x="56538" y="9081"/>
                </a:cubicBezTo>
                <a:cubicBezTo>
                  <a:pt x="57692" y="9081"/>
                  <a:pt x="60000" y="11027"/>
                  <a:pt x="63461" y="9729"/>
                </a:cubicBezTo>
                <a:cubicBezTo>
                  <a:pt x="66923" y="9081"/>
                  <a:pt x="61153" y="5837"/>
                  <a:pt x="63461" y="5189"/>
                </a:cubicBezTo>
                <a:cubicBezTo>
                  <a:pt x="69230" y="2594"/>
                  <a:pt x="77307" y="7783"/>
                  <a:pt x="83076" y="5837"/>
                </a:cubicBezTo>
                <a:cubicBezTo>
                  <a:pt x="86538" y="5189"/>
                  <a:pt x="77307" y="5837"/>
                  <a:pt x="83076" y="3891"/>
                </a:cubicBezTo>
                <a:cubicBezTo>
                  <a:pt x="87692" y="648"/>
                  <a:pt x="77307" y="0"/>
                  <a:pt x="87692" y="0"/>
                </a:cubicBezTo>
                <a:cubicBezTo>
                  <a:pt x="91153" y="648"/>
                  <a:pt x="86538" y="648"/>
                  <a:pt x="91153" y="1945"/>
                </a:cubicBezTo>
                <a:cubicBezTo>
                  <a:pt x="94615" y="3891"/>
                  <a:pt x="100384" y="5837"/>
                  <a:pt x="103846" y="5837"/>
                </a:cubicBezTo>
                <a:cubicBezTo>
                  <a:pt x="107307" y="5837"/>
                  <a:pt x="110769" y="7135"/>
                  <a:pt x="110769" y="7783"/>
                </a:cubicBezTo>
                <a:cubicBezTo>
                  <a:pt x="110769" y="9081"/>
                  <a:pt x="108461" y="7783"/>
                  <a:pt x="113076" y="9081"/>
                </a:cubicBezTo>
                <a:cubicBezTo>
                  <a:pt x="117692" y="11675"/>
                  <a:pt x="113076" y="9729"/>
                  <a:pt x="113076" y="11675"/>
                </a:cubicBezTo>
                <a:cubicBezTo>
                  <a:pt x="114230" y="14918"/>
                  <a:pt x="113076" y="14270"/>
                  <a:pt x="113076" y="14918"/>
                </a:cubicBezTo>
                <a:cubicBezTo>
                  <a:pt x="113076" y="16216"/>
                  <a:pt x="116538" y="14270"/>
                  <a:pt x="116538" y="14918"/>
                </a:cubicBezTo>
                <a:cubicBezTo>
                  <a:pt x="116538" y="16216"/>
                  <a:pt x="114230" y="16216"/>
                  <a:pt x="114230" y="18162"/>
                </a:cubicBezTo>
                <a:cubicBezTo>
                  <a:pt x="114230" y="18810"/>
                  <a:pt x="120000" y="20108"/>
                  <a:pt x="117692" y="20756"/>
                </a:cubicBezTo>
                <a:cubicBezTo>
                  <a:pt x="116538" y="22054"/>
                  <a:pt x="117692" y="22054"/>
                  <a:pt x="116538" y="24000"/>
                </a:cubicBezTo>
                <a:cubicBezTo>
                  <a:pt x="113076" y="25945"/>
                  <a:pt x="120000" y="27243"/>
                  <a:pt x="120000" y="29837"/>
                </a:cubicBezTo>
                <a:cubicBezTo>
                  <a:pt x="116538" y="31135"/>
                  <a:pt x="114230" y="29189"/>
                  <a:pt x="110769" y="29837"/>
                </a:cubicBezTo>
                <a:cubicBezTo>
                  <a:pt x="107307" y="31135"/>
                  <a:pt x="108461" y="29189"/>
                  <a:pt x="105000" y="29837"/>
                </a:cubicBezTo>
                <a:cubicBezTo>
                  <a:pt x="103846" y="31135"/>
                  <a:pt x="100384" y="32432"/>
                  <a:pt x="100384" y="33081"/>
                </a:cubicBezTo>
                <a:cubicBezTo>
                  <a:pt x="100384" y="34378"/>
                  <a:pt x="96923" y="33081"/>
                  <a:pt x="94615" y="35027"/>
                </a:cubicBezTo>
                <a:cubicBezTo>
                  <a:pt x="94615" y="38270"/>
                  <a:pt x="91153" y="36972"/>
                  <a:pt x="93461" y="38918"/>
                </a:cubicBezTo>
                <a:cubicBezTo>
                  <a:pt x="93461" y="41513"/>
                  <a:pt x="98076" y="41513"/>
                  <a:pt x="93461" y="43459"/>
                </a:cubicBezTo>
                <a:cubicBezTo>
                  <a:pt x="87692" y="45405"/>
                  <a:pt x="90000" y="48000"/>
                  <a:pt x="86538" y="48000"/>
                </a:cubicBezTo>
                <a:cubicBezTo>
                  <a:pt x="83076" y="48000"/>
                  <a:pt x="84230" y="49297"/>
                  <a:pt x="83076" y="49297"/>
                </a:cubicBezTo>
                <a:cubicBezTo>
                  <a:pt x="79615" y="49297"/>
                  <a:pt x="80769" y="51243"/>
                  <a:pt x="77307" y="50594"/>
                </a:cubicBezTo>
                <a:cubicBezTo>
                  <a:pt x="72692" y="50594"/>
                  <a:pt x="76153" y="54486"/>
                  <a:pt x="72692" y="53189"/>
                </a:cubicBezTo>
                <a:cubicBezTo>
                  <a:pt x="69230" y="52540"/>
                  <a:pt x="70384" y="56432"/>
                  <a:pt x="63461" y="56432"/>
                </a:cubicBezTo>
                <a:cubicBezTo>
                  <a:pt x="57692" y="57081"/>
                  <a:pt x="66923" y="57081"/>
                  <a:pt x="61153" y="59675"/>
                </a:cubicBezTo>
                <a:cubicBezTo>
                  <a:pt x="56538" y="60324"/>
                  <a:pt x="57692" y="57081"/>
                  <a:pt x="56538" y="59675"/>
                </a:cubicBezTo>
                <a:cubicBezTo>
                  <a:pt x="56538" y="61621"/>
                  <a:pt x="61153" y="59675"/>
                  <a:pt x="57692" y="62270"/>
                </a:cubicBezTo>
                <a:cubicBezTo>
                  <a:pt x="56538" y="64216"/>
                  <a:pt x="60000" y="66162"/>
                  <a:pt x="57692" y="66162"/>
                </a:cubicBezTo>
                <a:cubicBezTo>
                  <a:pt x="54230" y="66162"/>
                  <a:pt x="54230" y="75243"/>
                  <a:pt x="57692" y="75243"/>
                </a:cubicBezTo>
                <a:cubicBezTo>
                  <a:pt x="61153" y="75243"/>
                  <a:pt x="57692" y="76540"/>
                  <a:pt x="61153" y="75243"/>
                </a:cubicBezTo>
                <a:cubicBezTo>
                  <a:pt x="64615" y="75243"/>
                  <a:pt x="64615" y="77837"/>
                  <a:pt x="66923" y="77837"/>
                </a:cubicBezTo>
                <a:cubicBezTo>
                  <a:pt x="70384" y="77837"/>
                  <a:pt x="64615" y="79783"/>
                  <a:pt x="69230" y="79783"/>
                </a:cubicBezTo>
                <a:cubicBezTo>
                  <a:pt x="70384" y="79783"/>
                  <a:pt x="72692" y="80432"/>
                  <a:pt x="73846" y="81729"/>
                </a:cubicBezTo>
                <a:cubicBezTo>
                  <a:pt x="73846" y="82378"/>
                  <a:pt x="66923" y="84324"/>
                  <a:pt x="63461" y="85621"/>
                </a:cubicBezTo>
                <a:cubicBezTo>
                  <a:pt x="61153" y="86918"/>
                  <a:pt x="60000" y="83675"/>
                  <a:pt x="57692" y="84324"/>
                </a:cubicBezTo>
                <a:cubicBezTo>
                  <a:pt x="56538" y="84324"/>
                  <a:pt x="53076" y="82378"/>
                  <a:pt x="47307" y="84324"/>
                </a:cubicBezTo>
                <a:cubicBezTo>
                  <a:pt x="43846" y="86918"/>
                  <a:pt x="53076" y="83675"/>
                  <a:pt x="56538" y="85621"/>
                </a:cubicBezTo>
                <a:cubicBezTo>
                  <a:pt x="61153" y="88864"/>
                  <a:pt x="66923" y="84324"/>
                  <a:pt x="69230" y="85621"/>
                </a:cubicBezTo>
                <a:cubicBezTo>
                  <a:pt x="70384" y="87567"/>
                  <a:pt x="66923" y="86918"/>
                  <a:pt x="66923" y="87567"/>
                </a:cubicBezTo>
                <a:cubicBezTo>
                  <a:pt x="66923" y="88864"/>
                  <a:pt x="64615" y="87567"/>
                  <a:pt x="63461" y="89513"/>
                </a:cubicBezTo>
                <a:cubicBezTo>
                  <a:pt x="61153" y="90810"/>
                  <a:pt x="60000" y="87567"/>
                  <a:pt x="60000" y="89513"/>
                </a:cubicBezTo>
                <a:cubicBezTo>
                  <a:pt x="57692" y="91459"/>
                  <a:pt x="50769" y="91459"/>
                  <a:pt x="53076" y="92756"/>
                </a:cubicBezTo>
                <a:cubicBezTo>
                  <a:pt x="53076" y="93405"/>
                  <a:pt x="49615" y="92756"/>
                  <a:pt x="50769" y="94702"/>
                </a:cubicBezTo>
                <a:cubicBezTo>
                  <a:pt x="53076" y="96000"/>
                  <a:pt x="50769" y="96000"/>
                  <a:pt x="50769" y="97945"/>
                </a:cubicBezTo>
                <a:cubicBezTo>
                  <a:pt x="53076" y="98594"/>
                  <a:pt x="49615" y="99891"/>
                  <a:pt x="50769" y="100540"/>
                </a:cubicBezTo>
                <a:cubicBezTo>
                  <a:pt x="50769" y="101837"/>
                  <a:pt x="49615" y="103783"/>
                  <a:pt x="49615" y="105081"/>
                </a:cubicBezTo>
                <a:cubicBezTo>
                  <a:pt x="49615" y="107027"/>
                  <a:pt x="47307" y="107675"/>
                  <a:pt x="46153" y="110918"/>
                </a:cubicBezTo>
                <a:cubicBezTo>
                  <a:pt x="43846" y="114810"/>
                  <a:pt x="43846" y="111567"/>
                  <a:pt x="36923" y="111567"/>
                </a:cubicBezTo>
                <a:cubicBezTo>
                  <a:pt x="30000" y="112864"/>
                  <a:pt x="35769" y="114162"/>
                  <a:pt x="32307" y="114162"/>
                </a:cubicBezTo>
                <a:cubicBezTo>
                  <a:pt x="28846" y="112864"/>
                  <a:pt x="32307" y="118702"/>
                  <a:pt x="28846" y="118702"/>
                </a:cubicBezTo>
                <a:cubicBezTo>
                  <a:pt x="23076" y="118054"/>
                  <a:pt x="13846" y="120000"/>
                  <a:pt x="16153" y="118054"/>
                </a:cubicBezTo>
                <a:cubicBezTo>
                  <a:pt x="19615" y="114810"/>
                  <a:pt x="9230" y="109621"/>
                  <a:pt x="13846" y="111567"/>
                </a:cubicBezTo>
                <a:cubicBezTo>
                  <a:pt x="17307" y="112864"/>
                  <a:pt x="12692" y="109621"/>
                  <a:pt x="13846" y="109621"/>
                </a:cubicBezTo>
                <a:cubicBezTo>
                  <a:pt x="17307" y="109621"/>
                  <a:pt x="17307" y="107675"/>
                  <a:pt x="16153" y="108972"/>
                </a:cubicBezTo>
                <a:cubicBezTo>
                  <a:pt x="12692" y="108972"/>
                  <a:pt x="9230" y="102486"/>
                  <a:pt x="6923" y="99891"/>
                </a:cubicBezTo>
                <a:cubicBezTo>
                  <a:pt x="5769" y="96648"/>
                  <a:pt x="9230" y="96648"/>
                  <a:pt x="6923" y="94702"/>
                </a:cubicBezTo>
                <a:cubicBezTo>
                  <a:pt x="5769" y="93405"/>
                  <a:pt x="3461" y="96648"/>
                  <a:pt x="2307" y="94702"/>
                </a:cubicBezTo>
                <a:cubicBezTo>
                  <a:pt x="0" y="92756"/>
                  <a:pt x="2307" y="91459"/>
                  <a:pt x="0" y="89513"/>
                </a:cubicBezTo>
                <a:cubicBezTo>
                  <a:pt x="0" y="88864"/>
                  <a:pt x="2307" y="88864"/>
                  <a:pt x="2307" y="87567"/>
                </a:cubicBezTo>
                <a:close/>
                <a:moveTo>
                  <a:pt x="70384" y="102486"/>
                </a:moveTo>
                <a:cubicBezTo>
                  <a:pt x="73846" y="100540"/>
                  <a:pt x="69230" y="100540"/>
                  <a:pt x="72692" y="98594"/>
                </a:cubicBezTo>
                <a:cubicBezTo>
                  <a:pt x="76153" y="97945"/>
                  <a:pt x="76153" y="96648"/>
                  <a:pt x="72692" y="97945"/>
                </a:cubicBezTo>
                <a:cubicBezTo>
                  <a:pt x="69230" y="99891"/>
                  <a:pt x="70384" y="96648"/>
                  <a:pt x="66923" y="98594"/>
                </a:cubicBezTo>
                <a:cubicBezTo>
                  <a:pt x="63461" y="100540"/>
                  <a:pt x="63461" y="102486"/>
                  <a:pt x="64615" y="103783"/>
                </a:cubicBezTo>
                <a:cubicBezTo>
                  <a:pt x="64615" y="105081"/>
                  <a:pt x="63461" y="107027"/>
                  <a:pt x="64615" y="105729"/>
                </a:cubicBezTo>
                <a:cubicBezTo>
                  <a:pt x="66923" y="105729"/>
                  <a:pt x="66923" y="105081"/>
                  <a:pt x="70384" y="102486"/>
                </a:cubicBezTo>
                <a:close/>
                <a:moveTo>
                  <a:pt x="54230" y="102486"/>
                </a:moveTo>
                <a:cubicBezTo>
                  <a:pt x="53076" y="102486"/>
                  <a:pt x="53076" y="105081"/>
                  <a:pt x="50769" y="105729"/>
                </a:cubicBezTo>
                <a:cubicBezTo>
                  <a:pt x="49615" y="107027"/>
                  <a:pt x="47307" y="110918"/>
                  <a:pt x="49615" y="111567"/>
                </a:cubicBezTo>
                <a:cubicBezTo>
                  <a:pt x="49615" y="111567"/>
                  <a:pt x="56538" y="102486"/>
                  <a:pt x="54230" y="102486"/>
                </a:cubicBezTo>
                <a:close/>
                <a:moveTo>
                  <a:pt x="69230" y="77837"/>
                </a:moveTo>
                <a:cubicBezTo>
                  <a:pt x="66923" y="77837"/>
                  <a:pt x="66923" y="76540"/>
                  <a:pt x="66923" y="75243"/>
                </a:cubicBezTo>
                <a:cubicBezTo>
                  <a:pt x="69230" y="77837"/>
                  <a:pt x="69230" y="77837"/>
                  <a:pt x="69230" y="77837"/>
                </a:cubicBezTo>
                <a:close/>
              </a:path>
            </a:pathLst>
          </a:custGeom>
          <a:solidFill>
            <a:schemeClr val="accent2"/>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93" name="Shape 1953"/>
          <p:cNvSpPr/>
          <p:nvPr/>
        </p:nvSpPr>
        <p:spPr>
          <a:xfrm>
            <a:off x="6709565" y="3685894"/>
            <a:ext cx="138158" cy="130264"/>
          </a:xfrm>
          <a:custGeom>
            <a:avLst/>
            <a:gdLst/>
            <a:ahLst/>
            <a:cxnLst/>
            <a:rect l="0" t="0" r="0" b="0"/>
            <a:pathLst>
              <a:path w="120000" h="120000" extrusionOk="0">
                <a:moveTo>
                  <a:pt x="85714" y="117142"/>
                </a:moveTo>
                <a:cubicBezTo>
                  <a:pt x="74285" y="120000"/>
                  <a:pt x="77142" y="111428"/>
                  <a:pt x="74285" y="108571"/>
                </a:cubicBezTo>
                <a:cubicBezTo>
                  <a:pt x="74285" y="111428"/>
                  <a:pt x="74285" y="111428"/>
                  <a:pt x="74285" y="111428"/>
                </a:cubicBezTo>
                <a:cubicBezTo>
                  <a:pt x="68571" y="111428"/>
                  <a:pt x="68571" y="108571"/>
                  <a:pt x="68571" y="108571"/>
                </a:cubicBezTo>
                <a:cubicBezTo>
                  <a:pt x="68571" y="102857"/>
                  <a:pt x="68571" y="102857"/>
                  <a:pt x="65714" y="102857"/>
                </a:cubicBezTo>
                <a:cubicBezTo>
                  <a:pt x="65714" y="102857"/>
                  <a:pt x="65714" y="102857"/>
                  <a:pt x="65714" y="100000"/>
                </a:cubicBezTo>
                <a:cubicBezTo>
                  <a:pt x="65714" y="100000"/>
                  <a:pt x="74285" y="100000"/>
                  <a:pt x="74285" y="94285"/>
                </a:cubicBezTo>
                <a:cubicBezTo>
                  <a:pt x="74285" y="94285"/>
                  <a:pt x="68571" y="94285"/>
                  <a:pt x="68571" y="91428"/>
                </a:cubicBezTo>
                <a:cubicBezTo>
                  <a:pt x="68571" y="85714"/>
                  <a:pt x="74285" y="85714"/>
                  <a:pt x="74285" y="85714"/>
                </a:cubicBezTo>
                <a:cubicBezTo>
                  <a:pt x="65714" y="77142"/>
                  <a:pt x="65714" y="77142"/>
                  <a:pt x="65714" y="77142"/>
                </a:cubicBezTo>
                <a:cubicBezTo>
                  <a:pt x="60000" y="71428"/>
                  <a:pt x="51428" y="80000"/>
                  <a:pt x="51428" y="85714"/>
                </a:cubicBezTo>
                <a:cubicBezTo>
                  <a:pt x="48571" y="85714"/>
                  <a:pt x="42857" y="91428"/>
                  <a:pt x="42857" y="91428"/>
                </a:cubicBezTo>
                <a:cubicBezTo>
                  <a:pt x="40000" y="94285"/>
                  <a:pt x="40000" y="94285"/>
                  <a:pt x="40000" y="94285"/>
                </a:cubicBezTo>
                <a:cubicBezTo>
                  <a:pt x="34285" y="100000"/>
                  <a:pt x="34285" y="100000"/>
                  <a:pt x="34285" y="100000"/>
                </a:cubicBezTo>
                <a:cubicBezTo>
                  <a:pt x="34285" y="102857"/>
                  <a:pt x="34285" y="102857"/>
                  <a:pt x="31428" y="102857"/>
                </a:cubicBezTo>
                <a:cubicBezTo>
                  <a:pt x="31428" y="100000"/>
                  <a:pt x="31428" y="100000"/>
                  <a:pt x="31428" y="94285"/>
                </a:cubicBezTo>
                <a:cubicBezTo>
                  <a:pt x="31428" y="94285"/>
                  <a:pt x="31428" y="94285"/>
                  <a:pt x="31428" y="94285"/>
                </a:cubicBezTo>
                <a:cubicBezTo>
                  <a:pt x="25714" y="91428"/>
                  <a:pt x="34285" y="91428"/>
                  <a:pt x="34285" y="91428"/>
                </a:cubicBezTo>
                <a:cubicBezTo>
                  <a:pt x="34285" y="91428"/>
                  <a:pt x="25714" y="85714"/>
                  <a:pt x="31428" y="85714"/>
                </a:cubicBezTo>
                <a:cubicBezTo>
                  <a:pt x="31428" y="80000"/>
                  <a:pt x="34285" y="85714"/>
                  <a:pt x="34285" y="80000"/>
                </a:cubicBezTo>
                <a:cubicBezTo>
                  <a:pt x="34285" y="77142"/>
                  <a:pt x="25714" y="80000"/>
                  <a:pt x="25714" y="77142"/>
                </a:cubicBezTo>
                <a:cubicBezTo>
                  <a:pt x="22857" y="77142"/>
                  <a:pt x="17142" y="71428"/>
                  <a:pt x="17142" y="68571"/>
                </a:cubicBezTo>
                <a:cubicBezTo>
                  <a:pt x="11428" y="68571"/>
                  <a:pt x="11428" y="68571"/>
                  <a:pt x="11428" y="68571"/>
                </a:cubicBezTo>
                <a:cubicBezTo>
                  <a:pt x="8571" y="62857"/>
                  <a:pt x="17142" y="68571"/>
                  <a:pt x="17142" y="68571"/>
                </a:cubicBezTo>
                <a:cubicBezTo>
                  <a:pt x="17142" y="62857"/>
                  <a:pt x="22857" y="60000"/>
                  <a:pt x="22857" y="60000"/>
                </a:cubicBezTo>
                <a:cubicBezTo>
                  <a:pt x="8571" y="51428"/>
                  <a:pt x="8571" y="51428"/>
                  <a:pt x="8571" y="51428"/>
                </a:cubicBezTo>
                <a:cubicBezTo>
                  <a:pt x="2857" y="40000"/>
                  <a:pt x="11428" y="40000"/>
                  <a:pt x="11428" y="40000"/>
                </a:cubicBezTo>
                <a:cubicBezTo>
                  <a:pt x="11428" y="37142"/>
                  <a:pt x="0" y="28571"/>
                  <a:pt x="0" y="22857"/>
                </a:cubicBezTo>
                <a:cubicBezTo>
                  <a:pt x="2857" y="20000"/>
                  <a:pt x="2857" y="20000"/>
                  <a:pt x="2857" y="20000"/>
                </a:cubicBezTo>
                <a:cubicBezTo>
                  <a:pt x="11428" y="22857"/>
                  <a:pt x="11428" y="22857"/>
                  <a:pt x="11428" y="22857"/>
                </a:cubicBezTo>
                <a:cubicBezTo>
                  <a:pt x="17142" y="22857"/>
                  <a:pt x="11428" y="28571"/>
                  <a:pt x="17142" y="28571"/>
                </a:cubicBezTo>
                <a:cubicBezTo>
                  <a:pt x="22857" y="28571"/>
                  <a:pt x="22857" y="28571"/>
                  <a:pt x="25714" y="28571"/>
                </a:cubicBezTo>
                <a:cubicBezTo>
                  <a:pt x="31428" y="28571"/>
                  <a:pt x="31428" y="37142"/>
                  <a:pt x="34285" y="28571"/>
                </a:cubicBezTo>
                <a:cubicBezTo>
                  <a:pt x="40000" y="22857"/>
                  <a:pt x="25714" y="20000"/>
                  <a:pt x="25714" y="20000"/>
                </a:cubicBezTo>
                <a:cubicBezTo>
                  <a:pt x="25714" y="14285"/>
                  <a:pt x="25714" y="14285"/>
                  <a:pt x="25714" y="14285"/>
                </a:cubicBezTo>
                <a:cubicBezTo>
                  <a:pt x="25714" y="11428"/>
                  <a:pt x="31428" y="5714"/>
                  <a:pt x="31428" y="5714"/>
                </a:cubicBezTo>
                <a:cubicBezTo>
                  <a:pt x="34285" y="14285"/>
                  <a:pt x="40000" y="0"/>
                  <a:pt x="40000" y="11428"/>
                </a:cubicBezTo>
                <a:cubicBezTo>
                  <a:pt x="42857" y="20000"/>
                  <a:pt x="48571" y="11428"/>
                  <a:pt x="48571" y="20000"/>
                </a:cubicBezTo>
                <a:cubicBezTo>
                  <a:pt x="51428" y="31428"/>
                  <a:pt x="65714" y="28571"/>
                  <a:pt x="65714" y="22857"/>
                </a:cubicBezTo>
                <a:cubicBezTo>
                  <a:pt x="68571" y="20000"/>
                  <a:pt x="74285" y="14285"/>
                  <a:pt x="77142" y="11428"/>
                </a:cubicBezTo>
                <a:cubicBezTo>
                  <a:pt x="82857" y="11428"/>
                  <a:pt x="91428" y="28571"/>
                  <a:pt x="91428" y="31428"/>
                </a:cubicBezTo>
                <a:cubicBezTo>
                  <a:pt x="94285" y="37142"/>
                  <a:pt x="100000" y="37142"/>
                  <a:pt x="100000" y="45714"/>
                </a:cubicBezTo>
                <a:cubicBezTo>
                  <a:pt x="100000" y="51428"/>
                  <a:pt x="117142" y="45714"/>
                  <a:pt x="120000" y="54285"/>
                </a:cubicBezTo>
                <a:cubicBezTo>
                  <a:pt x="120000" y="62857"/>
                  <a:pt x="117142" y="51428"/>
                  <a:pt x="102857" y="54285"/>
                </a:cubicBezTo>
                <a:cubicBezTo>
                  <a:pt x="94285" y="62857"/>
                  <a:pt x="102857" y="71428"/>
                  <a:pt x="94285" y="77142"/>
                </a:cubicBezTo>
                <a:cubicBezTo>
                  <a:pt x="91428" y="80000"/>
                  <a:pt x="100000" y="85714"/>
                  <a:pt x="94285" y="91428"/>
                </a:cubicBezTo>
                <a:cubicBezTo>
                  <a:pt x="91428" y="91428"/>
                  <a:pt x="94285" y="94285"/>
                  <a:pt x="91428" y="100000"/>
                </a:cubicBezTo>
                <a:cubicBezTo>
                  <a:pt x="91428" y="100000"/>
                  <a:pt x="91428" y="80000"/>
                  <a:pt x="85714" y="100000"/>
                </a:cubicBezTo>
                <a:cubicBezTo>
                  <a:pt x="82857" y="108571"/>
                  <a:pt x="82857" y="111428"/>
                  <a:pt x="85714" y="117142"/>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94" name="Shape 1954"/>
          <p:cNvSpPr/>
          <p:nvPr/>
        </p:nvSpPr>
        <p:spPr>
          <a:xfrm>
            <a:off x="6699332" y="3763735"/>
            <a:ext cx="39231" cy="33361"/>
          </a:xfrm>
          <a:custGeom>
            <a:avLst/>
            <a:gdLst/>
            <a:ahLst/>
            <a:cxnLst/>
            <a:rect l="0" t="0" r="0" b="0"/>
            <a:pathLst>
              <a:path w="120000" h="120000" extrusionOk="0">
                <a:moveTo>
                  <a:pt x="0" y="21818"/>
                </a:moveTo>
                <a:cubicBezTo>
                  <a:pt x="10000" y="21818"/>
                  <a:pt x="10000" y="0"/>
                  <a:pt x="30000" y="0"/>
                </a:cubicBezTo>
                <a:cubicBezTo>
                  <a:pt x="40000" y="21818"/>
                  <a:pt x="30000" y="32727"/>
                  <a:pt x="40000" y="32727"/>
                </a:cubicBezTo>
                <a:cubicBezTo>
                  <a:pt x="60000" y="21818"/>
                  <a:pt x="40000" y="32727"/>
                  <a:pt x="60000" y="32727"/>
                </a:cubicBezTo>
                <a:cubicBezTo>
                  <a:pt x="70000" y="32727"/>
                  <a:pt x="70000" y="32727"/>
                  <a:pt x="70000" y="32727"/>
                </a:cubicBezTo>
                <a:cubicBezTo>
                  <a:pt x="90000" y="32727"/>
                  <a:pt x="70000" y="54545"/>
                  <a:pt x="90000" y="54545"/>
                </a:cubicBezTo>
                <a:cubicBezTo>
                  <a:pt x="100000" y="65454"/>
                  <a:pt x="100000" y="65454"/>
                  <a:pt x="100000" y="65454"/>
                </a:cubicBezTo>
                <a:cubicBezTo>
                  <a:pt x="100000" y="87272"/>
                  <a:pt x="100000" y="98181"/>
                  <a:pt x="120000" y="120000"/>
                </a:cubicBezTo>
                <a:cubicBezTo>
                  <a:pt x="100000" y="120000"/>
                  <a:pt x="100000" y="120000"/>
                  <a:pt x="90000" y="120000"/>
                </a:cubicBezTo>
                <a:cubicBezTo>
                  <a:pt x="40000" y="98181"/>
                  <a:pt x="30000" y="54545"/>
                  <a:pt x="0" y="21818"/>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95" name="Shape 1955"/>
          <p:cNvSpPr/>
          <p:nvPr/>
        </p:nvSpPr>
        <p:spPr>
          <a:xfrm>
            <a:off x="6663511" y="3711311"/>
            <a:ext cx="85284" cy="85782"/>
          </a:xfrm>
          <a:custGeom>
            <a:avLst/>
            <a:gdLst/>
            <a:ahLst/>
            <a:cxnLst/>
            <a:rect l="0" t="0" r="0" b="0"/>
            <a:pathLst>
              <a:path w="120000" h="120000" extrusionOk="0">
                <a:moveTo>
                  <a:pt x="110769" y="119999"/>
                </a:moveTo>
                <a:cubicBezTo>
                  <a:pt x="110769" y="111428"/>
                  <a:pt x="110769" y="111428"/>
                  <a:pt x="110769" y="107142"/>
                </a:cubicBezTo>
                <a:cubicBezTo>
                  <a:pt x="110769" y="107142"/>
                  <a:pt x="110769" y="107142"/>
                  <a:pt x="110769" y="107142"/>
                </a:cubicBezTo>
                <a:cubicBezTo>
                  <a:pt x="106153" y="98571"/>
                  <a:pt x="120000" y="98571"/>
                  <a:pt x="120000" y="98571"/>
                </a:cubicBezTo>
                <a:cubicBezTo>
                  <a:pt x="120000" y="98571"/>
                  <a:pt x="106153" y="94285"/>
                  <a:pt x="110769" y="94285"/>
                </a:cubicBezTo>
                <a:cubicBezTo>
                  <a:pt x="110769" y="85714"/>
                  <a:pt x="120000" y="94285"/>
                  <a:pt x="120000" y="85714"/>
                </a:cubicBezTo>
                <a:cubicBezTo>
                  <a:pt x="120000" y="81428"/>
                  <a:pt x="106153" y="85714"/>
                  <a:pt x="106153" y="81428"/>
                </a:cubicBezTo>
                <a:cubicBezTo>
                  <a:pt x="96923" y="81428"/>
                  <a:pt x="92307" y="72857"/>
                  <a:pt x="92307" y="68571"/>
                </a:cubicBezTo>
                <a:cubicBezTo>
                  <a:pt x="83076" y="68571"/>
                  <a:pt x="83076" y="68571"/>
                  <a:pt x="83076" y="68571"/>
                </a:cubicBezTo>
                <a:cubicBezTo>
                  <a:pt x="78461" y="59999"/>
                  <a:pt x="92307" y="68571"/>
                  <a:pt x="92307" y="68571"/>
                </a:cubicBezTo>
                <a:cubicBezTo>
                  <a:pt x="92307" y="59999"/>
                  <a:pt x="96923" y="51428"/>
                  <a:pt x="96923" y="51428"/>
                </a:cubicBezTo>
                <a:cubicBezTo>
                  <a:pt x="78461" y="38571"/>
                  <a:pt x="78461" y="38571"/>
                  <a:pt x="78461" y="38571"/>
                </a:cubicBezTo>
                <a:cubicBezTo>
                  <a:pt x="69230" y="25714"/>
                  <a:pt x="83076" y="25714"/>
                  <a:pt x="83076" y="25714"/>
                </a:cubicBezTo>
                <a:cubicBezTo>
                  <a:pt x="83076" y="21428"/>
                  <a:pt x="64615" y="8571"/>
                  <a:pt x="64615" y="0"/>
                </a:cubicBezTo>
                <a:cubicBezTo>
                  <a:pt x="55384" y="0"/>
                  <a:pt x="55384" y="8571"/>
                  <a:pt x="55384" y="8571"/>
                </a:cubicBezTo>
                <a:cubicBezTo>
                  <a:pt x="36923" y="8571"/>
                  <a:pt x="36923" y="8571"/>
                  <a:pt x="36923" y="8571"/>
                </a:cubicBezTo>
                <a:cubicBezTo>
                  <a:pt x="36923" y="8571"/>
                  <a:pt x="36923" y="8571"/>
                  <a:pt x="27692" y="8571"/>
                </a:cubicBezTo>
                <a:cubicBezTo>
                  <a:pt x="23076" y="8571"/>
                  <a:pt x="13846" y="12857"/>
                  <a:pt x="4615" y="12857"/>
                </a:cubicBezTo>
                <a:cubicBezTo>
                  <a:pt x="4615" y="12857"/>
                  <a:pt x="4615" y="12857"/>
                  <a:pt x="4615" y="12857"/>
                </a:cubicBezTo>
                <a:cubicBezTo>
                  <a:pt x="4615" y="12857"/>
                  <a:pt x="0" y="12857"/>
                  <a:pt x="4615" y="12857"/>
                </a:cubicBezTo>
                <a:cubicBezTo>
                  <a:pt x="4615" y="21428"/>
                  <a:pt x="13846" y="25714"/>
                  <a:pt x="13846" y="34285"/>
                </a:cubicBezTo>
                <a:cubicBezTo>
                  <a:pt x="13846" y="38571"/>
                  <a:pt x="4615" y="38571"/>
                  <a:pt x="4615" y="47142"/>
                </a:cubicBezTo>
                <a:cubicBezTo>
                  <a:pt x="4615" y="51428"/>
                  <a:pt x="13846" y="51428"/>
                  <a:pt x="13846" y="51428"/>
                </a:cubicBezTo>
                <a:cubicBezTo>
                  <a:pt x="13846" y="59999"/>
                  <a:pt x="4615" y="59999"/>
                  <a:pt x="4615" y="59999"/>
                </a:cubicBezTo>
                <a:cubicBezTo>
                  <a:pt x="23076" y="68571"/>
                  <a:pt x="36923" y="59999"/>
                  <a:pt x="41538" y="68571"/>
                </a:cubicBezTo>
                <a:cubicBezTo>
                  <a:pt x="50769" y="72857"/>
                  <a:pt x="50769" y="72857"/>
                  <a:pt x="50769" y="81428"/>
                </a:cubicBezTo>
                <a:cubicBezTo>
                  <a:pt x="55384" y="81428"/>
                  <a:pt x="55384" y="72857"/>
                  <a:pt x="64615" y="72857"/>
                </a:cubicBezTo>
                <a:cubicBezTo>
                  <a:pt x="69230" y="81428"/>
                  <a:pt x="64615" y="85714"/>
                  <a:pt x="69230" y="85714"/>
                </a:cubicBezTo>
                <a:cubicBezTo>
                  <a:pt x="78461" y="81428"/>
                  <a:pt x="69230" y="85714"/>
                  <a:pt x="78461" y="85714"/>
                </a:cubicBezTo>
                <a:cubicBezTo>
                  <a:pt x="83076" y="85714"/>
                  <a:pt x="83076" y="85714"/>
                  <a:pt x="83076" y="85714"/>
                </a:cubicBezTo>
                <a:cubicBezTo>
                  <a:pt x="92307" y="85714"/>
                  <a:pt x="83076" y="94285"/>
                  <a:pt x="92307" y="94285"/>
                </a:cubicBezTo>
                <a:cubicBezTo>
                  <a:pt x="96923" y="98571"/>
                  <a:pt x="96923" y="98571"/>
                  <a:pt x="96923" y="98571"/>
                </a:cubicBezTo>
                <a:cubicBezTo>
                  <a:pt x="96923" y="107142"/>
                  <a:pt x="96923" y="111428"/>
                  <a:pt x="106153" y="119999"/>
                </a:cubicBezTo>
                <a:cubicBezTo>
                  <a:pt x="106153" y="119999"/>
                  <a:pt x="106153" y="111428"/>
                  <a:pt x="110769" y="111428"/>
                </a:cubicBezTo>
                <a:cubicBezTo>
                  <a:pt x="110769" y="119999"/>
                  <a:pt x="110769" y="119999"/>
                  <a:pt x="110769" y="119999"/>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96" name="Shape 1956"/>
          <p:cNvSpPr/>
          <p:nvPr/>
        </p:nvSpPr>
        <p:spPr>
          <a:xfrm>
            <a:off x="6569700" y="3633469"/>
            <a:ext cx="185917" cy="90549"/>
          </a:xfrm>
          <a:custGeom>
            <a:avLst/>
            <a:gdLst/>
            <a:ahLst/>
            <a:cxnLst/>
            <a:rect l="0" t="0" r="0" b="0"/>
            <a:pathLst>
              <a:path w="120000" h="120000" extrusionOk="0">
                <a:moveTo>
                  <a:pt x="64285" y="115862"/>
                </a:moveTo>
                <a:cubicBezTo>
                  <a:pt x="66428" y="115862"/>
                  <a:pt x="70714" y="107586"/>
                  <a:pt x="72857" y="107586"/>
                </a:cubicBezTo>
                <a:cubicBezTo>
                  <a:pt x="77142" y="107586"/>
                  <a:pt x="77142" y="107586"/>
                  <a:pt x="77142" y="107586"/>
                </a:cubicBezTo>
                <a:cubicBezTo>
                  <a:pt x="87857" y="107586"/>
                  <a:pt x="87857" y="107586"/>
                  <a:pt x="87857" y="107586"/>
                </a:cubicBezTo>
                <a:cubicBezTo>
                  <a:pt x="87857" y="107586"/>
                  <a:pt x="87857" y="103448"/>
                  <a:pt x="89999" y="103448"/>
                </a:cubicBezTo>
                <a:cubicBezTo>
                  <a:pt x="94285" y="95172"/>
                  <a:pt x="94285" y="95172"/>
                  <a:pt x="94285" y="95172"/>
                </a:cubicBezTo>
                <a:cubicBezTo>
                  <a:pt x="100714" y="103448"/>
                  <a:pt x="100714" y="103448"/>
                  <a:pt x="100714" y="103448"/>
                </a:cubicBezTo>
                <a:cubicBezTo>
                  <a:pt x="102857" y="103448"/>
                  <a:pt x="100714" y="107586"/>
                  <a:pt x="102857" y="107586"/>
                </a:cubicBezTo>
                <a:cubicBezTo>
                  <a:pt x="107142" y="107586"/>
                  <a:pt x="107142" y="107586"/>
                  <a:pt x="109285" y="107586"/>
                </a:cubicBezTo>
                <a:cubicBezTo>
                  <a:pt x="113571" y="107586"/>
                  <a:pt x="113571" y="120000"/>
                  <a:pt x="115714" y="107586"/>
                </a:cubicBezTo>
                <a:cubicBezTo>
                  <a:pt x="119999" y="103448"/>
                  <a:pt x="109285" y="95172"/>
                  <a:pt x="109285" y="95172"/>
                </a:cubicBezTo>
                <a:cubicBezTo>
                  <a:pt x="109285" y="91034"/>
                  <a:pt x="109285" y="91034"/>
                  <a:pt x="109285" y="91034"/>
                </a:cubicBezTo>
                <a:cubicBezTo>
                  <a:pt x="109285" y="82758"/>
                  <a:pt x="113571" y="78620"/>
                  <a:pt x="113571" y="78620"/>
                </a:cubicBezTo>
                <a:cubicBezTo>
                  <a:pt x="102857" y="70344"/>
                  <a:pt x="102857" y="70344"/>
                  <a:pt x="100714" y="66206"/>
                </a:cubicBezTo>
                <a:cubicBezTo>
                  <a:pt x="96428" y="57931"/>
                  <a:pt x="107142" y="45517"/>
                  <a:pt x="100714" y="45517"/>
                </a:cubicBezTo>
                <a:cubicBezTo>
                  <a:pt x="94285" y="45517"/>
                  <a:pt x="94285" y="41379"/>
                  <a:pt x="89999" y="41379"/>
                </a:cubicBezTo>
                <a:cubicBezTo>
                  <a:pt x="87857" y="33103"/>
                  <a:pt x="87857" y="45517"/>
                  <a:pt x="79285" y="41379"/>
                </a:cubicBezTo>
                <a:cubicBezTo>
                  <a:pt x="77142" y="33103"/>
                  <a:pt x="72857" y="53793"/>
                  <a:pt x="66428" y="45517"/>
                </a:cubicBezTo>
                <a:cubicBezTo>
                  <a:pt x="64285" y="41379"/>
                  <a:pt x="72857" y="41379"/>
                  <a:pt x="64285" y="33103"/>
                </a:cubicBezTo>
                <a:cubicBezTo>
                  <a:pt x="53571" y="28965"/>
                  <a:pt x="53571" y="20689"/>
                  <a:pt x="51428" y="20689"/>
                </a:cubicBezTo>
                <a:cubicBezTo>
                  <a:pt x="47142" y="20689"/>
                  <a:pt x="44999" y="8275"/>
                  <a:pt x="36428" y="16551"/>
                </a:cubicBezTo>
                <a:cubicBezTo>
                  <a:pt x="27857" y="28965"/>
                  <a:pt x="29999" y="16551"/>
                  <a:pt x="23571" y="16551"/>
                </a:cubicBezTo>
                <a:cubicBezTo>
                  <a:pt x="17142" y="16551"/>
                  <a:pt x="17142" y="0"/>
                  <a:pt x="14999" y="0"/>
                </a:cubicBezTo>
                <a:cubicBezTo>
                  <a:pt x="10714" y="0"/>
                  <a:pt x="4285" y="0"/>
                  <a:pt x="0" y="8275"/>
                </a:cubicBezTo>
                <a:cubicBezTo>
                  <a:pt x="14999" y="28965"/>
                  <a:pt x="17142" y="20689"/>
                  <a:pt x="21428" y="33103"/>
                </a:cubicBezTo>
                <a:cubicBezTo>
                  <a:pt x="23571" y="45517"/>
                  <a:pt x="27857" y="28965"/>
                  <a:pt x="29999" y="57931"/>
                </a:cubicBezTo>
                <a:cubicBezTo>
                  <a:pt x="34285" y="91034"/>
                  <a:pt x="29999" y="91034"/>
                  <a:pt x="27857" y="95172"/>
                </a:cubicBezTo>
                <a:cubicBezTo>
                  <a:pt x="34285" y="103448"/>
                  <a:pt x="29999" y="95172"/>
                  <a:pt x="36428" y="95172"/>
                </a:cubicBezTo>
                <a:cubicBezTo>
                  <a:pt x="36428" y="95172"/>
                  <a:pt x="44999" y="103448"/>
                  <a:pt x="44999" y="95172"/>
                </a:cubicBezTo>
                <a:cubicBezTo>
                  <a:pt x="47142" y="91034"/>
                  <a:pt x="47142" y="91034"/>
                  <a:pt x="47142" y="91034"/>
                </a:cubicBezTo>
                <a:cubicBezTo>
                  <a:pt x="47142" y="91034"/>
                  <a:pt x="51428" y="91034"/>
                  <a:pt x="57857" y="103448"/>
                </a:cubicBezTo>
                <a:cubicBezTo>
                  <a:pt x="57857" y="103448"/>
                  <a:pt x="57857" y="103448"/>
                  <a:pt x="57857" y="103448"/>
                </a:cubicBezTo>
                <a:cubicBezTo>
                  <a:pt x="57857" y="107586"/>
                  <a:pt x="57857" y="107586"/>
                  <a:pt x="57857" y="107586"/>
                </a:cubicBezTo>
                <a:cubicBezTo>
                  <a:pt x="59999" y="115862"/>
                  <a:pt x="59999" y="107586"/>
                  <a:pt x="64285" y="107586"/>
                </a:cubicBezTo>
                <a:cubicBezTo>
                  <a:pt x="64285" y="115862"/>
                  <a:pt x="64285" y="115862"/>
                  <a:pt x="64285" y="115862"/>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97" name="Shape 1957"/>
          <p:cNvSpPr/>
          <p:nvPr/>
        </p:nvSpPr>
        <p:spPr>
          <a:xfrm>
            <a:off x="6731738" y="3190250"/>
            <a:ext cx="1086516" cy="551244"/>
          </a:xfrm>
          <a:custGeom>
            <a:avLst/>
            <a:gdLst/>
            <a:ahLst/>
            <a:cxnLst/>
            <a:rect l="0" t="0" r="0" b="0"/>
            <a:pathLst>
              <a:path w="120000" h="120000" extrusionOk="0">
                <a:moveTo>
                  <a:pt x="72804" y="106592"/>
                </a:moveTo>
                <a:cubicBezTo>
                  <a:pt x="72073" y="107262"/>
                  <a:pt x="72073" y="107262"/>
                  <a:pt x="72073" y="107262"/>
                </a:cubicBezTo>
                <a:cubicBezTo>
                  <a:pt x="71707" y="107262"/>
                  <a:pt x="72073" y="108603"/>
                  <a:pt x="71707" y="108603"/>
                </a:cubicBezTo>
                <a:cubicBezTo>
                  <a:pt x="70975" y="108603"/>
                  <a:pt x="71707" y="107262"/>
                  <a:pt x="70975" y="108603"/>
                </a:cubicBezTo>
                <a:cubicBezTo>
                  <a:pt x="69878" y="109273"/>
                  <a:pt x="69146" y="110614"/>
                  <a:pt x="68780" y="111284"/>
                </a:cubicBezTo>
                <a:cubicBezTo>
                  <a:pt x="68048" y="112625"/>
                  <a:pt x="68048" y="112625"/>
                  <a:pt x="67682" y="112625"/>
                </a:cubicBezTo>
                <a:cubicBezTo>
                  <a:pt x="66585" y="113966"/>
                  <a:pt x="66951" y="114636"/>
                  <a:pt x="66585" y="114636"/>
                </a:cubicBezTo>
                <a:cubicBezTo>
                  <a:pt x="65853" y="115977"/>
                  <a:pt x="65487" y="116648"/>
                  <a:pt x="65487" y="117988"/>
                </a:cubicBezTo>
                <a:cubicBezTo>
                  <a:pt x="65853" y="118659"/>
                  <a:pt x="65487" y="120000"/>
                  <a:pt x="64756" y="118659"/>
                </a:cubicBezTo>
                <a:cubicBezTo>
                  <a:pt x="63658" y="117988"/>
                  <a:pt x="63658" y="117988"/>
                  <a:pt x="63658" y="117988"/>
                </a:cubicBezTo>
                <a:cubicBezTo>
                  <a:pt x="64390" y="115977"/>
                  <a:pt x="64390" y="115977"/>
                  <a:pt x="64390" y="115977"/>
                </a:cubicBezTo>
                <a:cubicBezTo>
                  <a:pt x="64390" y="115977"/>
                  <a:pt x="64390" y="116648"/>
                  <a:pt x="63658" y="115977"/>
                </a:cubicBezTo>
                <a:cubicBezTo>
                  <a:pt x="63658" y="114636"/>
                  <a:pt x="63658" y="114636"/>
                  <a:pt x="61463" y="114636"/>
                </a:cubicBezTo>
                <a:cubicBezTo>
                  <a:pt x="59634" y="115977"/>
                  <a:pt x="59634" y="114636"/>
                  <a:pt x="59634" y="112625"/>
                </a:cubicBezTo>
                <a:cubicBezTo>
                  <a:pt x="59634" y="110614"/>
                  <a:pt x="59634" y="108603"/>
                  <a:pt x="59268" y="108603"/>
                </a:cubicBezTo>
                <a:cubicBezTo>
                  <a:pt x="58170" y="108603"/>
                  <a:pt x="58170" y="108603"/>
                  <a:pt x="58170" y="108603"/>
                </a:cubicBezTo>
                <a:cubicBezTo>
                  <a:pt x="58170" y="108603"/>
                  <a:pt x="58170" y="107262"/>
                  <a:pt x="58170" y="105251"/>
                </a:cubicBezTo>
                <a:cubicBezTo>
                  <a:pt x="58536" y="102569"/>
                  <a:pt x="58536" y="99888"/>
                  <a:pt x="58170" y="102569"/>
                </a:cubicBezTo>
                <a:cubicBezTo>
                  <a:pt x="57073" y="103240"/>
                  <a:pt x="57439" y="99217"/>
                  <a:pt x="56341" y="97877"/>
                </a:cubicBezTo>
                <a:cubicBezTo>
                  <a:pt x="55243" y="97206"/>
                  <a:pt x="55243" y="95195"/>
                  <a:pt x="54146" y="95865"/>
                </a:cubicBezTo>
                <a:cubicBezTo>
                  <a:pt x="52682" y="97877"/>
                  <a:pt x="51585" y="95865"/>
                  <a:pt x="48658" y="97206"/>
                </a:cubicBezTo>
                <a:cubicBezTo>
                  <a:pt x="46463" y="97877"/>
                  <a:pt x="46463" y="97877"/>
                  <a:pt x="45365" y="95865"/>
                </a:cubicBezTo>
                <a:cubicBezTo>
                  <a:pt x="44634" y="93854"/>
                  <a:pt x="44268" y="93184"/>
                  <a:pt x="44268" y="91843"/>
                </a:cubicBezTo>
                <a:cubicBezTo>
                  <a:pt x="43536" y="91843"/>
                  <a:pt x="44268" y="90502"/>
                  <a:pt x="44268" y="90502"/>
                </a:cubicBezTo>
                <a:cubicBezTo>
                  <a:pt x="43536" y="87821"/>
                  <a:pt x="44268" y="90502"/>
                  <a:pt x="46463" y="85810"/>
                </a:cubicBezTo>
                <a:cubicBezTo>
                  <a:pt x="45731" y="82458"/>
                  <a:pt x="44634" y="86480"/>
                  <a:pt x="44634" y="83128"/>
                </a:cubicBezTo>
                <a:cubicBezTo>
                  <a:pt x="44634" y="80446"/>
                  <a:pt x="44268" y="81117"/>
                  <a:pt x="43536" y="78435"/>
                </a:cubicBezTo>
                <a:cubicBezTo>
                  <a:pt x="43170" y="75083"/>
                  <a:pt x="44634" y="78435"/>
                  <a:pt x="44634" y="76424"/>
                </a:cubicBezTo>
                <a:cubicBezTo>
                  <a:pt x="44634" y="73743"/>
                  <a:pt x="45365" y="76424"/>
                  <a:pt x="45365" y="71731"/>
                </a:cubicBezTo>
                <a:cubicBezTo>
                  <a:pt x="45365" y="71061"/>
                  <a:pt x="44268" y="71731"/>
                  <a:pt x="44268" y="73072"/>
                </a:cubicBezTo>
                <a:cubicBezTo>
                  <a:pt x="43536" y="75083"/>
                  <a:pt x="42439" y="75083"/>
                  <a:pt x="43170" y="73072"/>
                </a:cubicBezTo>
                <a:cubicBezTo>
                  <a:pt x="43536" y="71061"/>
                  <a:pt x="42439" y="71731"/>
                  <a:pt x="40975" y="73072"/>
                </a:cubicBezTo>
                <a:cubicBezTo>
                  <a:pt x="39146" y="75083"/>
                  <a:pt x="41341" y="73743"/>
                  <a:pt x="40975" y="76424"/>
                </a:cubicBezTo>
                <a:cubicBezTo>
                  <a:pt x="40243" y="78435"/>
                  <a:pt x="39878" y="75083"/>
                  <a:pt x="39146" y="76424"/>
                </a:cubicBezTo>
                <a:cubicBezTo>
                  <a:pt x="38780" y="76424"/>
                  <a:pt x="39878" y="77094"/>
                  <a:pt x="39146" y="78435"/>
                </a:cubicBezTo>
                <a:cubicBezTo>
                  <a:pt x="38048" y="79106"/>
                  <a:pt x="37682" y="76424"/>
                  <a:pt x="36219" y="81117"/>
                </a:cubicBezTo>
                <a:cubicBezTo>
                  <a:pt x="35853" y="81117"/>
                  <a:pt x="30731" y="84469"/>
                  <a:pt x="29634" y="85810"/>
                </a:cubicBezTo>
                <a:cubicBezTo>
                  <a:pt x="28536" y="85810"/>
                  <a:pt x="29268" y="85810"/>
                  <a:pt x="29268" y="88491"/>
                </a:cubicBezTo>
                <a:cubicBezTo>
                  <a:pt x="29268" y="90502"/>
                  <a:pt x="29268" y="113966"/>
                  <a:pt x="29268" y="113966"/>
                </a:cubicBezTo>
                <a:cubicBezTo>
                  <a:pt x="28170" y="113966"/>
                  <a:pt x="27439" y="114636"/>
                  <a:pt x="27439" y="113966"/>
                </a:cubicBezTo>
                <a:cubicBezTo>
                  <a:pt x="25975" y="109273"/>
                  <a:pt x="26341" y="109273"/>
                  <a:pt x="25243" y="108603"/>
                </a:cubicBezTo>
                <a:cubicBezTo>
                  <a:pt x="24512" y="107262"/>
                  <a:pt x="24146" y="105251"/>
                  <a:pt x="23048" y="106592"/>
                </a:cubicBezTo>
                <a:cubicBezTo>
                  <a:pt x="21951" y="106592"/>
                  <a:pt x="20853" y="107262"/>
                  <a:pt x="20121" y="108603"/>
                </a:cubicBezTo>
                <a:cubicBezTo>
                  <a:pt x="19024" y="109273"/>
                  <a:pt x="18658" y="110614"/>
                  <a:pt x="18658" y="110614"/>
                </a:cubicBezTo>
                <a:cubicBezTo>
                  <a:pt x="17926" y="105251"/>
                  <a:pt x="20853" y="105251"/>
                  <a:pt x="19024" y="103240"/>
                </a:cubicBezTo>
                <a:cubicBezTo>
                  <a:pt x="17926" y="99888"/>
                  <a:pt x="17560" y="103240"/>
                  <a:pt x="16829" y="101229"/>
                </a:cubicBezTo>
                <a:cubicBezTo>
                  <a:pt x="16463" y="99217"/>
                  <a:pt x="15365" y="101229"/>
                  <a:pt x="15365" y="99217"/>
                </a:cubicBezTo>
                <a:cubicBezTo>
                  <a:pt x="15365" y="99217"/>
                  <a:pt x="14634" y="91843"/>
                  <a:pt x="13536" y="91843"/>
                </a:cubicBezTo>
                <a:cubicBezTo>
                  <a:pt x="11707" y="91843"/>
                  <a:pt x="11341" y="89832"/>
                  <a:pt x="12804" y="88491"/>
                </a:cubicBezTo>
                <a:cubicBezTo>
                  <a:pt x="15365" y="88491"/>
                  <a:pt x="13536" y="90502"/>
                  <a:pt x="15731" y="89832"/>
                </a:cubicBezTo>
                <a:cubicBezTo>
                  <a:pt x="17560" y="89832"/>
                  <a:pt x="12804" y="86480"/>
                  <a:pt x="14634" y="85810"/>
                </a:cubicBezTo>
                <a:cubicBezTo>
                  <a:pt x="16463" y="84469"/>
                  <a:pt x="14634" y="84469"/>
                  <a:pt x="15731" y="83128"/>
                </a:cubicBezTo>
                <a:cubicBezTo>
                  <a:pt x="16829" y="81117"/>
                  <a:pt x="16463" y="83128"/>
                  <a:pt x="17926" y="83128"/>
                </a:cubicBezTo>
                <a:cubicBezTo>
                  <a:pt x="19024" y="82458"/>
                  <a:pt x="21951" y="84469"/>
                  <a:pt x="20121" y="82458"/>
                </a:cubicBezTo>
                <a:cubicBezTo>
                  <a:pt x="19024" y="80446"/>
                  <a:pt x="21219" y="77094"/>
                  <a:pt x="20853" y="75083"/>
                </a:cubicBezTo>
                <a:cubicBezTo>
                  <a:pt x="20121" y="73743"/>
                  <a:pt x="20853" y="73072"/>
                  <a:pt x="20853" y="71731"/>
                </a:cubicBezTo>
                <a:cubicBezTo>
                  <a:pt x="20121" y="71061"/>
                  <a:pt x="19024" y="69720"/>
                  <a:pt x="18658" y="71061"/>
                </a:cubicBezTo>
                <a:cubicBezTo>
                  <a:pt x="17926" y="73072"/>
                  <a:pt x="17926" y="71731"/>
                  <a:pt x="16463" y="71061"/>
                </a:cubicBezTo>
                <a:cubicBezTo>
                  <a:pt x="15365" y="69050"/>
                  <a:pt x="14268" y="69720"/>
                  <a:pt x="11707" y="73072"/>
                </a:cubicBezTo>
                <a:cubicBezTo>
                  <a:pt x="10243" y="76424"/>
                  <a:pt x="10243" y="73072"/>
                  <a:pt x="9146" y="75083"/>
                </a:cubicBezTo>
                <a:cubicBezTo>
                  <a:pt x="8414" y="78435"/>
                  <a:pt x="8048" y="77094"/>
                  <a:pt x="8048" y="78435"/>
                </a:cubicBezTo>
                <a:cubicBezTo>
                  <a:pt x="8048" y="77094"/>
                  <a:pt x="8048" y="78435"/>
                  <a:pt x="8414" y="75083"/>
                </a:cubicBezTo>
                <a:cubicBezTo>
                  <a:pt x="5853" y="71731"/>
                  <a:pt x="10243" y="73743"/>
                  <a:pt x="7317" y="69050"/>
                </a:cubicBezTo>
                <a:cubicBezTo>
                  <a:pt x="5121" y="63687"/>
                  <a:pt x="5121" y="63687"/>
                  <a:pt x="4024" y="64357"/>
                </a:cubicBezTo>
                <a:cubicBezTo>
                  <a:pt x="2926" y="64357"/>
                  <a:pt x="4024" y="61675"/>
                  <a:pt x="2560" y="59664"/>
                </a:cubicBezTo>
                <a:cubicBezTo>
                  <a:pt x="0" y="58324"/>
                  <a:pt x="3658" y="54301"/>
                  <a:pt x="2560" y="50949"/>
                </a:cubicBezTo>
                <a:cubicBezTo>
                  <a:pt x="1097" y="48938"/>
                  <a:pt x="4024" y="41564"/>
                  <a:pt x="5121" y="43575"/>
                </a:cubicBezTo>
                <a:cubicBezTo>
                  <a:pt x="7317" y="50279"/>
                  <a:pt x="8048" y="48268"/>
                  <a:pt x="8048" y="43575"/>
                </a:cubicBezTo>
                <a:cubicBezTo>
                  <a:pt x="8048" y="39553"/>
                  <a:pt x="11707" y="37541"/>
                  <a:pt x="13536" y="34189"/>
                </a:cubicBezTo>
                <a:cubicBezTo>
                  <a:pt x="14634" y="30167"/>
                  <a:pt x="15365" y="36201"/>
                  <a:pt x="16829" y="33519"/>
                </a:cubicBezTo>
                <a:cubicBezTo>
                  <a:pt x="19024" y="31508"/>
                  <a:pt x="18658" y="34189"/>
                  <a:pt x="21219" y="35530"/>
                </a:cubicBezTo>
                <a:cubicBezTo>
                  <a:pt x="24146" y="35530"/>
                  <a:pt x="27073" y="44916"/>
                  <a:pt x="29268" y="41564"/>
                </a:cubicBezTo>
                <a:cubicBezTo>
                  <a:pt x="30365" y="38212"/>
                  <a:pt x="30731" y="36201"/>
                  <a:pt x="32560" y="38212"/>
                </a:cubicBezTo>
                <a:cubicBezTo>
                  <a:pt x="34024" y="40893"/>
                  <a:pt x="34024" y="35530"/>
                  <a:pt x="37682" y="40893"/>
                </a:cubicBezTo>
                <a:cubicBezTo>
                  <a:pt x="40975" y="44916"/>
                  <a:pt x="39146" y="37541"/>
                  <a:pt x="41341" y="40893"/>
                </a:cubicBezTo>
                <a:cubicBezTo>
                  <a:pt x="44268" y="43575"/>
                  <a:pt x="46829" y="36201"/>
                  <a:pt x="43536" y="34189"/>
                </a:cubicBezTo>
                <a:cubicBezTo>
                  <a:pt x="37682" y="29497"/>
                  <a:pt x="45365" y="30167"/>
                  <a:pt x="43170" y="26145"/>
                </a:cubicBezTo>
                <a:cubicBezTo>
                  <a:pt x="40975" y="22793"/>
                  <a:pt x="48658" y="22793"/>
                  <a:pt x="45731" y="20782"/>
                </a:cubicBezTo>
                <a:cubicBezTo>
                  <a:pt x="43170" y="18770"/>
                  <a:pt x="42073" y="13407"/>
                  <a:pt x="45365" y="13407"/>
                </a:cubicBezTo>
                <a:cubicBezTo>
                  <a:pt x="48658" y="13407"/>
                  <a:pt x="59634" y="9385"/>
                  <a:pt x="62560" y="6033"/>
                </a:cubicBezTo>
                <a:cubicBezTo>
                  <a:pt x="65853" y="4022"/>
                  <a:pt x="66585" y="0"/>
                  <a:pt x="68780" y="3351"/>
                </a:cubicBezTo>
                <a:cubicBezTo>
                  <a:pt x="70609" y="5363"/>
                  <a:pt x="71707" y="0"/>
                  <a:pt x="72804" y="7374"/>
                </a:cubicBezTo>
                <a:cubicBezTo>
                  <a:pt x="73902" y="15418"/>
                  <a:pt x="75365" y="10055"/>
                  <a:pt x="77560" y="12737"/>
                </a:cubicBezTo>
                <a:cubicBezTo>
                  <a:pt x="79756" y="14748"/>
                  <a:pt x="81585" y="12737"/>
                  <a:pt x="79756" y="15418"/>
                </a:cubicBezTo>
                <a:cubicBezTo>
                  <a:pt x="78292" y="18770"/>
                  <a:pt x="81585" y="18770"/>
                  <a:pt x="85975" y="13407"/>
                </a:cubicBezTo>
                <a:cubicBezTo>
                  <a:pt x="90365" y="7374"/>
                  <a:pt x="90000" y="11396"/>
                  <a:pt x="88902" y="13407"/>
                </a:cubicBezTo>
                <a:cubicBezTo>
                  <a:pt x="87804" y="15418"/>
                  <a:pt x="92195" y="16759"/>
                  <a:pt x="96219" y="30167"/>
                </a:cubicBezTo>
                <a:cubicBezTo>
                  <a:pt x="100975" y="50279"/>
                  <a:pt x="98780" y="32178"/>
                  <a:pt x="102073" y="37541"/>
                </a:cubicBezTo>
                <a:cubicBezTo>
                  <a:pt x="106097" y="43575"/>
                  <a:pt x="107926" y="35530"/>
                  <a:pt x="111219" y="41564"/>
                </a:cubicBezTo>
                <a:cubicBezTo>
                  <a:pt x="113780" y="48938"/>
                  <a:pt x="114878" y="52960"/>
                  <a:pt x="117439" y="48938"/>
                </a:cubicBezTo>
                <a:cubicBezTo>
                  <a:pt x="120000" y="45586"/>
                  <a:pt x="117439" y="50279"/>
                  <a:pt x="120000" y="54301"/>
                </a:cubicBezTo>
                <a:cubicBezTo>
                  <a:pt x="116707" y="52960"/>
                  <a:pt x="120000" y="57653"/>
                  <a:pt x="117439" y="58324"/>
                </a:cubicBezTo>
                <a:cubicBezTo>
                  <a:pt x="113780" y="60335"/>
                  <a:pt x="114512" y="64357"/>
                  <a:pt x="114878" y="67039"/>
                </a:cubicBezTo>
                <a:cubicBezTo>
                  <a:pt x="115609" y="69050"/>
                  <a:pt x="114878" y="69720"/>
                  <a:pt x="113414" y="71061"/>
                </a:cubicBezTo>
                <a:cubicBezTo>
                  <a:pt x="112317" y="71731"/>
                  <a:pt x="112682" y="69720"/>
                  <a:pt x="111219" y="71061"/>
                </a:cubicBezTo>
                <a:cubicBezTo>
                  <a:pt x="109390" y="71061"/>
                  <a:pt x="107926" y="67039"/>
                  <a:pt x="107195" y="69720"/>
                </a:cubicBezTo>
                <a:cubicBezTo>
                  <a:pt x="107195" y="71731"/>
                  <a:pt x="106829" y="78435"/>
                  <a:pt x="105731" y="80446"/>
                </a:cubicBezTo>
                <a:cubicBezTo>
                  <a:pt x="105000" y="82458"/>
                  <a:pt x="106829" y="81117"/>
                  <a:pt x="106829" y="83128"/>
                </a:cubicBezTo>
                <a:cubicBezTo>
                  <a:pt x="106097" y="85810"/>
                  <a:pt x="105000" y="84469"/>
                  <a:pt x="103902" y="83128"/>
                </a:cubicBezTo>
                <a:cubicBezTo>
                  <a:pt x="103170" y="83128"/>
                  <a:pt x="100975" y="84469"/>
                  <a:pt x="99512" y="85810"/>
                </a:cubicBezTo>
                <a:cubicBezTo>
                  <a:pt x="96585" y="86480"/>
                  <a:pt x="100609" y="86480"/>
                  <a:pt x="99878" y="88491"/>
                </a:cubicBezTo>
                <a:cubicBezTo>
                  <a:pt x="99512" y="90502"/>
                  <a:pt x="102073" y="99217"/>
                  <a:pt x="100609" y="99888"/>
                </a:cubicBezTo>
                <a:cubicBezTo>
                  <a:pt x="99512" y="101229"/>
                  <a:pt x="100975" y="102569"/>
                  <a:pt x="99878" y="102569"/>
                </a:cubicBezTo>
                <a:cubicBezTo>
                  <a:pt x="98780" y="103240"/>
                  <a:pt x="99878" y="106592"/>
                  <a:pt x="99512" y="107262"/>
                </a:cubicBezTo>
                <a:cubicBezTo>
                  <a:pt x="98414" y="104581"/>
                  <a:pt x="97317" y="106592"/>
                  <a:pt x="96585" y="104581"/>
                </a:cubicBezTo>
                <a:cubicBezTo>
                  <a:pt x="96585" y="102569"/>
                  <a:pt x="94390" y="102569"/>
                  <a:pt x="90365" y="102569"/>
                </a:cubicBezTo>
                <a:cubicBezTo>
                  <a:pt x="85975" y="101229"/>
                  <a:pt x="85975" y="103240"/>
                  <a:pt x="84878" y="102569"/>
                </a:cubicBezTo>
                <a:cubicBezTo>
                  <a:pt x="84512" y="101229"/>
                  <a:pt x="82682" y="99217"/>
                  <a:pt x="80853" y="99888"/>
                </a:cubicBezTo>
                <a:cubicBezTo>
                  <a:pt x="78658" y="101229"/>
                  <a:pt x="80487" y="106592"/>
                  <a:pt x="79390" y="105251"/>
                </a:cubicBezTo>
                <a:cubicBezTo>
                  <a:pt x="78292" y="104581"/>
                  <a:pt x="76097" y="102569"/>
                  <a:pt x="74268" y="102569"/>
                </a:cubicBezTo>
                <a:cubicBezTo>
                  <a:pt x="72804" y="103240"/>
                  <a:pt x="72804" y="105251"/>
                  <a:pt x="72804" y="106592"/>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98" name="Shape 1958"/>
          <p:cNvSpPr/>
          <p:nvPr/>
        </p:nvSpPr>
        <p:spPr>
          <a:xfrm>
            <a:off x="6040942" y="2589761"/>
            <a:ext cx="317255" cy="443218"/>
          </a:xfrm>
          <a:custGeom>
            <a:avLst/>
            <a:gdLst/>
            <a:ahLst/>
            <a:cxnLst/>
            <a:rect l="0" t="0" r="0" b="0"/>
            <a:pathLst>
              <a:path w="120000" h="120000" extrusionOk="0">
                <a:moveTo>
                  <a:pt x="15000" y="13333"/>
                </a:moveTo>
                <a:cubicBezTo>
                  <a:pt x="15000" y="13333"/>
                  <a:pt x="12500" y="11666"/>
                  <a:pt x="15000" y="10833"/>
                </a:cubicBezTo>
                <a:cubicBezTo>
                  <a:pt x="18750" y="9166"/>
                  <a:pt x="22500" y="11666"/>
                  <a:pt x="26250" y="14166"/>
                </a:cubicBezTo>
                <a:cubicBezTo>
                  <a:pt x="30000" y="17500"/>
                  <a:pt x="23750" y="17500"/>
                  <a:pt x="30000" y="17500"/>
                </a:cubicBezTo>
                <a:cubicBezTo>
                  <a:pt x="37500" y="17500"/>
                  <a:pt x="33750" y="18333"/>
                  <a:pt x="37500" y="18333"/>
                </a:cubicBezTo>
                <a:cubicBezTo>
                  <a:pt x="43750" y="17500"/>
                  <a:pt x="41250" y="15833"/>
                  <a:pt x="43750" y="15833"/>
                </a:cubicBezTo>
                <a:cubicBezTo>
                  <a:pt x="45000" y="17500"/>
                  <a:pt x="48750" y="17500"/>
                  <a:pt x="52500" y="20000"/>
                </a:cubicBezTo>
                <a:cubicBezTo>
                  <a:pt x="52500" y="18333"/>
                  <a:pt x="55000" y="20000"/>
                  <a:pt x="55000" y="17500"/>
                </a:cubicBezTo>
                <a:cubicBezTo>
                  <a:pt x="56250" y="14166"/>
                  <a:pt x="63750" y="15833"/>
                  <a:pt x="60000" y="13333"/>
                </a:cubicBezTo>
                <a:cubicBezTo>
                  <a:pt x="58750" y="10833"/>
                  <a:pt x="62500" y="10833"/>
                  <a:pt x="62500" y="8333"/>
                </a:cubicBezTo>
                <a:cubicBezTo>
                  <a:pt x="62500" y="6666"/>
                  <a:pt x="63750" y="4166"/>
                  <a:pt x="67500" y="2500"/>
                </a:cubicBezTo>
                <a:cubicBezTo>
                  <a:pt x="72500" y="1666"/>
                  <a:pt x="70000" y="4166"/>
                  <a:pt x="77500" y="1666"/>
                </a:cubicBezTo>
                <a:cubicBezTo>
                  <a:pt x="81250" y="0"/>
                  <a:pt x="81250" y="0"/>
                  <a:pt x="83750" y="2500"/>
                </a:cubicBezTo>
                <a:cubicBezTo>
                  <a:pt x="85000" y="4166"/>
                  <a:pt x="95000" y="5000"/>
                  <a:pt x="96250" y="8333"/>
                </a:cubicBezTo>
                <a:cubicBezTo>
                  <a:pt x="96250" y="9166"/>
                  <a:pt x="87500" y="11666"/>
                  <a:pt x="92500" y="13333"/>
                </a:cubicBezTo>
                <a:cubicBezTo>
                  <a:pt x="83750" y="17500"/>
                  <a:pt x="91250" y="14166"/>
                  <a:pt x="91250" y="15833"/>
                </a:cubicBezTo>
                <a:cubicBezTo>
                  <a:pt x="92500" y="18333"/>
                  <a:pt x="87500" y="17500"/>
                  <a:pt x="88750" y="20833"/>
                </a:cubicBezTo>
                <a:cubicBezTo>
                  <a:pt x="91250" y="27500"/>
                  <a:pt x="95000" y="22500"/>
                  <a:pt x="98750" y="25833"/>
                </a:cubicBezTo>
                <a:cubicBezTo>
                  <a:pt x="102500" y="30000"/>
                  <a:pt x="106250" y="29166"/>
                  <a:pt x="102500" y="31666"/>
                </a:cubicBezTo>
                <a:cubicBezTo>
                  <a:pt x="98750" y="34166"/>
                  <a:pt x="91250" y="38333"/>
                  <a:pt x="95000" y="40833"/>
                </a:cubicBezTo>
                <a:cubicBezTo>
                  <a:pt x="98750" y="41666"/>
                  <a:pt x="106250" y="53333"/>
                  <a:pt x="103750" y="53333"/>
                </a:cubicBezTo>
                <a:cubicBezTo>
                  <a:pt x="100000" y="53333"/>
                  <a:pt x="100000" y="53333"/>
                  <a:pt x="100000" y="55000"/>
                </a:cubicBezTo>
                <a:cubicBezTo>
                  <a:pt x="102500" y="55000"/>
                  <a:pt x="100000" y="55000"/>
                  <a:pt x="100000" y="55833"/>
                </a:cubicBezTo>
                <a:cubicBezTo>
                  <a:pt x="100000" y="58333"/>
                  <a:pt x="98750" y="57500"/>
                  <a:pt x="100000" y="58333"/>
                </a:cubicBezTo>
                <a:cubicBezTo>
                  <a:pt x="103750" y="60000"/>
                  <a:pt x="98750" y="60000"/>
                  <a:pt x="98750" y="61666"/>
                </a:cubicBezTo>
                <a:cubicBezTo>
                  <a:pt x="100000" y="64166"/>
                  <a:pt x="107500" y="64166"/>
                  <a:pt x="103750" y="65000"/>
                </a:cubicBezTo>
                <a:cubicBezTo>
                  <a:pt x="102500" y="66666"/>
                  <a:pt x="103750" y="66666"/>
                  <a:pt x="103750" y="67500"/>
                </a:cubicBezTo>
                <a:cubicBezTo>
                  <a:pt x="102500" y="69166"/>
                  <a:pt x="110000" y="69166"/>
                  <a:pt x="110000" y="71666"/>
                </a:cubicBezTo>
                <a:cubicBezTo>
                  <a:pt x="107500" y="74166"/>
                  <a:pt x="100000" y="74166"/>
                  <a:pt x="103750" y="76666"/>
                </a:cubicBezTo>
                <a:cubicBezTo>
                  <a:pt x="107500" y="78333"/>
                  <a:pt x="113750" y="79166"/>
                  <a:pt x="116250" y="82500"/>
                </a:cubicBezTo>
                <a:cubicBezTo>
                  <a:pt x="117500" y="85000"/>
                  <a:pt x="120000" y="83333"/>
                  <a:pt x="117500" y="85833"/>
                </a:cubicBezTo>
                <a:cubicBezTo>
                  <a:pt x="116250" y="88333"/>
                  <a:pt x="110000" y="94166"/>
                  <a:pt x="98750" y="100000"/>
                </a:cubicBezTo>
                <a:cubicBezTo>
                  <a:pt x="88750" y="106666"/>
                  <a:pt x="85000" y="108333"/>
                  <a:pt x="81250" y="110833"/>
                </a:cubicBezTo>
                <a:cubicBezTo>
                  <a:pt x="76250" y="113333"/>
                  <a:pt x="76250" y="110833"/>
                  <a:pt x="70000" y="111666"/>
                </a:cubicBezTo>
                <a:cubicBezTo>
                  <a:pt x="63750" y="115000"/>
                  <a:pt x="66250" y="110833"/>
                  <a:pt x="63750" y="113333"/>
                </a:cubicBezTo>
                <a:cubicBezTo>
                  <a:pt x="60000" y="115833"/>
                  <a:pt x="62500" y="111666"/>
                  <a:pt x="55000" y="115000"/>
                </a:cubicBezTo>
                <a:cubicBezTo>
                  <a:pt x="43750" y="118333"/>
                  <a:pt x="41250" y="117500"/>
                  <a:pt x="37500" y="118333"/>
                </a:cubicBezTo>
                <a:cubicBezTo>
                  <a:pt x="31250" y="120000"/>
                  <a:pt x="31250" y="120000"/>
                  <a:pt x="33750" y="117500"/>
                </a:cubicBezTo>
                <a:cubicBezTo>
                  <a:pt x="36250" y="115833"/>
                  <a:pt x="33750" y="115000"/>
                  <a:pt x="31250" y="117500"/>
                </a:cubicBezTo>
                <a:cubicBezTo>
                  <a:pt x="27500" y="118333"/>
                  <a:pt x="27500" y="115833"/>
                  <a:pt x="27500" y="115000"/>
                </a:cubicBezTo>
                <a:cubicBezTo>
                  <a:pt x="30000" y="111666"/>
                  <a:pt x="26250" y="111666"/>
                  <a:pt x="20000" y="111666"/>
                </a:cubicBezTo>
                <a:cubicBezTo>
                  <a:pt x="15000" y="110833"/>
                  <a:pt x="16250" y="110833"/>
                  <a:pt x="16250" y="106666"/>
                </a:cubicBezTo>
                <a:cubicBezTo>
                  <a:pt x="18750" y="104166"/>
                  <a:pt x="18750" y="103333"/>
                  <a:pt x="18750" y="101666"/>
                </a:cubicBezTo>
                <a:cubicBezTo>
                  <a:pt x="16250" y="99166"/>
                  <a:pt x="22500" y="100000"/>
                  <a:pt x="18750" y="97500"/>
                </a:cubicBezTo>
                <a:cubicBezTo>
                  <a:pt x="12500" y="92500"/>
                  <a:pt x="20000" y="95000"/>
                  <a:pt x="16250" y="91666"/>
                </a:cubicBezTo>
                <a:cubicBezTo>
                  <a:pt x="12500" y="85833"/>
                  <a:pt x="18750" y="85000"/>
                  <a:pt x="18750" y="82500"/>
                </a:cubicBezTo>
                <a:cubicBezTo>
                  <a:pt x="18750" y="80833"/>
                  <a:pt x="22500" y="83333"/>
                  <a:pt x="23750" y="82500"/>
                </a:cubicBezTo>
                <a:cubicBezTo>
                  <a:pt x="27500" y="80833"/>
                  <a:pt x="23750" y="78333"/>
                  <a:pt x="26250" y="78333"/>
                </a:cubicBezTo>
                <a:cubicBezTo>
                  <a:pt x="27500" y="78333"/>
                  <a:pt x="27500" y="75833"/>
                  <a:pt x="31250" y="76666"/>
                </a:cubicBezTo>
                <a:cubicBezTo>
                  <a:pt x="33750" y="76666"/>
                  <a:pt x="31250" y="74166"/>
                  <a:pt x="36250" y="73333"/>
                </a:cubicBezTo>
                <a:cubicBezTo>
                  <a:pt x="40000" y="73333"/>
                  <a:pt x="33750" y="73333"/>
                  <a:pt x="41250" y="70833"/>
                </a:cubicBezTo>
                <a:cubicBezTo>
                  <a:pt x="48750" y="66666"/>
                  <a:pt x="47500" y="64166"/>
                  <a:pt x="51250" y="62500"/>
                </a:cubicBezTo>
                <a:cubicBezTo>
                  <a:pt x="56250" y="61666"/>
                  <a:pt x="56250" y="62500"/>
                  <a:pt x="56250" y="61666"/>
                </a:cubicBezTo>
                <a:cubicBezTo>
                  <a:pt x="58750" y="60000"/>
                  <a:pt x="55000" y="61666"/>
                  <a:pt x="56250" y="58333"/>
                </a:cubicBezTo>
                <a:cubicBezTo>
                  <a:pt x="56250" y="55833"/>
                  <a:pt x="58750" y="55000"/>
                  <a:pt x="52500" y="53333"/>
                </a:cubicBezTo>
                <a:cubicBezTo>
                  <a:pt x="47500" y="53333"/>
                  <a:pt x="51250" y="52500"/>
                  <a:pt x="45000" y="52500"/>
                </a:cubicBezTo>
                <a:cubicBezTo>
                  <a:pt x="45000" y="48333"/>
                  <a:pt x="37500" y="46666"/>
                  <a:pt x="41250" y="44166"/>
                </a:cubicBezTo>
                <a:cubicBezTo>
                  <a:pt x="43750" y="41666"/>
                  <a:pt x="41250" y="41666"/>
                  <a:pt x="43750" y="40833"/>
                </a:cubicBezTo>
                <a:cubicBezTo>
                  <a:pt x="45000" y="39166"/>
                  <a:pt x="40000" y="38333"/>
                  <a:pt x="40000" y="36666"/>
                </a:cubicBezTo>
                <a:cubicBezTo>
                  <a:pt x="40000" y="34166"/>
                  <a:pt x="41250" y="34166"/>
                  <a:pt x="41250" y="32500"/>
                </a:cubicBezTo>
                <a:cubicBezTo>
                  <a:pt x="41250" y="31666"/>
                  <a:pt x="37500" y="34166"/>
                  <a:pt x="37500" y="32500"/>
                </a:cubicBezTo>
                <a:cubicBezTo>
                  <a:pt x="37500" y="31666"/>
                  <a:pt x="40000" y="32500"/>
                  <a:pt x="37500" y="29166"/>
                </a:cubicBezTo>
                <a:cubicBezTo>
                  <a:pt x="37500" y="25833"/>
                  <a:pt x="43750" y="29166"/>
                  <a:pt x="37500" y="25000"/>
                </a:cubicBezTo>
                <a:cubicBezTo>
                  <a:pt x="33750" y="23333"/>
                  <a:pt x="36250" y="25000"/>
                  <a:pt x="36250" y="23333"/>
                </a:cubicBezTo>
                <a:cubicBezTo>
                  <a:pt x="36250" y="22500"/>
                  <a:pt x="31250" y="20833"/>
                  <a:pt x="27500" y="20833"/>
                </a:cubicBezTo>
                <a:cubicBezTo>
                  <a:pt x="23750" y="20833"/>
                  <a:pt x="18750" y="18333"/>
                  <a:pt x="15000" y="15833"/>
                </a:cubicBezTo>
                <a:cubicBezTo>
                  <a:pt x="8750" y="14166"/>
                  <a:pt x="15000" y="14166"/>
                  <a:pt x="11250" y="13333"/>
                </a:cubicBezTo>
                <a:cubicBezTo>
                  <a:pt x="11250" y="11666"/>
                  <a:pt x="15000" y="14166"/>
                  <a:pt x="15000" y="13333"/>
                </a:cubicBezTo>
                <a:close/>
                <a:moveTo>
                  <a:pt x="23750" y="113333"/>
                </a:moveTo>
                <a:cubicBezTo>
                  <a:pt x="23750" y="113333"/>
                  <a:pt x="26250" y="113333"/>
                  <a:pt x="26250" y="115000"/>
                </a:cubicBezTo>
                <a:cubicBezTo>
                  <a:pt x="26250" y="115000"/>
                  <a:pt x="23750" y="115000"/>
                  <a:pt x="23750" y="113333"/>
                </a:cubicBezTo>
                <a:close/>
                <a:moveTo>
                  <a:pt x="22500" y="113333"/>
                </a:moveTo>
                <a:cubicBezTo>
                  <a:pt x="22500" y="113333"/>
                  <a:pt x="20000" y="111666"/>
                  <a:pt x="22500" y="111666"/>
                </a:cubicBezTo>
                <a:cubicBezTo>
                  <a:pt x="22500" y="111666"/>
                  <a:pt x="23750" y="113333"/>
                  <a:pt x="22500" y="113333"/>
                </a:cubicBezTo>
                <a:close/>
                <a:moveTo>
                  <a:pt x="18750" y="115833"/>
                </a:moveTo>
                <a:cubicBezTo>
                  <a:pt x="18750" y="115000"/>
                  <a:pt x="20000" y="115000"/>
                  <a:pt x="20000" y="115833"/>
                </a:cubicBezTo>
                <a:cubicBezTo>
                  <a:pt x="18750" y="115833"/>
                  <a:pt x="18750" y="115833"/>
                  <a:pt x="18750" y="115833"/>
                </a:cubicBezTo>
                <a:close/>
                <a:moveTo>
                  <a:pt x="22500" y="115833"/>
                </a:moveTo>
                <a:cubicBezTo>
                  <a:pt x="22500" y="115000"/>
                  <a:pt x="23750" y="115000"/>
                  <a:pt x="23750" y="115000"/>
                </a:cubicBezTo>
                <a:cubicBezTo>
                  <a:pt x="23750" y="115833"/>
                  <a:pt x="23750" y="115833"/>
                  <a:pt x="22500" y="115833"/>
                </a:cubicBezTo>
                <a:close/>
                <a:moveTo>
                  <a:pt x="20000" y="115833"/>
                </a:moveTo>
                <a:cubicBezTo>
                  <a:pt x="20000" y="115000"/>
                  <a:pt x="22500" y="115000"/>
                  <a:pt x="22500" y="115000"/>
                </a:cubicBezTo>
                <a:cubicBezTo>
                  <a:pt x="22500" y="115833"/>
                  <a:pt x="20000" y="115833"/>
                  <a:pt x="20000" y="115833"/>
                </a:cubicBezTo>
                <a:close/>
                <a:moveTo>
                  <a:pt x="5000" y="117500"/>
                </a:moveTo>
                <a:cubicBezTo>
                  <a:pt x="5000" y="117500"/>
                  <a:pt x="3750" y="115833"/>
                  <a:pt x="5000" y="115833"/>
                </a:cubicBezTo>
                <a:cubicBezTo>
                  <a:pt x="5000" y="115833"/>
                  <a:pt x="7500" y="117500"/>
                  <a:pt x="5000" y="117500"/>
                </a:cubicBezTo>
                <a:close/>
                <a:moveTo>
                  <a:pt x="3750" y="115833"/>
                </a:moveTo>
                <a:cubicBezTo>
                  <a:pt x="5000" y="115833"/>
                  <a:pt x="3750" y="115000"/>
                  <a:pt x="5000" y="115000"/>
                </a:cubicBezTo>
                <a:cubicBezTo>
                  <a:pt x="5000" y="115000"/>
                  <a:pt x="5000" y="115833"/>
                  <a:pt x="7500" y="115000"/>
                </a:cubicBezTo>
                <a:cubicBezTo>
                  <a:pt x="7500" y="113333"/>
                  <a:pt x="7500" y="113333"/>
                  <a:pt x="3750" y="113333"/>
                </a:cubicBezTo>
                <a:cubicBezTo>
                  <a:pt x="0" y="111666"/>
                  <a:pt x="3750" y="113333"/>
                  <a:pt x="3750" y="115000"/>
                </a:cubicBezTo>
                <a:cubicBezTo>
                  <a:pt x="1250" y="115833"/>
                  <a:pt x="1250" y="113333"/>
                  <a:pt x="1250" y="113333"/>
                </a:cubicBezTo>
                <a:cubicBezTo>
                  <a:pt x="1250" y="115000"/>
                  <a:pt x="0" y="115000"/>
                  <a:pt x="0" y="115000"/>
                </a:cubicBezTo>
                <a:cubicBezTo>
                  <a:pt x="0" y="115833"/>
                  <a:pt x="0" y="115000"/>
                  <a:pt x="0" y="115000"/>
                </a:cubicBezTo>
                <a:cubicBezTo>
                  <a:pt x="1250" y="115833"/>
                  <a:pt x="1250" y="115833"/>
                  <a:pt x="1250" y="115833"/>
                </a:cubicBezTo>
                <a:cubicBezTo>
                  <a:pt x="3750" y="115833"/>
                  <a:pt x="3750" y="117500"/>
                  <a:pt x="3750" y="115833"/>
                </a:cubicBezTo>
                <a:close/>
                <a:moveTo>
                  <a:pt x="55000" y="61666"/>
                </a:moveTo>
                <a:cubicBezTo>
                  <a:pt x="56250" y="60000"/>
                  <a:pt x="55000" y="60000"/>
                  <a:pt x="51250" y="60000"/>
                </a:cubicBezTo>
                <a:cubicBezTo>
                  <a:pt x="48750" y="60000"/>
                  <a:pt x="48750" y="61666"/>
                  <a:pt x="51250" y="61666"/>
                </a:cubicBezTo>
                <a:cubicBezTo>
                  <a:pt x="52500" y="61666"/>
                  <a:pt x="52500" y="61666"/>
                  <a:pt x="55000" y="61666"/>
                </a:cubicBezTo>
                <a:close/>
                <a:moveTo>
                  <a:pt x="18750" y="80833"/>
                </a:moveTo>
                <a:cubicBezTo>
                  <a:pt x="16250" y="80833"/>
                  <a:pt x="16250" y="80833"/>
                  <a:pt x="16250" y="80833"/>
                </a:cubicBezTo>
                <a:cubicBezTo>
                  <a:pt x="16250" y="80833"/>
                  <a:pt x="15000" y="80833"/>
                  <a:pt x="16250" y="82500"/>
                </a:cubicBezTo>
                <a:cubicBezTo>
                  <a:pt x="16250" y="82500"/>
                  <a:pt x="18750" y="82500"/>
                  <a:pt x="18750" y="80833"/>
                </a:cubicBezTo>
                <a:close/>
              </a:path>
            </a:pathLst>
          </a:custGeom>
          <a:solidFill>
            <a:schemeClr val="accent2"/>
          </a:solidFill>
          <a:ln w="3175" cap="flat" cmpd="sng" algn="ctr">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499" name="Shape 1959"/>
          <p:cNvSpPr/>
          <p:nvPr/>
        </p:nvSpPr>
        <p:spPr>
          <a:xfrm>
            <a:off x="5646930" y="2078235"/>
            <a:ext cx="701032" cy="1023057"/>
          </a:xfrm>
          <a:custGeom>
            <a:avLst/>
            <a:gdLst/>
            <a:ahLst/>
            <a:cxnLst/>
            <a:rect l="0" t="0" r="0" b="0"/>
            <a:pathLst>
              <a:path w="120000" h="120000" extrusionOk="0">
                <a:moveTo>
                  <a:pt x="53207" y="24578"/>
                </a:moveTo>
                <a:cubicBezTo>
                  <a:pt x="47547" y="23493"/>
                  <a:pt x="49811" y="22409"/>
                  <a:pt x="45283" y="21325"/>
                </a:cubicBezTo>
                <a:cubicBezTo>
                  <a:pt x="40188" y="20240"/>
                  <a:pt x="41320" y="19518"/>
                  <a:pt x="45283" y="19156"/>
                </a:cubicBezTo>
                <a:cubicBezTo>
                  <a:pt x="50943" y="18433"/>
                  <a:pt x="56037" y="16987"/>
                  <a:pt x="47547" y="17349"/>
                </a:cubicBezTo>
                <a:cubicBezTo>
                  <a:pt x="38490" y="18072"/>
                  <a:pt x="37924" y="17349"/>
                  <a:pt x="45283" y="15903"/>
                </a:cubicBezTo>
                <a:cubicBezTo>
                  <a:pt x="52641" y="14457"/>
                  <a:pt x="57735" y="13373"/>
                  <a:pt x="51509" y="13373"/>
                </a:cubicBezTo>
                <a:cubicBezTo>
                  <a:pt x="45283" y="13373"/>
                  <a:pt x="50943" y="11927"/>
                  <a:pt x="45283" y="13373"/>
                </a:cubicBezTo>
                <a:cubicBezTo>
                  <a:pt x="41320" y="15180"/>
                  <a:pt x="39622" y="16987"/>
                  <a:pt x="35094" y="14096"/>
                </a:cubicBezTo>
                <a:cubicBezTo>
                  <a:pt x="31132" y="10843"/>
                  <a:pt x="29433" y="11204"/>
                  <a:pt x="32830" y="10843"/>
                </a:cubicBezTo>
                <a:cubicBezTo>
                  <a:pt x="35094" y="10843"/>
                  <a:pt x="31698" y="10843"/>
                  <a:pt x="32830" y="9759"/>
                </a:cubicBezTo>
                <a:cubicBezTo>
                  <a:pt x="33396" y="7951"/>
                  <a:pt x="31132" y="11204"/>
                  <a:pt x="29433" y="9759"/>
                </a:cubicBezTo>
                <a:cubicBezTo>
                  <a:pt x="27735" y="7951"/>
                  <a:pt x="25471" y="7951"/>
                  <a:pt x="29433" y="6144"/>
                </a:cubicBezTo>
                <a:cubicBezTo>
                  <a:pt x="33396" y="4698"/>
                  <a:pt x="31698" y="6867"/>
                  <a:pt x="34528" y="6144"/>
                </a:cubicBezTo>
                <a:cubicBezTo>
                  <a:pt x="36226" y="5060"/>
                  <a:pt x="35094" y="6867"/>
                  <a:pt x="38490" y="5783"/>
                </a:cubicBezTo>
                <a:cubicBezTo>
                  <a:pt x="43018" y="5060"/>
                  <a:pt x="43018" y="6144"/>
                  <a:pt x="39622" y="6867"/>
                </a:cubicBezTo>
                <a:cubicBezTo>
                  <a:pt x="36226" y="7228"/>
                  <a:pt x="40188" y="6867"/>
                  <a:pt x="41320" y="9036"/>
                </a:cubicBezTo>
                <a:cubicBezTo>
                  <a:pt x="43018" y="10843"/>
                  <a:pt x="41320" y="6867"/>
                  <a:pt x="43584" y="6144"/>
                </a:cubicBezTo>
                <a:cubicBezTo>
                  <a:pt x="47547" y="5783"/>
                  <a:pt x="50943" y="11204"/>
                  <a:pt x="52641" y="11204"/>
                </a:cubicBezTo>
                <a:cubicBezTo>
                  <a:pt x="54905" y="11204"/>
                  <a:pt x="47547" y="6144"/>
                  <a:pt x="50943" y="5060"/>
                </a:cubicBezTo>
                <a:cubicBezTo>
                  <a:pt x="53207" y="3253"/>
                  <a:pt x="52641" y="5060"/>
                  <a:pt x="56037" y="5060"/>
                </a:cubicBezTo>
                <a:cubicBezTo>
                  <a:pt x="58301" y="5060"/>
                  <a:pt x="58301" y="5783"/>
                  <a:pt x="60000" y="6144"/>
                </a:cubicBezTo>
                <a:cubicBezTo>
                  <a:pt x="61132" y="6144"/>
                  <a:pt x="58301" y="6867"/>
                  <a:pt x="59433" y="8313"/>
                </a:cubicBezTo>
                <a:cubicBezTo>
                  <a:pt x="60000" y="9759"/>
                  <a:pt x="59433" y="6144"/>
                  <a:pt x="62830" y="7228"/>
                </a:cubicBezTo>
                <a:cubicBezTo>
                  <a:pt x="65660" y="8313"/>
                  <a:pt x="61698" y="10120"/>
                  <a:pt x="66226" y="9759"/>
                </a:cubicBezTo>
                <a:cubicBezTo>
                  <a:pt x="69622" y="9759"/>
                  <a:pt x="67358" y="10120"/>
                  <a:pt x="72452" y="11204"/>
                </a:cubicBezTo>
                <a:cubicBezTo>
                  <a:pt x="77547" y="11927"/>
                  <a:pt x="77547" y="12289"/>
                  <a:pt x="69622" y="13012"/>
                </a:cubicBezTo>
                <a:cubicBezTo>
                  <a:pt x="61698" y="13012"/>
                  <a:pt x="67924" y="15903"/>
                  <a:pt x="62830" y="16265"/>
                </a:cubicBezTo>
                <a:cubicBezTo>
                  <a:pt x="58301" y="17349"/>
                  <a:pt x="65660" y="18433"/>
                  <a:pt x="60000" y="19518"/>
                </a:cubicBezTo>
                <a:cubicBezTo>
                  <a:pt x="54339" y="20963"/>
                  <a:pt x="59433" y="26024"/>
                  <a:pt x="53207" y="24578"/>
                </a:cubicBezTo>
                <a:close/>
                <a:moveTo>
                  <a:pt x="74150" y="15180"/>
                </a:moveTo>
                <a:cubicBezTo>
                  <a:pt x="76415" y="14457"/>
                  <a:pt x="79245" y="15180"/>
                  <a:pt x="79245" y="14096"/>
                </a:cubicBezTo>
                <a:cubicBezTo>
                  <a:pt x="78113" y="13012"/>
                  <a:pt x="75849" y="13012"/>
                  <a:pt x="73018" y="13373"/>
                </a:cubicBezTo>
                <a:cubicBezTo>
                  <a:pt x="70754" y="14096"/>
                  <a:pt x="69056" y="13373"/>
                  <a:pt x="71320" y="14457"/>
                </a:cubicBezTo>
                <a:cubicBezTo>
                  <a:pt x="73018" y="15180"/>
                  <a:pt x="71320" y="15903"/>
                  <a:pt x="74150" y="15180"/>
                </a:cubicBezTo>
                <a:close/>
                <a:moveTo>
                  <a:pt x="28301" y="13373"/>
                </a:moveTo>
                <a:cubicBezTo>
                  <a:pt x="29433" y="15180"/>
                  <a:pt x="28301" y="13012"/>
                  <a:pt x="31698" y="14457"/>
                </a:cubicBezTo>
                <a:cubicBezTo>
                  <a:pt x="36226" y="16265"/>
                  <a:pt x="32830" y="13373"/>
                  <a:pt x="31132" y="13373"/>
                </a:cubicBezTo>
                <a:cubicBezTo>
                  <a:pt x="29433" y="13373"/>
                  <a:pt x="29433" y="10843"/>
                  <a:pt x="26603" y="11204"/>
                </a:cubicBezTo>
                <a:cubicBezTo>
                  <a:pt x="25471" y="11204"/>
                  <a:pt x="26603" y="11927"/>
                  <a:pt x="28301" y="13373"/>
                </a:cubicBezTo>
                <a:close/>
                <a:moveTo>
                  <a:pt x="74150" y="18433"/>
                </a:moveTo>
                <a:cubicBezTo>
                  <a:pt x="71320" y="20240"/>
                  <a:pt x="74150" y="19518"/>
                  <a:pt x="78113" y="19518"/>
                </a:cubicBezTo>
                <a:cubicBezTo>
                  <a:pt x="82641" y="19156"/>
                  <a:pt x="76415" y="22048"/>
                  <a:pt x="82641" y="20240"/>
                </a:cubicBezTo>
                <a:cubicBezTo>
                  <a:pt x="86037" y="19518"/>
                  <a:pt x="92264" y="18072"/>
                  <a:pt x="89433" y="17349"/>
                </a:cubicBezTo>
                <a:cubicBezTo>
                  <a:pt x="87735" y="16987"/>
                  <a:pt x="87735" y="18072"/>
                  <a:pt x="84339" y="16987"/>
                </a:cubicBezTo>
                <a:cubicBezTo>
                  <a:pt x="80943" y="15903"/>
                  <a:pt x="87169" y="15903"/>
                  <a:pt x="84339" y="15180"/>
                </a:cubicBezTo>
                <a:cubicBezTo>
                  <a:pt x="81509" y="14457"/>
                  <a:pt x="69056" y="15180"/>
                  <a:pt x="75849" y="16987"/>
                </a:cubicBezTo>
                <a:cubicBezTo>
                  <a:pt x="76415" y="17349"/>
                  <a:pt x="76415" y="17349"/>
                  <a:pt x="74150" y="18433"/>
                </a:cubicBezTo>
                <a:close/>
                <a:moveTo>
                  <a:pt x="74150" y="5783"/>
                </a:moveTo>
                <a:cubicBezTo>
                  <a:pt x="79245" y="5783"/>
                  <a:pt x="76415" y="6144"/>
                  <a:pt x="69622" y="6867"/>
                </a:cubicBezTo>
                <a:cubicBezTo>
                  <a:pt x="62830" y="7951"/>
                  <a:pt x="73018" y="8313"/>
                  <a:pt x="78113" y="8313"/>
                </a:cubicBezTo>
                <a:cubicBezTo>
                  <a:pt x="82641" y="8313"/>
                  <a:pt x="85471" y="11204"/>
                  <a:pt x="88867" y="9036"/>
                </a:cubicBezTo>
                <a:cubicBezTo>
                  <a:pt x="92264" y="7228"/>
                  <a:pt x="91132" y="9036"/>
                  <a:pt x="94528" y="8313"/>
                </a:cubicBezTo>
                <a:cubicBezTo>
                  <a:pt x="97924" y="7951"/>
                  <a:pt x="92830" y="7228"/>
                  <a:pt x="100188" y="5783"/>
                </a:cubicBezTo>
                <a:cubicBezTo>
                  <a:pt x="104150" y="5060"/>
                  <a:pt x="100188" y="3253"/>
                  <a:pt x="97358" y="3253"/>
                </a:cubicBezTo>
                <a:cubicBezTo>
                  <a:pt x="95660" y="3975"/>
                  <a:pt x="92830" y="2891"/>
                  <a:pt x="88867" y="2168"/>
                </a:cubicBezTo>
                <a:cubicBezTo>
                  <a:pt x="84339" y="2168"/>
                  <a:pt x="87169" y="3975"/>
                  <a:pt x="84339" y="3253"/>
                </a:cubicBezTo>
                <a:cubicBezTo>
                  <a:pt x="81509" y="3253"/>
                  <a:pt x="85471" y="2168"/>
                  <a:pt x="83773" y="1807"/>
                </a:cubicBezTo>
                <a:cubicBezTo>
                  <a:pt x="82641" y="1084"/>
                  <a:pt x="79811" y="1084"/>
                  <a:pt x="79811" y="3253"/>
                </a:cubicBezTo>
                <a:cubicBezTo>
                  <a:pt x="79811" y="5060"/>
                  <a:pt x="79245" y="5060"/>
                  <a:pt x="77547" y="3253"/>
                </a:cubicBezTo>
                <a:cubicBezTo>
                  <a:pt x="75849" y="1807"/>
                  <a:pt x="76415" y="3975"/>
                  <a:pt x="69622" y="2168"/>
                </a:cubicBezTo>
                <a:cubicBezTo>
                  <a:pt x="62830" y="0"/>
                  <a:pt x="71320" y="4698"/>
                  <a:pt x="66226" y="2891"/>
                </a:cubicBezTo>
                <a:cubicBezTo>
                  <a:pt x="60000" y="1084"/>
                  <a:pt x="67924" y="4698"/>
                  <a:pt x="63396" y="3253"/>
                </a:cubicBezTo>
                <a:cubicBezTo>
                  <a:pt x="59433" y="2891"/>
                  <a:pt x="58301" y="3975"/>
                  <a:pt x="61132" y="4698"/>
                </a:cubicBezTo>
                <a:cubicBezTo>
                  <a:pt x="63396" y="5783"/>
                  <a:pt x="59433" y="4698"/>
                  <a:pt x="63396" y="6144"/>
                </a:cubicBezTo>
                <a:cubicBezTo>
                  <a:pt x="66226" y="7228"/>
                  <a:pt x="67924" y="5783"/>
                  <a:pt x="74150" y="5783"/>
                </a:cubicBezTo>
                <a:close/>
                <a:moveTo>
                  <a:pt x="110943" y="64698"/>
                </a:moveTo>
                <a:cubicBezTo>
                  <a:pt x="110943" y="63975"/>
                  <a:pt x="113773" y="63975"/>
                  <a:pt x="114339" y="63614"/>
                </a:cubicBezTo>
                <a:cubicBezTo>
                  <a:pt x="115471" y="62891"/>
                  <a:pt x="114339" y="62891"/>
                  <a:pt x="116037" y="62891"/>
                </a:cubicBezTo>
                <a:cubicBezTo>
                  <a:pt x="117169" y="63614"/>
                  <a:pt x="118867" y="63614"/>
                  <a:pt x="118301" y="62168"/>
                </a:cubicBezTo>
                <a:cubicBezTo>
                  <a:pt x="118301" y="62168"/>
                  <a:pt x="118301" y="62168"/>
                  <a:pt x="118301" y="61807"/>
                </a:cubicBezTo>
                <a:cubicBezTo>
                  <a:pt x="116037" y="61807"/>
                  <a:pt x="116037" y="62168"/>
                  <a:pt x="115471" y="61807"/>
                </a:cubicBezTo>
                <a:cubicBezTo>
                  <a:pt x="114339" y="61084"/>
                  <a:pt x="114339" y="62168"/>
                  <a:pt x="113773" y="62168"/>
                </a:cubicBezTo>
                <a:cubicBezTo>
                  <a:pt x="112641" y="62168"/>
                  <a:pt x="112075" y="62168"/>
                  <a:pt x="112641" y="62168"/>
                </a:cubicBezTo>
                <a:cubicBezTo>
                  <a:pt x="112641" y="61807"/>
                  <a:pt x="113773" y="61084"/>
                  <a:pt x="110943" y="60722"/>
                </a:cubicBezTo>
                <a:cubicBezTo>
                  <a:pt x="109245" y="60722"/>
                  <a:pt x="109245" y="59999"/>
                  <a:pt x="108679" y="59999"/>
                </a:cubicBezTo>
                <a:cubicBezTo>
                  <a:pt x="106981" y="59999"/>
                  <a:pt x="107547" y="59638"/>
                  <a:pt x="112075" y="60722"/>
                </a:cubicBezTo>
                <a:cubicBezTo>
                  <a:pt x="115471" y="61084"/>
                  <a:pt x="115471" y="59638"/>
                  <a:pt x="117169" y="59638"/>
                </a:cubicBezTo>
                <a:cubicBezTo>
                  <a:pt x="118867" y="59638"/>
                  <a:pt x="120000" y="58554"/>
                  <a:pt x="118301" y="58554"/>
                </a:cubicBezTo>
                <a:cubicBezTo>
                  <a:pt x="116037" y="58554"/>
                  <a:pt x="117169" y="57831"/>
                  <a:pt x="116037" y="57831"/>
                </a:cubicBezTo>
                <a:cubicBezTo>
                  <a:pt x="114339" y="57831"/>
                  <a:pt x="115471" y="56746"/>
                  <a:pt x="113773" y="57469"/>
                </a:cubicBezTo>
                <a:cubicBezTo>
                  <a:pt x="112641" y="57831"/>
                  <a:pt x="113773" y="56746"/>
                  <a:pt x="112075" y="57469"/>
                </a:cubicBezTo>
                <a:cubicBezTo>
                  <a:pt x="110377" y="57469"/>
                  <a:pt x="112075" y="56746"/>
                  <a:pt x="110377" y="56024"/>
                </a:cubicBezTo>
                <a:cubicBezTo>
                  <a:pt x="107547" y="56024"/>
                  <a:pt x="106981" y="57469"/>
                  <a:pt x="106981" y="58554"/>
                </a:cubicBezTo>
                <a:cubicBezTo>
                  <a:pt x="107547" y="58915"/>
                  <a:pt x="106981" y="57831"/>
                  <a:pt x="105849" y="58554"/>
                </a:cubicBezTo>
                <a:cubicBezTo>
                  <a:pt x="105283" y="58554"/>
                  <a:pt x="104150" y="58554"/>
                  <a:pt x="105283" y="57831"/>
                </a:cubicBezTo>
                <a:cubicBezTo>
                  <a:pt x="106981" y="57469"/>
                  <a:pt x="106981" y="56746"/>
                  <a:pt x="105849" y="57469"/>
                </a:cubicBezTo>
                <a:cubicBezTo>
                  <a:pt x="105283" y="57469"/>
                  <a:pt x="105283" y="57469"/>
                  <a:pt x="105283" y="56746"/>
                </a:cubicBezTo>
                <a:cubicBezTo>
                  <a:pt x="105849" y="56746"/>
                  <a:pt x="107547" y="56024"/>
                  <a:pt x="107547" y="55662"/>
                </a:cubicBezTo>
                <a:cubicBezTo>
                  <a:pt x="107547" y="54939"/>
                  <a:pt x="105849" y="56024"/>
                  <a:pt x="105849" y="55662"/>
                </a:cubicBezTo>
                <a:cubicBezTo>
                  <a:pt x="105849" y="54939"/>
                  <a:pt x="105283" y="55662"/>
                  <a:pt x="104150" y="54939"/>
                </a:cubicBezTo>
                <a:cubicBezTo>
                  <a:pt x="102452" y="54578"/>
                  <a:pt x="103584" y="55662"/>
                  <a:pt x="102452" y="55662"/>
                </a:cubicBezTo>
                <a:cubicBezTo>
                  <a:pt x="101886" y="54939"/>
                  <a:pt x="100754" y="56024"/>
                  <a:pt x="101886" y="56024"/>
                </a:cubicBezTo>
                <a:cubicBezTo>
                  <a:pt x="103584" y="56024"/>
                  <a:pt x="101886" y="56746"/>
                  <a:pt x="101886" y="56746"/>
                </a:cubicBezTo>
                <a:cubicBezTo>
                  <a:pt x="102452" y="56746"/>
                  <a:pt x="100754" y="56746"/>
                  <a:pt x="100754" y="57469"/>
                </a:cubicBezTo>
                <a:cubicBezTo>
                  <a:pt x="100754" y="57831"/>
                  <a:pt x="100188" y="57469"/>
                  <a:pt x="100754" y="57831"/>
                </a:cubicBezTo>
                <a:cubicBezTo>
                  <a:pt x="100754" y="58554"/>
                  <a:pt x="100754" y="58554"/>
                  <a:pt x="99056" y="58915"/>
                </a:cubicBezTo>
                <a:cubicBezTo>
                  <a:pt x="97358" y="59638"/>
                  <a:pt x="99056" y="57831"/>
                  <a:pt x="99056" y="57469"/>
                </a:cubicBezTo>
                <a:cubicBezTo>
                  <a:pt x="99056" y="57469"/>
                  <a:pt x="100188" y="56024"/>
                  <a:pt x="99056" y="56024"/>
                </a:cubicBezTo>
                <a:cubicBezTo>
                  <a:pt x="97924" y="55662"/>
                  <a:pt x="95660" y="57469"/>
                  <a:pt x="94528" y="58554"/>
                </a:cubicBezTo>
                <a:cubicBezTo>
                  <a:pt x="92830" y="59638"/>
                  <a:pt x="94528" y="58915"/>
                  <a:pt x="92830" y="59999"/>
                </a:cubicBezTo>
                <a:cubicBezTo>
                  <a:pt x="92264" y="60722"/>
                  <a:pt x="92264" y="59999"/>
                  <a:pt x="92264" y="59999"/>
                </a:cubicBezTo>
                <a:cubicBezTo>
                  <a:pt x="91132" y="60722"/>
                  <a:pt x="90566" y="59999"/>
                  <a:pt x="91132" y="59638"/>
                </a:cubicBezTo>
                <a:cubicBezTo>
                  <a:pt x="92830" y="58915"/>
                  <a:pt x="92264" y="58915"/>
                  <a:pt x="92264" y="58915"/>
                </a:cubicBezTo>
                <a:cubicBezTo>
                  <a:pt x="93962" y="57831"/>
                  <a:pt x="91132" y="58554"/>
                  <a:pt x="93962" y="57469"/>
                </a:cubicBezTo>
                <a:cubicBezTo>
                  <a:pt x="95660" y="56024"/>
                  <a:pt x="96226" y="56024"/>
                  <a:pt x="94528" y="56024"/>
                </a:cubicBezTo>
                <a:cubicBezTo>
                  <a:pt x="92830" y="56024"/>
                  <a:pt x="92830" y="54939"/>
                  <a:pt x="92830" y="56024"/>
                </a:cubicBezTo>
                <a:cubicBezTo>
                  <a:pt x="92830" y="57469"/>
                  <a:pt x="92830" y="56024"/>
                  <a:pt x="92264" y="56024"/>
                </a:cubicBezTo>
                <a:cubicBezTo>
                  <a:pt x="91132" y="55662"/>
                  <a:pt x="91132" y="56024"/>
                  <a:pt x="90566" y="55662"/>
                </a:cubicBezTo>
                <a:cubicBezTo>
                  <a:pt x="90566" y="55662"/>
                  <a:pt x="89433" y="55662"/>
                  <a:pt x="89433" y="56024"/>
                </a:cubicBezTo>
                <a:cubicBezTo>
                  <a:pt x="90566" y="56024"/>
                  <a:pt x="90566" y="56746"/>
                  <a:pt x="89433" y="56746"/>
                </a:cubicBezTo>
                <a:cubicBezTo>
                  <a:pt x="87735" y="56024"/>
                  <a:pt x="87735" y="56746"/>
                  <a:pt x="89433" y="56746"/>
                </a:cubicBezTo>
                <a:cubicBezTo>
                  <a:pt x="91132" y="57469"/>
                  <a:pt x="91132" y="57831"/>
                  <a:pt x="89433" y="57469"/>
                </a:cubicBezTo>
                <a:cubicBezTo>
                  <a:pt x="87735" y="56746"/>
                  <a:pt x="89433" y="57469"/>
                  <a:pt x="87169" y="58554"/>
                </a:cubicBezTo>
                <a:cubicBezTo>
                  <a:pt x="83773" y="58915"/>
                  <a:pt x="86037" y="58915"/>
                  <a:pt x="84339" y="59638"/>
                </a:cubicBezTo>
                <a:cubicBezTo>
                  <a:pt x="82641" y="59999"/>
                  <a:pt x="85471" y="59999"/>
                  <a:pt x="83773" y="59999"/>
                </a:cubicBezTo>
                <a:cubicBezTo>
                  <a:pt x="82641" y="60722"/>
                  <a:pt x="85471" y="60722"/>
                  <a:pt x="84339" y="61084"/>
                </a:cubicBezTo>
                <a:cubicBezTo>
                  <a:pt x="84339" y="61084"/>
                  <a:pt x="81509" y="61084"/>
                  <a:pt x="82641" y="59999"/>
                </a:cubicBezTo>
                <a:cubicBezTo>
                  <a:pt x="83773" y="59638"/>
                  <a:pt x="80943" y="59638"/>
                  <a:pt x="79811" y="59638"/>
                </a:cubicBezTo>
                <a:cubicBezTo>
                  <a:pt x="79245" y="59638"/>
                  <a:pt x="79245" y="58915"/>
                  <a:pt x="79245" y="59638"/>
                </a:cubicBezTo>
                <a:cubicBezTo>
                  <a:pt x="78113" y="59638"/>
                  <a:pt x="77547" y="58554"/>
                  <a:pt x="77547" y="59638"/>
                </a:cubicBezTo>
                <a:cubicBezTo>
                  <a:pt x="77547" y="60722"/>
                  <a:pt x="76415" y="58915"/>
                  <a:pt x="75849" y="59638"/>
                </a:cubicBezTo>
                <a:cubicBezTo>
                  <a:pt x="74150" y="59999"/>
                  <a:pt x="75849" y="59999"/>
                  <a:pt x="75849" y="59999"/>
                </a:cubicBezTo>
                <a:cubicBezTo>
                  <a:pt x="75849" y="60722"/>
                  <a:pt x="76415" y="59999"/>
                  <a:pt x="77547" y="60722"/>
                </a:cubicBezTo>
                <a:cubicBezTo>
                  <a:pt x="77547" y="60722"/>
                  <a:pt x="78113" y="60722"/>
                  <a:pt x="78113" y="61084"/>
                </a:cubicBezTo>
                <a:cubicBezTo>
                  <a:pt x="77547" y="61084"/>
                  <a:pt x="77547" y="61084"/>
                  <a:pt x="78113" y="61807"/>
                </a:cubicBezTo>
                <a:cubicBezTo>
                  <a:pt x="79245" y="62168"/>
                  <a:pt x="78113" y="62168"/>
                  <a:pt x="76415" y="61084"/>
                </a:cubicBezTo>
                <a:cubicBezTo>
                  <a:pt x="74716" y="60722"/>
                  <a:pt x="74150" y="60722"/>
                  <a:pt x="74716" y="61084"/>
                </a:cubicBezTo>
                <a:cubicBezTo>
                  <a:pt x="74716" y="61084"/>
                  <a:pt x="74150" y="61807"/>
                  <a:pt x="74150" y="61084"/>
                </a:cubicBezTo>
                <a:cubicBezTo>
                  <a:pt x="74150" y="60722"/>
                  <a:pt x="72452" y="61807"/>
                  <a:pt x="71320" y="61807"/>
                </a:cubicBezTo>
                <a:cubicBezTo>
                  <a:pt x="71320" y="62168"/>
                  <a:pt x="72452" y="63614"/>
                  <a:pt x="69056" y="64698"/>
                </a:cubicBezTo>
                <a:cubicBezTo>
                  <a:pt x="70754" y="63614"/>
                  <a:pt x="70754" y="62168"/>
                  <a:pt x="70754" y="61084"/>
                </a:cubicBezTo>
                <a:cubicBezTo>
                  <a:pt x="70754" y="60722"/>
                  <a:pt x="70754" y="61807"/>
                  <a:pt x="69622" y="61084"/>
                </a:cubicBezTo>
                <a:cubicBezTo>
                  <a:pt x="69622" y="61084"/>
                  <a:pt x="69622" y="61084"/>
                  <a:pt x="69056" y="61807"/>
                </a:cubicBezTo>
                <a:cubicBezTo>
                  <a:pt x="67924" y="62891"/>
                  <a:pt x="69056" y="62168"/>
                  <a:pt x="67924" y="62891"/>
                </a:cubicBezTo>
                <a:cubicBezTo>
                  <a:pt x="67358" y="63614"/>
                  <a:pt x="67358" y="62891"/>
                  <a:pt x="67924" y="62168"/>
                </a:cubicBezTo>
                <a:cubicBezTo>
                  <a:pt x="69056" y="61084"/>
                  <a:pt x="66226" y="61807"/>
                  <a:pt x="65660" y="62168"/>
                </a:cubicBezTo>
                <a:cubicBezTo>
                  <a:pt x="62830" y="63614"/>
                  <a:pt x="64528" y="62891"/>
                  <a:pt x="64528" y="63614"/>
                </a:cubicBezTo>
                <a:cubicBezTo>
                  <a:pt x="64528" y="63975"/>
                  <a:pt x="67358" y="63614"/>
                  <a:pt x="67358" y="65060"/>
                </a:cubicBezTo>
                <a:cubicBezTo>
                  <a:pt x="64528" y="64698"/>
                  <a:pt x="67358" y="64698"/>
                  <a:pt x="65660" y="63975"/>
                </a:cubicBezTo>
                <a:cubicBezTo>
                  <a:pt x="63396" y="63975"/>
                  <a:pt x="64528" y="62891"/>
                  <a:pt x="62830" y="63614"/>
                </a:cubicBezTo>
                <a:cubicBezTo>
                  <a:pt x="61132" y="63614"/>
                  <a:pt x="61698" y="63614"/>
                  <a:pt x="62830" y="63975"/>
                </a:cubicBezTo>
                <a:cubicBezTo>
                  <a:pt x="63396" y="64698"/>
                  <a:pt x="62830" y="65060"/>
                  <a:pt x="61698" y="63975"/>
                </a:cubicBezTo>
                <a:cubicBezTo>
                  <a:pt x="61698" y="63614"/>
                  <a:pt x="60000" y="62891"/>
                  <a:pt x="61132" y="63975"/>
                </a:cubicBezTo>
                <a:cubicBezTo>
                  <a:pt x="61132" y="64698"/>
                  <a:pt x="59433" y="63975"/>
                  <a:pt x="60000" y="65060"/>
                </a:cubicBezTo>
                <a:cubicBezTo>
                  <a:pt x="61132" y="65783"/>
                  <a:pt x="59433" y="65060"/>
                  <a:pt x="58301" y="66144"/>
                </a:cubicBezTo>
                <a:cubicBezTo>
                  <a:pt x="56603" y="66867"/>
                  <a:pt x="60000" y="66144"/>
                  <a:pt x="58301" y="66867"/>
                </a:cubicBezTo>
                <a:cubicBezTo>
                  <a:pt x="56603" y="67228"/>
                  <a:pt x="57735" y="67228"/>
                  <a:pt x="56603" y="67228"/>
                </a:cubicBezTo>
                <a:cubicBezTo>
                  <a:pt x="54905" y="67951"/>
                  <a:pt x="54905" y="67228"/>
                  <a:pt x="53207" y="68674"/>
                </a:cubicBezTo>
                <a:cubicBezTo>
                  <a:pt x="52641" y="69759"/>
                  <a:pt x="56037" y="68674"/>
                  <a:pt x="56037" y="68674"/>
                </a:cubicBezTo>
                <a:cubicBezTo>
                  <a:pt x="56037" y="69036"/>
                  <a:pt x="56037" y="69036"/>
                  <a:pt x="57735" y="68674"/>
                </a:cubicBezTo>
                <a:cubicBezTo>
                  <a:pt x="59433" y="67951"/>
                  <a:pt x="57735" y="69036"/>
                  <a:pt x="56037" y="69759"/>
                </a:cubicBezTo>
                <a:cubicBezTo>
                  <a:pt x="54339" y="69759"/>
                  <a:pt x="54905" y="69036"/>
                  <a:pt x="53207" y="69036"/>
                </a:cubicBezTo>
                <a:cubicBezTo>
                  <a:pt x="51509" y="69759"/>
                  <a:pt x="50943" y="69759"/>
                  <a:pt x="51509" y="70120"/>
                </a:cubicBezTo>
                <a:cubicBezTo>
                  <a:pt x="52641" y="70120"/>
                  <a:pt x="51509" y="70120"/>
                  <a:pt x="52641" y="70120"/>
                </a:cubicBezTo>
                <a:cubicBezTo>
                  <a:pt x="54339" y="70120"/>
                  <a:pt x="52641" y="70843"/>
                  <a:pt x="52641" y="71204"/>
                </a:cubicBezTo>
                <a:cubicBezTo>
                  <a:pt x="52641" y="72289"/>
                  <a:pt x="51509" y="71204"/>
                  <a:pt x="51509" y="70843"/>
                </a:cubicBezTo>
                <a:cubicBezTo>
                  <a:pt x="51509" y="70120"/>
                  <a:pt x="50943" y="69759"/>
                  <a:pt x="50943" y="70120"/>
                </a:cubicBezTo>
                <a:cubicBezTo>
                  <a:pt x="49811" y="70843"/>
                  <a:pt x="49811" y="70843"/>
                  <a:pt x="49811" y="70843"/>
                </a:cubicBezTo>
                <a:cubicBezTo>
                  <a:pt x="49811" y="70120"/>
                  <a:pt x="48113" y="70843"/>
                  <a:pt x="48113" y="71204"/>
                </a:cubicBezTo>
                <a:cubicBezTo>
                  <a:pt x="48113" y="71204"/>
                  <a:pt x="48113" y="70843"/>
                  <a:pt x="49811" y="71204"/>
                </a:cubicBezTo>
                <a:cubicBezTo>
                  <a:pt x="50943" y="71204"/>
                  <a:pt x="50943" y="71204"/>
                  <a:pt x="50943" y="71204"/>
                </a:cubicBezTo>
                <a:cubicBezTo>
                  <a:pt x="49811" y="71204"/>
                  <a:pt x="44716" y="71927"/>
                  <a:pt x="45283" y="72289"/>
                </a:cubicBezTo>
                <a:cubicBezTo>
                  <a:pt x="46415" y="73012"/>
                  <a:pt x="44716" y="73012"/>
                  <a:pt x="45283" y="73012"/>
                </a:cubicBezTo>
                <a:cubicBezTo>
                  <a:pt x="47547" y="73373"/>
                  <a:pt x="47547" y="71927"/>
                  <a:pt x="49811" y="72289"/>
                </a:cubicBezTo>
                <a:cubicBezTo>
                  <a:pt x="51509" y="73012"/>
                  <a:pt x="49811" y="72289"/>
                  <a:pt x="48113" y="73012"/>
                </a:cubicBezTo>
                <a:cubicBezTo>
                  <a:pt x="46415" y="73012"/>
                  <a:pt x="49245" y="73373"/>
                  <a:pt x="46415" y="73373"/>
                </a:cubicBezTo>
                <a:cubicBezTo>
                  <a:pt x="43584" y="73373"/>
                  <a:pt x="46415" y="74096"/>
                  <a:pt x="46415" y="74819"/>
                </a:cubicBezTo>
                <a:cubicBezTo>
                  <a:pt x="45283" y="74819"/>
                  <a:pt x="45283" y="74096"/>
                  <a:pt x="44716" y="74819"/>
                </a:cubicBezTo>
                <a:cubicBezTo>
                  <a:pt x="43584" y="74819"/>
                  <a:pt x="43584" y="75180"/>
                  <a:pt x="44716" y="75180"/>
                </a:cubicBezTo>
                <a:cubicBezTo>
                  <a:pt x="44716" y="75180"/>
                  <a:pt x="45283" y="74819"/>
                  <a:pt x="47547" y="75180"/>
                </a:cubicBezTo>
                <a:cubicBezTo>
                  <a:pt x="50943" y="75180"/>
                  <a:pt x="48113" y="74819"/>
                  <a:pt x="49245" y="75903"/>
                </a:cubicBezTo>
                <a:cubicBezTo>
                  <a:pt x="49245" y="76265"/>
                  <a:pt x="48113" y="75180"/>
                  <a:pt x="46415" y="75180"/>
                </a:cubicBezTo>
                <a:cubicBezTo>
                  <a:pt x="45283" y="75180"/>
                  <a:pt x="44716" y="75903"/>
                  <a:pt x="43584" y="75903"/>
                </a:cubicBezTo>
                <a:cubicBezTo>
                  <a:pt x="43018" y="75180"/>
                  <a:pt x="43584" y="75903"/>
                  <a:pt x="41886" y="75903"/>
                </a:cubicBezTo>
                <a:cubicBezTo>
                  <a:pt x="41320" y="75903"/>
                  <a:pt x="43018" y="76265"/>
                  <a:pt x="41320" y="76265"/>
                </a:cubicBezTo>
                <a:cubicBezTo>
                  <a:pt x="38490" y="76265"/>
                  <a:pt x="41320" y="76987"/>
                  <a:pt x="40188" y="77349"/>
                </a:cubicBezTo>
                <a:cubicBezTo>
                  <a:pt x="39622" y="78072"/>
                  <a:pt x="39622" y="77349"/>
                  <a:pt x="38490" y="78072"/>
                </a:cubicBezTo>
                <a:cubicBezTo>
                  <a:pt x="37924" y="78433"/>
                  <a:pt x="39622" y="78072"/>
                  <a:pt x="38490" y="78433"/>
                </a:cubicBezTo>
                <a:cubicBezTo>
                  <a:pt x="37924" y="78433"/>
                  <a:pt x="38490" y="79156"/>
                  <a:pt x="38490" y="78433"/>
                </a:cubicBezTo>
                <a:cubicBezTo>
                  <a:pt x="37924" y="78433"/>
                  <a:pt x="36792" y="78433"/>
                  <a:pt x="37924" y="79156"/>
                </a:cubicBezTo>
                <a:cubicBezTo>
                  <a:pt x="38490" y="79156"/>
                  <a:pt x="36792" y="79879"/>
                  <a:pt x="38490" y="79879"/>
                </a:cubicBezTo>
                <a:cubicBezTo>
                  <a:pt x="40188" y="79879"/>
                  <a:pt x="36792" y="80240"/>
                  <a:pt x="37924" y="80240"/>
                </a:cubicBezTo>
                <a:cubicBezTo>
                  <a:pt x="37924" y="80240"/>
                  <a:pt x="41320" y="79879"/>
                  <a:pt x="41886" y="79879"/>
                </a:cubicBezTo>
                <a:cubicBezTo>
                  <a:pt x="43584" y="79879"/>
                  <a:pt x="41886" y="80240"/>
                  <a:pt x="40188" y="80240"/>
                </a:cubicBezTo>
                <a:cubicBezTo>
                  <a:pt x="38490" y="80963"/>
                  <a:pt x="37924" y="80240"/>
                  <a:pt x="36792" y="80963"/>
                </a:cubicBezTo>
                <a:cubicBezTo>
                  <a:pt x="35094" y="81325"/>
                  <a:pt x="37924" y="80963"/>
                  <a:pt x="37924" y="81325"/>
                </a:cubicBezTo>
                <a:cubicBezTo>
                  <a:pt x="37924" y="82048"/>
                  <a:pt x="36226" y="81325"/>
                  <a:pt x="36226" y="82409"/>
                </a:cubicBezTo>
                <a:cubicBezTo>
                  <a:pt x="35094" y="83132"/>
                  <a:pt x="34528" y="82409"/>
                  <a:pt x="34528" y="83132"/>
                </a:cubicBezTo>
                <a:cubicBezTo>
                  <a:pt x="35094" y="84216"/>
                  <a:pt x="35094" y="83493"/>
                  <a:pt x="36226" y="84216"/>
                </a:cubicBezTo>
                <a:cubicBezTo>
                  <a:pt x="36226" y="84939"/>
                  <a:pt x="34528" y="84939"/>
                  <a:pt x="34528" y="85301"/>
                </a:cubicBezTo>
                <a:cubicBezTo>
                  <a:pt x="35094" y="85301"/>
                  <a:pt x="35094" y="86024"/>
                  <a:pt x="33396" y="86024"/>
                </a:cubicBezTo>
                <a:cubicBezTo>
                  <a:pt x="32830" y="86024"/>
                  <a:pt x="32830" y="86385"/>
                  <a:pt x="31698" y="86385"/>
                </a:cubicBezTo>
                <a:cubicBezTo>
                  <a:pt x="31132" y="86385"/>
                  <a:pt x="31132" y="87108"/>
                  <a:pt x="30000" y="87108"/>
                </a:cubicBezTo>
                <a:cubicBezTo>
                  <a:pt x="29433" y="87108"/>
                  <a:pt x="28301" y="87108"/>
                  <a:pt x="28301" y="87108"/>
                </a:cubicBezTo>
                <a:cubicBezTo>
                  <a:pt x="28301" y="87469"/>
                  <a:pt x="28301" y="87108"/>
                  <a:pt x="30000" y="87108"/>
                </a:cubicBezTo>
                <a:cubicBezTo>
                  <a:pt x="31132" y="87469"/>
                  <a:pt x="29433" y="88192"/>
                  <a:pt x="31132" y="87469"/>
                </a:cubicBezTo>
                <a:cubicBezTo>
                  <a:pt x="31698" y="87108"/>
                  <a:pt x="31698" y="87469"/>
                  <a:pt x="31132" y="87469"/>
                </a:cubicBezTo>
                <a:cubicBezTo>
                  <a:pt x="30000" y="88192"/>
                  <a:pt x="31698" y="88192"/>
                  <a:pt x="31698" y="88554"/>
                </a:cubicBezTo>
                <a:cubicBezTo>
                  <a:pt x="31132" y="89277"/>
                  <a:pt x="31132" y="89277"/>
                  <a:pt x="30000" y="89277"/>
                </a:cubicBezTo>
                <a:cubicBezTo>
                  <a:pt x="29433" y="89277"/>
                  <a:pt x="29433" y="88192"/>
                  <a:pt x="28301" y="88192"/>
                </a:cubicBezTo>
                <a:cubicBezTo>
                  <a:pt x="27735" y="88554"/>
                  <a:pt x="28301" y="88554"/>
                  <a:pt x="28301" y="88554"/>
                </a:cubicBezTo>
                <a:cubicBezTo>
                  <a:pt x="26603" y="88554"/>
                  <a:pt x="26603" y="89277"/>
                  <a:pt x="26603" y="90000"/>
                </a:cubicBezTo>
                <a:cubicBezTo>
                  <a:pt x="26603" y="90361"/>
                  <a:pt x="24905" y="90000"/>
                  <a:pt x="24905" y="90361"/>
                </a:cubicBezTo>
                <a:cubicBezTo>
                  <a:pt x="23773" y="92168"/>
                  <a:pt x="22075" y="91445"/>
                  <a:pt x="22075" y="92530"/>
                </a:cubicBezTo>
                <a:cubicBezTo>
                  <a:pt x="21509" y="93253"/>
                  <a:pt x="23207" y="92530"/>
                  <a:pt x="23207" y="92530"/>
                </a:cubicBezTo>
                <a:cubicBezTo>
                  <a:pt x="23207" y="93253"/>
                  <a:pt x="23773" y="93253"/>
                  <a:pt x="23773" y="93253"/>
                </a:cubicBezTo>
                <a:cubicBezTo>
                  <a:pt x="23773" y="93614"/>
                  <a:pt x="25471" y="93614"/>
                  <a:pt x="28301" y="92530"/>
                </a:cubicBezTo>
                <a:cubicBezTo>
                  <a:pt x="31132" y="91445"/>
                  <a:pt x="26603" y="92168"/>
                  <a:pt x="28301" y="91445"/>
                </a:cubicBezTo>
                <a:cubicBezTo>
                  <a:pt x="30000" y="91084"/>
                  <a:pt x="29433" y="91084"/>
                  <a:pt x="30000" y="91084"/>
                </a:cubicBezTo>
                <a:cubicBezTo>
                  <a:pt x="31698" y="91445"/>
                  <a:pt x="27735" y="91445"/>
                  <a:pt x="30000" y="92168"/>
                </a:cubicBezTo>
                <a:cubicBezTo>
                  <a:pt x="31698" y="92168"/>
                  <a:pt x="30000" y="92530"/>
                  <a:pt x="28301" y="93253"/>
                </a:cubicBezTo>
                <a:cubicBezTo>
                  <a:pt x="26603" y="93614"/>
                  <a:pt x="28301" y="93253"/>
                  <a:pt x="27735" y="93614"/>
                </a:cubicBezTo>
                <a:cubicBezTo>
                  <a:pt x="27735" y="93614"/>
                  <a:pt x="29433" y="93614"/>
                  <a:pt x="28301" y="94337"/>
                </a:cubicBezTo>
                <a:cubicBezTo>
                  <a:pt x="27735" y="94337"/>
                  <a:pt x="25471" y="93614"/>
                  <a:pt x="23773" y="94337"/>
                </a:cubicBezTo>
                <a:cubicBezTo>
                  <a:pt x="23207" y="94698"/>
                  <a:pt x="23773" y="94337"/>
                  <a:pt x="23207" y="93614"/>
                </a:cubicBezTo>
                <a:cubicBezTo>
                  <a:pt x="22075" y="92530"/>
                  <a:pt x="22075" y="93253"/>
                  <a:pt x="21509" y="93253"/>
                </a:cubicBezTo>
                <a:cubicBezTo>
                  <a:pt x="19811" y="93614"/>
                  <a:pt x="20377" y="94337"/>
                  <a:pt x="20377" y="93614"/>
                </a:cubicBezTo>
                <a:cubicBezTo>
                  <a:pt x="19811" y="93614"/>
                  <a:pt x="18679" y="94337"/>
                  <a:pt x="16981" y="94337"/>
                </a:cubicBezTo>
                <a:cubicBezTo>
                  <a:pt x="15283" y="94698"/>
                  <a:pt x="19811" y="95421"/>
                  <a:pt x="16981" y="95421"/>
                </a:cubicBezTo>
                <a:cubicBezTo>
                  <a:pt x="14716" y="95421"/>
                  <a:pt x="18113" y="96144"/>
                  <a:pt x="15283" y="96144"/>
                </a:cubicBezTo>
                <a:cubicBezTo>
                  <a:pt x="13018" y="95421"/>
                  <a:pt x="16415" y="96144"/>
                  <a:pt x="14716" y="96506"/>
                </a:cubicBezTo>
                <a:cubicBezTo>
                  <a:pt x="13018" y="96506"/>
                  <a:pt x="11320" y="96144"/>
                  <a:pt x="10188" y="96506"/>
                </a:cubicBezTo>
                <a:cubicBezTo>
                  <a:pt x="10188" y="96506"/>
                  <a:pt x="10188" y="97590"/>
                  <a:pt x="11886" y="97228"/>
                </a:cubicBezTo>
                <a:cubicBezTo>
                  <a:pt x="14716" y="97228"/>
                  <a:pt x="11886" y="97228"/>
                  <a:pt x="13018" y="98313"/>
                </a:cubicBezTo>
                <a:cubicBezTo>
                  <a:pt x="13584" y="98674"/>
                  <a:pt x="11886" y="97590"/>
                  <a:pt x="8490" y="98313"/>
                </a:cubicBezTo>
                <a:cubicBezTo>
                  <a:pt x="5660" y="98674"/>
                  <a:pt x="10188" y="98313"/>
                  <a:pt x="10188" y="98674"/>
                </a:cubicBezTo>
                <a:cubicBezTo>
                  <a:pt x="11320" y="99759"/>
                  <a:pt x="10188" y="98313"/>
                  <a:pt x="7358" y="99397"/>
                </a:cubicBezTo>
                <a:cubicBezTo>
                  <a:pt x="5094" y="99759"/>
                  <a:pt x="6792" y="100481"/>
                  <a:pt x="5660" y="99759"/>
                </a:cubicBezTo>
                <a:cubicBezTo>
                  <a:pt x="3962" y="99759"/>
                  <a:pt x="5660" y="100481"/>
                  <a:pt x="3962" y="100481"/>
                </a:cubicBezTo>
                <a:cubicBezTo>
                  <a:pt x="2264" y="99759"/>
                  <a:pt x="1698" y="99759"/>
                  <a:pt x="2264" y="100481"/>
                </a:cubicBezTo>
                <a:cubicBezTo>
                  <a:pt x="3396" y="101204"/>
                  <a:pt x="566" y="100481"/>
                  <a:pt x="1698" y="101204"/>
                </a:cubicBezTo>
                <a:cubicBezTo>
                  <a:pt x="2264" y="101566"/>
                  <a:pt x="5094" y="101204"/>
                  <a:pt x="7358" y="101566"/>
                </a:cubicBezTo>
                <a:cubicBezTo>
                  <a:pt x="9622" y="102289"/>
                  <a:pt x="6792" y="101566"/>
                  <a:pt x="5660" y="102289"/>
                </a:cubicBezTo>
                <a:cubicBezTo>
                  <a:pt x="5660" y="102289"/>
                  <a:pt x="5094" y="101204"/>
                  <a:pt x="2264" y="102289"/>
                </a:cubicBezTo>
                <a:cubicBezTo>
                  <a:pt x="0" y="102650"/>
                  <a:pt x="3962" y="103373"/>
                  <a:pt x="2264" y="103734"/>
                </a:cubicBezTo>
                <a:cubicBezTo>
                  <a:pt x="0" y="103734"/>
                  <a:pt x="2264" y="103734"/>
                  <a:pt x="1698" y="104457"/>
                </a:cubicBezTo>
                <a:cubicBezTo>
                  <a:pt x="1698" y="104819"/>
                  <a:pt x="2264" y="105542"/>
                  <a:pt x="3962" y="104819"/>
                </a:cubicBezTo>
                <a:cubicBezTo>
                  <a:pt x="5660" y="104457"/>
                  <a:pt x="7358" y="105542"/>
                  <a:pt x="8490" y="104819"/>
                </a:cubicBezTo>
                <a:cubicBezTo>
                  <a:pt x="8490" y="103734"/>
                  <a:pt x="9622" y="104819"/>
                  <a:pt x="11320" y="104819"/>
                </a:cubicBezTo>
                <a:cubicBezTo>
                  <a:pt x="13018" y="104457"/>
                  <a:pt x="13584" y="104819"/>
                  <a:pt x="11886" y="104819"/>
                </a:cubicBezTo>
                <a:cubicBezTo>
                  <a:pt x="9622" y="105542"/>
                  <a:pt x="13018" y="106626"/>
                  <a:pt x="10188" y="105542"/>
                </a:cubicBezTo>
                <a:cubicBezTo>
                  <a:pt x="8490" y="104457"/>
                  <a:pt x="8490" y="106265"/>
                  <a:pt x="7358" y="105542"/>
                </a:cubicBezTo>
                <a:cubicBezTo>
                  <a:pt x="5660" y="104819"/>
                  <a:pt x="3962" y="106265"/>
                  <a:pt x="3396" y="105542"/>
                </a:cubicBezTo>
                <a:cubicBezTo>
                  <a:pt x="1698" y="105542"/>
                  <a:pt x="1698" y="105542"/>
                  <a:pt x="1698" y="106265"/>
                </a:cubicBezTo>
                <a:cubicBezTo>
                  <a:pt x="1698" y="107349"/>
                  <a:pt x="3396" y="106265"/>
                  <a:pt x="3396" y="107349"/>
                </a:cubicBezTo>
                <a:cubicBezTo>
                  <a:pt x="3396" y="107710"/>
                  <a:pt x="1698" y="106265"/>
                  <a:pt x="1698" y="107349"/>
                </a:cubicBezTo>
                <a:cubicBezTo>
                  <a:pt x="2264" y="108433"/>
                  <a:pt x="3396" y="107349"/>
                  <a:pt x="3396" y="107710"/>
                </a:cubicBezTo>
                <a:cubicBezTo>
                  <a:pt x="3396" y="108795"/>
                  <a:pt x="1698" y="108795"/>
                  <a:pt x="1698" y="108795"/>
                </a:cubicBezTo>
                <a:cubicBezTo>
                  <a:pt x="3396" y="109518"/>
                  <a:pt x="3396" y="109879"/>
                  <a:pt x="3962" y="109518"/>
                </a:cubicBezTo>
                <a:cubicBezTo>
                  <a:pt x="3962" y="108795"/>
                  <a:pt x="3962" y="109879"/>
                  <a:pt x="5094" y="109879"/>
                </a:cubicBezTo>
                <a:cubicBezTo>
                  <a:pt x="5094" y="109518"/>
                  <a:pt x="3962" y="110602"/>
                  <a:pt x="5094" y="110602"/>
                </a:cubicBezTo>
                <a:cubicBezTo>
                  <a:pt x="5660" y="110602"/>
                  <a:pt x="5094" y="109518"/>
                  <a:pt x="6792" y="109518"/>
                </a:cubicBezTo>
                <a:cubicBezTo>
                  <a:pt x="7358" y="108795"/>
                  <a:pt x="5660" y="110602"/>
                  <a:pt x="5094" y="111325"/>
                </a:cubicBezTo>
                <a:cubicBezTo>
                  <a:pt x="3396" y="111325"/>
                  <a:pt x="5660" y="111325"/>
                  <a:pt x="5094" y="111686"/>
                </a:cubicBezTo>
                <a:cubicBezTo>
                  <a:pt x="3962" y="112409"/>
                  <a:pt x="5094" y="111325"/>
                  <a:pt x="3396" y="112409"/>
                </a:cubicBezTo>
                <a:cubicBezTo>
                  <a:pt x="1698" y="113493"/>
                  <a:pt x="3396" y="114578"/>
                  <a:pt x="3962" y="113855"/>
                </a:cubicBezTo>
                <a:cubicBezTo>
                  <a:pt x="3962" y="113493"/>
                  <a:pt x="5094" y="113855"/>
                  <a:pt x="5094" y="113493"/>
                </a:cubicBezTo>
                <a:cubicBezTo>
                  <a:pt x="5660" y="112771"/>
                  <a:pt x="6792" y="113493"/>
                  <a:pt x="5660" y="113855"/>
                </a:cubicBezTo>
                <a:cubicBezTo>
                  <a:pt x="5094" y="113855"/>
                  <a:pt x="6792" y="113855"/>
                  <a:pt x="5660" y="114578"/>
                </a:cubicBezTo>
                <a:cubicBezTo>
                  <a:pt x="5094" y="114939"/>
                  <a:pt x="6792" y="114939"/>
                  <a:pt x="5660" y="115662"/>
                </a:cubicBezTo>
                <a:cubicBezTo>
                  <a:pt x="3962" y="115662"/>
                  <a:pt x="3962" y="114578"/>
                  <a:pt x="3962" y="115662"/>
                </a:cubicBezTo>
                <a:cubicBezTo>
                  <a:pt x="3396" y="116746"/>
                  <a:pt x="3396" y="116746"/>
                  <a:pt x="3962" y="116746"/>
                </a:cubicBezTo>
                <a:cubicBezTo>
                  <a:pt x="5094" y="117831"/>
                  <a:pt x="5660" y="117469"/>
                  <a:pt x="5660" y="117831"/>
                </a:cubicBezTo>
                <a:cubicBezTo>
                  <a:pt x="6792" y="118554"/>
                  <a:pt x="7358" y="118554"/>
                  <a:pt x="8490" y="118915"/>
                </a:cubicBezTo>
                <a:cubicBezTo>
                  <a:pt x="9622" y="118915"/>
                  <a:pt x="8490" y="118915"/>
                  <a:pt x="9622" y="119638"/>
                </a:cubicBezTo>
                <a:cubicBezTo>
                  <a:pt x="9622" y="119999"/>
                  <a:pt x="9622" y="118915"/>
                  <a:pt x="10188" y="119638"/>
                </a:cubicBezTo>
                <a:cubicBezTo>
                  <a:pt x="11320" y="119638"/>
                  <a:pt x="10188" y="119999"/>
                  <a:pt x="11320" y="119638"/>
                </a:cubicBezTo>
                <a:cubicBezTo>
                  <a:pt x="13018" y="119638"/>
                  <a:pt x="15283" y="119638"/>
                  <a:pt x="16415" y="118915"/>
                </a:cubicBezTo>
                <a:cubicBezTo>
                  <a:pt x="16981" y="118915"/>
                  <a:pt x="18113" y="118554"/>
                  <a:pt x="18679" y="117469"/>
                </a:cubicBezTo>
                <a:cubicBezTo>
                  <a:pt x="19811" y="116746"/>
                  <a:pt x="20377" y="117469"/>
                  <a:pt x="20377" y="116746"/>
                </a:cubicBezTo>
                <a:cubicBezTo>
                  <a:pt x="20377" y="116024"/>
                  <a:pt x="22075" y="116746"/>
                  <a:pt x="21509" y="116024"/>
                </a:cubicBezTo>
                <a:cubicBezTo>
                  <a:pt x="20377" y="115662"/>
                  <a:pt x="23207" y="116024"/>
                  <a:pt x="22075" y="114939"/>
                </a:cubicBezTo>
                <a:cubicBezTo>
                  <a:pt x="22075" y="114578"/>
                  <a:pt x="23207" y="115662"/>
                  <a:pt x="23773" y="114939"/>
                </a:cubicBezTo>
                <a:cubicBezTo>
                  <a:pt x="24905" y="114939"/>
                  <a:pt x="25471" y="115662"/>
                  <a:pt x="25471" y="114578"/>
                </a:cubicBezTo>
                <a:cubicBezTo>
                  <a:pt x="25471" y="113493"/>
                  <a:pt x="27735" y="113855"/>
                  <a:pt x="25471" y="113493"/>
                </a:cubicBezTo>
                <a:cubicBezTo>
                  <a:pt x="25471" y="112771"/>
                  <a:pt x="24905" y="112409"/>
                  <a:pt x="26603" y="112771"/>
                </a:cubicBezTo>
                <a:cubicBezTo>
                  <a:pt x="27735" y="113493"/>
                  <a:pt x="26603" y="111686"/>
                  <a:pt x="27735" y="112409"/>
                </a:cubicBezTo>
                <a:cubicBezTo>
                  <a:pt x="27735" y="113493"/>
                  <a:pt x="26603" y="112771"/>
                  <a:pt x="27735" y="113493"/>
                </a:cubicBezTo>
                <a:cubicBezTo>
                  <a:pt x="27735" y="113855"/>
                  <a:pt x="26603" y="114578"/>
                  <a:pt x="28301" y="114578"/>
                </a:cubicBezTo>
                <a:cubicBezTo>
                  <a:pt x="29433" y="114578"/>
                  <a:pt x="28301" y="114578"/>
                  <a:pt x="30000" y="114578"/>
                </a:cubicBezTo>
                <a:cubicBezTo>
                  <a:pt x="30000" y="114578"/>
                  <a:pt x="30000" y="114939"/>
                  <a:pt x="31132" y="115662"/>
                </a:cubicBezTo>
                <a:cubicBezTo>
                  <a:pt x="31132" y="116024"/>
                  <a:pt x="32830" y="114939"/>
                  <a:pt x="31698" y="113493"/>
                </a:cubicBezTo>
                <a:cubicBezTo>
                  <a:pt x="31132" y="112409"/>
                  <a:pt x="32830" y="112409"/>
                  <a:pt x="32830" y="111686"/>
                </a:cubicBezTo>
                <a:cubicBezTo>
                  <a:pt x="31698" y="110602"/>
                  <a:pt x="33396" y="111686"/>
                  <a:pt x="34528" y="110602"/>
                </a:cubicBezTo>
                <a:cubicBezTo>
                  <a:pt x="36226" y="109518"/>
                  <a:pt x="34528" y="109518"/>
                  <a:pt x="35094" y="108795"/>
                </a:cubicBezTo>
                <a:cubicBezTo>
                  <a:pt x="36792" y="108433"/>
                  <a:pt x="33396" y="106265"/>
                  <a:pt x="34528" y="105542"/>
                </a:cubicBezTo>
                <a:cubicBezTo>
                  <a:pt x="34528" y="104819"/>
                  <a:pt x="36226" y="106265"/>
                  <a:pt x="36226" y="104819"/>
                </a:cubicBezTo>
                <a:cubicBezTo>
                  <a:pt x="36792" y="104457"/>
                  <a:pt x="37924" y="103734"/>
                  <a:pt x="35094" y="103373"/>
                </a:cubicBezTo>
                <a:cubicBezTo>
                  <a:pt x="31698" y="102289"/>
                  <a:pt x="35094" y="100481"/>
                  <a:pt x="34528" y="98674"/>
                </a:cubicBezTo>
                <a:cubicBezTo>
                  <a:pt x="32830" y="97590"/>
                  <a:pt x="34528" y="97590"/>
                  <a:pt x="33396" y="97228"/>
                </a:cubicBezTo>
                <a:cubicBezTo>
                  <a:pt x="32830" y="96506"/>
                  <a:pt x="34528" y="96506"/>
                  <a:pt x="33396" y="95421"/>
                </a:cubicBezTo>
                <a:cubicBezTo>
                  <a:pt x="31698" y="94337"/>
                  <a:pt x="34528" y="94337"/>
                  <a:pt x="33396" y="93614"/>
                </a:cubicBezTo>
                <a:cubicBezTo>
                  <a:pt x="33396" y="92530"/>
                  <a:pt x="36792" y="91445"/>
                  <a:pt x="37924" y="91084"/>
                </a:cubicBezTo>
                <a:cubicBezTo>
                  <a:pt x="39622" y="90361"/>
                  <a:pt x="41886" y="92168"/>
                  <a:pt x="43018" y="90000"/>
                </a:cubicBezTo>
                <a:cubicBezTo>
                  <a:pt x="43584" y="88554"/>
                  <a:pt x="41886" y="89277"/>
                  <a:pt x="41320" y="88554"/>
                </a:cubicBezTo>
                <a:cubicBezTo>
                  <a:pt x="39622" y="88192"/>
                  <a:pt x="43584" y="86385"/>
                  <a:pt x="43584" y="86024"/>
                </a:cubicBezTo>
                <a:cubicBezTo>
                  <a:pt x="43584" y="84939"/>
                  <a:pt x="44716" y="85301"/>
                  <a:pt x="44716" y="84216"/>
                </a:cubicBezTo>
                <a:cubicBezTo>
                  <a:pt x="43584" y="82409"/>
                  <a:pt x="45283" y="83132"/>
                  <a:pt x="43584" y="80963"/>
                </a:cubicBezTo>
                <a:cubicBezTo>
                  <a:pt x="43584" y="80240"/>
                  <a:pt x="49811" y="80963"/>
                  <a:pt x="48113" y="79879"/>
                </a:cubicBezTo>
                <a:cubicBezTo>
                  <a:pt x="47547" y="78433"/>
                  <a:pt x="49245" y="79156"/>
                  <a:pt x="49811" y="77349"/>
                </a:cubicBezTo>
                <a:cubicBezTo>
                  <a:pt x="51509" y="76265"/>
                  <a:pt x="52641" y="76987"/>
                  <a:pt x="52641" y="75903"/>
                </a:cubicBezTo>
                <a:cubicBezTo>
                  <a:pt x="53207" y="75180"/>
                  <a:pt x="51509" y="74819"/>
                  <a:pt x="51509" y="74096"/>
                </a:cubicBezTo>
                <a:cubicBezTo>
                  <a:pt x="51509" y="73373"/>
                  <a:pt x="52641" y="74096"/>
                  <a:pt x="54339" y="72289"/>
                </a:cubicBezTo>
                <a:cubicBezTo>
                  <a:pt x="54339" y="71204"/>
                  <a:pt x="56037" y="71204"/>
                  <a:pt x="56603" y="70843"/>
                </a:cubicBezTo>
                <a:cubicBezTo>
                  <a:pt x="57735" y="70843"/>
                  <a:pt x="58301" y="71927"/>
                  <a:pt x="60000" y="71204"/>
                </a:cubicBezTo>
                <a:cubicBezTo>
                  <a:pt x="61698" y="70843"/>
                  <a:pt x="59433" y="69036"/>
                  <a:pt x="60000" y="68674"/>
                </a:cubicBezTo>
                <a:cubicBezTo>
                  <a:pt x="62830" y="67228"/>
                  <a:pt x="67358" y="70120"/>
                  <a:pt x="69622" y="69036"/>
                </a:cubicBezTo>
                <a:cubicBezTo>
                  <a:pt x="71320" y="68674"/>
                  <a:pt x="67358" y="69036"/>
                  <a:pt x="69622" y="67951"/>
                </a:cubicBezTo>
                <a:cubicBezTo>
                  <a:pt x="72452" y="66144"/>
                  <a:pt x="67358" y="65783"/>
                  <a:pt x="72452" y="65783"/>
                </a:cubicBezTo>
                <a:cubicBezTo>
                  <a:pt x="72452" y="65060"/>
                  <a:pt x="74150" y="66144"/>
                  <a:pt x="74150" y="65783"/>
                </a:cubicBezTo>
                <a:cubicBezTo>
                  <a:pt x="74150" y="65783"/>
                  <a:pt x="73018" y="65060"/>
                  <a:pt x="74150" y="64698"/>
                </a:cubicBezTo>
                <a:cubicBezTo>
                  <a:pt x="75849" y="63975"/>
                  <a:pt x="77547" y="65060"/>
                  <a:pt x="79245" y="66144"/>
                </a:cubicBezTo>
                <a:cubicBezTo>
                  <a:pt x="80943" y="67228"/>
                  <a:pt x="78113" y="67228"/>
                  <a:pt x="80943" y="67228"/>
                </a:cubicBezTo>
                <a:cubicBezTo>
                  <a:pt x="84339" y="67228"/>
                  <a:pt x="82641" y="67951"/>
                  <a:pt x="84339" y="67951"/>
                </a:cubicBezTo>
                <a:cubicBezTo>
                  <a:pt x="87169" y="67228"/>
                  <a:pt x="86037" y="66867"/>
                  <a:pt x="87169" y="66867"/>
                </a:cubicBezTo>
                <a:cubicBezTo>
                  <a:pt x="87735" y="67228"/>
                  <a:pt x="89433" y="67228"/>
                  <a:pt x="91132" y="68674"/>
                </a:cubicBezTo>
                <a:cubicBezTo>
                  <a:pt x="91132" y="67951"/>
                  <a:pt x="92264" y="68674"/>
                  <a:pt x="92264" y="67228"/>
                </a:cubicBezTo>
                <a:cubicBezTo>
                  <a:pt x="92830" y="66144"/>
                  <a:pt x="96226" y="66867"/>
                  <a:pt x="94528" y="65783"/>
                </a:cubicBezTo>
                <a:cubicBezTo>
                  <a:pt x="93962" y="64698"/>
                  <a:pt x="95660" y="64698"/>
                  <a:pt x="95660" y="63614"/>
                </a:cubicBezTo>
                <a:cubicBezTo>
                  <a:pt x="95660" y="62891"/>
                  <a:pt x="96226" y="61807"/>
                  <a:pt x="97924" y="61084"/>
                </a:cubicBezTo>
                <a:cubicBezTo>
                  <a:pt x="100188" y="60722"/>
                  <a:pt x="99056" y="61807"/>
                  <a:pt x="102452" y="60722"/>
                </a:cubicBezTo>
                <a:cubicBezTo>
                  <a:pt x="104150" y="59999"/>
                  <a:pt x="104150" y="59999"/>
                  <a:pt x="105283" y="61084"/>
                </a:cubicBezTo>
                <a:cubicBezTo>
                  <a:pt x="105849" y="61807"/>
                  <a:pt x="110377" y="62168"/>
                  <a:pt x="110943" y="63614"/>
                </a:cubicBezTo>
                <a:cubicBezTo>
                  <a:pt x="110943" y="63975"/>
                  <a:pt x="106981" y="65060"/>
                  <a:pt x="109245" y="65783"/>
                </a:cubicBezTo>
                <a:cubicBezTo>
                  <a:pt x="110377" y="66144"/>
                  <a:pt x="110377" y="65783"/>
                  <a:pt x="110943" y="64698"/>
                </a:cubicBezTo>
                <a:close/>
                <a:moveTo>
                  <a:pt x="87169" y="56746"/>
                </a:moveTo>
                <a:cubicBezTo>
                  <a:pt x="88867" y="57469"/>
                  <a:pt x="87735" y="57831"/>
                  <a:pt x="87169" y="57831"/>
                </a:cubicBezTo>
                <a:cubicBezTo>
                  <a:pt x="86037" y="58554"/>
                  <a:pt x="85471" y="56746"/>
                  <a:pt x="87169" y="56746"/>
                </a:cubicBezTo>
                <a:close/>
                <a:moveTo>
                  <a:pt x="84339" y="58915"/>
                </a:moveTo>
                <a:cubicBezTo>
                  <a:pt x="85471" y="58554"/>
                  <a:pt x="87169" y="57831"/>
                  <a:pt x="85471" y="57469"/>
                </a:cubicBezTo>
                <a:cubicBezTo>
                  <a:pt x="84339" y="57469"/>
                  <a:pt x="85471" y="57831"/>
                  <a:pt x="84339" y="57831"/>
                </a:cubicBezTo>
                <a:cubicBezTo>
                  <a:pt x="82641" y="58554"/>
                  <a:pt x="81509" y="58554"/>
                  <a:pt x="83773" y="58915"/>
                </a:cubicBezTo>
                <a:cubicBezTo>
                  <a:pt x="83773" y="58915"/>
                  <a:pt x="84339" y="59638"/>
                  <a:pt x="84339" y="58915"/>
                </a:cubicBezTo>
                <a:close/>
                <a:moveTo>
                  <a:pt x="79811" y="58915"/>
                </a:moveTo>
                <a:cubicBezTo>
                  <a:pt x="81509" y="58554"/>
                  <a:pt x="82641" y="58915"/>
                  <a:pt x="82641" y="58915"/>
                </a:cubicBezTo>
                <a:cubicBezTo>
                  <a:pt x="83773" y="59638"/>
                  <a:pt x="79245" y="59638"/>
                  <a:pt x="79811" y="58915"/>
                </a:cubicBezTo>
                <a:close/>
                <a:moveTo>
                  <a:pt x="81509" y="57831"/>
                </a:moveTo>
                <a:cubicBezTo>
                  <a:pt x="82641" y="57831"/>
                  <a:pt x="82641" y="57831"/>
                  <a:pt x="84339" y="57469"/>
                </a:cubicBezTo>
                <a:cubicBezTo>
                  <a:pt x="86037" y="56024"/>
                  <a:pt x="85471" y="56024"/>
                  <a:pt x="83773" y="56024"/>
                </a:cubicBezTo>
                <a:cubicBezTo>
                  <a:pt x="82641" y="56746"/>
                  <a:pt x="84339" y="56746"/>
                  <a:pt x="83773" y="56746"/>
                </a:cubicBezTo>
                <a:cubicBezTo>
                  <a:pt x="82641" y="57469"/>
                  <a:pt x="81509" y="56746"/>
                  <a:pt x="81509" y="57469"/>
                </a:cubicBezTo>
                <a:cubicBezTo>
                  <a:pt x="81509" y="57831"/>
                  <a:pt x="81509" y="56746"/>
                  <a:pt x="80943" y="57469"/>
                </a:cubicBezTo>
                <a:cubicBezTo>
                  <a:pt x="79245" y="57469"/>
                  <a:pt x="77547" y="57831"/>
                  <a:pt x="79245" y="57831"/>
                </a:cubicBezTo>
                <a:cubicBezTo>
                  <a:pt x="79811" y="57831"/>
                  <a:pt x="78113" y="58554"/>
                  <a:pt x="79811" y="58554"/>
                </a:cubicBezTo>
                <a:cubicBezTo>
                  <a:pt x="80943" y="57831"/>
                  <a:pt x="80943" y="57831"/>
                  <a:pt x="81509" y="57831"/>
                </a:cubicBezTo>
                <a:close/>
                <a:moveTo>
                  <a:pt x="72452" y="60722"/>
                </a:moveTo>
                <a:cubicBezTo>
                  <a:pt x="73018" y="60722"/>
                  <a:pt x="73018" y="60722"/>
                  <a:pt x="73018" y="59999"/>
                </a:cubicBezTo>
                <a:cubicBezTo>
                  <a:pt x="73018" y="59638"/>
                  <a:pt x="73018" y="58915"/>
                  <a:pt x="71320" y="59638"/>
                </a:cubicBezTo>
                <a:cubicBezTo>
                  <a:pt x="70754" y="59999"/>
                  <a:pt x="70754" y="59999"/>
                  <a:pt x="72452" y="60722"/>
                </a:cubicBezTo>
                <a:close/>
                <a:moveTo>
                  <a:pt x="69056" y="59638"/>
                </a:moveTo>
                <a:cubicBezTo>
                  <a:pt x="67924" y="59638"/>
                  <a:pt x="67924" y="58915"/>
                  <a:pt x="67924" y="59638"/>
                </a:cubicBezTo>
                <a:cubicBezTo>
                  <a:pt x="67358" y="59999"/>
                  <a:pt x="69056" y="60722"/>
                  <a:pt x="69622" y="59999"/>
                </a:cubicBezTo>
                <a:cubicBezTo>
                  <a:pt x="70754" y="59999"/>
                  <a:pt x="69622" y="59999"/>
                  <a:pt x="69056" y="59638"/>
                </a:cubicBezTo>
                <a:close/>
                <a:moveTo>
                  <a:pt x="87169" y="55662"/>
                </a:moveTo>
                <a:cubicBezTo>
                  <a:pt x="87735" y="55662"/>
                  <a:pt x="87735" y="55662"/>
                  <a:pt x="87735" y="55662"/>
                </a:cubicBezTo>
                <a:cubicBezTo>
                  <a:pt x="88867" y="56024"/>
                  <a:pt x="87735" y="56024"/>
                  <a:pt x="87169" y="55662"/>
                </a:cubicBezTo>
                <a:close/>
                <a:moveTo>
                  <a:pt x="72452" y="61084"/>
                </a:moveTo>
                <a:cubicBezTo>
                  <a:pt x="73018" y="61084"/>
                  <a:pt x="72452" y="61807"/>
                  <a:pt x="72452" y="61807"/>
                </a:cubicBezTo>
                <a:cubicBezTo>
                  <a:pt x="71320" y="61807"/>
                  <a:pt x="72452" y="60722"/>
                  <a:pt x="72452" y="61084"/>
                </a:cubicBezTo>
                <a:close/>
                <a:moveTo>
                  <a:pt x="73018" y="60722"/>
                </a:moveTo>
                <a:cubicBezTo>
                  <a:pt x="73018" y="59999"/>
                  <a:pt x="74716" y="60722"/>
                  <a:pt x="74150" y="61084"/>
                </a:cubicBezTo>
                <a:cubicBezTo>
                  <a:pt x="73018" y="61084"/>
                  <a:pt x="73018" y="61084"/>
                  <a:pt x="73018" y="60722"/>
                </a:cubicBezTo>
                <a:close/>
                <a:moveTo>
                  <a:pt x="67358" y="61084"/>
                </a:moveTo>
                <a:cubicBezTo>
                  <a:pt x="67924" y="60722"/>
                  <a:pt x="69056" y="60722"/>
                  <a:pt x="69056" y="60722"/>
                </a:cubicBezTo>
                <a:cubicBezTo>
                  <a:pt x="69056" y="61084"/>
                  <a:pt x="67358" y="61807"/>
                  <a:pt x="67358" y="61084"/>
                </a:cubicBezTo>
                <a:close/>
                <a:moveTo>
                  <a:pt x="67358" y="61084"/>
                </a:moveTo>
                <a:cubicBezTo>
                  <a:pt x="67924" y="60722"/>
                  <a:pt x="67924" y="60722"/>
                  <a:pt x="67924" y="60722"/>
                </a:cubicBezTo>
                <a:cubicBezTo>
                  <a:pt x="67358" y="60722"/>
                  <a:pt x="67358" y="60722"/>
                  <a:pt x="66226" y="60722"/>
                </a:cubicBezTo>
                <a:cubicBezTo>
                  <a:pt x="65660" y="59999"/>
                  <a:pt x="65660" y="60722"/>
                  <a:pt x="65660" y="60722"/>
                </a:cubicBezTo>
                <a:cubicBezTo>
                  <a:pt x="64528" y="60722"/>
                  <a:pt x="64528" y="60722"/>
                  <a:pt x="63396" y="61084"/>
                </a:cubicBezTo>
                <a:cubicBezTo>
                  <a:pt x="63396" y="61084"/>
                  <a:pt x="64528" y="61084"/>
                  <a:pt x="65660" y="61807"/>
                </a:cubicBezTo>
                <a:cubicBezTo>
                  <a:pt x="66226" y="61807"/>
                  <a:pt x="66226" y="61807"/>
                  <a:pt x="67358" y="61084"/>
                </a:cubicBezTo>
                <a:close/>
                <a:moveTo>
                  <a:pt x="65660" y="59999"/>
                </a:moveTo>
                <a:cubicBezTo>
                  <a:pt x="64528" y="59999"/>
                  <a:pt x="65660" y="59638"/>
                  <a:pt x="66226" y="59638"/>
                </a:cubicBezTo>
                <a:cubicBezTo>
                  <a:pt x="66226" y="59638"/>
                  <a:pt x="66226" y="59999"/>
                  <a:pt x="65660" y="59999"/>
                </a:cubicBezTo>
                <a:close/>
                <a:moveTo>
                  <a:pt x="64528" y="59999"/>
                </a:moveTo>
                <a:cubicBezTo>
                  <a:pt x="64528" y="59999"/>
                  <a:pt x="64528" y="59999"/>
                  <a:pt x="63396" y="59999"/>
                </a:cubicBezTo>
                <a:cubicBezTo>
                  <a:pt x="63396" y="59999"/>
                  <a:pt x="63396" y="59999"/>
                  <a:pt x="63396" y="60722"/>
                </a:cubicBezTo>
                <a:cubicBezTo>
                  <a:pt x="63396" y="61084"/>
                  <a:pt x="64528" y="59999"/>
                  <a:pt x="64528" y="59999"/>
                </a:cubicBezTo>
                <a:close/>
                <a:moveTo>
                  <a:pt x="63396" y="62891"/>
                </a:moveTo>
                <a:cubicBezTo>
                  <a:pt x="63396" y="62168"/>
                  <a:pt x="66226" y="62168"/>
                  <a:pt x="64528" y="61807"/>
                </a:cubicBezTo>
                <a:cubicBezTo>
                  <a:pt x="62830" y="61084"/>
                  <a:pt x="63396" y="61807"/>
                  <a:pt x="63396" y="61807"/>
                </a:cubicBezTo>
                <a:cubicBezTo>
                  <a:pt x="62830" y="61807"/>
                  <a:pt x="62830" y="62168"/>
                  <a:pt x="62830" y="61807"/>
                </a:cubicBezTo>
                <a:cubicBezTo>
                  <a:pt x="61698" y="61807"/>
                  <a:pt x="61698" y="61807"/>
                  <a:pt x="61698" y="62168"/>
                </a:cubicBezTo>
                <a:cubicBezTo>
                  <a:pt x="61132" y="62891"/>
                  <a:pt x="61132" y="62168"/>
                  <a:pt x="60000" y="62891"/>
                </a:cubicBezTo>
                <a:cubicBezTo>
                  <a:pt x="60000" y="62891"/>
                  <a:pt x="60000" y="62891"/>
                  <a:pt x="62830" y="62891"/>
                </a:cubicBezTo>
                <a:cubicBezTo>
                  <a:pt x="63396" y="62891"/>
                  <a:pt x="63396" y="62891"/>
                  <a:pt x="63396" y="62891"/>
                </a:cubicBezTo>
                <a:close/>
                <a:moveTo>
                  <a:pt x="60000" y="64698"/>
                </a:moveTo>
                <a:cubicBezTo>
                  <a:pt x="59433" y="63975"/>
                  <a:pt x="60000" y="63975"/>
                  <a:pt x="60000" y="63975"/>
                </a:cubicBezTo>
                <a:cubicBezTo>
                  <a:pt x="60000" y="63614"/>
                  <a:pt x="61132" y="62891"/>
                  <a:pt x="60000" y="63614"/>
                </a:cubicBezTo>
                <a:cubicBezTo>
                  <a:pt x="60000" y="63614"/>
                  <a:pt x="60000" y="62891"/>
                  <a:pt x="59433" y="62891"/>
                </a:cubicBezTo>
                <a:cubicBezTo>
                  <a:pt x="59433" y="63614"/>
                  <a:pt x="59433" y="62168"/>
                  <a:pt x="58301" y="62891"/>
                </a:cubicBezTo>
                <a:cubicBezTo>
                  <a:pt x="58301" y="63614"/>
                  <a:pt x="57735" y="62891"/>
                  <a:pt x="57735" y="62891"/>
                </a:cubicBezTo>
                <a:cubicBezTo>
                  <a:pt x="57735" y="63614"/>
                  <a:pt x="57735" y="62891"/>
                  <a:pt x="56603" y="63614"/>
                </a:cubicBezTo>
                <a:cubicBezTo>
                  <a:pt x="56037" y="63614"/>
                  <a:pt x="57735" y="63614"/>
                  <a:pt x="57735" y="63975"/>
                </a:cubicBezTo>
                <a:cubicBezTo>
                  <a:pt x="57735" y="63975"/>
                  <a:pt x="54905" y="63975"/>
                  <a:pt x="56037" y="63975"/>
                </a:cubicBezTo>
                <a:cubicBezTo>
                  <a:pt x="56603" y="64698"/>
                  <a:pt x="54905" y="63975"/>
                  <a:pt x="56037" y="64698"/>
                </a:cubicBezTo>
                <a:cubicBezTo>
                  <a:pt x="56037" y="64698"/>
                  <a:pt x="54905" y="64698"/>
                  <a:pt x="56037" y="65060"/>
                </a:cubicBezTo>
                <a:cubicBezTo>
                  <a:pt x="56037" y="65060"/>
                  <a:pt x="54339" y="65783"/>
                  <a:pt x="56037" y="65783"/>
                </a:cubicBezTo>
                <a:cubicBezTo>
                  <a:pt x="56603" y="65783"/>
                  <a:pt x="56037" y="66144"/>
                  <a:pt x="56603" y="65783"/>
                </a:cubicBezTo>
                <a:cubicBezTo>
                  <a:pt x="57735" y="65783"/>
                  <a:pt x="57735" y="65060"/>
                  <a:pt x="57735" y="65060"/>
                </a:cubicBezTo>
                <a:cubicBezTo>
                  <a:pt x="58301" y="65060"/>
                  <a:pt x="57735" y="65783"/>
                  <a:pt x="59433" y="65060"/>
                </a:cubicBezTo>
                <a:cubicBezTo>
                  <a:pt x="60000" y="65060"/>
                  <a:pt x="60000" y="65060"/>
                  <a:pt x="60000" y="64698"/>
                </a:cubicBezTo>
                <a:close/>
                <a:moveTo>
                  <a:pt x="56603" y="66867"/>
                </a:moveTo>
                <a:cubicBezTo>
                  <a:pt x="56037" y="66144"/>
                  <a:pt x="56603" y="66144"/>
                  <a:pt x="57735" y="66144"/>
                </a:cubicBezTo>
                <a:cubicBezTo>
                  <a:pt x="57735" y="66867"/>
                  <a:pt x="56603" y="66867"/>
                  <a:pt x="56603" y="66867"/>
                </a:cubicBezTo>
                <a:close/>
                <a:moveTo>
                  <a:pt x="54905" y="67228"/>
                </a:moveTo>
                <a:cubicBezTo>
                  <a:pt x="54905" y="66867"/>
                  <a:pt x="56603" y="67228"/>
                  <a:pt x="56037" y="67228"/>
                </a:cubicBezTo>
                <a:cubicBezTo>
                  <a:pt x="54905" y="67228"/>
                  <a:pt x="54339" y="67228"/>
                  <a:pt x="54905" y="67228"/>
                </a:cubicBezTo>
                <a:close/>
                <a:moveTo>
                  <a:pt x="46415" y="71927"/>
                </a:moveTo>
                <a:cubicBezTo>
                  <a:pt x="46415" y="71927"/>
                  <a:pt x="46415" y="71204"/>
                  <a:pt x="47547" y="71204"/>
                </a:cubicBezTo>
                <a:cubicBezTo>
                  <a:pt x="47547" y="71204"/>
                  <a:pt x="47547" y="71204"/>
                  <a:pt x="46415" y="71927"/>
                </a:cubicBezTo>
                <a:close/>
                <a:moveTo>
                  <a:pt x="46415" y="69759"/>
                </a:moveTo>
                <a:cubicBezTo>
                  <a:pt x="47547" y="69036"/>
                  <a:pt x="46415" y="69036"/>
                  <a:pt x="46415" y="69036"/>
                </a:cubicBezTo>
                <a:cubicBezTo>
                  <a:pt x="46415" y="69036"/>
                  <a:pt x="45283" y="69036"/>
                  <a:pt x="44716" y="69036"/>
                </a:cubicBezTo>
                <a:cubicBezTo>
                  <a:pt x="43584" y="69036"/>
                  <a:pt x="44716" y="69759"/>
                  <a:pt x="43584" y="69759"/>
                </a:cubicBezTo>
                <a:cubicBezTo>
                  <a:pt x="43018" y="69759"/>
                  <a:pt x="43584" y="69759"/>
                  <a:pt x="43018" y="70120"/>
                </a:cubicBezTo>
                <a:cubicBezTo>
                  <a:pt x="43018" y="70120"/>
                  <a:pt x="43018" y="70843"/>
                  <a:pt x="44716" y="70120"/>
                </a:cubicBezTo>
                <a:cubicBezTo>
                  <a:pt x="44716" y="70120"/>
                  <a:pt x="45283" y="70120"/>
                  <a:pt x="46415" y="69759"/>
                </a:cubicBezTo>
                <a:close/>
                <a:moveTo>
                  <a:pt x="48113" y="67951"/>
                </a:moveTo>
                <a:cubicBezTo>
                  <a:pt x="49245" y="67951"/>
                  <a:pt x="47547" y="67228"/>
                  <a:pt x="48113" y="67228"/>
                </a:cubicBezTo>
                <a:cubicBezTo>
                  <a:pt x="49245" y="66867"/>
                  <a:pt x="47547" y="65783"/>
                  <a:pt x="47547" y="66144"/>
                </a:cubicBezTo>
                <a:cubicBezTo>
                  <a:pt x="46415" y="66144"/>
                  <a:pt x="47547" y="66867"/>
                  <a:pt x="46415" y="66867"/>
                </a:cubicBezTo>
                <a:cubicBezTo>
                  <a:pt x="45283" y="66867"/>
                  <a:pt x="46415" y="67228"/>
                  <a:pt x="45283" y="67228"/>
                </a:cubicBezTo>
                <a:cubicBezTo>
                  <a:pt x="44716" y="67228"/>
                  <a:pt x="45283" y="66867"/>
                  <a:pt x="44716" y="66867"/>
                </a:cubicBezTo>
                <a:cubicBezTo>
                  <a:pt x="44716" y="67228"/>
                  <a:pt x="43584" y="66867"/>
                  <a:pt x="43584" y="67228"/>
                </a:cubicBezTo>
                <a:cubicBezTo>
                  <a:pt x="43584" y="67228"/>
                  <a:pt x="43018" y="67951"/>
                  <a:pt x="43584" y="67951"/>
                </a:cubicBezTo>
                <a:cubicBezTo>
                  <a:pt x="44716" y="68674"/>
                  <a:pt x="44716" y="67951"/>
                  <a:pt x="46415" y="67228"/>
                </a:cubicBezTo>
                <a:cubicBezTo>
                  <a:pt x="48113" y="67228"/>
                  <a:pt x="44716" y="67951"/>
                  <a:pt x="45283" y="68674"/>
                </a:cubicBezTo>
                <a:cubicBezTo>
                  <a:pt x="46415" y="68674"/>
                  <a:pt x="47547" y="67951"/>
                  <a:pt x="48113" y="67951"/>
                </a:cubicBezTo>
                <a:close/>
                <a:moveTo>
                  <a:pt x="49245" y="66867"/>
                </a:moveTo>
                <a:cubicBezTo>
                  <a:pt x="49245" y="66867"/>
                  <a:pt x="49245" y="66144"/>
                  <a:pt x="49811" y="66144"/>
                </a:cubicBezTo>
                <a:cubicBezTo>
                  <a:pt x="50943" y="66144"/>
                  <a:pt x="50943" y="65783"/>
                  <a:pt x="51509" y="65060"/>
                </a:cubicBezTo>
                <a:cubicBezTo>
                  <a:pt x="51509" y="64698"/>
                  <a:pt x="51509" y="63975"/>
                  <a:pt x="50943" y="64698"/>
                </a:cubicBezTo>
                <a:cubicBezTo>
                  <a:pt x="49811" y="65060"/>
                  <a:pt x="49245" y="65060"/>
                  <a:pt x="49245" y="66144"/>
                </a:cubicBezTo>
                <a:cubicBezTo>
                  <a:pt x="48113" y="66144"/>
                  <a:pt x="48113" y="66144"/>
                  <a:pt x="49245" y="66867"/>
                </a:cubicBezTo>
                <a:close/>
                <a:moveTo>
                  <a:pt x="52641" y="66144"/>
                </a:moveTo>
                <a:cubicBezTo>
                  <a:pt x="54339" y="66144"/>
                  <a:pt x="54339" y="66144"/>
                  <a:pt x="54339" y="66144"/>
                </a:cubicBezTo>
                <a:cubicBezTo>
                  <a:pt x="53207" y="66867"/>
                  <a:pt x="52641" y="66144"/>
                  <a:pt x="52641" y="66144"/>
                </a:cubicBezTo>
                <a:close/>
                <a:moveTo>
                  <a:pt x="51509" y="66867"/>
                </a:moveTo>
                <a:cubicBezTo>
                  <a:pt x="51509" y="66867"/>
                  <a:pt x="52641" y="67228"/>
                  <a:pt x="50943" y="67951"/>
                </a:cubicBezTo>
                <a:cubicBezTo>
                  <a:pt x="49811" y="68674"/>
                  <a:pt x="51509" y="67228"/>
                  <a:pt x="50943" y="67228"/>
                </a:cubicBezTo>
                <a:cubicBezTo>
                  <a:pt x="49811" y="67228"/>
                  <a:pt x="51509" y="66867"/>
                  <a:pt x="50943" y="66144"/>
                </a:cubicBezTo>
                <a:cubicBezTo>
                  <a:pt x="49811" y="66144"/>
                  <a:pt x="49245" y="66867"/>
                  <a:pt x="49245" y="67228"/>
                </a:cubicBezTo>
                <a:cubicBezTo>
                  <a:pt x="48113" y="67951"/>
                  <a:pt x="49811" y="68674"/>
                  <a:pt x="48113" y="68674"/>
                </a:cubicBezTo>
                <a:cubicBezTo>
                  <a:pt x="47547" y="68674"/>
                  <a:pt x="48113" y="68674"/>
                  <a:pt x="47547" y="69759"/>
                </a:cubicBezTo>
                <a:cubicBezTo>
                  <a:pt x="46415" y="70120"/>
                  <a:pt x="48113" y="69036"/>
                  <a:pt x="49245" y="69759"/>
                </a:cubicBezTo>
                <a:cubicBezTo>
                  <a:pt x="49811" y="70120"/>
                  <a:pt x="49811" y="69036"/>
                  <a:pt x="49811" y="69036"/>
                </a:cubicBezTo>
                <a:cubicBezTo>
                  <a:pt x="50943" y="69759"/>
                  <a:pt x="50943" y="69759"/>
                  <a:pt x="50943" y="69036"/>
                </a:cubicBezTo>
                <a:cubicBezTo>
                  <a:pt x="51509" y="68674"/>
                  <a:pt x="51509" y="68674"/>
                  <a:pt x="52641" y="68674"/>
                </a:cubicBezTo>
                <a:cubicBezTo>
                  <a:pt x="54339" y="67951"/>
                  <a:pt x="53207" y="66867"/>
                  <a:pt x="52641" y="66867"/>
                </a:cubicBezTo>
                <a:cubicBezTo>
                  <a:pt x="52641" y="66144"/>
                  <a:pt x="52641" y="66144"/>
                  <a:pt x="51509" y="66867"/>
                </a:cubicBezTo>
                <a:close/>
                <a:moveTo>
                  <a:pt x="51509" y="69036"/>
                </a:moveTo>
                <a:cubicBezTo>
                  <a:pt x="52641" y="68674"/>
                  <a:pt x="53207" y="68674"/>
                  <a:pt x="53207" y="68674"/>
                </a:cubicBezTo>
                <a:cubicBezTo>
                  <a:pt x="52641" y="69036"/>
                  <a:pt x="51509" y="69759"/>
                  <a:pt x="51509" y="69036"/>
                </a:cubicBezTo>
                <a:close/>
                <a:moveTo>
                  <a:pt x="66226" y="59999"/>
                </a:moveTo>
                <a:cubicBezTo>
                  <a:pt x="67358" y="59638"/>
                  <a:pt x="67924" y="59999"/>
                  <a:pt x="67924" y="59999"/>
                </a:cubicBezTo>
                <a:cubicBezTo>
                  <a:pt x="67358" y="59999"/>
                  <a:pt x="66226" y="59999"/>
                  <a:pt x="66226" y="59999"/>
                </a:cubicBezTo>
                <a:close/>
                <a:moveTo>
                  <a:pt x="41886" y="69759"/>
                </a:moveTo>
                <a:cubicBezTo>
                  <a:pt x="43018" y="69759"/>
                  <a:pt x="43018" y="69759"/>
                  <a:pt x="43018" y="69759"/>
                </a:cubicBezTo>
                <a:cubicBezTo>
                  <a:pt x="43018" y="70120"/>
                  <a:pt x="41886" y="69759"/>
                  <a:pt x="41886" y="69759"/>
                </a:cubicBezTo>
                <a:close/>
                <a:moveTo>
                  <a:pt x="39622" y="70843"/>
                </a:moveTo>
                <a:cubicBezTo>
                  <a:pt x="39622" y="70843"/>
                  <a:pt x="39622" y="71204"/>
                  <a:pt x="40188" y="70843"/>
                </a:cubicBezTo>
                <a:cubicBezTo>
                  <a:pt x="40188" y="70843"/>
                  <a:pt x="40188" y="70843"/>
                  <a:pt x="41320" y="70843"/>
                </a:cubicBezTo>
                <a:cubicBezTo>
                  <a:pt x="41320" y="70843"/>
                  <a:pt x="41320" y="70120"/>
                  <a:pt x="41886" y="70120"/>
                </a:cubicBezTo>
                <a:cubicBezTo>
                  <a:pt x="43018" y="70120"/>
                  <a:pt x="41886" y="70120"/>
                  <a:pt x="41320" y="69759"/>
                </a:cubicBezTo>
                <a:cubicBezTo>
                  <a:pt x="40188" y="69759"/>
                  <a:pt x="40188" y="69759"/>
                  <a:pt x="39622" y="70120"/>
                </a:cubicBezTo>
                <a:cubicBezTo>
                  <a:pt x="39622" y="70843"/>
                  <a:pt x="40188" y="70843"/>
                  <a:pt x="39622" y="70843"/>
                </a:cubicBezTo>
                <a:close/>
                <a:moveTo>
                  <a:pt x="39622" y="70843"/>
                </a:moveTo>
                <a:cubicBezTo>
                  <a:pt x="40188" y="70843"/>
                  <a:pt x="38490" y="70120"/>
                  <a:pt x="38490" y="70843"/>
                </a:cubicBezTo>
                <a:cubicBezTo>
                  <a:pt x="38490" y="71204"/>
                  <a:pt x="38490" y="70843"/>
                  <a:pt x="38490" y="71204"/>
                </a:cubicBezTo>
                <a:cubicBezTo>
                  <a:pt x="38490" y="71204"/>
                  <a:pt x="38490" y="71204"/>
                  <a:pt x="39622" y="70843"/>
                </a:cubicBezTo>
                <a:close/>
                <a:moveTo>
                  <a:pt x="36792" y="71204"/>
                </a:moveTo>
                <a:cubicBezTo>
                  <a:pt x="36792" y="72289"/>
                  <a:pt x="36792" y="72289"/>
                  <a:pt x="37924" y="71927"/>
                </a:cubicBezTo>
                <a:cubicBezTo>
                  <a:pt x="37924" y="71204"/>
                  <a:pt x="37924" y="71204"/>
                  <a:pt x="37924" y="70843"/>
                </a:cubicBezTo>
                <a:cubicBezTo>
                  <a:pt x="37924" y="70843"/>
                  <a:pt x="37924" y="70843"/>
                  <a:pt x="36792" y="71204"/>
                </a:cubicBezTo>
                <a:close/>
                <a:moveTo>
                  <a:pt x="49245" y="71204"/>
                </a:moveTo>
                <a:cubicBezTo>
                  <a:pt x="49811" y="71204"/>
                  <a:pt x="49811" y="71204"/>
                  <a:pt x="49811" y="71204"/>
                </a:cubicBezTo>
                <a:cubicBezTo>
                  <a:pt x="50943" y="71204"/>
                  <a:pt x="49245" y="71204"/>
                  <a:pt x="49245" y="71204"/>
                </a:cubicBezTo>
                <a:close/>
                <a:moveTo>
                  <a:pt x="36226" y="80963"/>
                </a:moveTo>
                <a:cubicBezTo>
                  <a:pt x="36226" y="80240"/>
                  <a:pt x="35094" y="80240"/>
                  <a:pt x="35094" y="80240"/>
                </a:cubicBezTo>
                <a:cubicBezTo>
                  <a:pt x="35094" y="80963"/>
                  <a:pt x="34528" y="81325"/>
                  <a:pt x="35094" y="81325"/>
                </a:cubicBezTo>
                <a:cubicBezTo>
                  <a:pt x="35094" y="80963"/>
                  <a:pt x="36226" y="81325"/>
                  <a:pt x="36226" y="80963"/>
                </a:cubicBezTo>
                <a:close/>
                <a:moveTo>
                  <a:pt x="36226" y="82048"/>
                </a:moveTo>
                <a:cubicBezTo>
                  <a:pt x="36792" y="81325"/>
                  <a:pt x="36792" y="81325"/>
                  <a:pt x="36226" y="81325"/>
                </a:cubicBezTo>
                <a:cubicBezTo>
                  <a:pt x="36226" y="81325"/>
                  <a:pt x="35094" y="81325"/>
                  <a:pt x="35094" y="82048"/>
                </a:cubicBezTo>
                <a:cubicBezTo>
                  <a:pt x="35094" y="82048"/>
                  <a:pt x="35094" y="82048"/>
                  <a:pt x="36226" y="82048"/>
                </a:cubicBezTo>
                <a:close/>
                <a:moveTo>
                  <a:pt x="33396" y="84939"/>
                </a:moveTo>
                <a:cubicBezTo>
                  <a:pt x="33396" y="85301"/>
                  <a:pt x="32830" y="85301"/>
                  <a:pt x="33396" y="85301"/>
                </a:cubicBezTo>
                <a:cubicBezTo>
                  <a:pt x="34528" y="85301"/>
                  <a:pt x="33396" y="84939"/>
                  <a:pt x="34528" y="84939"/>
                </a:cubicBezTo>
                <a:cubicBezTo>
                  <a:pt x="35094" y="84939"/>
                  <a:pt x="35094" y="84939"/>
                  <a:pt x="35094" y="84216"/>
                </a:cubicBezTo>
                <a:cubicBezTo>
                  <a:pt x="34528" y="83493"/>
                  <a:pt x="34528" y="83493"/>
                  <a:pt x="34528" y="84216"/>
                </a:cubicBezTo>
                <a:cubicBezTo>
                  <a:pt x="34528" y="84216"/>
                  <a:pt x="33396" y="84216"/>
                  <a:pt x="33396" y="84939"/>
                </a:cubicBezTo>
                <a:close/>
                <a:moveTo>
                  <a:pt x="31698" y="83132"/>
                </a:moveTo>
                <a:cubicBezTo>
                  <a:pt x="31698" y="83132"/>
                  <a:pt x="32830" y="82409"/>
                  <a:pt x="33396" y="83132"/>
                </a:cubicBezTo>
                <a:cubicBezTo>
                  <a:pt x="33396" y="83132"/>
                  <a:pt x="31698" y="83493"/>
                  <a:pt x="31698" y="83132"/>
                </a:cubicBezTo>
                <a:close/>
                <a:moveTo>
                  <a:pt x="33396" y="86024"/>
                </a:moveTo>
                <a:cubicBezTo>
                  <a:pt x="32830" y="86024"/>
                  <a:pt x="33396" y="86024"/>
                  <a:pt x="34528" y="86024"/>
                </a:cubicBezTo>
                <a:cubicBezTo>
                  <a:pt x="35094" y="85301"/>
                  <a:pt x="34528" y="85301"/>
                  <a:pt x="33396" y="85301"/>
                </a:cubicBezTo>
                <a:cubicBezTo>
                  <a:pt x="33396" y="86024"/>
                  <a:pt x="33396" y="85301"/>
                  <a:pt x="33396" y="86024"/>
                </a:cubicBezTo>
                <a:close/>
                <a:moveTo>
                  <a:pt x="31132" y="86024"/>
                </a:moveTo>
                <a:cubicBezTo>
                  <a:pt x="31698" y="86024"/>
                  <a:pt x="32830" y="86024"/>
                  <a:pt x="32830" y="86024"/>
                </a:cubicBezTo>
                <a:cubicBezTo>
                  <a:pt x="31698" y="86024"/>
                  <a:pt x="31132" y="86024"/>
                  <a:pt x="31132" y="86024"/>
                </a:cubicBezTo>
                <a:close/>
                <a:moveTo>
                  <a:pt x="30000" y="88554"/>
                </a:moveTo>
                <a:cubicBezTo>
                  <a:pt x="31132" y="88554"/>
                  <a:pt x="31132" y="88554"/>
                  <a:pt x="30000" y="88554"/>
                </a:cubicBezTo>
                <a:cubicBezTo>
                  <a:pt x="30000" y="88554"/>
                  <a:pt x="30000" y="88192"/>
                  <a:pt x="29433" y="88192"/>
                </a:cubicBezTo>
                <a:cubicBezTo>
                  <a:pt x="29433" y="88554"/>
                  <a:pt x="29433" y="88554"/>
                  <a:pt x="30000" y="88554"/>
                </a:cubicBezTo>
                <a:close/>
                <a:moveTo>
                  <a:pt x="30000" y="88192"/>
                </a:moveTo>
                <a:cubicBezTo>
                  <a:pt x="30000" y="88192"/>
                  <a:pt x="31132" y="88192"/>
                  <a:pt x="30000" y="88192"/>
                </a:cubicBezTo>
                <a:cubicBezTo>
                  <a:pt x="30000" y="88192"/>
                  <a:pt x="29433" y="87469"/>
                  <a:pt x="30000" y="88192"/>
                </a:cubicBezTo>
                <a:close/>
                <a:moveTo>
                  <a:pt x="28301" y="88192"/>
                </a:moveTo>
                <a:cubicBezTo>
                  <a:pt x="29433" y="87469"/>
                  <a:pt x="29433" y="88192"/>
                  <a:pt x="29433" y="88192"/>
                </a:cubicBezTo>
                <a:cubicBezTo>
                  <a:pt x="28301" y="88192"/>
                  <a:pt x="28301" y="88192"/>
                  <a:pt x="28301" y="88192"/>
                </a:cubicBezTo>
                <a:close/>
                <a:moveTo>
                  <a:pt x="36226" y="80240"/>
                </a:moveTo>
                <a:cubicBezTo>
                  <a:pt x="36792" y="79879"/>
                  <a:pt x="36792" y="79879"/>
                  <a:pt x="36792" y="79879"/>
                </a:cubicBezTo>
                <a:cubicBezTo>
                  <a:pt x="37924" y="80240"/>
                  <a:pt x="36792" y="80240"/>
                  <a:pt x="36226" y="80240"/>
                </a:cubicBezTo>
                <a:close/>
                <a:moveTo>
                  <a:pt x="14716" y="94337"/>
                </a:moveTo>
                <a:cubicBezTo>
                  <a:pt x="13584" y="94337"/>
                  <a:pt x="16415" y="93614"/>
                  <a:pt x="16415" y="94337"/>
                </a:cubicBezTo>
                <a:cubicBezTo>
                  <a:pt x="16415" y="94337"/>
                  <a:pt x="15283" y="94698"/>
                  <a:pt x="14716" y="94337"/>
                </a:cubicBezTo>
                <a:close/>
                <a:moveTo>
                  <a:pt x="18679" y="92530"/>
                </a:moveTo>
                <a:cubicBezTo>
                  <a:pt x="19811" y="92530"/>
                  <a:pt x="18679" y="92168"/>
                  <a:pt x="18679" y="92168"/>
                </a:cubicBezTo>
                <a:cubicBezTo>
                  <a:pt x="18113" y="92530"/>
                  <a:pt x="16415" y="92530"/>
                  <a:pt x="16415" y="93253"/>
                </a:cubicBezTo>
                <a:cubicBezTo>
                  <a:pt x="16981" y="93253"/>
                  <a:pt x="18113" y="93253"/>
                  <a:pt x="18679" y="92530"/>
                </a:cubicBezTo>
                <a:close/>
                <a:moveTo>
                  <a:pt x="18113" y="93614"/>
                </a:moveTo>
                <a:cubicBezTo>
                  <a:pt x="19811" y="93614"/>
                  <a:pt x="20377" y="93614"/>
                  <a:pt x="20377" y="93614"/>
                </a:cubicBezTo>
                <a:cubicBezTo>
                  <a:pt x="20377" y="93253"/>
                  <a:pt x="19811" y="93614"/>
                  <a:pt x="19811" y="93253"/>
                </a:cubicBezTo>
                <a:cubicBezTo>
                  <a:pt x="19811" y="92530"/>
                  <a:pt x="18113" y="93253"/>
                  <a:pt x="18113" y="93253"/>
                </a:cubicBezTo>
                <a:cubicBezTo>
                  <a:pt x="16981" y="93614"/>
                  <a:pt x="16415" y="93614"/>
                  <a:pt x="16415" y="93614"/>
                </a:cubicBezTo>
                <a:cubicBezTo>
                  <a:pt x="16415" y="94337"/>
                  <a:pt x="16981" y="94337"/>
                  <a:pt x="18113" y="93614"/>
                </a:cubicBezTo>
                <a:close/>
                <a:moveTo>
                  <a:pt x="15283" y="95421"/>
                </a:moveTo>
                <a:cubicBezTo>
                  <a:pt x="14716" y="94698"/>
                  <a:pt x="15283" y="94698"/>
                  <a:pt x="16415" y="95421"/>
                </a:cubicBezTo>
                <a:cubicBezTo>
                  <a:pt x="15283" y="95421"/>
                  <a:pt x="15283" y="95421"/>
                  <a:pt x="15283" y="95421"/>
                </a:cubicBezTo>
                <a:close/>
                <a:moveTo>
                  <a:pt x="13584" y="96144"/>
                </a:moveTo>
                <a:cubicBezTo>
                  <a:pt x="14716" y="96144"/>
                  <a:pt x="13584" y="95421"/>
                  <a:pt x="13584" y="96144"/>
                </a:cubicBezTo>
                <a:cubicBezTo>
                  <a:pt x="13018" y="96144"/>
                  <a:pt x="13018" y="95421"/>
                  <a:pt x="13018" y="96144"/>
                </a:cubicBezTo>
                <a:cubicBezTo>
                  <a:pt x="11886" y="96506"/>
                  <a:pt x="13584" y="96506"/>
                  <a:pt x="13584" y="96144"/>
                </a:cubicBezTo>
                <a:close/>
                <a:moveTo>
                  <a:pt x="9622" y="97590"/>
                </a:moveTo>
                <a:cubicBezTo>
                  <a:pt x="8490" y="97590"/>
                  <a:pt x="10188" y="97228"/>
                  <a:pt x="10188" y="97590"/>
                </a:cubicBezTo>
                <a:cubicBezTo>
                  <a:pt x="9622" y="97590"/>
                  <a:pt x="9622" y="97590"/>
                  <a:pt x="9622" y="97590"/>
                </a:cubicBezTo>
                <a:close/>
                <a:moveTo>
                  <a:pt x="5660" y="98674"/>
                </a:moveTo>
                <a:cubicBezTo>
                  <a:pt x="6792" y="99397"/>
                  <a:pt x="5660" y="99759"/>
                  <a:pt x="5094" y="99759"/>
                </a:cubicBezTo>
                <a:cubicBezTo>
                  <a:pt x="5094" y="99397"/>
                  <a:pt x="5660" y="98674"/>
                  <a:pt x="5660" y="98674"/>
                </a:cubicBezTo>
                <a:close/>
                <a:moveTo>
                  <a:pt x="3962" y="99759"/>
                </a:moveTo>
                <a:cubicBezTo>
                  <a:pt x="3962" y="99397"/>
                  <a:pt x="5094" y="99397"/>
                  <a:pt x="5094" y="99759"/>
                </a:cubicBezTo>
                <a:cubicBezTo>
                  <a:pt x="3962" y="99759"/>
                  <a:pt x="3962" y="99759"/>
                  <a:pt x="3962" y="99759"/>
                </a:cubicBezTo>
                <a:close/>
                <a:moveTo>
                  <a:pt x="566" y="102289"/>
                </a:moveTo>
                <a:cubicBezTo>
                  <a:pt x="566" y="101566"/>
                  <a:pt x="1698" y="101566"/>
                  <a:pt x="2264" y="101566"/>
                </a:cubicBezTo>
                <a:cubicBezTo>
                  <a:pt x="2264" y="101566"/>
                  <a:pt x="1698" y="102289"/>
                  <a:pt x="566" y="102289"/>
                </a:cubicBezTo>
                <a:close/>
                <a:moveTo>
                  <a:pt x="566" y="105542"/>
                </a:moveTo>
                <a:cubicBezTo>
                  <a:pt x="566" y="105542"/>
                  <a:pt x="566" y="104819"/>
                  <a:pt x="1698" y="104819"/>
                </a:cubicBezTo>
                <a:cubicBezTo>
                  <a:pt x="1698" y="104819"/>
                  <a:pt x="1698" y="105542"/>
                  <a:pt x="566" y="105542"/>
                </a:cubicBezTo>
                <a:close/>
                <a:moveTo>
                  <a:pt x="3396" y="111325"/>
                </a:moveTo>
                <a:cubicBezTo>
                  <a:pt x="3396" y="110602"/>
                  <a:pt x="3396" y="110602"/>
                  <a:pt x="3962" y="111325"/>
                </a:cubicBezTo>
                <a:cubicBezTo>
                  <a:pt x="3962" y="111325"/>
                  <a:pt x="3962" y="110602"/>
                  <a:pt x="5094" y="110602"/>
                </a:cubicBezTo>
                <a:cubicBezTo>
                  <a:pt x="5094" y="109879"/>
                  <a:pt x="3396" y="109879"/>
                  <a:pt x="3396" y="110602"/>
                </a:cubicBezTo>
                <a:cubicBezTo>
                  <a:pt x="2264" y="111325"/>
                  <a:pt x="3396" y="111686"/>
                  <a:pt x="3962" y="111686"/>
                </a:cubicBezTo>
                <a:cubicBezTo>
                  <a:pt x="3962" y="111686"/>
                  <a:pt x="3962" y="111325"/>
                  <a:pt x="3396" y="111325"/>
                </a:cubicBezTo>
                <a:close/>
                <a:moveTo>
                  <a:pt x="2264" y="114578"/>
                </a:moveTo>
                <a:cubicBezTo>
                  <a:pt x="3396" y="114578"/>
                  <a:pt x="2264" y="112771"/>
                  <a:pt x="2264" y="113493"/>
                </a:cubicBezTo>
                <a:cubicBezTo>
                  <a:pt x="2264" y="113855"/>
                  <a:pt x="1698" y="114578"/>
                  <a:pt x="2264" y="114578"/>
                </a:cubicBezTo>
                <a:close/>
                <a:moveTo>
                  <a:pt x="2264" y="112409"/>
                </a:moveTo>
                <a:cubicBezTo>
                  <a:pt x="2264" y="112771"/>
                  <a:pt x="2264" y="111686"/>
                  <a:pt x="2264" y="111686"/>
                </a:cubicBezTo>
                <a:cubicBezTo>
                  <a:pt x="3396" y="111686"/>
                  <a:pt x="3396" y="112409"/>
                  <a:pt x="3396" y="111686"/>
                </a:cubicBezTo>
                <a:cubicBezTo>
                  <a:pt x="3396" y="111686"/>
                  <a:pt x="3396" y="111686"/>
                  <a:pt x="2264" y="111325"/>
                </a:cubicBezTo>
                <a:cubicBezTo>
                  <a:pt x="2264" y="111325"/>
                  <a:pt x="2264" y="111686"/>
                  <a:pt x="2264" y="112409"/>
                </a:cubicBezTo>
                <a:close/>
                <a:moveTo>
                  <a:pt x="1698" y="109518"/>
                </a:moveTo>
                <a:cubicBezTo>
                  <a:pt x="1698" y="108433"/>
                  <a:pt x="1698" y="108433"/>
                  <a:pt x="1698" y="108433"/>
                </a:cubicBezTo>
                <a:cubicBezTo>
                  <a:pt x="1698" y="108795"/>
                  <a:pt x="2264" y="109879"/>
                  <a:pt x="1698" y="109518"/>
                </a:cubicBezTo>
                <a:close/>
                <a:moveTo>
                  <a:pt x="2264" y="108433"/>
                </a:moveTo>
                <a:cubicBezTo>
                  <a:pt x="2264" y="108795"/>
                  <a:pt x="1698" y="108433"/>
                  <a:pt x="1698" y="107710"/>
                </a:cubicBezTo>
                <a:cubicBezTo>
                  <a:pt x="2264" y="108433"/>
                  <a:pt x="2264" y="108433"/>
                  <a:pt x="2264" y="108433"/>
                </a:cubicBezTo>
                <a:close/>
                <a:moveTo>
                  <a:pt x="1698" y="107710"/>
                </a:moveTo>
                <a:cubicBezTo>
                  <a:pt x="2264" y="107710"/>
                  <a:pt x="1698" y="107349"/>
                  <a:pt x="1698" y="107349"/>
                </a:cubicBezTo>
                <a:cubicBezTo>
                  <a:pt x="566" y="106626"/>
                  <a:pt x="566" y="107349"/>
                  <a:pt x="1698" y="107710"/>
                </a:cubicBezTo>
                <a:close/>
              </a:path>
            </a:pathLst>
          </a:custGeom>
          <a:solidFill>
            <a:schemeClr val="accent2"/>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00" name="Shape 1960"/>
          <p:cNvSpPr/>
          <p:nvPr/>
        </p:nvSpPr>
        <p:spPr>
          <a:xfrm>
            <a:off x="5302382" y="2986911"/>
            <a:ext cx="272908" cy="416210"/>
          </a:xfrm>
          <a:custGeom>
            <a:avLst/>
            <a:gdLst/>
            <a:ahLst/>
            <a:cxnLst/>
            <a:rect l="0" t="0" r="0" b="0"/>
            <a:pathLst>
              <a:path w="120000" h="120000" extrusionOk="0">
                <a:moveTo>
                  <a:pt x="58536" y="66666"/>
                </a:moveTo>
                <a:cubicBezTo>
                  <a:pt x="55609" y="69333"/>
                  <a:pt x="55609" y="66666"/>
                  <a:pt x="54146" y="67555"/>
                </a:cubicBezTo>
                <a:cubicBezTo>
                  <a:pt x="51219" y="71111"/>
                  <a:pt x="46829" y="66666"/>
                  <a:pt x="46829" y="67555"/>
                </a:cubicBezTo>
                <a:cubicBezTo>
                  <a:pt x="49756" y="69333"/>
                  <a:pt x="46829" y="71111"/>
                  <a:pt x="46829" y="69333"/>
                </a:cubicBezTo>
                <a:cubicBezTo>
                  <a:pt x="45365" y="67555"/>
                  <a:pt x="40975" y="66666"/>
                  <a:pt x="40975" y="69333"/>
                </a:cubicBezTo>
                <a:cubicBezTo>
                  <a:pt x="42439" y="72000"/>
                  <a:pt x="38048" y="67555"/>
                  <a:pt x="38048" y="66666"/>
                </a:cubicBezTo>
                <a:cubicBezTo>
                  <a:pt x="40975" y="64888"/>
                  <a:pt x="40975" y="67555"/>
                  <a:pt x="40975" y="64888"/>
                </a:cubicBezTo>
                <a:cubicBezTo>
                  <a:pt x="40975" y="62222"/>
                  <a:pt x="46829" y="62222"/>
                  <a:pt x="42439" y="59555"/>
                </a:cubicBezTo>
                <a:cubicBezTo>
                  <a:pt x="40975" y="56888"/>
                  <a:pt x="42439" y="56888"/>
                  <a:pt x="45365" y="55111"/>
                </a:cubicBezTo>
                <a:cubicBezTo>
                  <a:pt x="40975" y="52444"/>
                  <a:pt x="42439" y="56888"/>
                  <a:pt x="40975" y="56888"/>
                </a:cubicBezTo>
                <a:cubicBezTo>
                  <a:pt x="38048" y="55111"/>
                  <a:pt x="40975" y="56888"/>
                  <a:pt x="38048" y="56888"/>
                </a:cubicBezTo>
                <a:cubicBezTo>
                  <a:pt x="36585" y="55111"/>
                  <a:pt x="38048" y="54222"/>
                  <a:pt x="36585" y="55111"/>
                </a:cubicBezTo>
                <a:cubicBezTo>
                  <a:pt x="33658" y="55111"/>
                  <a:pt x="38048" y="56888"/>
                  <a:pt x="36585" y="58666"/>
                </a:cubicBezTo>
                <a:cubicBezTo>
                  <a:pt x="33658" y="59555"/>
                  <a:pt x="33658" y="64000"/>
                  <a:pt x="32195" y="64000"/>
                </a:cubicBezTo>
                <a:cubicBezTo>
                  <a:pt x="29268" y="62222"/>
                  <a:pt x="36585" y="56888"/>
                  <a:pt x="33658" y="58666"/>
                </a:cubicBezTo>
                <a:cubicBezTo>
                  <a:pt x="33658" y="58666"/>
                  <a:pt x="33658" y="58666"/>
                  <a:pt x="33658" y="56888"/>
                </a:cubicBezTo>
                <a:cubicBezTo>
                  <a:pt x="33658" y="55111"/>
                  <a:pt x="32195" y="55111"/>
                  <a:pt x="33658" y="54222"/>
                </a:cubicBezTo>
                <a:cubicBezTo>
                  <a:pt x="33658" y="52444"/>
                  <a:pt x="32195" y="52444"/>
                  <a:pt x="33658" y="51555"/>
                </a:cubicBezTo>
                <a:cubicBezTo>
                  <a:pt x="36585" y="51555"/>
                  <a:pt x="33658" y="49777"/>
                  <a:pt x="36585" y="48888"/>
                </a:cubicBezTo>
                <a:cubicBezTo>
                  <a:pt x="38048" y="47111"/>
                  <a:pt x="38048" y="47111"/>
                  <a:pt x="33658" y="48888"/>
                </a:cubicBezTo>
                <a:cubicBezTo>
                  <a:pt x="32195" y="49777"/>
                  <a:pt x="33658" y="48888"/>
                  <a:pt x="32195" y="48888"/>
                </a:cubicBezTo>
                <a:cubicBezTo>
                  <a:pt x="29268" y="48888"/>
                  <a:pt x="27804" y="48888"/>
                  <a:pt x="29268" y="48888"/>
                </a:cubicBezTo>
                <a:cubicBezTo>
                  <a:pt x="32195" y="47111"/>
                  <a:pt x="33658" y="47111"/>
                  <a:pt x="29268" y="47111"/>
                </a:cubicBezTo>
                <a:cubicBezTo>
                  <a:pt x="24878" y="47111"/>
                  <a:pt x="27804" y="46222"/>
                  <a:pt x="29268" y="46222"/>
                </a:cubicBezTo>
                <a:cubicBezTo>
                  <a:pt x="29268" y="47111"/>
                  <a:pt x="32195" y="46222"/>
                  <a:pt x="32195" y="46222"/>
                </a:cubicBezTo>
                <a:cubicBezTo>
                  <a:pt x="27804" y="44444"/>
                  <a:pt x="33658" y="44444"/>
                  <a:pt x="32195" y="42666"/>
                </a:cubicBezTo>
                <a:cubicBezTo>
                  <a:pt x="32195" y="42666"/>
                  <a:pt x="32195" y="42666"/>
                  <a:pt x="33658" y="41777"/>
                </a:cubicBezTo>
                <a:cubicBezTo>
                  <a:pt x="33658" y="40000"/>
                  <a:pt x="32195" y="41777"/>
                  <a:pt x="32195" y="39111"/>
                </a:cubicBezTo>
                <a:cubicBezTo>
                  <a:pt x="29268" y="36444"/>
                  <a:pt x="33658" y="37333"/>
                  <a:pt x="32195" y="34666"/>
                </a:cubicBezTo>
                <a:cubicBezTo>
                  <a:pt x="29268" y="33777"/>
                  <a:pt x="33658" y="33777"/>
                  <a:pt x="36585" y="34666"/>
                </a:cubicBezTo>
                <a:cubicBezTo>
                  <a:pt x="36585" y="34666"/>
                  <a:pt x="36585" y="33777"/>
                  <a:pt x="36585" y="32000"/>
                </a:cubicBezTo>
                <a:cubicBezTo>
                  <a:pt x="33658" y="30222"/>
                  <a:pt x="40975" y="32000"/>
                  <a:pt x="36585" y="30222"/>
                </a:cubicBezTo>
                <a:cubicBezTo>
                  <a:pt x="33658" y="27555"/>
                  <a:pt x="42439" y="32000"/>
                  <a:pt x="38048" y="29333"/>
                </a:cubicBezTo>
                <a:cubicBezTo>
                  <a:pt x="36585" y="27555"/>
                  <a:pt x="40975" y="29333"/>
                  <a:pt x="40975" y="26666"/>
                </a:cubicBezTo>
                <a:cubicBezTo>
                  <a:pt x="38048" y="24888"/>
                  <a:pt x="40975" y="24888"/>
                  <a:pt x="42439" y="26666"/>
                </a:cubicBezTo>
                <a:cubicBezTo>
                  <a:pt x="45365" y="26666"/>
                  <a:pt x="45365" y="24888"/>
                  <a:pt x="46829" y="26666"/>
                </a:cubicBezTo>
                <a:cubicBezTo>
                  <a:pt x="49756" y="26666"/>
                  <a:pt x="54146" y="24888"/>
                  <a:pt x="58536" y="24888"/>
                </a:cubicBezTo>
                <a:cubicBezTo>
                  <a:pt x="60000" y="26666"/>
                  <a:pt x="55609" y="24888"/>
                  <a:pt x="60000" y="24888"/>
                </a:cubicBezTo>
                <a:cubicBezTo>
                  <a:pt x="64390" y="24888"/>
                  <a:pt x="62926" y="26666"/>
                  <a:pt x="62926" y="26666"/>
                </a:cubicBezTo>
                <a:cubicBezTo>
                  <a:pt x="64390" y="27555"/>
                  <a:pt x="54146" y="33777"/>
                  <a:pt x="51219" y="34666"/>
                </a:cubicBezTo>
                <a:cubicBezTo>
                  <a:pt x="49756" y="34666"/>
                  <a:pt x="55609" y="33777"/>
                  <a:pt x="54146" y="34666"/>
                </a:cubicBezTo>
                <a:cubicBezTo>
                  <a:pt x="51219" y="36444"/>
                  <a:pt x="49756" y="37333"/>
                  <a:pt x="51219" y="37333"/>
                </a:cubicBezTo>
                <a:cubicBezTo>
                  <a:pt x="55609" y="37333"/>
                  <a:pt x="55609" y="34666"/>
                  <a:pt x="62926" y="36444"/>
                </a:cubicBezTo>
                <a:cubicBezTo>
                  <a:pt x="71707" y="36444"/>
                  <a:pt x="76097" y="34666"/>
                  <a:pt x="76097" y="37333"/>
                </a:cubicBezTo>
                <a:cubicBezTo>
                  <a:pt x="77560" y="39111"/>
                  <a:pt x="76097" y="39111"/>
                  <a:pt x="73170" y="44444"/>
                </a:cubicBezTo>
                <a:cubicBezTo>
                  <a:pt x="68780" y="49777"/>
                  <a:pt x="67317" y="49777"/>
                  <a:pt x="64390" y="49777"/>
                </a:cubicBezTo>
                <a:cubicBezTo>
                  <a:pt x="62926" y="49777"/>
                  <a:pt x="67317" y="49777"/>
                  <a:pt x="64390" y="51555"/>
                </a:cubicBezTo>
                <a:cubicBezTo>
                  <a:pt x="64390" y="51555"/>
                  <a:pt x="71707" y="51555"/>
                  <a:pt x="67317" y="52444"/>
                </a:cubicBezTo>
                <a:cubicBezTo>
                  <a:pt x="64390" y="54222"/>
                  <a:pt x="64390" y="52444"/>
                  <a:pt x="62926" y="54222"/>
                </a:cubicBezTo>
                <a:cubicBezTo>
                  <a:pt x="62926" y="55111"/>
                  <a:pt x="55609" y="55111"/>
                  <a:pt x="60000" y="55111"/>
                </a:cubicBezTo>
                <a:cubicBezTo>
                  <a:pt x="67317" y="56888"/>
                  <a:pt x="62926" y="52444"/>
                  <a:pt x="68780" y="55111"/>
                </a:cubicBezTo>
                <a:cubicBezTo>
                  <a:pt x="76097" y="56888"/>
                  <a:pt x="73170" y="58666"/>
                  <a:pt x="77560" y="59555"/>
                </a:cubicBezTo>
                <a:cubicBezTo>
                  <a:pt x="80487" y="61333"/>
                  <a:pt x="77560" y="62222"/>
                  <a:pt x="83414" y="66666"/>
                </a:cubicBezTo>
                <a:cubicBezTo>
                  <a:pt x="84878" y="72000"/>
                  <a:pt x="84878" y="71111"/>
                  <a:pt x="89268" y="71111"/>
                </a:cubicBezTo>
                <a:cubicBezTo>
                  <a:pt x="93658" y="72000"/>
                  <a:pt x="92195" y="74666"/>
                  <a:pt x="96585" y="74666"/>
                </a:cubicBezTo>
                <a:cubicBezTo>
                  <a:pt x="98048" y="76444"/>
                  <a:pt x="93658" y="76444"/>
                  <a:pt x="98048" y="79111"/>
                </a:cubicBezTo>
                <a:cubicBezTo>
                  <a:pt x="102439" y="81777"/>
                  <a:pt x="100975" y="81777"/>
                  <a:pt x="96585" y="80000"/>
                </a:cubicBezTo>
                <a:cubicBezTo>
                  <a:pt x="93658" y="79111"/>
                  <a:pt x="93658" y="80000"/>
                  <a:pt x="98048" y="81777"/>
                </a:cubicBezTo>
                <a:cubicBezTo>
                  <a:pt x="100975" y="83555"/>
                  <a:pt x="105365" y="87111"/>
                  <a:pt x="102439" y="87111"/>
                </a:cubicBezTo>
                <a:cubicBezTo>
                  <a:pt x="100975" y="88888"/>
                  <a:pt x="98048" y="89777"/>
                  <a:pt x="100975" y="89777"/>
                </a:cubicBezTo>
                <a:cubicBezTo>
                  <a:pt x="102439" y="89777"/>
                  <a:pt x="102439" y="91555"/>
                  <a:pt x="105365" y="88888"/>
                </a:cubicBezTo>
                <a:cubicBezTo>
                  <a:pt x="105365" y="87111"/>
                  <a:pt x="118536" y="88888"/>
                  <a:pt x="118536" y="92444"/>
                </a:cubicBezTo>
                <a:cubicBezTo>
                  <a:pt x="120000" y="99555"/>
                  <a:pt x="111219" y="99555"/>
                  <a:pt x="114146" y="101333"/>
                </a:cubicBezTo>
                <a:cubicBezTo>
                  <a:pt x="115609" y="101333"/>
                  <a:pt x="111219" y="99555"/>
                  <a:pt x="109756" y="101333"/>
                </a:cubicBezTo>
                <a:cubicBezTo>
                  <a:pt x="106829" y="102222"/>
                  <a:pt x="111219" y="101333"/>
                  <a:pt x="109756" y="104000"/>
                </a:cubicBezTo>
                <a:cubicBezTo>
                  <a:pt x="109756" y="104000"/>
                  <a:pt x="102439" y="104000"/>
                  <a:pt x="105365" y="104000"/>
                </a:cubicBezTo>
                <a:cubicBezTo>
                  <a:pt x="106829" y="104888"/>
                  <a:pt x="105365" y="104888"/>
                  <a:pt x="106829" y="104888"/>
                </a:cubicBezTo>
                <a:cubicBezTo>
                  <a:pt x="109756" y="106666"/>
                  <a:pt x="115609" y="104000"/>
                  <a:pt x="115609" y="104888"/>
                </a:cubicBezTo>
                <a:cubicBezTo>
                  <a:pt x="114146" y="106666"/>
                  <a:pt x="115609" y="107555"/>
                  <a:pt x="111219" y="109333"/>
                </a:cubicBezTo>
                <a:cubicBezTo>
                  <a:pt x="106829" y="109333"/>
                  <a:pt x="111219" y="111111"/>
                  <a:pt x="106829" y="111111"/>
                </a:cubicBezTo>
                <a:cubicBezTo>
                  <a:pt x="105365" y="111111"/>
                  <a:pt x="102439" y="113777"/>
                  <a:pt x="98048" y="112000"/>
                </a:cubicBezTo>
                <a:cubicBezTo>
                  <a:pt x="93658" y="111111"/>
                  <a:pt x="89268" y="113777"/>
                  <a:pt x="87804" y="112000"/>
                </a:cubicBezTo>
                <a:cubicBezTo>
                  <a:pt x="87804" y="111111"/>
                  <a:pt x="87804" y="112000"/>
                  <a:pt x="84878" y="112000"/>
                </a:cubicBezTo>
                <a:cubicBezTo>
                  <a:pt x="80487" y="111111"/>
                  <a:pt x="84878" y="112000"/>
                  <a:pt x="77560" y="112000"/>
                </a:cubicBezTo>
                <a:cubicBezTo>
                  <a:pt x="73170" y="113777"/>
                  <a:pt x="77560" y="114666"/>
                  <a:pt x="73170" y="113777"/>
                </a:cubicBezTo>
                <a:cubicBezTo>
                  <a:pt x="68780" y="113777"/>
                  <a:pt x="71707" y="116444"/>
                  <a:pt x="67317" y="113777"/>
                </a:cubicBezTo>
                <a:cubicBezTo>
                  <a:pt x="64390" y="111111"/>
                  <a:pt x="60000" y="114666"/>
                  <a:pt x="58536" y="113777"/>
                </a:cubicBezTo>
                <a:cubicBezTo>
                  <a:pt x="58536" y="113777"/>
                  <a:pt x="58536" y="119111"/>
                  <a:pt x="54146" y="117333"/>
                </a:cubicBezTo>
                <a:cubicBezTo>
                  <a:pt x="51219" y="116444"/>
                  <a:pt x="51219" y="116444"/>
                  <a:pt x="46829" y="116444"/>
                </a:cubicBezTo>
                <a:cubicBezTo>
                  <a:pt x="42439" y="116444"/>
                  <a:pt x="42439" y="117333"/>
                  <a:pt x="40975" y="119111"/>
                </a:cubicBezTo>
                <a:cubicBezTo>
                  <a:pt x="38048" y="119111"/>
                  <a:pt x="40975" y="120000"/>
                  <a:pt x="38048" y="120000"/>
                </a:cubicBezTo>
                <a:cubicBezTo>
                  <a:pt x="36585" y="120000"/>
                  <a:pt x="36585" y="119111"/>
                  <a:pt x="33658" y="119111"/>
                </a:cubicBezTo>
                <a:cubicBezTo>
                  <a:pt x="32195" y="120000"/>
                  <a:pt x="32195" y="117333"/>
                  <a:pt x="36585" y="117333"/>
                </a:cubicBezTo>
                <a:cubicBezTo>
                  <a:pt x="38048" y="117333"/>
                  <a:pt x="38048" y="114666"/>
                  <a:pt x="42439" y="113777"/>
                </a:cubicBezTo>
                <a:cubicBezTo>
                  <a:pt x="45365" y="113777"/>
                  <a:pt x="42439" y="113777"/>
                  <a:pt x="45365" y="112000"/>
                </a:cubicBezTo>
                <a:cubicBezTo>
                  <a:pt x="46829" y="111111"/>
                  <a:pt x="42439" y="109333"/>
                  <a:pt x="46829" y="109333"/>
                </a:cubicBezTo>
                <a:cubicBezTo>
                  <a:pt x="51219" y="109333"/>
                  <a:pt x="46829" y="106666"/>
                  <a:pt x="51219" y="106666"/>
                </a:cubicBezTo>
                <a:cubicBezTo>
                  <a:pt x="58536" y="106666"/>
                  <a:pt x="55609" y="107555"/>
                  <a:pt x="62926" y="107555"/>
                </a:cubicBezTo>
                <a:cubicBezTo>
                  <a:pt x="67317" y="106666"/>
                  <a:pt x="60000" y="106666"/>
                  <a:pt x="68780" y="104000"/>
                </a:cubicBezTo>
                <a:cubicBezTo>
                  <a:pt x="68780" y="102222"/>
                  <a:pt x="68780" y="102222"/>
                  <a:pt x="71707" y="101333"/>
                </a:cubicBezTo>
                <a:cubicBezTo>
                  <a:pt x="67317" y="102222"/>
                  <a:pt x="67317" y="104000"/>
                  <a:pt x="64390" y="104000"/>
                </a:cubicBezTo>
                <a:cubicBezTo>
                  <a:pt x="62926" y="104000"/>
                  <a:pt x="60000" y="107555"/>
                  <a:pt x="55609" y="104888"/>
                </a:cubicBezTo>
                <a:cubicBezTo>
                  <a:pt x="51219" y="102222"/>
                  <a:pt x="46829" y="104888"/>
                  <a:pt x="49756" y="104000"/>
                </a:cubicBezTo>
                <a:cubicBezTo>
                  <a:pt x="49756" y="102222"/>
                  <a:pt x="46829" y="101333"/>
                  <a:pt x="42439" y="102222"/>
                </a:cubicBezTo>
                <a:cubicBezTo>
                  <a:pt x="40975" y="104000"/>
                  <a:pt x="38048" y="102222"/>
                  <a:pt x="38048" y="101333"/>
                </a:cubicBezTo>
                <a:cubicBezTo>
                  <a:pt x="40975" y="99555"/>
                  <a:pt x="36585" y="101333"/>
                  <a:pt x="38048" y="99555"/>
                </a:cubicBezTo>
                <a:cubicBezTo>
                  <a:pt x="40975" y="96888"/>
                  <a:pt x="40975" y="99555"/>
                  <a:pt x="46829" y="96888"/>
                </a:cubicBezTo>
                <a:cubicBezTo>
                  <a:pt x="54146" y="94222"/>
                  <a:pt x="49756" y="92444"/>
                  <a:pt x="51219" y="91555"/>
                </a:cubicBezTo>
                <a:cubicBezTo>
                  <a:pt x="54146" y="89777"/>
                  <a:pt x="49756" y="91555"/>
                  <a:pt x="51219" y="89777"/>
                </a:cubicBezTo>
                <a:cubicBezTo>
                  <a:pt x="51219" y="87111"/>
                  <a:pt x="46829" y="91555"/>
                  <a:pt x="45365" y="89777"/>
                </a:cubicBezTo>
                <a:cubicBezTo>
                  <a:pt x="45365" y="89777"/>
                  <a:pt x="42439" y="91555"/>
                  <a:pt x="45365" y="89777"/>
                </a:cubicBezTo>
                <a:cubicBezTo>
                  <a:pt x="45365" y="88888"/>
                  <a:pt x="46829" y="88888"/>
                  <a:pt x="49756" y="86222"/>
                </a:cubicBezTo>
                <a:cubicBezTo>
                  <a:pt x="51219" y="84444"/>
                  <a:pt x="51219" y="86222"/>
                  <a:pt x="54146" y="84444"/>
                </a:cubicBezTo>
                <a:cubicBezTo>
                  <a:pt x="54146" y="84444"/>
                  <a:pt x="54146" y="86222"/>
                  <a:pt x="58536" y="84444"/>
                </a:cubicBezTo>
                <a:cubicBezTo>
                  <a:pt x="60000" y="83555"/>
                  <a:pt x="62926" y="86222"/>
                  <a:pt x="62926" y="84444"/>
                </a:cubicBezTo>
                <a:cubicBezTo>
                  <a:pt x="60000" y="83555"/>
                  <a:pt x="62926" y="83555"/>
                  <a:pt x="64390" y="84444"/>
                </a:cubicBezTo>
                <a:cubicBezTo>
                  <a:pt x="64390" y="86222"/>
                  <a:pt x="64390" y="84444"/>
                  <a:pt x="64390" y="83555"/>
                </a:cubicBezTo>
                <a:cubicBezTo>
                  <a:pt x="60000" y="80000"/>
                  <a:pt x="64390" y="80000"/>
                  <a:pt x="64390" y="80000"/>
                </a:cubicBezTo>
                <a:cubicBezTo>
                  <a:pt x="60000" y="79111"/>
                  <a:pt x="67317" y="77333"/>
                  <a:pt x="64390" y="77333"/>
                </a:cubicBezTo>
                <a:cubicBezTo>
                  <a:pt x="64390" y="76444"/>
                  <a:pt x="67317" y="74666"/>
                  <a:pt x="64390" y="74666"/>
                </a:cubicBezTo>
                <a:cubicBezTo>
                  <a:pt x="62926" y="74666"/>
                  <a:pt x="62926" y="77333"/>
                  <a:pt x="60000" y="76444"/>
                </a:cubicBezTo>
                <a:cubicBezTo>
                  <a:pt x="58536" y="73777"/>
                  <a:pt x="54146" y="73777"/>
                  <a:pt x="58536" y="69333"/>
                </a:cubicBezTo>
                <a:cubicBezTo>
                  <a:pt x="62926" y="64888"/>
                  <a:pt x="58536" y="69333"/>
                  <a:pt x="60000" y="66666"/>
                </a:cubicBezTo>
                <a:cubicBezTo>
                  <a:pt x="62926" y="66666"/>
                  <a:pt x="58536" y="66666"/>
                  <a:pt x="58536" y="66666"/>
                </a:cubicBezTo>
                <a:close/>
                <a:moveTo>
                  <a:pt x="32195" y="74666"/>
                </a:moveTo>
                <a:cubicBezTo>
                  <a:pt x="32195" y="73777"/>
                  <a:pt x="33658" y="74666"/>
                  <a:pt x="33658" y="73777"/>
                </a:cubicBezTo>
                <a:cubicBezTo>
                  <a:pt x="32195" y="73777"/>
                  <a:pt x="32195" y="73777"/>
                  <a:pt x="32195" y="73777"/>
                </a:cubicBezTo>
                <a:cubicBezTo>
                  <a:pt x="33658" y="72000"/>
                  <a:pt x="33658" y="71111"/>
                  <a:pt x="33658" y="72000"/>
                </a:cubicBezTo>
                <a:cubicBezTo>
                  <a:pt x="33658" y="73777"/>
                  <a:pt x="36585" y="73777"/>
                  <a:pt x="36585" y="72000"/>
                </a:cubicBezTo>
                <a:cubicBezTo>
                  <a:pt x="33658" y="69333"/>
                  <a:pt x="33658" y="69333"/>
                  <a:pt x="33658" y="69333"/>
                </a:cubicBezTo>
                <a:cubicBezTo>
                  <a:pt x="32195" y="71111"/>
                  <a:pt x="29268" y="71111"/>
                  <a:pt x="32195" y="69333"/>
                </a:cubicBezTo>
                <a:cubicBezTo>
                  <a:pt x="33658" y="69333"/>
                  <a:pt x="33658" y="67555"/>
                  <a:pt x="32195" y="67555"/>
                </a:cubicBezTo>
                <a:cubicBezTo>
                  <a:pt x="29268" y="67555"/>
                  <a:pt x="29268" y="64888"/>
                  <a:pt x="27804" y="64000"/>
                </a:cubicBezTo>
                <a:cubicBezTo>
                  <a:pt x="27804" y="62222"/>
                  <a:pt x="23414" y="64000"/>
                  <a:pt x="20487" y="64000"/>
                </a:cubicBezTo>
                <a:cubicBezTo>
                  <a:pt x="16097" y="64000"/>
                  <a:pt x="19024" y="64888"/>
                  <a:pt x="13170" y="64888"/>
                </a:cubicBezTo>
                <a:cubicBezTo>
                  <a:pt x="8780" y="66666"/>
                  <a:pt x="13170" y="69333"/>
                  <a:pt x="8780" y="69333"/>
                </a:cubicBezTo>
                <a:cubicBezTo>
                  <a:pt x="4390" y="69333"/>
                  <a:pt x="11707" y="71111"/>
                  <a:pt x="7317" y="72000"/>
                </a:cubicBezTo>
                <a:cubicBezTo>
                  <a:pt x="0" y="73777"/>
                  <a:pt x="16097" y="77333"/>
                  <a:pt x="16097" y="74666"/>
                </a:cubicBezTo>
                <a:cubicBezTo>
                  <a:pt x="16097" y="73777"/>
                  <a:pt x="19024" y="72000"/>
                  <a:pt x="19024" y="73777"/>
                </a:cubicBezTo>
                <a:cubicBezTo>
                  <a:pt x="20487" y="76444"/>
                  <a:pt x="20487" y="74666"/>
                  <a:pt x="20487" y="76444"/>
                </a:cubicBezTo>
                <a:cubicBezTo>
                  <a:pt x="23414" y="77333"/>
                  <a:pt x="23414" y="76444"/>
                  <a:pt x="24878" y="76444"/>
                </a:cubicBezTo>
                <a:cubicBezTo>
                  <a:pt x="29268" y="76444"/>
                  <a:pt x="27804" y="79111"/>
                  <a:pt x="32195" y="74666"/>
                </a:cubicBezTo>
                <a:close/>
                <a:moveTo>
                  <a:pt x="46829" y="73777"/>
                </a:moveTo>
                <a:cubicBezTo>
                  <a:pt x="49756" y="73777"/>
                  <a:pt x="46829" y="77333"/>
                  <a:pt x="45365" y="76444"/>
                </a:cubicBezTo>
                <a:cubicBezTo>
                  <a:pt x="40975" y="76444"/>
                  <a:pt x="46829" y="72000"/>
                  <a:pt x="46829" y="73777"/>
                </a:cubicBezTo>
                <a:close/>
                <a:moveTo>
                  <a:pt x="45365" y="84444"/>
                </a:moveTo>
                <a:cubicBezTo>
                  <a:pt x="46829" y="81777"/>
                  <a:pt x="51219" y="84444"/>
                  <a:pt x="49756" y="86222"/>
                </a:cubicBezTo>
                <a:cubicBezTo>
                  <a:pt x="46829" y="87111"/>
                  <a:pt x="45365" y="86222"/>
                  <a:pt x="45365" y="84444"/>
                </a:cubicBezTo>
                <a:close/>
                <a:moveTo>
                  <a:pt x="38048" y="61333"/>
                </a:moveTo>
                <a:cubicBezTo>
                  <a:pt x="36585" y="61333"/>
                  <a:pt x="36585" y="59555"/>
                  <a:pt x="36585" y="58666"/>
                </a:cubicBezTo>
                <a:cubicBezTo>
                  <a:pt x="38048" y="56888"/>
                  <a:pt x="40975" y="61333"/>
                  <a:pt x="38048" y="61333"/>
                </a:cubicBezTo>
                <a:close/>
                <a:moveTo>
                  <a:pt x="80487" y="113777"/>
                </a:moveTo>
                <a:cubicBezTo>
                  <a:pt x="83414" y="112000"/>
                  <a:pt x="84878" y="112000"/>
                  <a:pt x="84878" y="113777"/>
                </a:cubicBezTo>
                <a:cubicBezTo>
                  <a:pt x="87804" y="113777"/>
                  <a:pt x="84878" y="114666"/>
                  <a:pt x="80487" y="113777"/>
                </a:cubicBezTo>
                <a:close/>
                <a:moveTo>
                  <a:pt x="20487" y="30222"/>
                </a:moveTo>
                <a:cubicBezTo>
                  <a:pt x="19024" y="32000"/>
                  <a:pt x="19024" y="29333"/>
                  <a:pt x="19024" y="30222"/>
                </a:cubicBezTo>
                <a:cubicBezTo>
                  <a:pt x="16097" y="30222"/>
                  <a:pt x="16097" y="32000"/>
                  <a:pt x="16097" y="32000"/>
                </a:cubicBezTo>
                <a:cubicBezTo>
                  <a:pt x="19024" y="33777"/>
                  <a:pt x="13170" y="32000"/>
                  <a:pt x="19024" y="33777"/>
                </a:cubicBezTo>
                <a:cubicBezTo>
                  <a:pt x="20487" y="33777"/>
                  <a:pt x="13170" y="33777"/>
                  <a:pt x="16097" y="34666"/>
                </a:cubicBezTo>
                <a:cubicBezTo>
                  <a:pt x="19024" y="36444"/>
                  <a:pt x="19024" y="34666"/>
                  <a:pt x="20487" y="34666"/>
                </a:cubicBezTo>
                <a:cubicBezTo>
                  <a:pt x="20487" y="34666"/>
                  <a:pt x="20487" y="34666"/>
                  <a:pt x="20487" y="33777"/>
                </a:cubicBezTo>
                <a:cubicBezTo>
                  <a:pt x="23414" y="33777"/>
                  <a:pt x="24878" y="33777"/>
                  <a:pt x="23414" y="33777"/>
                </a:cubicBezTo>
                <a:cubicBezTo>
                  <a:pt x="23414" y="32000"/>
                  <a:pt x="24878" y="32000"/>
                  <a:pt x="24878" y="32000"/>
                </a:cubicBezTo>
                <a:cubicBezTo>
                  <a:pt x="23414" y="32000"/>
                  <a:pt x="24878" y="32000"/>
                  <a:pt x="24878" y="30222"/>
                </a:cubicBezTo>
                <a:cubicBezTo>
                  <a:pt x="24878" y="29333"/>
                  <a:pt x="24878" y="30222"/>
                  <a:pt x="27804" y="30222"/>
                </a:cubicBezTo>
                <a:cubicBezTo>
                  <a:pt x="29268" y="29333"/>
                  <a:pt x="24878" y="30222"/>
                  <a:pt x="24878" y="29333"/>
                </a:cubicBezTo>
                <a:cubicBezTo>
                  <a:pt x="27804" y="29333"/>
                  <a:pt x="27804" y="27555"/>
                  <a:pt x="27804" y="26666"/>
                </a:cubicBezTo>
                <a:cubicBezTo>
                  <a:pt x="27804" y="26666"/>
                  <a:pt x="23414" y="27555"/>
                  <a:pt x="20487" y="29333"/>
                </a:cubicBezTo>
                <a:cubicBezTo>
                  <a:pt x="19024" y="29333"/>
                  <a:pt x="20487" y="30222"/>
                  <a:pt x="20487" y="30222"/>
                </a:cubicBezTo>
                <a:close/>
                <a:moveTo>
                  <a:pt x="16097" y="37333"/>
                </a:moveTo>
                <a:cubicBezTo>
                  <a:pt x="19024" y="36444"/>
                  <a:pt x="16097" y="36444"/>
                  <a:pt x="16097" y="36444"/>
                </a:cubicBezTo>
                <a:cubicBezTo>
                  <a:pt x="13170" y="36444"/>
                  <a:pt x="13170" y="36444"/>
                  <a:pt x="11707" y="36444"/>
                </a:cubicBezTo>
                <a:cubicBezTo>
                  <a:pt x="11707" y="37333"/>
                  <a:pt x="16097" y="39111"/>
                  <a:pt x="16097" y="37333"/>
                </a:cubicBezTo>
                <a:close/>
                <a:moveTo>
                  <a:pt x="13170" y="42666"/>
                </a:moveTo>
                <a:cubicBezTo>
                  <a:pt x="16097" y="42666"/>
                  <a:pt x="13170" y="41777"/>
                  <a:pt x="13170" y="41777"/>
                </a:cubicBezTo>
                <a:cubicBezTo>
                  <a:pt x="16097" y="40000"/>
                  <a:pt x="16097" y="40000"/>
                  <a:pt x="13170" y="40000"/>
                </a:cubicBezTo>
                <a:cubicBezTo>
                  <a:pt x="11707" y="39111"/>
                  <a:pt x="11707" y="42666"/>
                  <a:pt x="13170" y="42666"/>
                </a:cubicBezTo>
                <a:close/>
                <a:moveTo>
                  <a:pt x="23414" y="40000"/>
                </a:moveTo>
                <a:cubicBezTo>
                  <a:pt x="24878" y="40000"/>
                  <a:pt x="23414" y="40000"/>
                  <a:pt x="24878" y="41777"/>
                </a:cubicBezTo>
                <a:cubicBezTo>
                  <a:pt x="24878" y="42666"/>
                  <a:pt x="27804" y="41777"/>
                  <a:pt x="29268" y="41777"/>
                </a:cubicBezTo>
                <a:cubicBezTo>
                  <a:pt x="32195" y="41777"/>
                  <a:pt x="27804" y="42666"/>
                  <a:pt x="29268" y="44444"/>
                </a:cubicBezTo>
                <a:cubicBezTo>
                  <a:pt x="32195" y="41777"/>
                  <a:pt x="32195" y="41777"/>
                  <a:pt x="32195" y="41777"/>
                </a:cubicBezTo>
                <a:cubicBezTo>
                  <a:pt x="33658" y="40000"/>
                  <a:pt x="32195" y="41777"/>
                  <a:pt x="29268" y="40000"/>
                </a:cubicBezTo>
                <a:cubicBezTo>
                  <a:pt x="27804" y="40000"/>
                  <a:pt x="27804" y="36444"/>
                  <a:pt x="24878" y="36444"/>
                </a:cubicBezTo>
                <a:cubicBezTo>
                  <a:pt x="24878" y="36444"/>
                  <a:pt x="24878" y="37333"/>
                  <a:pt x="24878" y="39111"/>
                </a:cubicBezTo>
                <a:cubicBezTo>
                  <a:pt x="23414" y="37333"/>
                  <a:pt x="23414" y="37333"/>
                  <a:pt x="23414" y="37333"/>
                </a:cubicBezTo>
                <a:cubicBezTo>
                  <a:pt x="20487" y="37333"/>
                  <a:pt x="23414" y="39111"/>
                  <a:pt x="23414" y="39111"/>
                </a:cubicBezTo>
                <a:cubicBezTo>
                  <a:pt x="23414" y="39111"/>
                  <a:pt x="19024" y="39111"/>
                  <a:pt x="20487" y="40000"/>
                </a:cubicBezTo>
                <a:cubicBezTo>
                  <a:pt x="23414" y="40000"/>
                  <a:pt x="23414" y="39111"/>
                  <a:pt x="23414" y="40000"/>
                </a:cubicBezTo>
                <a:close/>
                <a:moveTo>
                  <a:pt x="27804" y="51555"/>
                </a:moveTo>
                <a:cubicBezTo>
                  <a:pt x="27804" y="51555"/>
                  <a:pt x="24878" y="51555"/>
                  <a:pt x="24878" y="52444"/>
                </a:cubicBezTo>
                <a:cubicBezTo>
                  <a:pt x="24878" y="52444"/>
                  <a:pt x="29268" y="51555"/>
                  <a:pt x="32195" y="51555"/>
                </a:cubicBezTo>
                <a:cubicBezTo>
                  <a:pt x="33658" y="51555"/>
                  <a:pt x="32195" y="49777"/>
                  <a:pt x="29268" y="49777"/>
                </a:cubicBezTo>
                <a:cubicBezTo>
                  <a:pt x="27804" y="48888"/>
                  <a:pt x="27804" y="47111"/>
                  <a:pt x="24878" y="48888"/>
                </a:cubicBezTo>
                <a:cubicBezTo>
                  <a:pt x="24878" y="49777"/>
                  <a:pt x="24878" y="49777"/>
                  <a:pt x="27804" y="49777"/>
                </a:cubicBezTo>
                <a:cubicBezTo>
                  <a:pt x="29268" y="49777"/>
                  <a:pt x="27804" y="49777"/>
                  <a:pt x="27804" y="51555"/>
                </a:cubicBezTo>
                <a:close/>
                <a:moveTo>
                  <a:pt x="24878" y="58666"/>
                </a:moveTo>
                <a:cubicBezTo>
                  <a:pt x="27804" y="59555"/>
                  <a:pt x="24878" y="59555"/>
                  <a:pt x="24878" y="59555"/>
                </a:cubicBezTo>
                <a:cubicBezTo>
                  <a:pt x="24878" y="61333"/>
                  <a:pt x="27804" y="59555"/>
                  <a:pt x="27804" y="59555"/>
                </a:cubicBezTo>
                <a:cubicBezTo>
                  <a:pt x="29268" y="58666"/>
                  <a:pt x="27804" y="58666"/>
                  <a:pt x="27804" y="56888"/>
                </a:cubicBezTo>
                <a:cubicBezTo>
                  <a:pt x="27804" y="55111"/>
                  <a:pt x="24878" y="56888"/>
                  <a:pt x="24878" y="56888"/>
                </a:cubicBezTo>
                <a:cubicBezTo>
                  <a:pt x="24878" y="55111"/>
                  <a:pt x="20487" y="58666"/>
                  <a:pt x="23414" y="58666"/>
                </a:cubicBezTo>
                <a:cubicBezTo>
                  <a:pt x="24878" y="59555"/>
                  <a:pt x="24878" y="56888"/>
                  <a:pt x="24878" y="58666"/>
                </a:cubicBezTo>
                <a:close/>
                <a:moveTo>
                  <a:pt x="29268" y="56888"/>
                </a:moveTo>
                <a:cubicBezTo>
                  <a:pt x="27804" y="55111"/>
                  <a:pt x="29268" y="54222"/>
                  <a:pt x="32195" y="54222"/>
                </a:cubicBezTo>
                <a:cubicBezTo>
                  <a:pt x="33658" y="52444"/>
                  <a:pt x="29268" y="58666"/>
                  <a:pt x="29268" y="56888"/>
                </a:cubicBezTo>
                <a:close/>
                <a:moveTo>
                  <a:pt x="60000" y="24000"/>
                </a:moveTo>
                <a:cubicBezTo>
                  <a:pt x="60000" y="24000"/>
                  <a:pt x="58536" y="22222"/>
                  <a:pt x="60000" y="22222"/>
                </a:cubicBezTo>
                <a:cubicBezTo>
                  <a:pt x="60000" y="22222"/>
                  <a:pt x="62926" y="24000"/>
                  <a:pt x="60000" y="24000"/>
                </a:cubicBezTo>
                <a:close/>
                <a:moveTo>
                  <a:pt x="64390" y="22222"/>
                </a:moveTo>
                <a:cubicBezTo>
                  <a:pt x="64390" y="24000"/>
                  <a:pt x="67317" y="22222"/>
                  <a:pt x="67317" y="21333"/>
                </a:cubicBezTo>
                <a:cubicBezTo>
                  <a:pt x="67317" y="21333"/>
                  <a:pt x="64390" y="22222"/>
                  <a:pt x="64390" y="21333"/>
                </a:cubicBezTo>
                <a:cubicBezTo>
                  <a:pt x="64390" y="21333"/>
                  <a:pt x="62926" y="22222"/>
                  <a:pt x="62926" y="21333"/>
                </a:cubicBezTo>
                <a:cubicBezTo>
                  <a:pt x="64390" y="19555"/>
                  <a:pt x="62926" y="19555"/>
                  <a:pt x="62926" y="19555"/>
                </a:cubicBezTo>
                <a:cubicBezTo>
                  <a:pt x="60000" y="19555"/>
                  <a:pt x="58536" y="21333"/>
                  <a:pt x="60000" y="21333"/>
                </a:cubicBezTo>
                <a:cubicBezTo>
                  <a:pt x="62926" y="22222"/>
                  <a:pt x="62926" y="21333"/>
                  <a:pt x="64390" y="22222"/>
                </a:cubicBezTo>
                <a:close/>
                <a:moveTo>
                  <a:pt x="64390" y="24000"/>
                </a:moveTo>
                <a:cubicBezTo>
                  <a:pt x="64390" y="22222"/>
                  <a:pt x="64390" y="24000"/>
                  <a:pt x="64390" y="24000"/>
                </a:cubicBezTo>
                <a:cubicBezTo>
                  <a:pt x="62926" y="24000"/>
                  <a:pt x="62926" y="24000"/>
                  <a:pt x="64390" y="24000"/>
                </a:cubicBezTo>
                <a:close/>
                <a:moveTo>
                  <a:pt x="67317" y="18666"/>
                </a:moveTo>
                <a:cubicBezTo>
                  <a:pt x="68780" y="18666"/>
                  <a:pt x="68780" y="16888"/>
                  <a:pt x="68780" y="18666"/>
                </a:cubicBezTo>
                <a:cubicBezTo>
                  <a:pt x="67317" y="18666"/>
                  <a:pt x="67317" y="16888"/>
                  <a:pt x="67317" y="18666"/>
                </a:cubicBezTo>
                <a:cubicBezTo>
                  <a:pt x="67317" y="19555"/>
                  <a:pt x="67317" y="18666"/>
                  <a:pt x="67317" y="18666"/>
                </a:cubicBezTo>
                <a:close/>
                <a:moveTo>
                  <a:pt x="67317" y="19555"/>
                </a:moveTo>
                <a:cubicBezTo>
                  <a:pt x="67317" y="18666"/>
                  <a:pt x="68780" y="19555"/>
                  <a:pt x="68780" y="19555"/>
                </a:cubicBezTo>
                <a:cubicBezTo>
                  <a:pt x="67317" y="21333"/>
                  <a:pt x="67317" y="21333"/>
                  <a:pt x="67317" y="19555"/>
                </a:cubicBezTo>
                <a:close/>
                <a:moveTo>
                  <a:pt x="62926" y="16888"/>
                </a:moveTo>
                <a:cubicBezTo>
                  <a:pt x="64390" y="16888"/>
                  <a:pt x="64390" y="18666"/>
                  <a:pt x="64390" y="18666"/>
                </a:cubicBezTo>
                <a:cubicBezTo>
                  <a:pt x="64390" y="18666"/>
                  <a:pt x="62926" y="18666"/>
                  <a:pt x="62926" y="16888"/>
                </a:cubicBezTo>
                <a:close/>
                <a:moveTo>
                  <a:pt x="84878" y="9777"/>
                </a:moveTo>
                <a:cubicBezTo>
                  <a:pt x="84878" y="8888"/>
                  <a:pt x="84878" y="8888"/>
                  <a:pt x="84878" y="7111"/>
                </a:cubicBezTo>
                <a:cubicBezTo>
                  <a:pt x="84878" y="7111"/>
                  <a:pt x="84878" y="7111"/>
                  <a:pt x="87804" y="4444"/>
                </a:cubicBezTo>
                <a:cubicBezTo>
                  <a:pt x="87804" y="2666"/>
                  <a:pt x="84878" y="6222"/>
                  <a:pt x="84878" y="4444"/>
                </a:cubicBezTo>
                <a:cubicBezTo>
                  <a:pt x="84878" y="4444"/>
                  <a:pt x="84878" y="2666"/>
                  <a:pt x="84878" y="4444"/>
                </a:cubicBezTo>
                <a:cubicBezTo>
                  <a:pt x="83414" y="6222"/>
                  <a:pt x="83414" y="4444"/>
                  <a:pt x="83414" y="2666"/>
                </a:cubicBezTo>
                <a:cubicBezTo>
                  <a:pt x="84878" y="1777"/>
                  <a:pt x="77560" y="4444"/>
                  <a:pt x="80487" y="4444"/>
                </a:cubicBezTo>
                <a:cubicBezTo>
                  <a:pt x="80487" y="4444"/>
                  <a:pt x="83414" y="4444"/>
                  <a:pt x="83414" y="6222"/>
                </a:cubicBezTo>
                <a:cubicBezTo>
                  <a:pt x="83414" y="6222"/>
                  <a:pt x="77560" y="6222"/>
                  <a:pt x="77560" y="7111"/>
                </a:cubicBezTo>
                <a:cubicBezTo>
                  <a:pt x="77560" y="8888"/>
                  <a:pt x="80487" y="7111"/>
                  <a:pt x="80487" y="7111"/>
                </a:cubicBezTo>
                <a:cubicBezTo>
                  <a:pt x="83414" y="8888"/>
                  <a:pt x="83414" y="7111"/>
                  <a:pt x="83414" y="7111"/>
                </a:cubicBezTo>
                <a:cubicBezTo>
                  <a:pt x="84878" y="8888"/>
                  <a:pt x="80487" y="9777"/>
                  <a:pt x="83414" y="11555"/>
                </a:cubicBezTo>
                <a:cubicBezTo>
                  <a:pt x="84878" y="12444"/>
                  <a:pt x="84878" y="9777"/>
                  <a:pt x="84878" y="9777"/>
                </a:cubicBezTo>
                <a:close/>
                <a:moveTo>
                  <a:pt x="87804" y="2666"/>
                </a:moveTo>
                <a:cubicBezTo>
                  <a:pt x="87804" y="1777"/>
                  <a:pt x="87804" y="1777"/>
                  <a:pt x="87804" y="1777"/>
                </a:cubicBezTo>
                <a:cubicBezTo>
                  <a:pt x="84878" y="1777"/>
                  <a:pt x="84878" y="1777"/>
                  <a:pt x="84878" y="1777"/>
                </a:cubicBezTo>
                <a:cubicBezTo>
                  <a:pt x="84878" y="2666"/>
                  <a:pt x="84878" y="2666"/>
                  <a:pt x="84878" y="2666"/>
                </a:cubicBezTo>
                <a:cubicBezTo>
                  <a:pt x="87804" y="4444"/>
                  <a:pt x="84878" y="2666"/>
                  <a:pt x="87804" y="2666"/>
                </a:cubicBezTo>
                <a:close/>
                <a:moveTo>
                  <a:pt x="87804" y="1777"/>
                </a:moveTo>
                <a:cubicBezTo>
                  <a:pt x="87804" y="0"/>
                  <a:pt x="87804" y="0"/>
                  <a:pt x="89268" y="0"/>
                </a:cubicBezTo>
                <a:cubicBezTo>
                  <a:pt x="89268" y="0"/>
                  <a:pt x="89268" y="1777"/>
                  <a:pt x="87804" y="1777"/>
                </a:cubicBezTo>
                <a:close/>
              </a:path>
            </a:pathLst>
          </a:custGeom>
          <a:solidFill>
            <a:srgbClr val="C00000"/>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01" name="Shape 1961"/>
          <p:cNvSpPr/>
          <p:nvPr/>
        </p:nvSpPr>
        <p:spPr>
          <a:xfrm>
            <a:off x="5329674" y="2931309"/>
            <a:ext cx="13646" cy="9530"/>
          </a:xfrm>
          <a:custGeom>
            <a:avLst/>
            <a:gdLst/>
            <a:ahLst/>
            <a:cxnLst/>
            <a:rect l="0" t="0" r="0" b="0"/>
            <a:pathLst>
              <a:path w="120000" h="120000" extrusionOk="0">
                <a:moveTo>
                  <a:pt x="30000" y="120000"/>
                </a:moveTo>
                <a:cubicBezTo>
                  <a:pt x="30000" y="40000"/>
                  <a:pt x="0" y="0"/>
                  <a:pt x="30000" y="0"/>
                </a:cubicBezTo>
                <a:cubicBezTo>
                  <a:pt x="30000" y="0"/>
                  <a:pt x="30000" y="0"/>
                  <a:pt x="90000" y="40000"/>
                </a:cubicBezTo>
                <a:cubicBezTo>
                  <a:pt x="120000" y="40000"/>
                  <a:pt x="90000" y="120000"/>
                  <a:pt x="3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02" name="Shape 1962"/>
          <p:cNvSpPr/>
          <p:nvPr/>
        </p:nvSpPr>
        <p:spPr>
          <a:xfrm>
            <a:off x="5346732" y="2940842"/>
            <a:ext cx="6821" cy="9530"/>
          </a:xfrm>
          <a:custGeom>
            <a:avLst/>
            <a:gdLst/>
            <a:ahLst/>
            <a:cxnLst/>
            <a:rect l="0" t="0" r="0" b="0"/>
            <a:pathLst>
              <a:path w="120000" h="120000" extrusionOk="0">
                <a:moveTo>
                  <a:pt x="0" y="40000"/>
                </a:moveTo>
                <a:cubicBezTo>
                  <a:pt x="0" y="0"/>
                  <a:pt x="120000" y="40000"/>
                  <a:pt x="120000" y="120000"/>
                </a:cubicBezTo>
                <a:cubicBezTo>
                  <a:pt x="120000" y="120000"/>
                  <a:pt x="120000" y="120000"/>
                  <a:pt x="0" y="120000"/>
                </a:cubicBezTo>
                <a:cubicBezTo>
                  <a:pt x="0" y="40000"/>
                  <a:pt x="0" y="40000"/>
                  <a:pt x="0" y="4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03" name="Shape 1963"/>
          <p:cNvSpPr/>
          <p:nvPr/>
        </p:nvSpPr>
        <p:spPr>
          <a:xfrm>
            <a:off x="5343320" y="2956727"/>
            <a:ext cx="10232" cy="11119"/>
          </a:xfrm>
          <a:custGeom>
            <a:avLst/>
            <a:gdLst/>
            <a:ahLst/>
            <a:cxnLst/>
            <a:rect l="0" t="0" r="0" b="0"/>
            <a:pathLst>
              <a:path w="120000" h="120000" extrusionOk="0">
                <a:moveTo>
                  <a:pt x="0" y="0"/>
                </a:moveTo>
                <a:cubicBezTo>
                  <a:pt x="40000" y="0"/>
                  <a:pt x="0" y="0"/>
                  <a:pt x="40000" y="0"/>
                </a:cubicBezTo>
                <a:cubicBezTo>
                  <a:pt x="120000" y="30000"/>
                  <a:pt x="40000" y="90000"/>
                  <a:pt x="120000" y="90000"/>
                </a:cubicBezTo>
                <a:cubicBezTo>
                  <a:pt x="120000" y="90000"/>
                  <a:pt x="120000" y="120000"/>
                  <a:pt x="40000" y="90000"/>
                </a:cubicBezTo>
                <a:cubicBezTo>
                  <a:pt x="40000" y="30000"/>
                  <a:pt x="0" y="0"/>
                  <a:pt x="0"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04" name="Shape 1964"/>
          <p:cNvSpPr/>
          <p:nvPr/>
        </p:nvSpPr>
        <p:spPr>
          <a:xfrm>
            <a:off x="5339906" y="2924955"/>
            <a:ext cx="13646" cy="19061"/>
          </a:xfrm>
          <a:custGeom>
            <a:avLst/>
            <a:gdLst/>
            <a:ahLst/>
            <a:cxnLst/>
            <a:rect l="0" t="0" r="0" b="0"/>
            <a:pathLst>
              <a:path w="120000" h="120000" extrusionOk="0">
                <a:moveTo>
                  <a:pt x="0" y="40000"/>
                </a:moveTo>
                <a:cubicBezTo>
                  <a:pt x="0" y="40000"/>
                  <a:pt x="0" y="40000"/>
                  <a:pt x="0" y="0"/>
                </a:cubicBezTo>
                <a:cubicBezTo>
                  <a:pt x="0" y="0"/>
                  <a:pt x="0" y="0"/>
                  <a:pt x="30000" y="40000"/>
                </a:cubicBezTo>
                <a:cubicBezTo>
                  <a:pt x="30000" y="60000"/>
                  <a:pt x="30000" y="40000"/>
                  <a:pt x="90000" y="60000"/>
                </a:cubicBezTo>
                <a:cubicBezTo>
                  <a:pt x="120000" y="100000"/>
                  <a:pt x="120000" y="120000"/>
                  <a:pt x="90000" y="100000"/>
                </a:cubicBezTo>
                <a:cubicBezTo>
                  <a:pt x="30000" y="40000"/>
                  <a:pt x="30000" y="60000"/>
                  <a:pt x="0" y="4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05" name="Shape 1965"/>
          <p:cNvSpPr/>
          <p:nvPr/>
        </p:nvSpPr>
        <p:spPr>
          <a:xfrm>
            <a:off x="5343320" y="2924956"/>
            <a:ext cx="13646" cy="9530"/>
          </a:xfrm>
          <a:custGeom>
            <a:avLst/>
            <a:gdLst/>
            <a:ahLst/>
            <a:cxnLst/>
            <a:rect l="0" t="0" r="0" b="0"/>
            <a:pathLst>
              <a:path w="120000" h="120000" extrusionOk="0">
                <a:moveTo>
                  <a:pt x="30000" y="120000"/>
                </a:moveTo>
                <a:cubicBezTo>
                  <a:pt x="30000" y="80000"/>
                  <a:pt x="0" y="80000"/>
                  <a:pt x="0" y="0"/>
                </a:cubicBezTo>
                <a:cubicBezTo>
                  <a:pt x="0" y="0"/>
                  <a:pt x="0" y="0"/>
                  <a:pt x="0" y="0"/>
                </a:cubicBezTo>
                <a:cubicBezTo>
                  <a:pt x="30000" y="0"/>
                  <a:pt x="0" y="0"/>
                  <a:pt x="30000" y="0"/>
                </a:cubicBezTo>
                <a:cubicBezTo>
                  <a:pt x="90000" y="0"/>
                  <a:pt x="30000" y="80000"/>
                  <a:pt x="90000" y="80000"/>
                </a:cubicBezTo>
                <a:cubicBezTo>
                  <a:pt x="120000" y="80000"/>
                  <a:pt x="90000" y="80000"/>
                  <a:pt x="90000" y="80000"/>
                </a:cubicBezTo>
                <a:cubicBezTo>
                  <a:pt x="120000" y="120000"/>
                  <a:pt x="90000" y="120000"/>
                  <a:pt x="3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06" name="Shape 1966"/>
          <p:cNvSpPr/>
          <p:nvPr/>
        </p:nvSpPr>
        <p:spPr>
          <a:xfrm>
            <a:off x="5353556" y="2921779"/>
            <a:ext cx="8529" cy="9530"/>
          </a:xfrm>
          <a:custGeom>
            <a:avLst/>
            <a:gdLst/>
            <a:ahLst/>
            <a:cxnLst/>
            <a:rect l="0" t="0" r="0" b="0"/>
            <a:pathLst>
              <a:path w="120000" h="120000" extrusionOk="0">
                <a:moveTo>
                  <a:pt x="40000" y="120000"/>
                </a:moveTo>
                <a:cubicBezTo>
                  <a:pt x="0" y="120000"/>
                  <a:pt x="40000" y="40000"/>
                  <a:pt x="40000" y="40000"/>
                </a:cubicBezTo>
                <a:cubicBezTo>
                  <a:pt x="0" y="0"/>
                  <a:pt x="40000" y="40000"/>
                  <a:pt x="40000" y="40000"/>
                </a:cubicBezTo>
                <a:cubicBezTo>
                  <a:pt x="40000" y="120000"/>
                  <a:pt x="120000" y="120000"/>
                  <a:pt x="40000" y="120000"/>
                </a:cubicBezTo>
                <a:cubicBezTo>
                  <a:pt x="40000" y="120000"/>
                  <a:pt x="40000" y="120000"/>
                  <a:pt x="4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07" name="Shape 1967"/>
          <p:cNvSpPr/>
          <p:nvPr/>
        </p:nvSpPr>
        <p:spPr>
          <a:xfrm>
            <a:off x="5353554" y="2921779"/>
            <a:ext cx="3410" cy="9530"/>
          </a:xfrm>
          <a:custGeom>
            <a:avLst/>
            <a:gdLst/>
            <a:ahLst/>
            <a:cxnLst/>
            <a:rect l="0" t="0" r="0" b="0"/>
            <a:pathLst>
              <a:path w="120000" h="120000" extrusionOk="0">
                <a:moveTo>
                  <a:pt x="0" y="40000"/>
                </a:moveTo>
                <a:cubicBezTo>
                  <a:pt x="0" y="120000"/>
                  <a:pt x="0" y="40000"/>
                  <a:pt x="0" y="0"/>
                </a:cubicBezTo>
                <a:cubicBezTo>
                  <a:pt x="0" y="0"/>
                  <a:pt x="120000" y="40000"/>
                  <a:pt x="0" y="4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09" name="Shape 1969"/>
          <p:cNvSpPr/>
          <p:nvPr/>
        </p:nvSpPr>
        <p:spPr>
          <a:xfrm>
            <a:off x="8597750" y="4445244"/>
            <a:ext cx="255850" cy="452749"/>
          </a:xfrm>
          <a:custGeom>
            <a:avLst/>
            <a:gdLst/>
            <a:ahLst/>
            <a:cxnLst/>
            <a:rect l="0" t="0" r="0" b="0"/>
            <a:pathLst>
              <a:path w="120000" h="120000" extrusionOk="0">
                <a:moveTo>
                  <a:pt x="59220" y="31020"/>
                </a:moveTo>
                <a:cubicBezTo>
                  <a:pt x="59220" y="29387"/>
                  <a:pt x="59220" y="31020"/>
                  <a:pt x="60779" y="31836"/>
                </a:cubicBezTo>
                <a:cubicBezTo>
                  <a:pt x="60779" y="33469"/>
                  <a:pt x="59220" y="34285"/>
                  <a:pt x="59220" y="33469"/>
                </a:cubicBezTo>
                <a:cubicBezTo>
                  <a:pt x="59220" y="31020"/>
                  <a:pt x="56103" y="31020"/>
                  <a:pt x="59220" y="31020"/>
                </a:cubicBezTo>
                <a:close/>
                <a:moveTo>
                  <a:pt x="90389" y="40816"/>
                </a:moveTo>
                <a:cubicBezTo>
                  <a:pt x="90389" y="40000"/>
                  <a:pt x="90389" y="40000"/>
                  <a:pt x="90389" y="40000"/>
                </a:cubicBezTo>
                <a:cubicBezTo>
                  <a:pt x="87272" y="38367"/>
                  <a:pt x="85714" y="36734"/>
                  <a:pt x="87272" y="40000"/>
                </a:cubicBezTo>
                <a:cubicBezTo>
                  <a:pt x="87272" y="42448"/>
                  <a:pt x="85714" y="40816"/>
                  <a:pt x="87272" y="42448"/>
                </a:cubicBezTo>
                <a:cubicBezTo>
                  <a:pt x="87272" y="43265"/>
                  <a:pt x="90389" y="42448"/>
                  <a:pt x="90389" y="40816"/>
                </a:cubicBezTo>
                <a:close/>
                <a:moveTo>
                  <a:pt x="90389" y="61224"/>
                </a:moveTo>
                <a:cubicBezTo>
                  <a:pt x="90389" y="62857"/>
                  <a:pt x="91948" y="62857"/>
                  <a:pt x="90389" y="63673"/>
                </a:cubicBezTo>
                <a:cubicBezTo>
                  <a:pt x="87272" y="63673"/>
                  <a:pt x="91948" y="65306"/>
                  <a:pt x="91948" y="63673"/>
                </a:cubicBezTo>
                <a:cubicBezTo>
                  <a:pt x="91948" y="62857"/>
                  <a:pt x="96623" y="65306"/>
                  <a:pt x="95064" y="66122"/>
                </a:cubicBezTo>
                <a:cubicBezTo>
                  <a:pt x="91948" y="67755"/>
                  <a:pt x="95064" y="67755"/>
                  <a:pt x="95064" y="68571"/>
                </a:cubicBezTo>
                <a:cubicBezTo>
                  <a:pt x="95064" y="70204"/>
                  <a:pt x="95064" y="70204"/>
                  <a:pt x="96623" y="70204"/>
                </a:cubicBezTo>
                <a:cubicBezTo>
                  <a:pt x="99740" y="71020"/>
                  <a:pt x="96623" y="68571"/>
                  <a:pt x="96623" y="68571"/>
                </a:cubicBezTo>
                <a:cubicBezTo>
                  <a:pt x="99740" y="68571"/>
                  <a:pt x="99740" y="70204"/>
                  <a:pt x="99740" y="71020"/>
                </a:cubicBezTo>
                <a:cubicBezTo>
                  <a:pt x="101298" y="72653"/>
                  <a:pt x="101298" y="71020"/>
                  <a:pt x="99740" y="70204"/>
                </a:cubicBezTo>
                <a:cubicBezTo>
                  <a:pt x="99740" y="68571"/>
                  <a:pt x="104415" y="68571"/>
                  <a:pt x="101298" y="67755"/>
                </a:cubicBezTo>
                <a:cubicBezTo>
                  <a:pt x="99740" y="67755"/>
                  <a:pt x="101298" y="66122"/>
                  <a:pt x="99740" y="66122"/>
                </a:cubicBezTo>
                <a:cubicBezTo>
                  <a:pt x="96623" y="65306"/>
                  <a:pt x="99740" y="61224"/>
                  <a:pt x="96623" y="61224"/>
                </a:cubicBezTo>
                <a:cubicBezTo>
                  <a:pt x="96623" y="61224"/>
                  <a:pt x="99740" y="59591"/>
                  <a:pt x="96623" y="59591"/>
                </a:cubicBezTo>
                <a:cubicBezTo>
                  <a:pt x="95064" y="59591"/>
                  <a:pt x="95064" y="61224"/>
                  <a:pt x="91948" y="59591"/>
                </a:cubicBezTo>
                <a:cubicBezTo>
                  <a:pt x="90389" y="58775"/>
                  <a:pt x="90389" y="58775"/>
                  <a:pt x="90389" y="58775"/>
                </a:cubicBezTo>
                <a:cubicBezTo>
                  <a:pt x="87272" y="59591"/>
                  <a:pt x="90389" y="61224"/>
                  <a:pt x="90389" y="61224"/>
                </a:cubicBezTo>
                <a:close/>
                <a:moveTo>
                  <a:pt x="65454" y="74285"/>
                </a:moveTo>
                <a:cubicBezTo>
                  <a:pt x="68571" y="76734"/>
                  <a:pt x="70129" y="75102"/>
                  <a:pt x="70129" y="77551"/>
                </a:cubicBezTo>
                <a:cubicBezTo>
                  <a:pt x="73246" y="80000"/>
                  <a:pt x="74805" y="79183"/>
                  <a:pt x="74805" y="77551"/>
                </a:cubicBezTo>
                <a:cubicBezTo>
                  <a:pt x="77922" y="76734"/>
                  <a:pt x="73246" y="74285"/>
                  <a:pt x="74805" y="71020"/>
                </a:cubicBezTo>
                <a:cubicBezTo>
                  <a:pt x="77922" y="70204"/>
                  <a:pt x="74805" y="70204"/>
                  <a:pt x="77922" y="67755"/>
                </a:cubicBezTo>
                <a:cubicBezTo>
                  <a:pt x="81038" y="66122"/>
                  <a:pt x="81038" y="63673"/>
                  <a:pt x="77922" y="63673"/>
                </a:cubicBezTo>
                <a:cubicBezTo>
                  <a:pt x="74805" y="63673"/>
                  <a:pt x="74805" y="62857"/>
                  <a:pt x="73246" y="63673"/>
                </a:cubicBezTo>
                <a:cubicBezTo>
                  <a:pt x="70129" y="65306"/>
                  <a:pt x="73246" y="66122"/>
                  <a:pt x="70129" y="66122"/>
                </a:cubicBezTo>
                <a:cubicBezTo>
                  <a:pt x="68571" y="67755"/>
                  <a:pt x="73246" y="70204"/>
                  <a:pt x="70129" y="71020"/>
                </a:cubicBezTo>
                <a:cubicBezTo>
                  <a:pt x="65454" y="72653"/>
                  <a:pt x="65454" y="70204"/>
                  <a:pt x="65454" y="72653"/>
                </a:cubicBezTo>
                <a:cubicBezTo>
                  <a:pt x="65454" y="74285"/>
                  <a:pt x="65454" y="74285"/>
                  <a:pt x="65454" y="74285"/>
                </a:cubicBezTo>
                <a:close/>
                <a:moveTo>
                  <a:pt x="70129" y="65306"/>
                </a:moveTo>
                <a:cubicBezTo>
                  <a:pt x="68571" y="65306"/>
                  <a:pt x="65454" y="66122"/>
                  <a:pt x="68571" y="66122"/>
                </a:cubicBezTo>
                <a:cubicBezTo>
                  <a:pt x="68571" y="67755"/>
                  <a:pt x="65454" y="67755"/>
                  <a:pt x="68571" y="67755"/>
                </a:cubicBezTo>
                <a:cubicBezTo>
                  <a:pt x="68571" y="68571"/>
                  <a:pt x="70129" y="66122"/>
                  <a:pt x="70129" y="65306"/>
                </a:cubicBezTo>
                <a:close/>
                <a:moveTo>
                  <a:pt x="77922" y="53877"/>
                </a:moveTo>
                <a:cubicBezTo>
                  <a:pt x="81038" y="52244"/>
                  <a:pt x="81038" y="56326"/>
                  <a:pt x="82597" y="56326"/>
                </a:cubicBezTo>
                <a:cubicBezTo>
                  <a:pt x="85714" y="56326"/>
                  <a:pt x="87272" y="58775"/>
                  <a:pt x="87272" y="57142"/>
                </a:cubicBezTo>
                <a:cubicBezTo>
                  <a:pt x="85714" y="54693"/>
                  <a:pt x="85714" y="53877"/>
                  <a:pt x="82597" y="53877"/>
                </a:cubicBezTo>
                <a:cubicBezTo>
                  <a:pt x="81038" y="52244"/>
                  <a:pt x="81038" y="51428"/>
                  <a:pt x="77922" y="51428"/>
                </a:cubicBezTo>
                <a:cubicBezTo>
                  <a:pt x="77922" y="51428"/>
                  <a:pt x="74805" y="49795"/>
                  <a:pt x="74805" y="51428"/>
                </a:cubicBezTo>
                <a:cubicBezTo>
                  <a:pt x="74805" y="52244"/>
                  <a:pt x="74805" y="53877"/>
                  <a:pt x="74805" y="56326"/>
                </a:cubicBezTo>
                <a:cubicBezTo>
                  <a:pt x="73246" y="56326"/>
                  <a:pt x="77922" y="54693"/>
                  <a:pt x="77922" y="53877"/>
                </a:cubicBezTo>
                <a:close/>
                <a:moveTo>
                  <a:pt x="91948" y="57142"/>
                </a:moveTo>
                <a:cubicBezTo>
                  <a:pt x="91948" y="57142"/>
                  <a:pt x="95064" y="59591"/>
                  <a:pt x="91948" y="58775"/>
                </a:cubicBezTo>
                <a:cubicBezTo>
                  <a:pt x="90389" y="58775"/>
                  <a:pt x="90389" y="57142"/>
                  <a:pt x="91948" y="57142"/>
                </a:cubicBezTo>
                <a:close/>
                <a:moveTo>
                  <a:pt x="105974" y="65306"/>
                </a:moveTo>
                <a:cubicBezTo>
                  <a:pt x="105974" y="65306"/>
                  <a:pt x="109090" y="65306"/>
                  <a:pt x="105974" y="65306"/>
                </a:cubicBezTo>
                <a:cubicBezTo>
                  <a:pt x="105974" y="66122"/>
                  <a:pt x="105974" y="65306"/>
                  <a:pt x="105974" y="65306"/>
                </a:cubicBezTo>
                <a:close/>
                <a:moveTo>
                  <a:pt x="82597" y="61224"/>
                </a:moveTo>
                <a:cubicBezTo>
                  <a:pt x="82597" y="59591"/>
                  <a:pt x="82597" y="62857"/>
                  <a:pt x="82597" y="62857"/>
                </a:cubicBezTo>
                <a:cubicBezTo>
                  <a:pt x="82597" y="62857"/>
                  <a:pt x="81038" y="61224"/>
                  <a:pt x="82597" y="61224"/>
                </a:cubicBezTo>
                <a:close/>
                <a:moveTo>
                  <a:pt x="81038" y="74285"/>
                </a:moveTo>
                <a:cubicBezTo>
                  <a:pt x="81038" y="71020"/>
                  <a:pt x="81038" y="72653"/>
                  <a:pt x="81038" y="71020"/>
                </a:cubicBezTo>
                <a:cubicBezTo>
                  <a:pt x="81038" y="68571"/>
                  <a:pt x="87272" y="68571"/>
                  <a:pt x="85714" y="66122"/>
                </a:cubicBezTo>
                <a:cubicBezTo>
                  <a:pt x="85714" y="65306"/>
                  <a:pt x="87272" y="65306"/>
                  <a:pt x="87272" y="63673"/>
                </a:cubicBezTo>
                <a:cubicBezTo>
                  <a:pt x="85714" y="62857"/>
                  <a:pt x="87272" y="58775"/>
                  <a:pt x="85714" y="62857"/>
                </a:cubicBezTo>
                <a:cubicBezTo>
                  <a:pt x="82597" y="65306"/>
                  <a:pt x="82597" y="63673"/>
                  <a:pt x="82597" y="66122"/>
                </a:cubicBezTo>
                <a:cubicBezTo>
                  <a:pt x="81038" y="68571"/>
                  <a:pt x="77922" y="70204"/>
                  <a:pt x="77922" y="71020"/>
                </a:cubicBezTo>
                <a:cubicBezTo>
                  <a:pt x="77922" y="72653"/>
                  <a:pt x="77922" y="72653"/>
                  <a:pt x="77922" y="75102"/>
                </a:cubicBezTo>
                <a:cubicBezTo>
                  <a:pt x="77922" y="76734"/>
                  <a:pt x="77922" y="75102"/>
                  <a:pt x="81038" y="74285"/>
                </a:cubicBezTo>
                <a:close/>
                <a:moveTo>
                  <a:pt x="90389" y="74285"/>
                </a:moveTo>
                <a:cubicBezTo>
                  <a:pt x="91948" y="72653"/>
                  <a:pt x="91948" y="74285"/>
                  <a:pt x="91948" y="72653"/>
                </a:cubicBezTo>
                <a:cubicBezTo>
                  <a:pt x="91948" y="71020"/>
                  <a:pt x="95064" y="70204"/>
                  <a:pt x="91948" y="70204"/>
                </a:cubicBezTo>
                <a:cubicBezTo>
                  <a:pt x="91948" y="70204"/>
                  <a:pt x="91948" y="71020"/>
                  <a:pt x="90389" y="70204"/>
                </a:cubicBezTo>
                <a:cubicBezTo>
                  <a:pt x="90389" y="70204"/>
                  <a:pt x="87272" y="68571"/>
                  <a:pt x="87272" y="70204"/>
                </a:cubicBezTo>
                <a:cubicBezTo>
                  <a:pt x="85714" y="71020"/>
                  <a:pt x="85714" y="71020"/>
                  <a:pt x="85714" y="71020"/>
                </a:cubicBezTo>
                <a:cubicBezTo>
                  <a:pt x="82597" y="71020"/>
                  <a:pt x="82597" y="72653"/>
                  <a:pt x="82597" y="74285"/>
                </a:cubicBezTo>
                <a:cubicBezTo>
                  <a:pt x="85714" y="75102"/>
                  <a:pt x="90389" y="74285"/>
                  <a:pt x="90389" y="74285"/>
                </a:cubicBezTo>
                <a:close/>
                <a:moveTo>
                  <a:pt x="60779" y="95510"/>
                </a:moveTo>
                <a:cubicBezTo>
                  <a:pt x="63896" y="97142"/>
                  <a:pt x="63896" y="94693"/>
                  <a:pt x="63896" y="93061"/>
                </a:cubicBezTo>
                <a:cubicBezTo>
                  <a:pt x="65454" y="91428"/>
                  <a:pt x="63896" y="91428"/>
                  <a:pt x="65454" y="91428"/>
                </a:cubicBezTo>
                <a:cubicBezTo>
                  <a:pt x="68571" y="90612"/>
                  <a:pt x="65454" y="90612"/>
                  <a:pt x="68571" y="88979"/>
                </a:cubicBezTo>
                <a:cubicBezTo>
                  <a:pt x="70129" y="88163"/>
                  <a:pt x="70129" y="88979"/>
                  <a:pt x="70129" y="90612"/>
                </a:cubicBezTo>
                <a:cubicBezTo>
                  <a:pt x="68571" y="91428"/>
                  <a:pt x="73246" y="91428"/>
                  <a:pt x="73246" y="90612"/>
                </a:cubicBezTo>
                <a:cubicBezTo>
                  <a:pt x="74805" y="88163"/>
                  <a:pt x="73246" y="91428"/>
                  <a:pt x="74805" y="91428"/>
                </a:cubicBezTo>
                <a:cubicBezTo>
                  <a:pt x="77922" y="91428"/>
                  <a:pt x="81038" y="93061"/>
                  <a:pt x="77922" y="91428"/>
                </a:cubicBezTo>
                <a:cubicBezTo>
                  <a:pt x="77922" y="90612"/>
                  <a:pt x="81038" y="88979"/>
                  <a:pt x="77922" y="88979"/>
                </a:cubicBezTo>
                <a:cubicBezTo>
                  <a:pt x="77922" y="88979"/>
                  <a:pt x="81038" y="88163"/>
                  <a:pt x="82597" y="88979"/>
                </a:cubicBezTo>
                <a:cubicBezTo>
                  <a:pt x="82597" y="90612"/>
                  <a:pt x="85714" y="88979"/>
                  <a:pt x="87272" y="90612"/>
                </a:cubicBezTo>
                <a:cubicBezTo>
                  <a:pt x="87272" y="93061"/>
                  <a:pt x="87272" y="91428"/>
                  <a:pt x="87272" y="93061"/>
                </a:cubicBezTo>
                <a:cubicBezTo>
                  <a:pt x="87272" y="93061"/>
                  <a:pt x="82597" y="94693"/>
                  <a:pt x="85714" y="97142"/>
                </a:cubicBezTo>
                <a:cubicBezTo>
                  <a:pt x="85714" y="97959"/>
                  <a:pt x="85714" y="100408"/>
                  <a:pt x="87272" y="100408"/>
                </a:cubicBezTo>
                <a:cubicBezTo>
                  <a:pt x="90389" y="102040"/>
                  <a:pt x="85714" y="102040"/>
                  <a:pt x="90389" y="102857"/>
                </a:cubicBezTo>
                <a:cubicBezTo>
                  <a:pt x="95064" y="104489"/>
                  <a:pt x="96623" y="106122"/>
                  <a:pt x="99740" y="102857"/>
                </a:cubicBezTo>
                <a:cubicBezTo>
                  <a:pt x="99740" y="102040"/>
                  <a:pt x="101298" y="102040"/>
                  <a:pt x="101298" y="102857"/>
                </a:cubicBezTo>
                <a:cubicBezTo>
                  <a:pt x="99740" y="104489"/>
                  <a:pt x="101298" y="108571"/>
                  <a:pt x="104415" y="106122"/>
                </a:cubicBezTo>
                <a:cubicBezTo>
                  <a:pt x="105974" y="104489"/>
                  <a:pt x="105974" y="102040"/>
                  <a:pt x="105974" y="100408"/>
                </a:cubicBezTo>
                <a:cubicBezTo>
                  <a:pt x="104415" y="99591"/>
                  <a:pt x="104415" y="97959"/>
                  <a:pt x="104415" y="97959"/>
                </a:cubicBezTo>
                <a:cubicBezTo>
                  <a:pt x="101298" y="97959"/>
                  <a:pt x="101298" y="95510"/>
                  <a:pt x="104415" y="95510"/>
                </a:cubicBezTo>
                <a:cubicBezTo>
                  <a:pt x="105974" y="94693"/>
                  <a:pt x="104415" y="93061"/>
                  <a:pt x="105974" y="93061"/>
                </a:cubicBezTo>
                <a:cubicBezTo>
                  <a:pt x="109090" y="91428"/>
                  <a:pt x="105974" y="93061"/>
                  <a:pt x="109090" y="94693"/>
                </a:cubicBezTo>
                <a:cubicBezTo>
                  <a:pt x="109090" y="95510"/>
                  <a:pt x="109090" y="95510"/>
                  <a:pt x="110649" y="97142"/>
                </a:cubicBezTo>
                <a:cubicBezTo>
                  <a:pt x="110649" y="97959"/>
                  <a:pt x="109090" y="97142"/>
                  <a:pt x="110649" y="100408"/>
                </a:cubicBezTo>
                <a:cubicBezTo>
                  <a:pt x="113766" y="102040"/>
                  <a:pt x="113766" y="99591"/>
                  <a:pt x="110649" y="97142"/>
                </a:cubicBezTo>
                <a:cubicBezTo>
                  <a:pt x="110649" y="94693"/>
                  <a:pt x="115324" y="97959"/>
                  <a:pt x="113766" y="95510"/>
                </a:cubicBezTo>
                <a:cubicBezTo>
                  <a:pt x="113766" y="94693"/>
                  <a:pt x="115324" y="97142"/>
                  <a:pt x="115324" y="94693"/>
                </a:cubicBezTo>
                <a:cubicBezTo>
                  <a:pt x="118441" y="93061"/>
                  <a:pt x="118441" y="91428"/>
                  <a:pt x="115324" y="90612"/>
                </a:cubicBezTo>
                <a:cubicBezTo>
                  <a:pt x="115324" y="88979"/>
                  <a:pt x="115324" y="88979"/>
                  <a:pt x="115324" y="88979"/>
                </a:cubicBezTo>
                <a:cubicBezTo>
                  <a:pt x="113766" y="88163"/>
                  <a:pt x="115324" y="85714"/>
                  <a:pt x="115324" y="85714"/>
                </a:cubicBezTo>
                <a:cubicBezTo>
                  <a:pt x="113766" y="84081"/>
                  <a:pt x="115324" y="82448"/>
                  <a:pt x="113766" y="82448"/>
                </a:cubicBezTo>
                <a:cubicBezTo>
                  <a:pt x="110649" y="82448"/>
                  <a:pt x="110649" y="82448"/>
                  <a:pt x="110649" y="81632"/>
                </a:cubicBezTo>
                <a:cubicBezTo>
                  <a:pt x="113766" y="81632"/>
                  <a:pt x="115324" y="80000"/>
                  <a:pt x="113766" y="79183"/>
                </a:cubicBezTo>
                <a:cubicBezTo>
                  <a:pt x="110649" y="77551"/>
                  <a:pt x="113766" y="76734"/>
                  <a:pt x="110649" y="76734"/>
                </a:cubicBezTo>
                <a:cubicBezTo>
                  <a:pt x="109090" y="77551"/>
                  <a:pt x="110649" y="75102"/>
                  <a:pt x="105974" y="75102"/>
                </a:cubicBezTo>
                <a:cubicBezTo>
                  <a:pt x="104415" y="74285"/>
                  <a:pt x="105974" y="74285"/>
                  <a:pt x="104415" y="72653"/>
                </a:cubicBezTo>
                <a:cubicBezTo>
                  <a:pt x="101298" y="72653"/>
                  <a:pt x="101298" y="72653"/>
                  <a:pt x="104415" y="76734"/>
                </a:cubicBezTo>
                <a:cubicBezTo>
                  <a:pt x="105974" y="80000"/>
                  <a:pt x="101298" y="79183"/>
                  <a:pt x="101298" y="79183"/>
                </a:cubicBezTo>
                <a:cubicBezTo>
                  <a:pt x="99740" y="77551"/>
                  <a:pt x="101298" y="81632"/>
                  <a:pt x="96623" y="80000"/>
                </a:cubicBezTo>
                <a:cubicBezTo>
                  <a:pt x="95064" y="77551"/>
                  <a:pt x="95064" y="80000"/>
                  <a:pt x="95064" y="82448"/>
                </a:cubicBezTo>
                <a:cubicBezTo>
                  <a:pt x="95064" y="85714"/>
                  <a:pt x="90389" y="80000"/>
                  <a:pt x="90389" y="84081"/>
                </a:cubicBezTo>
                <a:cubicBezTo>
                  <a:pt x="87272" y="86530"/>
                  <a:pt x="87272" y="85714"/>
                  <a:pt x="85714" y="86530"/>
                </a:cubicBezTo>
                <a:cubicBezTo>
                  <a:pt x="81038" y="88163"/>
                  <a:pt x="85714" y="86530"/>
                  <a:pt x="82597" y="84081"/>
                </a:cubicBezTo>
                <a:cubicBezTo>
                  <a:pt x="82597" y="82448"/>
                  <a:pt x="82597" y="81632"/>
                  <a:pt x="81038" y="82448"/>
                </a:cubicBezTo>
                <a:cubicBezTo>
                  <a:pt x="77922" y="82448"/>
                  <a:pt x="81038" y="81632"/>
                  <a:pt x="77922" y="81632"/>
                </a:cubicBezTo>
                <a:cubicBezTo>
                  <a:pt x="77922" y="81632"/>
                  <a:pt x="77922" y="82448"/>
                  <a:pt x="74805" y="82448"/>
                </a:cubicBezTo>
                <a:cubicBezTo>
                  <a:pt x="73246" y="82448"/>
                  <a:pt x="70129" y="84081"/>
                  <a:pt x="73246" y="85714"/>
                </a:cubicBezTo>
                <a:cubicBezTo>
                  <a:pt x="70129" y="86530"/>
                  <a:pt x="70129" y="86530"/>
                  <a:pt x="70129" y="86530"/>
                </a:cubicBezTo>
                <a:cubicBezTo>
                  <a:pt x="68571" y="85714"/>
                  <a:pt x="68571" y="86530"/>
                  <a:pt x="65454" y="86530"/>
                </a:cubicBezTo>
                <a:cubicBezTo>
                  <a:pt x="63896" y="86530"/>
                  <a:pt x="60779" y="88163"/>
                  <a:pt x="60779" y="88979"/>
                </a:cubicBezTo>
                <a:cubicBezTo>
                  <a:pt x="60779" y="90612"/>
                  <a:pt x="60779" y="91428"/>
                  <a:pt x="59220" y="93061"/>
                </a:cubicBezTo>
                <a:cubicBezTo>
                  <a:pt x="59220" y="94693"/>
                  <a:pt x="59220" y="94693"/>
                  <a:pt x="60779" y="95510"/>
                </a:cubicBezTo>
                <a:close/>
                <a:moveTo>
                  <a:pt x="63896" y="99591"/>
                </a:moveTo>
                <a:cubicBezTo>
                  <a:pt x="63896" y="99591"/>
                  <a:pt x="59220" y="100408"/>
                  <a:pt x="59220" y="99591"/>
                </a:cubicBezTo>
                <a:cubicBezTo>
                  <a:pt x="59220" y="97142"/>
                  <a:pt x="63896" y="97959"/>
                  <a:pt x="63896" y="99591"/>
                </a:cubicBezTo>
                <a:close/>
                <a:moveTo>
                  <a:pt x="49870" y="104489"/>
                </a:moveTo>
                <a:cubicBezTo>
                  <a:pt x="51428" y="104489"/>
                  <a:pt x="54545" y="102857"/>
                  <a:pt x="51428" y="102857"/>
                </a:cubicBezTo>
                <a:cubicBezTo>
                  <a:pt x="51428" y="102857"/>
                  <a:pt x="49870" y="100408"/>
                  <a:pt x="46753" y="102857"/>
                </a:cubicBezTo>
                <a:cubicBezTo>
                  <a:pt x="45194" y="104489"/>
                  <a:pt x="49870" y="102857"/>
                  <a:pt x="49870" y="104489"/>
                </a:cubicBezTo>
                <a:close/>
                <a:moveTo>
                  <a:pt x="77922" y="77551"/>
                </a:moveTo>
                <a:cubicBezTo>
                  <a:pt x="81038" y="79183"/>
                  <a:pt x="81038" y="79183"/>
                  <a:pt x="81038" y="79183"/>
                </a:cubicBezTo>
                <a:cubicBezTo>
                  <a:pt x="82597" y="77551"/>
                  <a:pt x="81038" y="76734"/>
                  <a:pt x="81038" y="77551"/>
                </a:cubicBezTo>
                <a:cubicBezTo>
                  <a:pt x="81038" y="77551"/>
                  <a:pt x="81038" y="77551"/>
                  <a:pt x="77922" y="77551"/>
                </a:cubicBezTo>
                <a:close/>
                <a:moveTo>
                  <a:pt x="91948" y="77551"/>
                </a:moveTo>
                <a:cubicBezTo>
                  <a:pt x="95064" y="77551"/>
                  <a:pt x="96623" y="77551"/>
                  <a:pt x="95064" y="79183"/>
                </a:cubicBezTo>
                <a:cubicBezTo>
                  <a:pt x="91948" y="77551"/>
                  <a:pt x="91948" y="77551"/>
                  <a:pt x="91948" y="77551"/>
                </a:cubicBezTo>
                <a:close/>
                <a:moveTo>
                  <a:pt x="59220" y="52244"/>
                </a:moveTo>
                <a:cubicBezTo>
                  <a:pt x="59220" y="53877"/>
                  <a:pt x="60779" y="53877"/>
                  <a:pt x="60779" y="52244"/>
                </a:cubicBezTo>
                <a:cubicBezTo>
                  <a:pt x="60779" y="49795"/>
                  <a:pt x="63896" y="49795"/>
                  <a:pt x="60779" y="49795"/>
                </a:cubicBezTo>
                <a:cubicBezTo>
                  <a:pt x="59220" y="51428"/>
                  <a:pt x="60779" y="49795"/>
                  <a:pt x="59220" y="52244"/>
                </a:cubicBezTo>
                <a:close/>
                <a:moveTo>
                  <a:pt x="60779" y="44897"/>
                </a:moveTo>
                <a:cubicBezTo>
                  <a:pt x="60779" y="44897"/>
                  <a:pt x="63896" y="43265"/>
                  <a:pt x="59220" y="42448"/>
                </a:cubicBezTo>
                <a:cubicBezTo>
                  <a:pt x="59220" y="43265"/>
                  <a:pt x="59220" y="43265"/>
                  <a:pt x="59220" y="43265"/>
                </a:cubicBezTo>
                <a:cubicBezTo>
                  <a:pt x="59220" y="44897"/>
                  <a:pt x="59220" y="45714"/>
                  <a:pt x="60779" y="44897"/>
                </a:cubicBezTo>
                <a:close/>
                <a:moveTo>
                  <a:pt x="65454" y="52244"/>
                </a:moveTo>
                <a:cubicBezTo>
                  <a:pt x="68571" y="52244"/>
                  <a:pt x="68571" y="53877"/>
                  <a:pt x="68571" y="52244"/>
                </a:cubicBezTo>
                <a:cubicBezTo>
                  <a:pt x="70129" y="51428"/>
                  <a:pt x="65454" y="51428"/>
                  <a:pt x="65454" y="51428"/>
                </a:cubicBezTo>
                <a:cubicBezTo>
                  <a:pt x="65454" y="52244"/>
                  <a:pt x="65454" y="52244"/>
                  <a:pt x="65454" y="52244"/>
                </a:cubicBezTo>
                <a:close/>
                <a:moveTo>
                  <a:pt x="73246" y="47346"/>
                </a:moveTo>
                <a:cubicBezTo>
                  <a:pt x="73246" y="48163"/>
                  <a:pt x="73246" y="48163"/>
                  <a:pt x="74805" y="48163"/>
                </a:cubicBezTo>
                <a:cubicBezTo>
                  <a:pt x="74805" y="48163"/>
                  <a:pt x="74805" y="48163"/>
                  <a:pt x="77922" y="49795"/>
                </a:cubicBezTo>
                <a:cubicBezTo>
                  <a:pt x="74805" y="48163"/>
                  <a:pt x="74805" y="48163"/>
                  <a:pt x="74805" y="48163"/>
                </a:cubicBezTo>
                <a:cubicBezTo>
                  <a:pt x="74805" y="47346"/>
                  <a:pt x="73246" y="45714"/>
                  <a:pt x="73246" y="45714"/>
                </a:cubicBezTo>
                <a:cubicBezTo>
                  <a:pt x="70129" y="45714"/>
                  <a:pt x="70129" y="47346"/>
                  <a:pt x="73246" y="47346"/>
                </a:cubicBezTo>
                <a:close/>
                <a:moveTo>
                  <a:pt x="81038" y="49795"/>
                </a:moveTo>
                <a:cubicBezTo>
                  <a:pt x="82597" y="52244"/>
                  <a:pt x="82597" y="52244"/>
                  <a:pt x="82597" y="52244"/>
                </a:cubicBezTo>
                <a:cubicBezTo>
                  <a:pt x="81038" y="49795"/>
                  <a:pt x="81038" y="49795"/>
                  <a:pt x="81038" y="49795"/>
                </a:cubicBezTo>
                <a:close/>
                <a:moveTo>
                  <a:pt x="32727" y="67755"/>
                </a:moveTo>
                <a:cubicBezTo>
                  <a:pt x="35844" y="65306"/>
                  <a:pt x="37402" y="66122"/>
                  <a:pt x="35844" y="66122"/>
                </a:cubicBezTo>
                <a:cubicBezTo>
                  <a:pt x="35844" y="67755"/>
                  <a:pt x="32727" y="68571"/>
                  <a:pt x="32727" y="67755"/>
                </a:cubicBezTo>
                <a:close/>
                <a:moveTo>
                  <a:pt x="105974" y="62857"/>
                </a:moveTo>
                <a:cubicBezTo>
                  <a:pt x="109090" y="63673"/>
                  <a:pt x="105974" y="62857"/>
                  <a:pt x="105974" y="61224"/>
                </a:cubicBezTo>
                <a:cubicBezTo>
                  <a:pt x="104415" y="61224"/>
                  <a:pt x="105974" y="59591"/>
                  <a:pt x="104415" y="59591"/>
                </a:cubicBezTo>
                <a:cubicBezTo>
                  <a:pt x="101298" y="58775"/>
                  <a:pt x="104415" y="53877"/>
                  <a:pt x="101298" y="52244"/>
                </a:cubicBezTo>
                <a:cubicBezTo>
                  <a:pt x="101298" y="52244"/>
                  <a:pt x="101298" y="51428"/>
                  <a:pt x="99740" y="51428"/>
                </a:cubicBezTo>
                <a:cubicBezTo>
                  <a:pt x="96623" y="49795"/>
                  <a:pt x="95064" y="51428"/>
                  <a:pt x="90389" y="51428"/>
                </a:cubicBezTo>
                <a:cubicBezTo>
                  <a:pt x="87272" y="49795"/>
                  <a:pt x="90389" y="53877"/>
                  <a:pt x="91948" y="54693"/>
                </a:cubicBezTo>
                <a:cubicBezTo>
                  <a:pt x="96623" y="56326"/>
                  <a:pt x="95064" y="56326"/>
                  <a:pt x="96623" y="57142"/>
                </a:cubicBezTo>
                <a:cubicBezTo>
                  <a:pt x="99740" y="57142"/>
                  <a:pt x="96623" y="57142"/>
                  <a:pt x="96623" y="58775"/>
                </a:cubicBezTo>
                <a:cubicBezTo>
                  <a:pt x="95064" y="58775"/>
                  <a:pt x="99740" y="59591"/>
                  <a:pt x="99740" y="62857"/>
                </a:cubicBezTo>
                <a:cubicBezTo>
                  <a:pt x="99740" y="63673"/>
                  <a:pt x="104415" y="61224"/>
                  <a:pt x="105974" y="62857"/>
                </a:cubicBezTo>
                <a:close/>
                <a:moveTo>
                  <a:pt x="104415" y="71020"/>
                </a:moveTo>
                <a:cubicBezTo>
                  <a:pt x="101298" y="70204"/>
                  <a:pt x="105974" y="66122"/>
                  <a:pt x="105974" y="67755"/>
                </a:cubicBezTo>
                <a:cubicBezTo>
                  <a:pt x="105974" y="70204"/>
                  <a:pt x="109090" y="74285"/>
                  <a:pt x="104415" y="71020"/>
                </a:cubicBezTo>
                <a:close/>
                <a:moveTo>
                  <a:pt x="109090" y="71020"/>
                </a:moveTo>
                <a:cubicBezTo>
                  <a:pt x="110649" y="70204"/>
                  <a:pt x="110649" y="70204"/>
                  <a:pt x="110649" y="71020"/>
                </a:cubicBezTo>
                <a:cubicBezTo>
                  <a:pt x="113766" y="74285"/>
                  <a:pt x="109090" y="74285"/>
                  <a:pt x="109090" y="71020"/>
                </a:cubicBezTo>
                <a:close/>
                <a:moveTo>
                  <a:pt x="65454" y="66122"/>
                </a:moveTo>
                <a:cubicBezTo>
                  <a:pt x="68571" y="66122"/>
                  <a:pt x="70129" y="63673"/>
                  <a:pt x="73246" y="62857"/>
                </a:cubicBezTo>
                <a:cubicBezTo>
                  <a:pt x="74805" y="61224"/>
                  <a:pt x="74805" y="58775"/>
                  <a:pt x="73246" y="58775"/>
                </a:cubicBezTo>
                <a:cubicBezTo>
                  <a:pt x="70129" y="59591"/>
                  <a:pt x="70129" y="57142"/>
                  <a:pt x="68571" y="58775"/>
                </a:cubicBezTo>
                <a:cubicBezTo>
                  <a:pt x="68571" y="59591"/>
                  <a:pt x="63896" y="56326"/>
                  <a:pt x="60779" y="56326"/>
                </a:cubicBezTo>
                <a:cubicBezTo>
                  <a:pt x="59220" y="54693"/>
                  <a:pt x="56103" y="56326"/>
                  <a:pt x="60779" y="57142"/>
                </a:cubicBezTo>
                <a:cubicBezTo>
                  <a:pt x="63896" y="58775"/>
                  <a:pt x="60779" y="59591"/>
                  <a:pt x="60779" y="62857"/>
                </a:cubicBezTo>
                <a:cubicBezTo>
                  <a:pt x="60779" y="63673"/>
                  <a:pt x="59220" y="62857"/>
                  <a:pt x="59220" y="66122"/>
                </a:cubicBezTo>
                <a:cubicBezTo>
                  <a:pt x="59220" y="70204"/>
                  <a:pt x="60779" y="66122"/>
                  <a:pt x="65454" y="66122"/>
                </a:cubicBezTo>
                <a:close/>
                <a:moveTo>
                  <a:pt x="54545" y="51428"/>
                </a:moveTo>
                <a:cubicBezTo>
                  <a:pt x="56103" y="48163"/>
                  <a:pt x="54545" y="49795"/>
                  <a:pt x="54545" y="47346"/>
                </a:cubicBezTo>
                <a:cubicBezTo>
                  <a:pt x="56103" y="44897"/>
                  <a:pt x="51428" y="43265"/>
                  <a:pt x="45194" y="43265"/>
                </a:cubicBezTo>
                <a:cubicBezTo>
                  <a:pt x="40519" y="42448"/>
                  <a:pt x="37402" y="43265"/>
                  <a:pt x="40519" y="43265"/>
                </a:cubicBezTo>
                <a:cubicBezTo>
                  <a:pt x="42077" y="44897"/>
                  <a:pt x="42077" y="44897"/>
                  <a:pt x="42077" y="45714"/>
                </a:cubicBezTo>
                <a:cubicBezTo>
                  <a:pt x="45194" y="45714"/>
                  <a:pt x="46753" y="49795"/>
                  <a:pt x="49870" y="52244"/>
                </a:cubicBezTo>
                <a:cubicBezTo>
                  <a:pt x="49870" y="54693"/>
                  <a:pt x="51428" y="53877"/>
                  <a:pt x="54545" y="51428"/>
                </a:cubicBezTo>
                <a:close/>
                <a:moveTo>
                  <a:pt x="6233" y="82448"/>
                </a:moveTo>
                <a:cubicBezTo>
                  <a:pt x="6233" y="81632"/>
                  <a:pt x="9350" y="80000"/>
                  <a:pt x="17142" y="76734"/>
                </a:cubicBezTo>
                <a:cubicBezTo>
                  <a:pt x="26493" y="72653"/>
                  <a:pt x="18701" y="72653"/>
                  <a:pt x="23376" y="71020"/>
                </a:cubicBezTo>
                <a:cubicBezTo>
                  <a:pt x="28051" y="71020"/>
                  <a:pt x="26493" y="68571"/>
                  <a:pt x="28051" y="68571"/>
                </a:cubicBezTo>
                <a:cubicBezTo>
                  <a:pt x="31168" y="68571"/>
                  <a:pt x="32727" y="67755"/>
                  <a:pt x="31168" y="65306"/>
                </a:cubicBezTo>
                <a:cubicBezTo>
                  <a:pt x="31168" y="63673"/>
                  <a:pt x="32727" y="59591"/>
                  <a:pt x="31168" y="59591"/>
                </a:cubicBezTo>
                <a:cubicBezTo>
                  <a:pt x="28051" y="59591"/>
                  <a:pt x="28051" y="63673"/>
                  <a:pt x="26493" y="63673"/>
                </a:cubicBezTo>
                <a:cubicBezTo>
                  <a:pt x="23376" y="63673"/>
                  <a:pt x="28051" y="65306"/>
                  <a:pt x="26493" y="67755"/>
                </a:cubicBezTo>
                <a:cubicBezTo>
                  <a:pt x="26493" y="68571"/>
                  <a:pt x="26493" y="66122"/>
                  <a:pt x="23376" y="68571"/>
                </a:cubicBezTo>
                <a:cubicBezTo>
                  <a:pt x="21818" y="71020"/>
                  <a:pt x="14025" y="75102"/>
                  <a:pt x="10909" y="76734"/>
                </a:cubicBezTo>
                <a:cubicBezTo>
                  <a:pt x="9350" y="77551"/>
                  <a:pt x="4675" y="80000"/>
                  <a:pt x="1558" y="84081"/>
                </a:cubicBezTo>
                <a:cubicBezTo>
                  <a:pt x="0" y="85714"/>
                  <a:pt x="4675" y="84081"/>
                  <a:pt x="6233" y="82448"/>
                </a:cubicBezTo>
                <a:close/>
                <a:moveTo>
                  <a:pt x="87272" y="48163"/>
                </a:moveTo>
                <a:cubicBezTo>
                  <a:pt x="87272" y="47346"/>
                  <a:pt x="87272" y="45714"/>
                  <a:pt x="82597" y="45714"/>
                </a:cubicBezTo>
                <a:cubicBezTo>
                  <a:pt x="77922" y="45714"/>
                  <a:pt x="85714" y="45714"/>
                  <a:pt x="81038" y="43265"/>
                </a:cubicBezTo>
                <a:cubicBezTo>
                  <a:pt x="74805" y="40816"/>
                  <a:pt x="82597" y="42448"/>
                  <a:pt x="85714" y="42448"/>
                </a:cubicBezTo>
                <a:cubicBezTo>
                  <a:pt x="85714" y="40816"/>
                  <a:pt x="82597" y="40816"/>
                  <a:pt x="77922" y="40000"/>
                </a:cubicBezTo>
                <a:cubicBezTo>
                  <a:pt x="73246" y="36734"/>
                  <a:pt x="74805" y="42448"/>
                  <a:pt x="73246" y="40816"/>
                </a:cubicBezTo>
                <a:cubicBezTo>
                  <a:pt x="70129" y="40816"/>
                  <a:pt x="74805" y="38367"/>
                  <a:pt x="68571" y="36734"/>
                </a:cubicBezTo>
                <a:cubicBezTo>
                  <a:pt x="63896" y="35918"/>
                  <a:pt x="65454" y="38367"/>
                  <a:pt x="63896" y="36734"/>
                </a:cubicBezTo>
                <a:cubicBezTo>
                  <a:pt x="59220" y="36734"/>
                  <a:pt x="63896" y="40000"/>
                  <a:pt x="60779" y="40000"/>
                </a:cubicBezTo>
                <a:cubicBezTo>
                  <a:pt x="56103" y="38367"/>
                  <a:pt x="54545" y="34285"/>
                  <a:pt x="56103" y="33469"/>
                </a:cubicBezTo>
                <a:cubicBezTo>
                  <a:pt x="56103" y="31836"/>
                  <a:pt x="51428" y="29387"/>
                  <a:pt x="54545" y="26938"/>
                </a:cubicBezTo>
                <a:cubicBezTo>
                  <a:pt x="56103" y="24489"/>
                  <a:pt x="54545" y="24489"/>
                  <a:pt x="56103" y="22040"/>
                </a:cubicBezTo>
                <a:cubicBezTo>
                  <a:pt x="60779" y="20408"/>
                  <a:pt x="59220" y="22857"/>
                  <a:pt x="60779" y="22857"/>
                </a:cubicBezTo>
                <a:cubicBezTo>
                  <a:pt x="63896" y="22040"/>
                  <a:pt x="65454" y="16326"/>
                  <a:pt x="65454" y="15510"/>
                </a:cubicBezTo>
                <a:cubicBezTo>
                  <a:pt x="65454" y="13061"/>
                  <a:pt x="59220" y="11428"/>
                  <a:pt x="63896" y="6530"/>
                </a:cubicBezTo>
                <a:cubicBezTo>
                  <a:pt x="65454" y="2448"/>
                  <a:pt x="63896" y="1632"/>
                  <a:pt x="60779" y="4081"/>
                </a:cubicBezTo>
                <a:cubicBezTo>
                  <a:pt x="56103" y="6530"/>
                  <a:pt x="51428" y="0"/>
                  <a:pt x="45194" y="1632"/>
                </a:cubicBezTo>
                <a:cubicBezTo>
                  <a:pt x="40519" y="2448"/>
                  <a:pt x="42077" y="2448"/>
                  <a:pt x="40519" y="6530"/>
                </a:cubicBezTo>
                <a:cubicBezTo>
                  <a:pt x="37402" y="10612"/>
                  <a:pt x="42077" y="11428"/>
                  <a:pt x="40519" y="16326"/>
                </a:cubicBezTo>
                <a:cubicBezTo>
                  <a:pt x="35844" y="20408"/>
                  <a:pt x="42077" y="19591"/>
                  <a:pt x="40519" y="22040"/>
                </a:cubicBezTo>
                <a:cubicBezTo>
                  <a:pt x="37402" y="25306"/>
                  <a:pt x="35844" y="19591"/>
                  <a:pt x="32727" y="20408"/>
                </a:cubicBezTo>
                <a:cubicBezTo>
                  <a:pt x="31168" y="20408"/>
                  <a:pt x="31168" y="22857"/>
                  <a:pt x="32727" y="22857"/>
                </a:cubicBezTo>
                <a:cubicBezTo>
                  <a:pt x="35844" y="24489"/>
                  <a:pt x="32727" y="22857"/>
                  <a:pt x="35844" y="29387"/>
                </a:cubicBezTo>
                <a:cubicBezTo>
                  <a:pt x="35844" y="35918"/>
                  <a:pt x="37402" y="31836"/>
                  <a:pt x="40519" y="34285"/>
                </a:cubicBezTo>
                <a:cubicBezTo>
                  <a:pt x="40519" y="36734"/>
                  <a:pt x="42077" y="35918"/>
                  <a:pt x="42077" y="34285"/>
                </a:cubicBezTo>
                <a:cubicBezTo>
                  <a:pt x="42077" y="31836"/>
                  <a:pt x="42077" y="31836"/>
                  <a:pt x="45194" y="33469"/>
                </a:cubicBezTo>
                <a:cubicBezTo>
                  <a:pt x="46753" y="34285"/>
                  <a:pt x="46753" y="35918"/>
                  <a:pt x="45194" y="35918"/>
                </a:cubicBezTo>
                <a:cubicBezTo>
                  <a:pt x="42077" y="36734"/>
                  <a:pt x="40519" y="40816"/>
                  <a:pt x="45194" y="40816"/>
                </a:cubicBezTo>
                <a:cubicBezTo>
                  <a:pt x="46753" y="40000"/>
                  <a:pt x="46753" y="42448"/>
                  <a:pt x="51428" y="42448"/>
                </a:cubicBezTo>
                <a:cubicBezTo>
                  <a:pt x="54545" y="42448"/>
                  <a:pt x="51428" y="40816"/>
                  <a:pt x="54545" y="40000"/>
                </a:cubicBezTo>
                <a:cubicBezTo>
                  <a:pt x="56103" y="40000"/>
                  <a:pt x="56103" y="40000"/>
                  <a:pt x="60779" y="42448"/>
                </a:cubicBezTo>
                <a:cubicBezTo>
                  <a:pt x="65454" y="43265"/>
                  <a:pt x="63896" y="45714"/>
                  <a:pt x="68571" y="45714"/>
                </a:cubicBezTo>
                <a:cubicBezTo>
                  <a:pt x="70129" y="45714"/>
                  <a:pt x="65454" y="43265"/>
                  <a:pt x="65454" y="40816"/>
                </a:cubicBezTo>
                <a:cubicBezTo>
                  <a:pt x="65454" y="40000"/>
                  <a:pt x="70129" y="40816"/>
                  <a:pt x="70129" y="42448"/>
                </a:cubicBezTo>
                <a:cubicBezTo>
                  <a:pt x="70129" y="43265"/>
                  <a:pt x="73246" y="43265"/>
                  <a:pt x="74805" y="44897"/>
                </a:cubicBezTo>
                <a:cubicBezTo>
                  <a:pt x="74805" y="45714"/>
                  <a:pt x="73246" y="47346"/>
                  <a:pt x="77922" y="48163"/>
                </a:cubicBezTo>
                <a:cubicBezTo>
                  <a:pt x="85714" y="49795"/>
                  <a:pt x="82597" y="49795"/>
                  <a:pt x="85714" y="51428"/>
                </a:cubicBezTo>
                <a:cubicBezTo>
                  <a:pt x="85714" y="52244"/>
                  <a:pt x="87272" y="51428"/>
                  <a:pt x="87272" y="48163"/>
                </a:cubicBezTo>
                <a:close/>
                <a:moveTo>
                  <a:pt x="118441" y="117551"/>
                </a:moveTo>
                <a:cubicBezTo>
                  <a:pt x="118441" y="117551"/>
                  <a:pt x="120000" y="117551"/>
                  <a:pt x="118441" y="118367"/>
                </a:cubicBezTo>
                <a:cubicBezTo>
                  <a:pt x="115324" y="120000"/>
                  <a:pt x="120000" y="120000"/>
                  <a:pt x="120000" y="118367"/>
                </a:cubicBezTo>
                <a:cubicBezTo>
                  <a:pt x="120000" y="117551"/>
                  <a:pt x="120000" y="117551"/>
                  <a:pt x="120000" y="115918"/>
                </a:cubicBezTo>
                <a:cubicBezTo>
                  <a:pt x="120000" y="115918"/>
                  <a:pt x="120000" y="114285"/>
                  <a:pt x="118441" y="114285"/>
                </a:cubicBezTo>
                <a:cubicBezTo>
                  <a:pt x="118441" y="114285"/>
                  <a:pt x="118441" y="115918"/>
                  <a:pt x="118441" y="117551"/>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10" name="Shape 1970"/>
          <p:cNvSpPr/>
          <p:nvPr/>
        </p:nvSpPr>
        <p:spPr>
          <a:xfrm>
            <a:off x="10160149" y="5541375"/>
            <a:ext cx="59697" cy="27005"/>
          </a:xfrm>
          <a:custGeom>
            <a:avLst/>
            <a:gdLst/>
            <a:ahLst/>
            <a:cxnLst/>
            <a:rect l="0" t="0" r="0" b="0"/>
            <a:pathLst>
              <a:path w="120000" h="120000" extrusionOk="0">
                <a:moveTo>
                  <a:pt x="60000" y="106666"/>
                </a:moveTo>
                <a:cubicBezTo>
                  <a:pt x="0" y="80000"/>
                  <a:pt x="60000" y="0"/>
                  <a:pt x="66666" y="0"/>
                </a:cubicBezTo>
                <a:cubicBezTo>
                  <a:pt x="80000" y="0"/>
                  <a:pt x="106666" y="0"/>
                  <a:pt x="106666" y="40000"/>
                </a:cubicBezTo>
                <a:cubicBezTo>
                  <a:pt x="100000" y="80000"/>
                  <a:pt x="120000" y="80000"/>
                  <a:pt x="106666" y="106666"/>
                </a:cubicBezTo>
                <a:cubicBezTo>
                  <a:pt x="100000" y="120000"/>
                  <a:pt x="86666" y="80000"/>
                  <a:pt x="86666" y="106666"/>
                </a:cubicBezTo>
                <a:cubicBezTo>
                  <a:pt x="80000" y="120000"/>
                  <a:pt x="66666" y="106666"/>
                  <a:pt x="60000" y="106666"/>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11" name="Shape 1971"/>
          <p:cNvSpPr/>
          <p:nvPr/>
        </p:nvSpPr>
        <p:spPr>
          <a:xfrm>
            <a:off x="10202793" y="5498483"/>
            <a:ext cx="52875" cy="33361"/>
          </a:xfrm>
          <a:custGeom>
            <a:avLst/>
            <a:gdLst/>
            <a:ahLst/>
            <a:cxnLst/>
            <a:rect l="0" t="0" r="0" b="0"/>
            <a:pathLst>
              <a:path w="120000" h="120000" extrusionOk="0">
                <a:moveTo>
                  <a:pt x="30000" y="109090"/>
                </a:moveTo>
                <a:cubicBezTo>
                  <a:pt x="0" y="54545"/>
                  <a:pt x="30000" y="87272"/>
                  <a:pt x="37500" y="76363"/>
                </a:cubicBezTo>
                <a:cubicBezTo>
                  <a:pt x="37500" y="32727"/>
                  <a:pt x="52500" y="76363"/>
                  <a:pt x="60000" y="32727"/>
                </a:cubicBezTo>
                <a:cubicBezTo>
                  <a:pt x="82500" y="21818"/>
                  <a:pt x="120000" y="0"/>
                  <a:pt x="97500" y="32727"/>
                </a:cubicBezTo>
                <a:cubicBezTo>
                  <a:pt x="82500" y="54545"/>
                  <a:pt x="82500" y="87272"/>
                  <a:pt x="97500" y="54545"/>
                </a:cubicBezTo>
                <a:cubicBezTo>
                  <a:pt x="105000" y="32727"/>
                  <a:pt x="97500" y="87272"/>
                  <a:pt x="97500" y="87272"/>
                </a:cubicBezTo>
                <a:cubicBezTo>
                  <a:pt x="105000" y="87272"/>
                  <a:pt x="82500" y="76363"/>
                  <a:pt x="75000" y="87272"/>
                </a:cubicBezTo>
                <a:cubicBezTo>
                  <a:pt x="60000" y="109090"/>
                  <a:pt x="75000" y="76363"/>
                  <a:pt x="52500" y="87272"/>
                </a:cubicBezTo>
                <a:cubicBezTo>
                  <a:pt x="30000" y="120000"/>
                  <a:pt x="30000" y="120000"/>
                  <a:pt x="30000" y="10909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12" name="Shape 1972"/>
          <p:cNvSpPr/>
          <p:nvPr/>
        </p:nvSpPr>
        <p:spPr>
          <a:xfrm>
            <a:off x="8396479" y="4804266"/>
            <a:ext cx="260966" cy="192219"/>
          </a:xfrm>
          <a:custGeom>
            <a:avLst/>
            <a:gdLst/>
            <a:ahLst/>
            <a:cxnLst/>
            <a:rect l="0" t="0" r="0" b="0"/>
            <a:pathLst>
              <a:path w="120000" h="120000" extrusionOk="0">
                <a:moveTo>
                  <a:pt x="66835" y="38709"/>
                </a:moveTo>
                <a:cubicBezTo>
                  <a:pt x="66835" y="42580"/>
                  <a:pt x="63797" y="42580"/>
                  <a:pt x="63797" y="42580"/>
                </a:cubicBezTo>
                <a:cubicBezTo>
                  <a:pt x="63797" y="44516"/>
                  <a:pt x="63797" y="48387"/>
                  <a:pt x="63797" y="48387"/>
                </a:cubicBezTo>
                <a:cubicBezTo>
                  <a:pt x="66835" y="48387"/>
                  <a:pt x="63797" y="56129"/>
                  <a:pt x="62278" y="56129"/>
                </a:cubicBezTo>
                <a:cubicBezTo>
                  <a:pt x="59240" y="56129"/>
                  <a:pt x="62278" y="50322"/>
                  <a:pt x="59240" y="50322"/>
                </a:cubicBezTo>
                <a:cubicBezTo>
                  <a:pt x="57721" y="54193"/>
                  <a:pt x="59240" y="48387"/>
                  <a:pt x="54683" y="44516"/>
                </a:cubicBezTo>
                <a:cubicBezTo>
                  <a:pt x="54683" y="44516"/>
                  <a:pt x="54683" y="44516"/>
                  <a:pt x="54683" y="50322"/>
                </a:cubicBezTo>
                <a:cubicBezTo>
                  <a:pt x="54683" y="56129"/>
                  <a:pt x="45569" y="60000"/>
                  <a:pt x="44050" y="71612"/>
                </a:cubicBezTo>
                <a:cubicBezTo>
                  <a:pt x="44050" y="77419"/>
                  <a:pt x="27341" y="75483"/>
                  <a:pt x="25822" y="81290"/>
                </a:cubicBezTo>
                <a:cubicBezTo>
                  <a:pt x="22784" y="85161"/>
                  <a:pt x="25822" y="90967"/>
                  <a:pt x="22784" y="87096"/>
                </a:cubicBezTo>
                <a:cubicBezTo>
                  <a:pt x="21265" y="85161"/>
                  <a:pt x="21265" y="90967"/>
                  <a:pt x="21265" y="92903"/>
                </a:cubicBezTo>
                <a:cubicBezTo>
                  <a:pt x="22784" y="92903"/>
                  <a:pt x="21265" y="92903"/>
                  <a:pt x="21265" y="96774"/>
                </a:cubicBezTo>
                <a:cubicBezTo>
                  <a:pt x="21265" y="102580"/>
                  <a:pt x="18227" y="102580"/>
                  <a:pt x="21265" y="104516"/>
                </a:cubicBezTo>
                <a:cubicBezTo>
                  <a:pt x="22784" y="108387"/>
                  <a:pt x="21265" y="104516"/>
                  <a:pt x="18227" y="104516"/>
                </a:cubicBezTo>
                <a:cubicBezTo>
                  <a:pt x="16708" y="102580"/>
                  <a:pt x="12151" y="104516"/>
                  <a:pt x="13670" y="102580"/>
                </a:cubicBezTo>
                <a:cubicBezTo>
                  <a:pt x="13670" y="98709"/>
                  <a:pt x="12151" y="102580"/>
                  <a:pt x="12151" y="98709"/>
                </a:cubicBezTo>
                <a:cubicBezTo>
                  <a:pt x="9113" y="96774"/>
                  <a:pt x="12151" y="98709"/>
                  <a:pt x="9113" y="98709"/>
                </a:cubicBezTo>
                <a:cubicBezTo>
                  <a:pt x="7594" y="102580"/>
                  <a:pt x="1518" y="98709"/>
                  <a:pt x="1518" y="92903"/>
                </a:cubicBezTo>
                <a:cubicBezTo>
                  <a:pt x="1518" y="92903"/>
                  <a:pt x="0" y="98709"/>
                  <a:pt x="1518" y="98709"/>
                </a:cubicBezTo>
                <a:cubicBezTo>
                  <a:pt x="4556" y="102580"/>
                  <a:pt x="1518" y="104516"/>
                  <a:pt x="4556" y="104516"/>
                </a:cubicBezTo>
                <a:cubicBezTo>
                  <a:pt x="7594" y="104516"/>
                  <a:pt x="9113" y="112258"/>
                  <a:pt x="12151" y="114193"/>
                </a:cubicBezTo>
                <a:cubicBezTo>
                  <a:pt x="16708" y="120000"/>
                  <a:pt x="16708" y="112258"/>
                  <a:pt x="22784" y="114193"/>
                </a:cubicBezTo>
                <a:cubicBezTo>
                  <a:pt x="30379" y="118064"/>
                  <a:pt x="27341" y="112258"/>
                  <a:pt x="31898" y="112258"/>
                </a:cubicBezTo>
                <a:cubicBezTo>
                  <a:pt x="34936" y="112258"/>
                  <a:pt x="30379" y="102580"/>
                  <a:pt x="39493" y="102580"/>
                </a:cubicBezTo>
                <a:cubicBezTo>
                  <a:pt x="45569" y="102580"/>
                  <a:pt x="41012" y="104516"/>
                  <a:pt x="44050" y="104516"/>
                </a:cubicBezTo>
                <a:cubicBezTo>
                  <a:pt x="45569" y="108387"/>
                  <a:pt x="50126" y="112258"/>
                  <a:pt x="53164" y="108387"/>
                </a:cubicBezTo>
                <a:cubicBezTo>
                  <a:pt x="54683" y="102580"/>
                  <a:pt x="62278" y="108387"/>
                  <a:pt x="62278" y="102580"/>
                </a:cubicBezTo>
                <a:cubicBezTo>
                  <a:pt x="63797" y="98709"/>
                  <a:pt x="63797" y="96774"/>
                  <a:pt x="63797" y="92903"/>
                </a:cubicBezTo>
                <a:cubicBezTo>
                  <a:pt x="63797" y="87096"/>
                  <a:pt x="71392" y="87096"/>
                  <a:pt x="68354" y="85161"/>
                </a:cubicBezTo>
                <a:cubicBezTo>
                  <a:pt x="66835" y="85161"/>
                  <a:pt x="66835" y="85161"/>
                  <a:pt x="68354" y="77419"/>
                </a:cubicBezTo>
                <a:cubicBezTo>
                  <a:pt x="68354" y="71612"/>
                  <a:pt x="74430" y="77419"/>
                  <a:pt x="74430" y="71612"/>
                </a:cubicBezTo>
                <a:cubicBezTo>
                  <a:pt x="74430" y="65806"/>
                  <a:pt x="74430" y="60000"/>
                  <a:pt x="75949" y="54193"/>
                </a:cubicBezTo>
                <a:cubicBezTo>
                  <a:pt x="78987" y="48387"/>
                  <a:pt x="83544" y="50322"/>
                  <a:pt x="89620" y="50322"/>
                </a:cubicBezTo>
                <a:cubicBezTo>
                  <a:pt x="94177" y="50322"/>
                  <a:pt x="92658" y="48387"/>
                  <a:pt x="97215" y="54193"/>
                </a:cubicBezTo>
                <a:cubicBezTo>
                  <a:pt x="101772" y="54193"/>
                  <a:pt x="97215" y="44516"/>
                  <a:pt x="101772" y="50322"/>
                </a:cubicBezTo>
                <a:cubicBezTo>
                  <a:pt x="103291" y="54193"/>
                  <a:pt x="103291" y="50322"/>
                  <a:pt x="106329" y="50322"/>
                </a:cubicBezTo>
                <a:cubicBezTo>
                  <a:pt x="107848" y="50322"/>
                  <a:pt x="112405" y="50322"/>
                  <a:pt x="107848" y="44516"/>
                </a:cubicBezTo>
                <a:cubicBezTo>
                  <a:pt x="103291" y="42580"/>
                  <a:pt x="103291" y="38709"/>
                  <a:pt x="106329" y="38709"/>
                </a:cubicBezTo>
                <a:cubicBezTo>
                  <a:pt x="107848" y="34838"/>
                  <a:pt x="106329" y="38709"/>
                  <a:pt x="110886" y="38709"/>
                </a:cubicBezTo>
                <a:cubicBezTo>
                  <a:pt x="115443" y="34838"/>
                  <a:pt x="120000" y="34838"/>
                  <a:pt x="116962" y="29032"/>
                </a:cubicBezTo>
                <a:cubicBezTo>
                  <a:pt x="116962" y="27096"/>
                  <a:pt x="115443" y="32903"/>
                  <a:pt x="112405" y="29032"/>
                </a:cubicBezTo>
                <a:cubicBezTo>
                  <a:pt x="112405" y="27096"/>
                  <a:pt x="110886" y="27096"/>
                  <a:pt x="110886" y="27096"/>
                </a:cubicBezTo>
                <a:cubicBezTo>
                  <a:pt x="107848" y="23225"/>
                  <a:pt x="106329" y="21290"/>
                  <a:pt x="106329" y="23225"/>
                </a:cubicBezTo>
                <a:cubicBezTo>
                  <a:pt x="103291" y="23225"/>
                  <a:pt x="103291" y="27096"/>
                  <a:pt x="101772" y="23225"/>
                </a:cubicBezTo>
                <a:cubicBezTo>
                  <a:pt x="101772" y="21290"/>
                  <a:pt x="103291" y="23225"/>
                  <a:pt x="103291" y="21290"/>
                </a:cubicBezTo>
                <a:cubicBezTo>
                  <a:pt x="101772" y="15483"/>
                  <a:pt x="98734" y="21290"/>
                  <a:pt x="98734" y="17419"/>
                </a:cubicBezTo>
                <a:cubicBezTo>
                  <a:pt x="97215" y="15483"/>
                  <a:pt x="101772" y="11612"/>
                  <a:pt x="98734" y="7741"/>
                </a:cubicBezTo>
                <a:cubicBezTo>
                  <a:pt x="97215" y="5806"/>
                  <a:pt x="97215" y="7741"/>
                  <a:pt x="97215" y="7741"/>
                </a:cubicBezTo>
                <a:cubicBezTo>
                  <a:pt x="94177" y="7741"/>
                  <a:pt x="94177" y="0"/>
                  <a:pt x="92658" y="0"/>
                </a:cubicBezTo>
                <a:cubicBezTo>
                  <a:pt x="89620" y="0"/>
                  <a:pt x="92658" y="5806"/>
                  <a:pt x="89620" y="7741"/>
                </a:cubicBezTo>
                <a:cubicBezTo>
                  <a:pt x="88101" y="11612"/>
                  <a:pt x="89620" y="0"/>
                  <a:pt x="88101" y="0"/>
                </a:cubicBezTo>
                <a:cubicBezTo>
                  <a:pt x="85063" y="0"/>
                  <a:pt x="88101" y="1935"/>
                  <a:pt x="83544" y="11612"/>
                </a:cubicBezTo>
                <a:cubicBezTo>
                  <a:pt x="80506" y="17419"/>
                  <a:pt x="80506" y="15483"/>
                  <a:pt x="80506" y="17419"/>
                </a:cubicBezTo>
                <a:cubicBezTo>
                  <a:pt x="78987" y="23225"/>
                  <a:pt x="78987" y="21290"/>
                  <a:pt x="78987" y="23225"/>
                </a:cubicBezTo>
                <a:cubicBezTo>
                  <a:pt x="78987" y="29032"/>
                  <a:pt x="75949" y="29032"/>
                  <a:pt x="75949" y="27096"/>
                </a:cubicBezTo>
                <a:cubicBezTo>
                  <a:pt x="74430" y="27096"/>
                  <a:pt x="71392" y="29032"/>
                  <a:pt x="71392" y="29032"/>
                </a:cubicBezTo>
                <a:cubicBezTo>
                  <a:pt x="71392" y="32903"/>
                  <a:pt x="75949" y="32903"/>
                  <a:pt x="74430" y="38709"/>
                </a:cubicBezTo>
                <a:cubicBezTo>
                  <a:pt x="68354" y="42580"/>
                  <a:pt x="71392" y="34838"/>
                  <a:pt x="68354" y="38709"/>
                </a:cubicBezTo>
                <a:cubicBezTo>
                  <a:pt x="71392" y="44516"/>
                  <a:pt x="68354" y="42580"/>
                  <a:pt x="71392" y="48387"/>
                </a:cubicBezTo>
                <a:cubicBezTo>
                  <a:pt x="71392" y="54193"/>
                  <a:pt x="71392" y="50322"/>
                  <a:pt x="68354" y="50322"/>
                </a:cubicBezTo>
                <a:cubicBezTo>
                  <a:pt x="66835" y="50322"/>
                  <a:pt x="66835" y="48387"/>
                  <a:pt x="66835" y="42580"/>
                </a:cubicBezTo>
                <a:cubicBezTo>
                  <a:pt x="66835" y="38709"/>
                  <a:pt x="66835" y="38709"/>
                  <a:pt x="66835" y="38709"/>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13" name="Shape 1973"/>
          <p:cNvSpPr/>
          <p:nvPr/>
        </p:nvSpPr>
        <p:spPr>
          <a:xfrm>
            <a:off x="8515878" y="4859867"/>
            <a:ext cx="32408" cy="38125"/>
          </a:xfrm>
          <a:custGeom>
            <a:avLst/>
            <a:gdLst/>
            <a:ahLst/>
            <a:cxnLst/>
            <a:rect l="0" t="0" r="0" b="0"/>
            <a:pathLst>
              <a:path w="120000" h="120000" extrusionOk="0">
                <a:moveTo>
                  <a:pt x="96000" y="20000"/>
                </a:moveTo>
                <a:cubicBezTo>
                  <a:pt x="120000" y="0"/>
                  <a:pt x="96000" y="0"/>
                  <a:pt x="96000" y="20000"/>
                </a:cubicBezTo>
                <a:cubicBezTo>
                  <a:pt x="84000" y="20000"/>
                  <a:pt x="48000" y="50000"/>
                  <a:pt x="0" y="50000"/>
                </a:cubicBezTo>
                <a:cubicBezTo>
                  <a:pt x="48000" y="70000"/>
                  <a:pt x="24000" y="100000"/>
                  <a:pt x="48000" y="80000"/>
                </a:cubicBezTo>
                <a:cubicBezTo>
                  <a:pt x="60000" y="80000"/>
                  <a:pt x="48000" y="120000"/>
                  <a:pt x="60000" y="120000"/>
                </a:cubicBezTo>
                <a:cubicBezTo>
                  <a:pt x="84000" y="120000"/>
                  <a:pt x="96000" y="70000"/>
                  <a:pt x="84000" y="70000"/>
                </a:cubicBezTo>
                <a:cubicBezTo>
                  <a:pt x="84000" y="70000"/>
                  <a:pt x="84000" y="50000"/>
                  <a:pt x="84000" y="40000"/>
                </a:cubicBezTo>
                <a:cubicBezTo>
                  <a:pt x="84000" y="40000"/>
                  <a:pt x="96000" y="40000"/>
                  <a:pt x="96000" y="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14" name="Shape 1974"/>
          <p:cNvSpPr/>
          <p:nvPr/>
        </p:nvSpPr>
        <p:spPr>
          <a:xfrm>
            <a:off x="8543166" y="4866222"/>
            <a:ext cx="8529" cy="25418"/>
          </a:xfrm>
          <a:custGeom>
            <a:avLst/>
            <a:gdLst/>
            <a:ahLst/>
            <a:cxnLst/>
            <a:rect l="0" t="0" r="0" b="0"/>
            <a:pathLst>
              <a:path w="120000" h="120000" extrusionOk="0">
                <a:moveTo>
                  <a:pt x="0" y="15000"/>
                </a:moveTo>
                <a:cubicBezTo>
                  <a:pt x="80000" y="0"/>
                  <a:pt x="80000" y="0"/>
                  <a:pt x="80000" y="0"/>
                </a:cubicBezTo>
                <a:cubicBezTo>
                  <a:pt x="120000" y="45000"/>
                  <a:pt x="80000" y="15000"/>
                  <a:pt x="120000" y="75000"/>
                </a:cubicBezTo>
                <a:cubicBezTo>
                  <a:pt x="120000" y="120000"/>
                  <a:pt x="120000" y="90000"/>
                  <a:pt x="80000" y="90000"/>
                </a:cubicBezTo>
                <a:cubicBezTo>
                  <a:pt x="0" y="90000"/>
                  <a:pt x="0" y="75000"/>
                  <a:pt x="0" y="15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15" name="Shape 1975"/>
          <p:cNvSpPr/>
          <p:nvPr/>
        </p:nvSpPr>
        <p:spPr>
          <a:xfrm>
            <a:off x="9203262" y="5055264"/>
            <a:ext cx="417891" cy="309777"/>
          </a:xfrm>
          <a:custGeom>
            <a:avLst/>
            <a:gdLst/>
            <a:ahLst/>
            <a:cxnLst/>
            <a:rect l="0" t="0" r="0" b="0"/>
            <a:pathLst>
              <a:path w="120000" h="120000" extrusionOk="0">
                <a:moveTo>
                  <a:pt x="0" y="13069"/>
                </a:moveTo>
                <a:cubicBezTo>
                  <a:pt x="5714" y="10693"/>
                  <a:pt x="16190" y="21386"/>
                  <a:pt x="20952" y="23762"/>
                </a:cubicBezTo>
                <a:cubicBezTo>
                  <a:pt x="27619" y="24950"/>
                  <a:pt x="27619" y="29702"/>
                  <a:pt x="30476" y="29702"/>
                </a:cubicBezTo>
                <a:cubicBezTo>
                  <a:pt x="33333" y="29702"/>
                  <a:pt x="42857" y="40396"/>
                  <a:pt x="42857" y="43960"/>
                </a:cubicBezTo>
                <a:cubicBezTo>
                  <a:pt x="41904" y="47524"/>
                  <a:pt x="40000" y="47524"/>
                  <a:pt x="45714" y="49900"/>
                </a:cubicBezTo>
                <a:cubicBezTo>
                  <a:pt x="50476" y="51089"/>
                  <a:pt x="49523" y="54653"/>
                  <a:pt x="53333" y="53465"/>
                </a:cubicBezTo>
                <a:cubicBezTo>
                  <a:pt x="56190" y="53465"/>
                  <a:pt x="59047" y="60594"/>
                  <a:pt x="58095" y="62970"/>
                </a:cubicBezTo>
                <a:cubicBezTo>
                  <a:pt x="56190" y="64158"/>
                  <a:pt x="53333" y="62970"/>
                  <a:pt x="50476" y="64158"/>
                </a:cubicBezTo>
                <a:cubicBezTo>
                  <a:pt x="49523" y="64158"/>
                  <a:pt x="56190" y="76039"/>
                  <a:pt x="59047" y="77227"/>
                </a:cubicBezTo>
                <a:cubicBezTo>
                  <a:pt x="61904" y="79603"/>
                  <a:pt x="60952" y="91485"/>
                  <a:pt x="66666" y="90297"/>
                </a:cubicBezTo>
                <a:cubicBezTo>
                  <a:pt x="73333" y="86732"/>
                  <a:pt x="63809" y="96237"/>
                  <a:pt x="70476" y="96237"/>
                </a:cubicBezTo>
                <a:cubicBezTo>
                  <a:pt x="78095" y="96237"/>
                  <a:pt x="66666" y="99801"/>
                  <a:pt x="76190" y="103366"/>
                </a:cubicBezTo>
                <a:cubicBezTo>
                  <a:pt x="82857" y="104554"/>
                  <a:pt x="80000" y="108118"/>
                  <a:pt x="76190" y="108118"/>
                </a:cubicBezTo>
                <a:cubicBezTo>
                  <a:pt x="72380" y="108118"/>
                  <a:pt x="75238" y="106930"/>
                  <a:pt x="64761" y="103366"/>
                </a:cubicBezTo>
                <a:cubicBezTo>
                  <a:pt x="55238" y="100990"/>
                  <a:pt x="56190" y="100990"/>
                  <a:pt x="50476" y="91485"/>
                </a:cubicBezTo>
                <a:cubicBezTo>
                  <a:pt x="44761" y="83168"/>
                  <a:pt x="45714" y="77227"/>
                  <a:pt x="39047" y="77227"/>
                </a:cubicBezTo>
                <a:cubicBezTo>
                  <a:pt x="33333" y="76039"/>
                  <a:pt x="37142" y="71287"/>
                  <a:pt x="31428" y="76039"/>
                </a:cubicBezTo>
                <a:cubicBezTo>
                  <a:pt x="28571" y="76039"/>
                  <a:pt x="28571" y="76039"/>
                  <a:pt x="27619" y="71287"/>
                </a:cubicBezTo>
                <a:cubicBezTo>
                  <a:pt x="28571" y="80792"/>
                  <a:pt x="25714" y="76039"/>
                  <a:pt x="25714" y="79603"/>
                </a:cubicBezTo>
                <a:cubicBezTo>
                  <a:pt x="25714" y="83168"/>
                  <a:pt x="19047" y="80792"/>
                  <a:pt x="22857" y="83168"/>
                </a:cubicBezTo>
                <a:cubicBezTo>
                  <a:pt x="24761" y="84356"/>
                  <a:pt x="25714" y="90297"/>
                  <a:pt x="22857" y="90297"/>
                </a:cubicBezTo>
                <a:cubicBezTo>
                  <a:pt x="20952" y="90297"/>
                  <a:pt x="20000" y="96237"/>
                  <a:pt x="16190" y="91485"/>
                </a:cubicBezTo>
                <a:cubicBezTo>
                  <a:pt x="12380" y="90297"/>
                  <a:pt x="6666" y="93861"/>
                  <a:pt x="5714" y="91485"/>
                </a:cubicBezTo>
                <a:cubicBezTo>
                  <a:pt x="3809" y="87920"/>
                  <a:pt x="3809" y="84356"/>
                  <a:pt x="0" y="80792"/>
                </a:cubicBezTo>
                <a:cubicBezTo>
                  <a:pt x="0" y="13069"/>
                  <a:pt x="0" y="13069"/>
                  <a:pt x="0" y="13069"/>
                </a:cubicBezTo>
                <a:close/>
                <a:moveTo>
                  <a:pt x="64761" y="54653"/>
                </a:moveTo>
                <a:cubicBezTo>
                  <a:pt x="69523" y="58217"/>
                  <a:pt x="67619" y="53465"/>
                  <a:pt x="70476" y="57029"/>
                </a:cubicBezTo>
                <a:cubicBezTo>
                  <a:pt x="73333" y="60594"/>
                  <a:pt x="83809" y="54653"/>
                  <a:pt x="85714" y="51089"/>
                </a:cubicBezTo>
                <a:cubicBezTo>
                  <a:pt x="86666" y="47524"/>
                  <a:pt x="86666" y="51089"/>
                  <a:pt x="89523" y="49900"/>
                </a:cubicBezTo>
                <a:cubicBezTo>
                  <a:pt x="92380" y="46336"/>
                  <a:pt x="88571" y="42772"/>
                  <a:pt x="89523" y="42772"/>
                </a:cubicBezTo>
                <a:cubicBezTo>
                  <a:pt x="92380" y="42772"/>
                  <a:pt x="94285" y="36831"/>
                  <a:pt x="92380" y="34455"/>
                </a:cubicBezTo>
                <a:cubicBezTo>
                  <a:pt x="91428" y="33267"/>
                  <a:pt x="89523" y="33267"/>
                  <a:pt x="86666" y="33267"/>
                </a:cubicBezTo>
                <a:cubicBezTo>
                  <a:pt x="83809" y="33267"/>
                  <a:pt x="89523" y="43960"/>
                  <a:pt x="85714" y="42772"/>
                </a:cubicBezTo>
                <a:cubicBezTo>
                  <a:pt x="82857" y="40396"/>
                  <a:pt x="82857" y="51089"/>
                  <a:pt x="78095" y="47524"/>
                </a:cubicBezTo>
                <a:cubicBezTo>
                  <a:pt x="76190" y="46336"/>
                  <a:pt x="76190" y="51089"/>
                  <a:pt x="75238" y="47524"/>
                </a:cubicBezTo>
                <a:cubicBezTo>
                  <a:pt x="73333" y="43960"/>
                  <a:pt x="76190" y="43960"/>
                  <a:pt x="75238" y="43960"/>
                </a:cubicBezTo>
                <a:cubicBezTo>
                  <a:pt x="75238" y="42772"/>
                  <a:pt x="73333" y="42772"/>
                  <a:pt x="73333" y="47524"/>
                </a:cubicBezTo>
                <a:cubicBezTo>
                  <a:pt x="73333" y="51089"/>
                  <a:pt x="61904" y="46336"/>
                  <a:pt x="61904" y="49900"/>
                </a:cubicBezTo>
                <a:cubicBezTo>
                  <a:pt x="61904" y="53465"/>
                  <a:pt x="63809" y="51089"/>
                  <a:pt x="64761" y="54653"/>
                </a:cubicBezTo>
                <a:close/>
                <a:moveTo>
                  <a:pt x="52380" y="10693"/>
                </a:moveTo>
                <a:cubicBezTo>
                  <a:pt x="55238" y="10693"/>
                  <a:pt x="55238" y="9504"/>
                  <a:pt x="53333" y="7128"/>
                </a:cubicBezTo>
                <a:cubicBezTo>
                  <a:pt x="52380" y="7128"/>
                  <a:pt x="47619" y="7128"/>
                  <a:pt x="47619" y="9504"/>
                </a:cubicBezTo>
                <a:cubicBezTo>
                  <a:pt x="47619" y="13069"/>
                  <a:pt x="49523" y="10693"/>
                  <a:pt x="52380" y="10693"/>
                </a:cubicBezTo>
                <a:close/>
                <a:moveTo>
                  <a:pt x="75238" y="13069"/>
                </a:moveTo>
                <a:cubicBezTo>
                  <a:pt x="75238" y="10693"/>
                  <a:pt x="80000" y="14257"/>
                  <a:pt x="78095" y="14257"/>
                </a:cubicBezTo>
                <a:cubicBezTo>
                  <a:pt x="76190" y="16633"/>
                  <a:pt x="73333" y="14257"/>
                  <a:pt x="75238" y="13069"/>
                </a:cubicBezTo>
                <a:close/>
                <a:moveTo>
                  <a:pt x="86666" y="21386"/>
                </a:moveTo>
                <a:cubicBezTo>
                  <a:pt x="86666" y="23762"/>
                  <a:pt x="91428" y="24950"/>
                  <a:pt x="92380" y="30891"/>
                </a:cubicBezTo>
                <a:cubicBezTo>
                  <a:pt x="95238" y="34455"/>
                  <a:pt x="94285" y="34455"/>
                  <a:pt x="95238" y="40396"/>
                </a:cubicBezTo>
                <a:cubicBezTo>
                  <a:pt x="97142" y="43960"/>
                  <a:pt x="100000" y="33267"/>
                  <a:pt x="95238" y="29702"/>
                </a:cubicBezTo>
                <a:cubicBezTo>
                  <a:pt x="91428" y="27326"/>
                  <a:pt x="91428" y="23762"/>
                  <a:pt x="88571" y="21386"/>
                </a:cubicBezTo>
                <a:cubicBezTo>
                  <a:pt x="82857" y="17821"/>
                  <a:pt x="80952" y="13069"/>
                  <a:pt x="80952" y="16633"/>
                </a:cubicBezTo>
                <a:cubicBezTo>
                  <a:pt x="76190" y="17821"/>
                  <a:pt x="82857" y="16633"/>
                  <a:pt x="86666" y="21386"/>
                </a:cubicBezTo>
                <a:close/>
                <a:moveTo>
                  <a:pt x="70476" y="1188"/>
                </a:moveTo>
                <a:cubicBezTo>
                  <a:pt x="72380" y="0"/>
                  <a:pt x="73333" y="3564"/>
                  <a:pt x="72380" y="3564"/>
                </a:cubicBezTo>
                <a:cubicBezTo>
                  <a:pt x="70476" y="3564"/>
                  <a:pt x="70476" y="3564"/>
                  <a:pt x="70476" y="1188"/>
                </a:cubicBezTo>
                <a:close/>
                <a:moveTo>
                  <a:pt x="117142" y="57029"/>
                </a:moveTo>
                <a:cubicBezTo>
                  <a:pt x="114285" y="54653"/>
                  <a:pt x="114285" y="49900"/>
                  <a:pt x="111428" y="49900"/>
                </a:cubicBezTo>
                <a:cubicBezTo>
                  <a:pt x="109523" y="47524"/>
                  <a:pt x="109523" y="40396"/>
                  <a:pt x="108571" y="43960"/>
                </a:cubicBezTo>
                <a:cubicBezTo>
                  <a:pt x="106666" y="46336"/>
                  <a:pt x="109523" y="46336"/>
                  <a:pt x="109523" y="51089"/>
                </a:cubicBezTo>
                <a:cubicBezTo>
                  <a:pt x="108571" y="54653"/>
                  <a:pt x="113333" y="57029"/>
                  <a:pt x="114285" y="60594"/>
                </a:cubicBezTo>
                <a:cubicBezTo>
                  <a:pt x="114285" y="64158"/>
                  <a:pt x="116190" y="64158"/>
                  <a:pt x="119047" y="64158"/>
                </a:cubicBezTo>
                <a:cubicBezTo>
                  <a:pt x="120000" y="62970"/>
                  <a:pt x="119047" y="57029"/>
                  <a:pt x="117142" y="57029"/>
                </a:cubicBezTo>
                <a:close/>
                <a:moveTo>
                  <a:pt x="58095" y="51089"/>
                </a:moveTo>
                <a:cubicBezTo>
                  <a:pt x="56190" y="49900"/>
                  <a:pt x="58095" y="46336"/>
                  <a:pt x="59047" y="49900"/>
                </a:cubicBezTo>
                <a:cubicBezTo>
                  <a:pt x="60952" y="51089"/>
                  <a:pt x="59047" y="53465"/>
                  <a:pt x="58095" y="51089"/>
                </a:cubicBezTo>
                <a:close/>
                <a:moveTo>
                  <a:pt x="52380" y="46336"/>
                </a:moveTo>
                <a:cubicBezTo>
                  <a:pt x="52380" y="43960"/>
                  <a:pt x="55238" y="47524"/>
                  <a:pt x="53333" y="47524"/>
                </a:cubicBezTo>
                <a:cubicBezTo>
                  <a:pt x="53333" y="49900"/>
                  <a:pt x="50476" y="47524"/>
                  <a:pt x="52380" y="46336"/>
                </a:cubicBezTo>
                <a:close/>
                <a:moveTo>
                  <a:pt x="44761" y="36831"/>
                </a:moveTo>
                <a:cubicBezTo>
                  <a:pt x="45714" y="38019"/>
                  <a:pt x="44761" y="42772"/>
                  <a:pt x="42857" y="40396"/>
                </a:cubicBezTo>
                <a:cubicBezTo>
                  <a:pt x="41904" y="38019"/>
                  <a:pt x="42857" y="36831"/>
                  <a:pt x="44761" y="36831"/>
                </a:cubicBezTo>
                <a:close/>
                <a:moveTo>
                  <a:pt x="97142" y="90297"/>
                </a:moveTo>
                <a:cubicBezTo>
                  <a:pt x="95238" y="87920"/>
                  <a:pt x="92380" y="87920"/>
                  <a:pt x="94285" y="90297"/>
                </a:cubicBezTo>
                <a:cubicBezTo>
                  <a:pt x="95238" y="90297"/>
                  <a:pt x="94285" y="91485"/>
                  <a:pt x="95238" y="91485"/>
                </a:cubicBezTo>
                <a:cubicBezTo>
                  <a:pt x="97142" y="91485"/>
                  <a:pt x="98095" y="91485"/>
                  <a:pt x="97142" y="90297"/>
                </a:cubicBezTo>
                <a:close/>
                <a:moveTo>
                  <a:pt x="98095" y="117623"/>
                </a:moveTo>
                <a:cubicBezTo>
                  <a:pt x="97142" y="114059"/>
                  <a:pt x="100952" y="117623"/>
                  <a:pt x="102857" y="120000"/>
                </a:cubicBezTo>
                <a:cubicBezTo>
                  <a:pt x="98095" y="117623"/>
                  <a:pt x="98095" y="117623"/>
                  <a:pt x="98095" y="117623"/>
                </a:cubicBezTo>
                <a:close/>
                <a:moveTo>
                  <a:pt x="75238" y="93861"/>
                </a:moveTo>
                <a:cubicBezTo>
                  <a:pt x="73333" y="91485"/>
                  <a:pt x="75238" y="90297"/>
                  <a:pt x="76190" y="91485"/>
                </a:cubicBezTo>
                <a:cubicBezTo>
                  <a:pt x="78095" y="93861"/>
                  <a:pt x="76190" y="97425"/>
                  <a:pt x="75238" y="93861"/>
                </a:cubicBezTo>
                <a:close/>
                <a:moveTo>
                  <a:pt x="78095" y="97425"/>
                </a:moveTo>
                <a:cubicBezTo>
                  <a:pt x="80000" y="97425"/>
                  <a:pt x="80952" y="97425"/>
                  <a:pt x="80952" y="96237"/>
                </a:cubicBezTo>
                <a:cubicBezTo>
                  <a:pt x="80952" y="93861"/>
                  <a:pt x="78095" y="91485"/>
                  <a:pt x="78095" y="93861"/>
                </a:cubicBezTo>
                <a:cubicBezTo>
                  <a:pt x="78095" y="96237"/>
                  <a:pt x="76190" y="97425"/>
                  <a:pt x="78095" y="97425"/>
                </a:cubicBezTo>
                <a:close/>
                <a:moveTo>
                  <a:pt x="80952" y="99801"/>
                </a:moveTo>
                <a:cubicBezTo>
                  <a:pt x="80952" y="100990"/>
                  <a:pt x="82857" y="104554"/>
                  <a:pt x="83809" y="103366"/>
                </a:cubicBezTo>
                <a:cubicBezTo>
                  <a:pt x="83809" y="99801"/>
                  <a:pt x="83809" y="99801"/>
                  <a:pt x="83809" y="99801"/>
                </a:cubicBezTo>
                <a:cubicBezTo>
                  <a:pt x="82857" y="100990"/>
                  <a:pt x="80952" y="97425"/>
                  <a:pt x="80952" y="99801"/>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16" name="Shape 1976"/>
          <p:cNvSpPr/>
          <p:nvPr/>
        </p:nvSpPr>
        <p:spPr>
          <a:xfrm>
            <a:off x="9610922" y="5210949"/>
            <a:ext cx="175684" cy="163626"/>
          </a:xfrm>
          <a:custGeom>
            <a:avLst/>
            <a:gdLst/>
            <a:ahLst/>
            <a:cxnLst/>
            <a:rect l="0" t="0" r="0" b="0"/>
            <a:pathLst>
              <a:path w="120000" h="120000" extrusionOk="0">
                <a:moveTo>
                  <a:pt x="13584" y="0"/>
                </a:moveTo>
                <a:cubicBezTo>
                  <a:pt x="24905" y="6792"/>
                  <a:pt x="24905" y="6792"/>
                  <a:pt x="27169" y="11320"/>
                </a:cubicBezTo>
                <a:cubicBezTo>
                  <a:pt x="27169" y="18113"/>
                  <a:pt x="38490" y="18113"/>
                  <a:pt x="31698" y="18113"/>
                </a:cubicBezTo>
                <a:cubicBezTo>
                  <a:pt x="27169" y="22641"/>
                  <a:pt x="20377" y="15849"/>
                  <a:pt x="20377" y="11320"/>
                </a:cubicBezTo>
                <a:cubicBezTo>
                  <a:pt x="18113" y="6792"/>
                  <a:pt x="13584" y="6792"/>
                  <a:pt x="13584" y="4528"/>
                </a:cubicBezTo>
                <a:cubicBezTo>
                  <a:pt x="13584" y="0"/>
                  <a:pt x="13584" y="0"/>
                  <a:pt x="13584" y="0"/>
                </a:cubicBezTo>
                <a:close/>
                <a:moveTo>
                  <a:pt x="52075" y="29433"/>
                </a:moveTo>
                <a:cubicBezTo>
                  <a:pt x="52075" y="31698"/>
                  <a:pt x="67924" y="38490"/>
                  <a:pt x="72452" y="43018"/>
                </a:cubicBezTo>
                <a:cubicBezTo>
                  <a:pt x="79245" y="49811"/>
                  <a:pt x="72452" y="36226"/>
                  <a:pt x="65660" y="31698"/>
                </a:cubicBezTo>
                <a:cubicBezTo>
                  <a:pt x="58867" y="29433"/>
                  <a:pt x="61132" y="24905"/>
                  <a:pt x="54339" y="24905"/>
                </a:cubicBezTo>
                <a:cubicBezTo>
                  <a:pt x="52075" y="22641"/>
                  <a:pt x="52075" y="22641"/>
                  <a:pt x="52075" y="29433"/>
                </a:cubicBezTo>
                <a:close/>
                <a:moveTo>
                  <a:pt x="95094" y="63396"/>
                </a:moveTo>
                <a:cubicBezTo>
                  <a:pt x="99622" y="70188"/>
                  <a:pt x="106415" y="70188"/>
                  <a:pt x="99622" y="63396"/>
                </a:cubicBezTo>
                <a:cubicBezTo>
                  <a:pt x="99622" y="61132"/>
                  <a:pt x="104150" y="61132"/>
                  <a:pt x="95094" y="52075"/>
                </a:cubicBezTo>
                <a:cubicBezTo>
                  <a:pt x="92830" y="49811"/>
                  <a:pt x="95094" y="43018"/>
                  <a:pt x="88301" y="38490"/>
                </a:cubicBezTo>
                <a:cubicBezTo>
                  <a:pt x="81509" y="38490"/>
                  <a:pt x="88301" y="43018"/>
                  <a:pt x="88301" y="56603"/>
                </a:cubicBezTo>
                <a:cubicBezTo>
                  <a:pt x="92830" y="61132"/>
                  <a:pt x="92830" y="61132"/>
                  <a:pt x="95094" y="63396"/>
                </a:cubicBezTo>
                <a:close/>
                <a:moveTo>
                  <a:pt x="79245" y="74716"/>
                </a:moveTo>
                <a:cubicBezTo>
                  <a:pt x="86037" y="70188"/>
                  <a:pt x="81509" y="74716"/>
                  <a:pt x="88301" y="74716"/>
                </a:cubicBezTo>
                <a:cubicBezTo>
                  <a:pt x="95094" y="76981"/>
                  <a:pt x="88301" y="70188"/>
                  <a:pt x="86037" y="63396"/>
                </a:cubicBezTo>
                <a:cubicBezTo>
                  <a:pt x="81509" y="61132"/>
                  <a:pt x="79245" y="67924"/>
                  <a:pt x="74716" y="63396"/>
                </a:cubicBezTo>
                <a:cubicBezTo>
                  <a:pt x="72452" y="61132"/>
                  <a:pt x="67924" y="61132"/>
                  <a:pt x="67924" y="67924"/>
                </a:cubicBezTo>
                <a:cubicBezTo>
                  <a:pt x="67924" y="70188"/>
                  <a:pt x="74716" y="74716"/>
                  <a:pt x="79245" y="74716"/>
                </a:cubicBezTo>
                <a:close/>
                <a:moveTo>
                  <a:pt x="104150" y="88301"/>
                </a:moveTo>
                <a:cubicBezTo>
                  <a:pt x="104150" y="90566"/>
                  <a:pt x="113207" y="95094"/>
                  <a:pt x="117735" y="95094"/>
                </a:cubicBezTo>
                <a:cubicBezTo>
                  <a:pt x="120000" y="95094"/>
                  <a:pt x="117735" y="88301"/>
                  <a:pt x="113207" y="88301"/>
                </a:cubicBezTo>
                <a:cubicBezTo>
                  <a:pt x="110943" y="88301"/>
                  <a:pt x="104150" y="81509"/>
                  <a:pt x="99622" y="81509"/>
                </a:cubicBezTo>
                <a:cubicBezTo>
                  <a:pt x="95094" y="83773"/>
                  <a:pt x="104150" y="83773"/>
                  <a:pt x="104150" y="88301"/>
                </a:cubicBezTo>
                <a:close/>
                <a:moveTo>
                  <a:pt x="74716" y="108679"/>
                </a:moveTo>
                <a:cubicBezTo>
                  <a:pt x="79245" y="106415"/>
                  <a:pt x="88301" y="115471"/>
                  <a:pt x="88301" y="115471"/>
                </a:cubicBezTo>
                <a:cubicBezTo>
                  <a:pt x="86037" y="120000"/>
                  <a:pt x="74716" y="113207"/>
                  <a:pt x="74716" y="108679"/>
                </a:cubicBezTo>
                <a:close/>
                <a:moveTo>
                  <a:pt x="38490" y="38490"/>
                </a:moveTo>
                <a:cubicBezTo>
                  <a:pt x="33962" y="36226"/>
                  <a:pt x="38490" y="31698"/>
                  <a:pt x="33962" y="31698"/>
                </a:cubicBezTo>
                <a:cubicBezTo>
                  <a:pt x="31698" y="29433"/>
                  <a:pt x="27169" y="43018"/>
                  <a:pt x="31698" y="38490"/>
                </a:cubicBezTo>
                <a:cubicBezTo>
                  <a:pt x="33962" y="38490"/>
                  <a:pt x="33962" y="38490"/>
                  <a:pt x="38490" y="45283"/>
                </a:cubicBezTo>
                <a:cubicBezTo>
                  <a:pt x="38490" y="45283"/>
                  <a:pt x="40754" y="43018"/>
                  <a:pt x="38490" y="38490"/>
                </a:cubicBezTo>
                <a:close/>
                <a:moveTo>
                  <a:pt x="24905" y="29433"/>
                </a:moveTo>
                <a:cubicBezTo>
                  <a:pt x="24905" y="24905"/>
                  <a:pt x="27169" y="31698"/>
                  <a:pt x="27169" y="36226"/>
                </a:cubicBezTo>
                <a:cubicBezTo>
                  <a:pt x="24905" y="38490"/>
                  <a:pt x="20377" y="31698"/>
                  <a:pt x="24905" y="29433"/>
                </a:cubicBezTo>
                <a:close/>
                <a:moveTo>
                  <a:pt x="13584" y="24905"/>
                </a:moveTo>
                <a:cubicBezTo>
                  <a:pt x="13584" y="22641"/>
                  <a:pt x="24905" y="24905"/>
                  <a:pt x="20377" y="29433"/>
                </a:cubicBezTo>
                <a:cubicBezTo>
                  <a:pt x="18113" y="31698"/>
                  <a:pt x="13584" y="24905"/>
                  <a:pt x="13584" y="24905"/>
                </a:cubicBezTo>
                <a:close/>
                <a:moveTo>
                  <a:pt x="45283" y="49811"/>
                </a:moveTo>
                <a:cubicBezTo>
                  <a:pt x="40754" y="49811"/>
                  <a:pt x="38490" y="49811"/>
                  <a:pt x="40754" y="45283"/>
                </a:cubicBezTo>
                <a:cubicBezTo>
                  <a:pt x="40754" y="43018"/>
                  <a:pt x="45283" y="45283"/>
                  <a:pt x="45283" y="49811"/>
                </a:cubicBezTo>
                <a:close/>
                <a:moveTo>
                  <a:pt x="0" y="11320"/>
                </a:moveTo>
                <a:cubicBezTo>
                  <a:pt x="0" y="6792"/>
                  <a:pt x="4528" y="11320"/>
                  <a:pt x="4528" y="11320"/>
                </a:cubicBezTo>
                <a:cubicBezTo>
                  <a:pt x="4528" y="15849"/>
                  <a:pt x="0" y="15849"/>
                  <a:pt x="0" y="11320"/>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17" name="Shape 1977"/>
          <p:cNvSpPr/>
          <p:nvPr/>
        </p:nvSpPr>
        <p:spPr>
          <a:xfrm>
            <a:off x="9892356" y="5455591"/>
            <a:ext cx="81871" cy="160448"/>
          </a:xfrm>
          <a:custGeom>
            <a:avLst/>
            <a:gdLst/>
            <a:ahLst/>
            <a:cxnLst/>
            <a:rect l="0" t="0" r="0" b="0"/>
            <a:pathLst>
              <a:path w="120000" h="120000" extrusionOk="0">
                <a:moveTo>
                  <a:pt x="24000" y="25384"/>
                </a:moveTo>
                <a:cubicBezTo>
                  <a:pt x="9600" y="25384"/>
                  <a:pt x="14400" y="25384"/>
                  <a:pt x="9600" y="18461"/>
                </a:cubicBezTo>
                <a:cubicBezTo>
                  <a:pt x="0" y="16153"/>
                  <a:pt x="9600" y="16153"/>
                  <a:pt x="9600" y="6923"/>
                </a:cubicBezTo>
                <a:cubicBezTo>
                  <a:pt x="0" y="0"/>
                  <a:pt x="9600" y="0"/>
                  <a:pt x="14400" y="6923"/>
                </a:cubicBezTo>
                <a:cubicBezTo>
                  <a:pt x="14400" y="18461"/>
                  <a:pt x="24000" y="4615"/>
                  <a:pt x="24000" y="11538"/>
                </a:cubicBezTo>
                <a:cubicBezTo>
                  <a:pt x="28800" y="18461"/>
                  <a:pt x="38400" y="23076"/>
                  <a:pt x="24000" y="25384"/>
                </a:cubicBezTo>
                <a:close/>
                <a:moveTo>
                  <a:pt x="38400" y="36923"/>
                </a:moveTo>
                <a:cubicBezTo>
                  <a:pt x="43200" y="41538"/>
                  <a:pt x="38400" y="48461"/>
                  <a:pt x="52800" y="43846"/>
                </a:cubicBezTo>
                <a:cubicBezTo>
                  <a:pt x="57600" y="43846"/>
                  <a:pt x="28800" y="25384"/>
                  <a:pt x="28800" y="32307"/>
                </a:cubicBezTo>
                <a:cubicBezTo>
                  <a:pt x="28800" y="36923"/>
                  <a:pt x="24000" y="36923"/>
                  <a:pt x="38400" y="36923"/>
                </a:cubicBezTo>
                <a:close/>
                <a:moveTo>
                  <a:pt x="67200" y="69230"/>
                </a:moveTo>
                <a:cubicBezTo>
                  <a:pt x="72000" y="64615"/>
                  <a:pt x="86400" y="76153"/>
                  <a:pt x="81600" y="76153"/>
                </a:cubicBezTo>
                <a:cubicBezTo>
                  <a:pt x="72000" y="76153"/>
                  <a:pt x="67200" y="73846"/>
                  <a:pt x="67200" y="69230"/>
                </a:cubicBezTo>
                <a:close/>
                <a:moveTo>
                  <a:pt x="72000" y="50769"/>
                </a:moveTo>
                <a:cubicBezTo>
                  <a:pt x="57600" y="50769"/>
                  <a:pt x="67200" y="43846"/>
                  <a:pt x="67200" y="48461"/>
                </a:cubicBezTo>
                <a:cubicBezTo>
                  <a:pt x="72000" y="50769"/>
                  <a:pt x="72000" y="55384"/>
                  <a:pt x="72000" y="50769"/>
                </a:cubicBezTo>
                <a:close/>
                <a:moveTo>
                  <a:pt x="57600" y="41538"/>
                </a:moveTo>
                <a:cubicBezTo>
                  <a:pt x="52800" y="36923"/>
                  <a:pt x="67200" y="32307"/>
                  <a:pt x="67200" y="36923"/>
                </a:cubicBezTo>
                <a:cubicBezTo>
                  <a:pt x="72000" y="43846"/>
                  <a:pt x="57600" y="43846"/>
                  <a:pt x="57600" y="41538"/>
                </a:cubicBezTo>
                <a:close/>
                <a:moveTo>
                  <a:pt x="52800" y="23076"/>
                </a:moveTo>
                <a:cubicBezTo>
                  <a:pt x="43200" y="18461"/>
                  <a:pt x="57600" y="16153"/>
                  <a:pt x="57600" y="16153"/>
                </a:cubicBezTo>
                <a:cubicBezTo>
                  <a:pt x="67200" y="18461"/>
                  <a:pt x="52800" y="23076"/>
                  <a:pt x="52800" y="23076"/>
                </a:cubicBezTo>
                <a:close/>
                <a:moveTo>
                  <a:pt x="96000" y="94615"/>
                </a:moveTo>
                <a:cubicBezTo>
                  <a:pt x="100800" y="90000"/>
                  <a:pt x="120000" y="101538"/>
                  <a:pt x="110400" y="101538"/>
                </a:cubicBezTo>
                <a:cubicBezTo>
                  <a:pt x="100800" y="106153"/>
                  <a:pt x="96000" y="99230"/>
                  <a:pt x="96000" y="94615"/>
                </a:cubicBezTo>
                <a:close/>
                <a:moveTo>
                  <a:pt x="110400" y="113076"/>
                </a:moveTo>
                <a:cubicBezTo>
                  <a:pt x="110400" y="108461"/>
                  <a:pt x="120000" y="120000"/>
                  <a:pt x="120000" y="120000"/>
                </a:cubicBezTo>
                <a:cubicBezTo>
                  <a:pt x="110400" y="120000"/>
                  <a:pt x="100800" y="113076"/>
                  <a:pt x="110400" y="113076"/>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18" name="Shape 1978"/>
          <p:cNvSpPr/>
          <p:nvPr/>
        </p:nvSpPr>
        <p:spPr>
          <a:xfrm>
            <a:off x="9819015" y="5627161"/>
            <a:ext cx="126220" cy="71488"/>
          </a:xfrm>
          <a:custGeom>
            <a:avLst/>
            <a:gdLst/>
            <a:ahLst/>
            <a:cxnLst/>
            <a:rect l="0" t="0" r="0" b="0"/>
            <a:pathLst>
              <a:path w="120000" h="120000" extrusionOk="0">
                <a:moveTo>
                  <a:pt x="107368" y="73043"/>
                </a:moveTo>
                <a:cubicBezTo>
                  <a:pt x="104210" y="67826"/>
                  <a:pt x="107368" y="57391"/>
                  <a:pt x="113684" y="67826"/>
                </a:cubicBezTo>
                <a:cubicBezTo>
                  <a:pt x="120000" y="83478"/>
                  <a:pt x="107368" y="83478"/>
                  <a:pt x="107368" y="73043"/>
                </a:cubicBezTo>
                <a:close/>
                <a:moveTo>
                  <a:pt x="94736" y="31304"/>
                </a:moveTo>
                <a:cubicBezTo>
                  <a:pt x="88421" y="26086"/>
                  <a:pt x="85263" y="26086"/>
                  <a:pt x="85263" y="31304"/>
                </a:cubicBezTo>
                <a:cubicBezTo>
                  <a:pt x="88421" y="31304"/>
                  <a:pt x="78947" y="41739"/>
                  <a:pt x="88421" y="52173"/>
                </a:cubicBezTo>
                <a:cubicBezTo>
                  <a:pt x="97894" y="57391"/>
                  <a:pt x="97894" y="41739"/>
                  <a:pt x="94736" y="31304"/>
                </a:cubicBezTo>
                <a:close/>
                <a:moveTo>
                  <a:pt x="50526" y="73043"/>
                </a:moveTo>
                <a:cubicBezTo>
                  <a:pt x="41052" y="57391"/>
                  <a:pt x="41052" y="57391"/>
                  <a:pt x="41052" y="57391"/>
                </a:cubicBezTo>
                <a:cubicBezTo>
                  <a:pt x="41052" y="41739"/>
                  <a:pt x="15789" y="15652"/>
                  <a:pt x="12631" y="10434"/>
                </a:cubicBezTo>
                <a:cubicBezTo>
                  <a:pt x="12631" y="15652"/>
                  <a:pt x="12631" y="15652"/>
                  <a:pt x="12631" y="15652"/>
                </a:cubicBezTo>
                <a:cubicBezTo>
                  <a:pt x="6315" y="15652"/>
                  <a:pt x="6315" y="0"/>
                  <a:pt x="0" y="0"/>
                </a:cubicBezTo>
                <a:cubicBezTo>
                  <a:pt x="0" y="10434"/>
                  <a:pt x="0" y="10434"/>
                  <a:pt x="0" y="10434"/>
                </a:cubicBezTo>
                <a:cubicBezTo>
                  <a:pt x="12631" y="31304"/>
                  <a:pt x="12631" y="31304"/>
                  <a:pt x="12631" y="31304"/>
                </a:cubicBezTo>
                <a:cubicBezTo>
                  <a:pt x="12631" y="41739"/>
                  <a:pt x="12631" y="41739"/>
                  <a:pt x="12631" y="41739"/>
                </a:cubicBezTo>
                <a:cubicBezTo>
                  <a:pt x="22105" y="52173"/>
                  <a:pt x="22105" y="52173"/>
                  <a:pt x="22105" y="52173"/>
                </a:cubicBezTo>
                <a:cubicBezTo>
                  <a:pt x="22105" y="57391"/>
                  <a:pt x="22105" y="57391"/>
                  <a:pt x="22105" y="57391"/>
                </a:cubicBezTo>
                <a:cubicBezTo>
                  <a:pt x="25263" y="67826"/>
                  <a:pt x="25263" y="67826"/>
                  <a:pt x="25263" y="67826"/>
                </a:cubicBezTo>
                <a:cubicBezTo>
                  <a:pt x="25263" y="67826"/>
                  <a:pt x="25263" y="67826"/>
                  <a:pt x="25263" y="67826"/>
                </a:cubicBezTo>
                <a:cubicBezTo>
                  <a:pt x="31578" y="73043"/>
                  <a:pt x="31578" y="73043"/>
                  <a:pt x="31578" y="73043"/>
                </a:cubicBezTo>
                <a:cubicBezTo>
                  <a:pt x="31578" y="73043"/>
                  <a:pt x="31578" y="73043"/>
                  <a:pt x="34736" y="73043"/>
                </a:cubicBezTo>
                <a:cubicBezTo>
                  <a:pt x="34736" y="83478"/>
                  <a:pt x="44210" y="88695"/>
                  <a:pt x="50526" y="99130"/>
                </a:cubicBezTo>
                <a:cubicBezTo>
                  <a:pt x="66315" y="114782"/>
                  <a:pt x="66315" y="114782"/>
                  <a:pt x="66315" y="114782"/>
                </a:cubicBezTo>
                <a:cubicBezTo>
                  <a:pt x="66315" y="120000"/>
                  <a:pt x="66315" y="120000"/>
                  <a:pt x="66315" y="120000"/>
                </a:cubicBezTo>
                <a:cubicBezTo>
                  <a:pt x="85263" y="104347"/>
                  <a:pt x="85263" y="120000"/>
                  <a:pt x="56842" y="83478"/>
                </a:cubicBezTo>
                <a:cubicBezTo>
                  <a:pt x="56842" y="73043"/>
                  <a:pt x="50526" y="67826"/>
                  <a:pt x="50526" y="73043"/>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19" name="Shape 1979"/>
          <p:cNvSpPr/>
          <p:nvPr/>
        </p:nvSpPr>
        <p:spPr>
          <a:xfrm>
            <a:off x="8155980" y="4807446"/>
            <a:ext cx="109162" cy="176335"/>
          </a:xfrm>
          <a:custGeom>
            <a:avLst/>
            <a:gdLst/>
            <a:ahLst/>
            <a:cxnLst/>
            <a:rect l="0" t="0" r="0" b="0"/>
            <a:pathLst>
              <a:path w="120000" h="120000" extrusionOk="0">
                <a:moveTo>
                  <a:pt x="54545" y="14736"/>
                </a:moveTo>
                <a:cubicBezTo>
                  <a:pt x="61818" y="14736"/>
                  <a:pt x="61818" y="10526"/>
                  <a:pt x="65454" y="16842"/>
                </a:cubicBezTo>
                <a:cubicBezTo>
                  <a:pt x="65454" y="23157"/>
                  <a:pt x="87272" y="29473"/>
                  <a:pt x="94545" y="40000"/>
                </a:cubicBezTo>
                <a:cubicBezTo>
                  <a:pt x="98181" y="50526"/>
                  <a:pt x="94545" y="56842"/>
                  <a:pt x="94545" y="56842"/>
                </a:cubicBezTo>
                <a:cubicBezTo>
                  <a:pt x="94545" y="58947"/>
                  <a:pt x="87272" y="63157"/>
                  <a:pt x="94545" y="67368"/>
                </a:cubicBezTo>
                <a:cubicBezTo>
                  <a:pt x="98181" y="69473"/>
                  <a:pt x="83636" y="80000"/>
                  <a:pt x="98181" y="86315"/>
                </a:cubicBezTo>
                <a:cubicBezTo>
                  <a:pt x="109090" y="92631"/>
                  <a:pt x="105454" y="98947"/>
                  <a:pt x="116363" y="103157"/>
                </a:cubicBezTo>
                <a:cubicBezTo>
                  <a:pt x="116363" y="105263"/>
                  <a:pt x="120000" y="115789"/>
                  <a:pt x="116363" y="113684"/>
                </a:cubicBezTo>
                <a:cubicBezTo>
                  <a:pt x="109090" y="113684"/>
                  <a:pt x="116363" y="113684"/>
                  <a:pt x="109090" y="109473"/>
                </a:cubicBezTo>
                <a:cubicBezTo>
                  <a:pt x="105454" y="109473"/>
                  <a:pt x="109090" y="113684"/>
                  <a:pt x="105454" y="113684"/>
                </a:cubicBezTo>
                <a:cubicBezTo>
                  <a:pt x="94545" y="109473"/>
                  <a:pt x="98181" y="119999"/>
                  <a:pt x="94545" y="113684"/>
                </a:cubicBezTo>
                <a:cubicBezTo>
                  <a:pt x="87272" y="105263"/>
                  <a:pt x="83636" y="113684"/>
                  <a:pt x="61818" y="98947"/>
                </a:cubicBezTo>
                <a:cubicBezTo>
                  <a:pt x="32727" y="82105"/>
                  <a:pt x="29090" y="86315"/>
                  <a:pt x="32727" y="80000"/>
                </a:cubicBezTo>
                <a:cubicBezTo>
                  <a:pt x="40000" y="73684"/>
                  <a:pt x="10909" y="63157"/>
                  <a:pt x="18181" y="58947"/>
                </a:cubicBezTo>
                <a:cubicBezTo>
                  <a:pt x="18181" y="56842"/>
                  <a:pt x="10909" y="58947"/>
                  <a:pt x="10909" y="50526"/>
                </a:cubicBezTo>
                <a:cubicBezTo>
                  <a:pt x="10909" y="35789"/>
                  <a:pt x="0" y="40000"/>
                  <a:pt x="7272" y="33684"/>
                </a:cubicBezTo>
                <a:cubicBezTo>
                  <a:pt x="7272" y="29473"/>
                  <a:pt x="10909" y="16842"/>
                  <a:pt x="0" y="6315"/>
                </a:cubicBezTo>
                <a:cubicBezTo>
                  <a:pt x="0" y="0"/>
                  <a:pt x="0" y="0"/>
                  <a:pt x="7272" y="4210"/>
                </a:cubicBezTo>
                <a:cubicBezTo>
                  <a:pt x="10909" y="6315"/>
                  <a:pt x="18181" y="4210"/>
                  <a:pt x="18181" y="10526"/>
                </a:cubicBezTo>
                <a:cubicBezTo>
                  <a:pt x="21818" y="14736"/>
                  <a:pt x="29090" y="6315"/>
                  <a:pt x="29090" y="14736"/>
                </a:cubicBezTo>
                <a:cubicBezTo>
                  <a:pt x="29090" y="16842"/>
                  <a:pt x="21818" y="21052"/>
                  <a:pt x="29090" y="23157"/>
                </a:cubicBezTo>
                <a:cubicBezTo>
                  <a:pt x="32727" y="27368"/>
                  <a:pt x="32727" y="14736"/>
                  <a:pt x="43636" y="21052"/>
                </a:cubicBezTo>
                <a:cubicBezTo>
                  <a:pt x="50909" y="23157"/>
                  <a:pt x="50909" y="23157"/>
                  <a:pt x="54545" y="14736"/>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20" name="Shape 1980"/>
          <p:cNvSpPr/>
          <p:nvPr/>
        </p:nvSpPr>
        <p:spPr>
          <a:xfrm>
            <a:off x="8244674" y="4971070"/>
            <a:ext cx="10232" cy="12709"/>
          </a:xfrm>
          <a:custGeom>
            <a:avLst/>
            <a:gdLst/>
            <a:ahLst/>
            <a:cxnLst/>
            <a:rect l="0" t="0" r="0" b="0"/>
            <a:pathLst>
              <a:path w="120000" h="120000" extrusionOk="0">
                <a:moveTo>
                  <a:pt x="0" y="60000"/>
                </a:moveTo>
                <a:cubicBezTo>
                  <a:pt x="0" y="0"/>
                  <a:pt x="120000" y="0"/>
                  <a:pt x="120000" y="0"/>
                </a:cubicBezTo>
                <a:cubicBezTo>
                  <a:pt x="120000" y="60000"/>
                  <a:pt x="80000" y="120000"/>
                  <a:pt x="0" y="6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21" name="Shape 1981"/>
          <p:cNvSpPr/>
          <p:nvPr/>
        </p:nvSpPr>
        <p:spPr>
          <a:xfrm>
            <a:off x="8019527" y="4839217"/>
            <a:ext cx="1183740" cy="505174"/>
          </a:xfrm>
          <a:custGeom>
            <a:avLst/>
            <a:gdLst/>
            <a:ahLst/>
            <a:cxnLst/>
            <a:rect l="0" t="0" r="0" b="0"/>
            <a:pathLst>
              <a:path w="120000" h="120000" extrusionOk="0">
                <a:moveTo>
                  <a:pt x="120000" y="100975"/>
                </a:moveTo>
                <a:cubicBezTo>
                  <a:pt x="118324" y="99512"/>
                  <a:pt x="117988" y="100975"/>
                  <a:pt x="117318" y="99512"/>
                </a:cubicBezTo>
                <a:cubicBezTo>
                  <a:pt x="117318" y="98780"/>
                  <a:pt x="115642" y="102439"/>
                  <a:pt x="116983" y="97317"/>
                </a:cubicBezTo>
                <a:cubicBezTo>
                  <a:pt x="117988" y="94390"/>
                  <a:pt x="115642" y="95121"/>
                  <a:pt x="115642" y="91463"/>
                </a:cubicBezTo>
                <a:cubicBezTo>
                  <a:pt x="115307" y="89268"/>
                  <a:pt x="116983" y="91463"/>
                  <a:pt x="115642" y="88536"/>
                </a:cubicBezTo>
                <a:cubicBezTo>
                  <a:pt x="114636" y="86341"/>
                  <a:pt x="114301" y="80487"/>
                  <a:pt x="113296" y="78292"/>
                </a:cubicBezTo>
                <a:cubicBezTo>
                  <a:pt x="111620" y="76097"/>
                  <a:pt x="110614" y="76829"/>
                  <a:pt x="109608" y="74634"/>
                </a:cubicBezTo>
                <a:cubicBezTo>
                  <a:pt x="107597" y="72439"/>
                  <a:pt x="107262" y="74634"/>
                  <a:pt x="104916" y="70975"/>
                </a:cubicBezTo>
                <a:cubicBezTo>
                  <a:pt x="103575" y="68048"/>
                  <a:pt x="102569" y="68780"/>
                  <a:pt x="102569" y="66585"/>
                </a:cubicBezTo>
                <a:cubicBezTo>
                  <a:pt x="102905" y="62195"/>
                  <a:pt x="102569" y="62195"/>
                  <a:pt x="101899" y="68048"/>
                </a:cubicBezTo>
                <a:cubicBezTo>
                  <a:pt x="101899" y="70975"/>
                  <a:pt x="100558" y="70975"/>
                  <a:pt x="99888" y="68780"/>
                </a:cubicBezTo>
                <a:cubicBezTo>
                  <a:pt x="99553" y="66585"/>
                  <a:pt x="101564" y="68048"/>
                  <a:pt x="99888" y="64390"/>
                </a:cubicBezTo>
                <a:cubicBezTo>
                  <a:pt x="98547" y="62195"/>
                  <a:pt x="98547" y="63658"/>
                  <a:pt x="97877" y="62195"/>
                </a:cubicBezTo>
                <a:cubicBezTo>
                  <a:pt x="97877" y="58536"/>
                  <a:pt x="100558" y="63658"/>
                  <a:pt x="100893" y="60000"/>
                </a:cubicBezTo>
                <a:cubicBezTo>
                  <a:pt x="100893" y="57804"/>
                  <a:pt x="102905" y="61463"/>
                  <a:pt x="102905" y="58536"/>
                </a:cubicBezTo>
                <a:cubicBezTo>
                  <a:pt x="102905" y="55609"/>
                  <a:pt x="98882" y="60000"/>
                  <a:pt x="98547" y="56341"/>
                </a:cubicBezTo>
                <a:cubicBezTo>
                  <a:pt x="97541" y="53414"/>
                  <a:pt x="97541" y="51951"/>
                  <a:pt x="96536" y="51951"/>
                </a:cubicBezTo>
                <a:cubicBezTo>
                  <a:pt x="94189" y="51951"/>
                  <a:pt x="96536" y="49756"/>
                  <a:pt x="96536" y="49024"/>
                </a:cubicBezTo>
                <a:cubicBezTo>
                  <a:pt x="95865" y="46097"/>
                  <a:pt x="96871" y="47560"/>
                  <a:pt x="97877" y="46097"/>
                </a:cubicBezTo>
                <a:cubicBezTo>
                  <a:pt x="98547" y="46097"/>
                  <a:pt x="98547" y="41707"/>
                  <a:pt x="100893" y="45365"/>
                </a:cubicBezTo>
                <a:cubicBezTo>
                  <a:pt x="103575" y="49024"/>
                  <a:pt x="103575" y="45365"/>
                  <a:pt x="103910" y="49024"/>
                </a:cubicBezTo>
                <a:cubicBezTo>
                  <a:pt x="104581" y="53414"/>
                  <a:pt x="103575" y="53414"/>
                  <a:pt x="103910" y="58536"/>
                </a:cubicBezTo>
                <a:cubicBezTo>
                  <a:pt x="104916" y="63658"/>
                  <a:pt x="104581" y="57804"/>
                  <a:pt x="104916" y="58536"/>
                </a:cubicBezTo>
                <a:cubicBezTo>
                  <a:pt x="105586" y="61463"/>
                  <a:pt x="104916" y="64390"/>
                  <a:pt x="106592" y="65853"/>
                </a:cubicBezTo>
                <a:cubicBezTo>
                  <a:pt x="107597" y="66585"/>
                  <a:pt x="109608" y="56341"/>
                  <a:pt x="110279" y="57804"/>
                </a:cubicBezTo>
                <a:cubicBezTo>
                  <a:pt x="110614" y="58536"/>
                  <a:pt x="112290" y="56341"/>
                  <a:pt x="112290" y="55609"/>
                </a:cubicBezTo>
                <a:cubicBezTo>
                  <a:pt x="111620" y="54146"/>
                  <a:pt x="113296" y="51951"/>
                  <a:pt x="114301" y="53414"/>
                </a:cubicBezTo>
                <a:cubicBezTo>
                  <a:pt x="115307" y="54146"/>
                  <a:pt x="118324" y="58536"/>
                  <a:pt x="120000" y="58536"/>
                </a:cubicBezTo>
                <a:cubicBezTo>
                  <a:pt x="120000" y="100975"/>
                  <a:pt x="120000" y="100975"/>
                  <a:pt x="120000" y="100975"/>
                </a:cubicBezTo>
                <a:close/>
                <a:moveTo>
                  <a:pt x="59664" y="12439"/>
                </a:moveTo>
                <a:cubicBezTo>
                  <a:pt x="58659" y="10243"/>
                  <a:pt x="58994" y="10975"/>
                  <a:pt x="57988" y="10975"/>
                </a:cubicBezTo>
                <a:cubicBezTo>
                  <a:pt x="56648" y="10975"/>
                  <a:pt x="55642" y="10243"/>
                  <a:pt x="54972" y="12439"/>
                </a:cubicBezTo>
                <a:cubicBezTo>
                  <a:pt x="54636" y="14634"/>
                  <a:pt x="54636" y="16829"/>
                  <a:pt x="54636" y="19024"/>
                </a:cubicBezTo>
                <a:cubicBezTo>
                  <a:pt x="54636" y="21219"/>
                  <a:pt x="53631" y="19024"/>
                  <a:pt x="53631" y="21219"/>
                </a:cubicBezTo>
                <a:cubicBezTo>
                  <a:pt x="52960" y="23414"/>
                  <a:pt x="52960" y="23414"/>
                  <a:pt x="53631" y="23414"/>
                </a:cubicBezTo>
                <a:cubicBezTo>
                  <a:pt x="53966" y="24878"/>
                  <a:pt x="52625" y="24878"/>
                  <a:pt x="52625" y="27073"/>
                </a:cubicBezTo>
                <a:cubicBezTo>
                  <a:pt x="52625" y="28536"/>
                  <a:pt x="52625" y="29268"/>
                  <a:pt x="51955" y="30731"/>
                </a:cubicBezTo>
                <a:cubicBezTo>
                  <a:pt x="51955" y="32926"/>
                  <a:pt x="50279" y="30731"/>
                  <a:pt x="49944" y="32926"/>
                </a:cubicBezTo>
                <a:cubicBezTo>
                  <a:pt x="49273" y="33658"/>
                  <a:pt x="48268" y="32926"/>
                  <a:pt x="47932" y="31463"/>
                </a:cubicBezTo>
                <a:cubicBezTo>
                  <a:pt x="47262" y="31463"/>
                  <a:pt x="48268" y="30731"/>
                  <a:pt x="46927" y="30731"/>
                </a:cubicBezTo>
                <a:cubicBezTo>
                  <a:pt x="44916" y="30731"/>
                  <a:pt x="45921" y="33658"/>
                  <a:pt x="45251" y="33658"/>
                </a:cubicBezTo>
                <a:cubicBezTo>
                  <a:pt x="44245" y="33658"/>
                  <a:pt x="44916" y="35853"/>
                  <a:pt x="43240" y="35121"/>
                </a:cubicBezTo>
                <a:cubicBezTo>
                  <a:pt x="41899" y="33658"/>
                  <a:pt x="41899" y="37317"/>
                  <a:pt x="40558" y="35121"/>
                </a:cubicBezTo>
                <a:cubicBezTo>
                  <a:pt x="40223" y="33658"/>
                  <a:pt x="39553" y="31463"/>
                  <a:pt x="39217" y="31463"/>
                </a:cubicBezTo>
                <a:cubicBezTo>
                  <a:pt x="38547" y="31463"/>
                  <a:pt x="39217" y="30731"/>
                  <a:pt x="38547" y="29268"/>
                </a:cubicBezTo>
                <a:cubicBezTo>
                  <a:pt x="38212" y="29268"/>
                  <a:pt x="38547" y="27073"/>
                  <a:pt x="38547" y="27073"/>
                </a:cubicBezTo>
                <a:cubicBezTo>
                  <a:pt x="37541" y="27073"/>
                  <a:pt x="37541" y="29268"/>
                  <a:pt x="37541" y="30731"/>
                </a:cubicBezTo>
                <a:cubicBezTo>
                  <a:pt x="36536" y="32926"/>
                  <a:pt x="36201" y="39512"/>
                  <a:pt x="37206" y="40975"/>
                </a:cubicBezTo>
                <a:cubicBezTo>
                  <a:pt x="38212" y="41707"/>
                  <a:pt x="36536" y="43170"/>
                  <a:pt x="37541" y="45365"/>
                </a:cubicBezTo>
                <a:cubicBezTo>
                  <a:pt x="38547" y="47560"/>
                  <a:pt x="37206" y="47560"/>
                  <a:pt x="38212" y="47560"/>
                </a:cubicBezTo>
                <a:cubicBezTo>
                  <a:pt x="39217" y="49024"/>
                  <a:pt x="37541" y="49756"/>
                  <a:pt x="38212" y="51219"/>
                </a:cubicBezTo>
                <a:cubicBezTo>
                  <a:pt x="38547" y="51951"/>
                  <a:pt x="39217" y="49024"/>
                  <a:pt x="39553" y="51219"/>
                </a:cubicBezTo>
                <a:cubicBezTo>
                  <a:pt x="40223" y="53414"/>
                  <a:pt x="39217" y="53414"/>
                  <a:pt x="39553" y="56341"/>
                </a:cubicBezTo>
                <a:cubicBezTo>
                  <a:pt x="41229" y="64390"/>
                  <a:pt x="39553" y="63658"/>
                  <a:pt x="40558" y="63658"/>
                </a:cubicBezTo>
                <a:cubicBezTo>
                  <a:pt x="41899" y="63658"/>
                  <a:pt x="42234" y="64390"/>
                  <a:pt x="42905" y="63658"/>
                </a:cubicBezTo>
                <a:cubicBezTo>
                  <a:pt x="43240" y="61463"/>
                  <a:pt x="44916" y="63658"/>
                  <a:pt x="44245" y="65853"/>
                </a:cubicBezTo>
                <a:cubicBezTo>
                  <a:pt x="44245" y="68048"/>
                  <a:pt x="44916" y="66585"/>
                  <a:pt x="45251" y="65853"/>
                </a:cubicBezTo>
                <a:cubicBezTo>
                  <a:pt x="45921" y="64390"/>
                  <a:pt x="46927" y="66585"/>
                  <a:pt x="47262" y="64390"/>
                </a:cubicBezTo>
                <a:cubicBezTo>
                  <a:pt x="47932" y="62195"/>
                  <a:pt x="48268" y="65853"/>
                  <a:pt x="48938" y="64390"/>
                </a:cubicBezTo>
                <a:cubicBezTo>
                  <a:pt x="49273" y="64390"/>
                  <a:pt x="48938" y="66585"/>
                  <a:pt x="49944" y="65853"/>
                </a:cubicBezTo>
                <a:cubicBezTo>
                  <a:pt x="51284" y="64390"/>
                  <a:pt x="51955" y="68048"/>
                  <a:pt x="51955" y="70243"/>
                </a:cubicBezTo>
                <a:cubicBezTo>
                  <a:pt x="51284" y="73902"/>
                  <a:pt x="53966" y="68780"/>
                  <a:pt x="54972" y="68048"/>
                </a:cubicBezTo>
                <a:cubicBezTo>
                  <a:pt x="55642" y="68048"/>
                  <a:pt x="55977" y="64390"/>
                  <a:pt x="55977" y="63658"/>
                </a:cubicBezTo>
                <a:cubicBezTo>
                  <a:pt x="55977" y="62195"/>
                  <a:pt x="56648" y="63658"/>
                  <a:pt x="56648" y="61463"/>
                </a:cubicBezTo>
                <a:cubicBezTo>
                  <a:pt x="56648" y="58536"/>
                  <a:pt x="57653" y="61463"/>
                  <a:pt x="56983" y="56341"/>
                </a:cubicBezTo>
                <a:cubicBezTo>
                  <a:pt x="56648" y="51951"/>
                  <a:pt x="57988" y="51951"/>
                  <a:pt x="58659" y="49756"/>
                </a:cubicBezTo>
                <a:cubicBezTo>
                  <a:pt x="58994" y="47560"/>
                  <a:pt x="60000" y="49756"/>
                  <a:pt x="60000" y="45365"/>
                </a:cubicBezTo>
                <a:cubicBezTo>
                  <a:pt x="59664" y="40975"/>
                  <a:pt x="60000" y="37317"/>
                  <a:pt x="60670" y="35853"/>
                </a:cubicBezTo>
                <a:cubicBezTo>
                  <a:pt x="61005" y="35121"/>
                  <a:pt x="60670" y="33658"/>
                  <a:pt x="61675" y="35121"/>
                </a:cubicBezTo>
                <a:cubicBezTo>
                  <a:pt x="62011" y="37317"/>
                  <a:pt x="63687" y="35853"/>
                  <a:pt x="63687" y="35121"/>
                </a:cubicBezTo>
                <a:cubicBezTo>
                  <a:pt x="63687" y="33658"/>
                  <a:pt x="60000" y="29268"/>
                  <a:pt x="60670" y="27073"/>
                </a:cubicBezTo>
                <a:cubicBezTo>
                  <a:pt x="61675" y="24878"/>
                  <a:pt x="60670" y="24878"/>
                  <a:pt x="60000" y="21219"/>
                </a:cubicBezTo>
                <a:cubicBezTo>
                  <a:pt x="60000" y="19024"/>
                  <a:pt x="58994" y="20487"/>
                  <a:pt x="58994" y="18292"/>
                </a:cubicBezTo>
                <a:cubicBezTo>
                  <a:pt x="59664" y="14634"/>
                  <a:pt x="60670" y="16829"/>
                  <a:pt x="60670" y="15365"/>
                </a:cubicBezTo>
                <a:cubicBezTo>
                  <a:pt x="60670" y="15365"/>
                  <a:pt x="60000" y="14634"/>
                  <a:pt x="59664" y="13170"/>
                </a:cubicBezTo>
                <a:cubicBezTo>
                  <a:pt x="59664" y="12439"/>
                  <a:pt x="59664" y="13170"/>
                  <a:pt x="59664" y="12439"/>
                </a:cubicBezTo>
                <a:close/>
                <a:moveTo>
                  <a:pt x="1340" y="8780"/>
                </a:moveTo>
                <a:cubicBezTo>
                  <a:pt x="2346" y="12439"/>
                  <a:pt x="2346" y="10975"/>
                  <a:pt x="3351" y="13170"/>
                </a:cubicBezTo>
                <a:cubicBezTo>
                  <a:pt x="4022" y="16829"/>
                  <a:pt x="4022" y="13170"/>
                  <a:pt x="5363" y="16829"/>
                </a:cubicBezTo>
                <a:cubicBezTo>
                  <a:pt x="6368" y="21219"/>
                  <a:pt x="5027" y="19024"/>
                  <a:pt x="6368" y="21219"/>
                </a:cubicBezTo>
                <a:cubicBezTo>
                  <a:pt x="7374" y="22682"/>
                  <a:pt x="6033" y="23414"/>
                  <a:pt x="8044" y="25609"/>
                </a:cubicBezTo>
                <a:cubicBezTo>
                  <a:pt x="9050" y="27073"/>
                  <a:pt x="10055" y="29268"/>
                  <a:pt x="10055" y="30731"/>
                </a:cubicBezTo>
                <a:cubicBezTo>
                  <a:pt x="9720" y="31463"/>
                  <a:pt x="9720" y="30731"/>
                  <a:pt x="10726" y="35121"/>
                </a:cubicBezTo>
                <a:cubicBezTo>
                  <a:pt x="11061" y="39512"/>
                  <a:pt x="10726" y="39512"/>
                  <a:pt x="11731" y="40975"/>
                </a:cubicBezTo>
                <a:cubicBezTo>
                  <a:pt x="12737" y="41707"/>
                  <a:pt x="11731" y="41707"/>
                  <a:pt x="13743" y="46097"/>
                </a:cubicBezTo>
                <a:cubicBezTo>
                  <a:pt x="14748" y="49024"/>
                  <a:pt x="13743" y="49756"/>
                  <a:pt x="14078" y="51219"/>
                </a:cubicBezTo>
                <a:cubicBezTo>
                  <a:pt x="15083" y="51951"/>
                  <a:pt x="15083" y="54146"/>
                  <a:pt x="15754" y="57804"/>
                </a:cubicBezTo>
                <a:cubicBezTo>
                  <a:pt x="15754" y="60000"/>
                  <a:pt x="16759" y="63658"/>
                  <a:pt x="18100" y="66585"/>
                </a:cubicBezTo>
                <a:cubicBezTo>
                  <a:pt x="19441" y="68780"/>
                  <a:pt x="18770" y="68780"/>
                  <a:pt x="20782" y="73902"/>
                </a:cubicBezTo>
                <a:cubicBezTo>
                  <a:pt x="22458" y="76829"/>
                  <a:pt x="23463" y="78292"/>
                  <a:pt x="23798" y="81951"/>
                </a:cubicBezTo>
                <a:cubicBezTo>
                  <a:pt x="24804" y="84146"/>
                  <a:pt x="25810" y="87073"/>
                  <a:pt x="25474" y="82682"/>
                </a:cubicBezTo>
                <a:cubicBezTo>
                  <a:pt x="24804" y="78292"/>
                  <a:pt x="26815" y="84878"/>
                  <a:pt x="26815" y="81951"/>
                </a:cubicBezTo>
                <a:cubicBezTo>
                  <a:pt x="27486" y="79024"/>
                  <a:pt x="27821" y="84878"/>
                  <a:pt x="28491" y="84146"/>
                </a:cubicBezTo>
                <a:cubicBezTo>
                  <a:pt x="28826" y="82682"/>
                  <a:pt x="28826" y="80487"/>
                  <a:pt x="28826" y="76097"/>
                </a:cubicBezTo>
                <a:cubicBezTo>
                  <a:pt x="28826" y="72439"/>
                  <a:pt x="28491" y="73902"/>
                  <a:pt x="28826" y="70975"/>
                </a:cubicBezTo>
                <a:cubicBezTo>
                  <a:pt x="29497" y="68048"/>
                  <a:pt x="28491" y="68780"/>
                  <a:pt x="28826" y="65853"/>
                </a:cubicBezTo>
                <a:cubicBezTo>
                  <a:pt x="30167" y="63658"/>
                  <a:pt x="28826" y="63658"/>
                  <a:pt x="28491" y="61463"/>
                </a:cubicBezTo>
                <a:cubicBezTo>
                  <a:pt x="27821" y="58536"/>
                  <a:pt x="27821" y="57804"/>
                  <a:pt x="26815" y="58536"/>
                </a:cubicBezTo>
                <a:cubicBezTo>
                  <a:pt x="26480" y="60000"/>
                  <a:pt x="26815" y="57804"/>
                  <a:pt x="25810" y="58536"/>
                </a:cubicBezTo>
                <a:cubicBezTo>
                  <a:pt x="24804" y="61463"/>
                  <a:pt x="26815" y="56341"/>
                  <a:pt x="25810" y="56341"/>
                </a:cubicBezTo>
                <a:cubicBezTo>
                  <a:pt x="24804" y="56341"/>
                  <a:pt x="25474" y="49024"/>
                  <a:pt x="24469" y="49024"/>
                </a:cubicBezTo>
                <a:cubicBezTo>
                  <a:pt x="22793" y="49756"/>
                  <a:pt x="21787" y="47560"/>
                  <a:pt x="22458" y="45365"/>
                </a:cubicBezTo>
                <a:cubicBezTo>
                  <a:pt x="22793" y="43902"/>
                  <a:pt x="21787" y="43170"/>
                  <a:pt x="22793" y="43170"/>
                </a:cubicBezTo>
                <a:cubicBezTo>
                  <a:pt x="23798" y="41707"/>
                  <a:pt x="22793" y="37317"/>
                  <a:pt x="21787" y="38048"/>
                </a:cubicBezTo>
                <a:cubicBezTo>
                  <a:pt x="20782" y="39512"/>
                  <a:pt x="21787" y="37317"/>
                  <a:pt x="20446" y="35853"/>
                </a:cubicBezTo>
                <a:cubicBezTo>
                  <a:pt x="18100" y="35853"/>
                  <a:pt x="19776" y="30731"/>
                  <a:pt x="17094" y="29268"/>
                </a:cubicBezTo>
                <a:cubicBezTo>
                  <a:pt x="16089" y="29268"/>
                  <a:pt x="16759" y="27073"/>
                  <a:pt x="16089" y="25609"/>
                </a:cubicBezTo>
                <a:cubicBezTo>
                  <a:pt x="14748" y="23414"/>
                  <a:pt x="15754" y="28536"/>
                  <a:pt x="15083" y="27073"/>
                </a:cubicBezTo>
                <a:cubicBezTo>
                  <a:pt x="14748" y="25609"/>
                  <a:pt x="14078" y="27073"/>
                  <a:pt x="14078" y="23414"/>
                </a:cubicBezTo>
                <a:cubicBezTo>
                  <a:pt x="13743" y="21219"/>
                  <a:pt x="13743" y="23414"/>
                  <a:pt x="13072" y="21219"/>
                </a:cubicBezTo>
                <a:cubicBezTo>
                  <a:pt x="12737" y="20487"/>
                  <a:pt x="11731" y="16829"/>
                  <a:pt x="10726" y="15365"/>
                </a:cubicBezTo>
                <a:cubicBezTo>
                  <a:pt x="9720" y="15365"/>
                  <a:pt x="9720" y="13170"/>
                  <a:pt x="9050" y="12439"/>
                </a:cubicBezTo>
                <a:cubicBezTo>
                  <a:pt x="8044" y="12439"/>
                  <a:pt x="9050" y="10243"/>
                  <a:pt x="8044" y="10243"/>
                </a:cubicBezTo>
                <a:cubicBezTo>
                  <a:pt x="7374" y="8780"/>
                  <a:pt x="8044" y="8048"/>
                  <a:pt x="7039" y="5121"/>
                </a:cubicBezTo>
                <a:cubicBezTo>
                  <a:pt x="6033" y="2195"/>
                  <a:pt x="6368" y="5121"/>
                  <a:pt x="5363" y="4390"/>
                </a:cubicBezTo>
                <a:cubicBezTo>
                  <a:pt x="5027" y="2926"/>
                  <a:pt x="5027" y="4390"/>
                  <a:pt x="3351" y="4390"/>
                </a:cubicBezTo>
                <a:cubicBezTo>
                  <a:pt x="1340" y="2926"/>
                  <a:pt x="3016" y="2926"/>
                  <a:pt x="1340" y="731"/>
                </a:cubicBezTo>
                <a:cubicBezTo>
                  <a:pt x="0" y="0"/>
                  <a:pt x="335" y="4390"/>
                  <a:pt x="1340" y="8780"/>
                </a:cubicBezTo>
                <a:close/>
                <a:moveTo>
                  <a:pt x="27486" y="90731"/>
                </a:moveTo>
                <a:cubicBezTo>
                  <a:pt x="27821" y="90731"/>
                  <a:pt x="28826" y="89268"/>
                  <a:pt x="29497" y="91463"/>
                </a:cubicBezTo>
                <a:cubicBezTo>
                  <a:pt x="30167" y="92926"/>
                  <a:pt x="31173" y="90731"/>
                  <a:pt x="30502" y="92926"/>
                </a:cubicBezTo>
                <a:cubicBezTo>
                  <a:pt x="30167" y="95121"/>
                  <a:pt x="30502" y="92926"/>
                  <a:pt x="34189" y="97317"/>
                </a:cubicBezTo>
                <a:cubicBezTo>
                  <a:pt x="35530" y="98780"/>
                  <a:pt x="36201" y="95121"/>
                  <a:pt x="36536" y="96585"/>
                </a:cubicBezTo>
                <a:cubicBezTo>
                  <a:pt x="37206" y="97317"/>
                  <a:pt x="37541" y="96585"/>
                  <a:pt x="39217" y="97317"/>
                </a:cubicBezTo>
                <a:cubicBezTo>
                  <a:pt x="40558" y="98780"/>
                  <a:pt x="39553" y="99512"/>
                  <a:pt x="43240" y="100975"/>
                </a:cubicBezTo>
                <a:cubicBezTo>
                  <a:pt x="45921" y="102439"/>
                  <a:pt x="43240" y="99512"/>
                  <a:pt x="46256" y="102439"/>
                </a:cubicBezTo>
                <a:cubicBezTo>
                  <a:pt x="48938" y="103170"/>
                  <a:pt x="46256" y="98780"/>
                  <a:pt x="48938" y="102439"/>
                </a:cubicBezTo>
                <a:cubicBezTo>
                  <a:pt x="50279" y="103170"/>
                  <a:pt x="50279" y="103170"/>
                  <a:pt x="51284" y="104634"/>
                </a:cubicBezTo>
                <a:cubicBezTo>
                  <a:pt x="51955" y="105365"/>
                  <a:pt x="51955" y="103170"/>
                  <a:pt x="51284" y="103170"/>
                </a:cubicBezTo>
                <a:cubicBezTo>
                  <a:pt x="50279" y="102439"/>
                  <a:pt x="52960" y="96585"/>
                  <a:pt x="50949" y="96585"/>
                </a:cubicBezTo>
                <a:cubicBezTo>
                  <a:pt x="49273" y="96585"/>
                  <a:pt x="49273" y="97317"/>
                  <a:pt x="47932" y="96585"/>
                </a:cubicBezTo>
                <a:cubicBezTo>
                  <a:pt x="46256" y="95121"/>
                  <a:pt x="47262" y="95121"/>
                  <a:pt x="46927" y="91463"/>
                </a:cubicBezTo>
                <a:cubicBezTo>
                  <a:pt x="45921" y="88536"/>
                  <a:pt x="45921" y="92926"/>
                  <a:pt x="45251" y="90731"/>
                </a:cubicBezTo>
                <a:cubicBezTo>
                  <a:pt x="44916" y="88536"/>
                  <a:pt x="44916" y="91463"/>
                  <a:pt x="44245" y="89268"/>
                </a:cubicBezTo>
                <a:cubicBezTo>
                  <a:pt x="43910" y="88536"/>
                  <a:pt x="43240" y="90731"/>
                  <a:pt x="42905" y="89268"/>
                </a:cubicBezTo>
                <a:cubicBezTo>
                  <a:pt x="42234" y="87073"/>
                  <a:pt x="41899" y="86341"/>
                  <a:pt x="41229" y="89268"/>
                </a:cubicBezTo>
                <a:cubicBezTo>
                  <a:pt x="40558" y="94390"/>
                  <a:pt x="40558" y="90731"/>
                  <a:pt x="39217" y="90731"/>
                </a:cubicBezTo>
                <a:cubicBezTo>
                  <a:pt x="38212" y="90731"/>
                  <a:pt x="38212" y="91463"/>
                  <a:pt x="37541" y="90731"/>
                </a:cubicBezTo>
                <a:cubicBezTo>
                  <a:pt x="36536" y="89268"/>
                  <a:pt x="36201" y="91463"/>
                  <a:pt x="35530" y="87073"/>
                </a:cubicBezTo>
                <a:cubicBezTo>
                  <a:pt x="35195" y="84878"/>
                  <a:pt x="35195" y="87073"/>
                  <a:pt x="34189" y="86341"/>
                </a:cubicBezTo>
                <a:cubicBezTo>
                  <a:pt x="33519" y="84878"/>
                  <a:pt x="33519" y="87073"/>
                  <a:pt x="33184" y="84878"/>
                </a:cubicBezTo>
                <a:cubicBezTo>
                  <a:pt x="32513" y="84146"/>
                  <a:pt x="31508" y="82682"/>
                  <a:pt x="31508" y="84878"/>
                </a:cubicBezTo>
                <a:cubicBezTo>
                  <a:pt x="31508" y="86341"/>
                  <a:pt x="31173" y="84878"/>
                  <a:pt x="29497" y="84146"/>
                </a:cubicBezTo>
                <a:cubicBezTo>
                  <a:pt x="28491" y="84146"/>
                  <a:pt x="28826" y="87073"/>
                  <a:pt x="28491" y="88536"/>
                </a:cubicBezTo>
                <a:cubicBezTo>
                  <a:pt x="27486" y="88536"/>
                  <a:pt x="28491" y="89268"/>
                  <a:pt x="27486" y="89268"/>
                </a:cubicBezTo>
                <a:cubicBezTo>
                  <a:pt x="26815" y="89268"/>
                  <a:pt x="26815" y="90731"/>
                  <a:pt x="27486" y="90731"/>
                </a:cubicBezTo>
                <a:close/>
                <a:moveTo>
                  <a:pt x="113631" y="97317"/>
                </a:moveTo>
                <a:cubicBezTo>
                  <a:pt x="113631" y="98780"/>
                  <a:pt x="113296" y="100975"/>
                  <a:pt x="113296" y="102439"/>
                </a:cubicBezTo>
                <a:cubicBezTo>
                  <a:pt x="113296" y="103170"/>
                  <a:pt x="113631" y="100975"/>
                  <a:pt x="114636" y="102439"/>
                </a:cubicBezTo>
                <a:cubicBezTo>
                  <a:pt x="115642" y="103170"/>
                  <a:pt x="115642" y="99512"/>
                  <a:pt x="116312" y="99512"/>
                </a:cubicBezTo>
                <a:cubicBezTo>
                  <a:pt x="116983" y="99512"/>
                  <a:pt x="116312" y="98780"/>
                  <a:pt x="116983" y="97317"/>
                </a:cubicBezTo>
                <a:cubicBezTo>
                  <a:pt x="116983" y="96585"/>
                  <a:pt x="117318" y="96585"/>
                  <a:pt x="116983" y="96585"/>
                </a:cubicBezTo>
                <a:cubicBezTo>
                  <a:pt x="116312" y="95121"/>
                  <a:pt x="116312" y="95121"/>
                  <a:pt x="116312" y="94390"/>
                </a:cubicBezTo>
                <a:cubicBezTo>
                  <a:pt x="115307" y="94390"/>
                  <a:pt x="113631" y="96585"/>
                  <a:pt x="113631" y="97317"/>
                </a:cubicBezTo>
                <a:close/>
                <a:moveTo>
                  <a:pt x="49273" y="92926"/>
                </a:moveTo>
                <a:cubicBezTo>
                  <a:pt x="49944" y="91463"/>
                  <a:pt x="50949" y="91463"/>
                  <a:pt x="50279" y="90731"/>
                </a:cubicBezTo>
                <a:cubicBezTo>
                  <a:pt x="50279" y="90731"/>
                  <a:pt x="50279" y="90731"/>
                  <a:pt x="48938" y="90731"/>
                </a:cubicBezTo>
                <a:cubicBezTo>
                  <a:pt x="47932" y="90731"/>
                  <a:pt x="46927" y="90731"/>
                  <a:pt x="46927" y="92926"/>
                </a:cubicBezTo>
                <a:cubicBezTo>
                  <a:pt x="47262" y="92926"/>
                  <a:pt x="48938" y="94390"/>
                  <a:pt x="49273" y="92926"/>
                </a:cubicBezTo>
                <a:close/>
                <a:moveTo>
                  <a:pt x="53966" y="91463"/>
                </a:moveTo>
                <a:cubicBezTo>
                  <a:pt x="53966" y="90731"/>
                  <a:pt x="54636" y="91463"/>
                  <a:pt x="54636" y="91463"/>
                </a:cubicBezTo>
                <a:cubicBezTo>
                  <a:pt x="54636" y="90731"/>
                  <a:pt x="54636" y="90731"/>
                  <a:pt x="53966" y="90731"/>
                </a:cubicBezTo>
                <a:cubicBezTo>
                  <a:pt x="53631" y="90731"/>
                  <a:pt x="53966" y="91463"/>
                  <a:pt x="53966" y="91463"/>
                </a:cubicBezTo>
                <a:close/>
                <a:moveTo>
                  <a:pt x="52960" y="103170"/>
                </a:moveTo>
                <a:cubicBezTo>
                  <a:pt x="53966" y="104634"/>
                  <a:pt x="52960" y="104634"/>
                  <a:pt x="53631" y="105365"/>
                </a:cubicBezTo>
                <a:cubicBezTo>
                  <a:pt x="53966" y="105365"/>
                  <a:pt x="53966" y="103170"/>
                  <a:pt x="54636" y="102439"/>
                </a:cubicBezTo>
                <a:cubicBezTo>
                  <a:pt x="55642" y="102439"/>
                  <a:pt x="54636" y="100975"/>
                  <a:pt x="53966" y="99512"/>
                </a:cubicBezTo>
                <a:cubicBezTo>
                  <a:pt x="53631" y="98780"/>
                  <a:pt x="53631" y="100975"/>
                  <a:pt x="52625" y="99512"/>
                </a:cubicBezTo>
                <a:cubicBezTo>
                  <a:pt x="51284" y="98780"/>
                  <a:pt x="51284" y="99512"/>
                  <a:pt x="51955" y="100975"/>
                </a:cubicBezTo>
                <a:cubicBezTo>
                  <a:pt x="51955" y="102439"/>
                  <a:pt x="52625" y="102439"/>
                  <a:pt x="52960" y="103170"/>
                </a:cubicBezTo>
                <a:close/>
                <a:moveTo>
                  <a:pt x="55642" y="104634"/>
                </a:moveTo>
                <a:cubicBezTo>
                  <a:pt x="54972" y="104634"/>
                  <a:pt x="54972" y="105365"/>
                  <a:pt x="56648" y="105365"/>
                </a:cubicBezTo>
                <a:cubicBezTo>
                  <a:pt x="57653" y="105365"/>
                  <a:pt x="56983" y="105365"/>
                  <a:pt x="57653" y="103170"/>
                </a:cubicBezTo>
                <a:cubicBezTo>
                  <a:pt x="57988" y="100975"/>
                  <a:pt x="57988" y="100975"/>
                  <a:pt x="56983" y="100975"/>
                </a:cubicBezTo>
                <a:cubicBezTo>
                  <a:pt x="56648" y="99512"/>
                  <a:pt x="55977" y="102439"/>
                  <a:pt x="55977" y="102439"/>
                </a:cubicBezTo>
                <a:cubicBezTo>
                  <a:pt x="55977" y="103170"/>
                  <a:pt x="55977" y="104634"/>
                  <a:pt x="55642" y="104634"/>
                </a:cubicBezTo>
                <a:close/>
                <a:moveTo>
                  <a:pt x="58659" y="106829"/>
                </a:moveTo>
                <a:cubicBezTo>
                  <a:pt x="58994" y="106829"/>
                  <a:pt x="60670" y="105365"/>
                  <a:pt x="61005" y="105365"/>
                </a:cubicBezTo>
                <a:cubicBezTo>
                  <a:pt x="61675" y="105365"/>
                  <a:pt x="62011" y="104634"/>
                  <a:pt x="62011" y="104634"/>
                </a:cubicBezTo>
                <a:cubicBezTo>
                  <a:pt x="62011" y="105365"/>
                  <a:pt x="62681" y="104634"/>
                  <a:pt x="63351" y="105365"/>
                </a:cubicBezTo>
                <a:cubicBezTo>
                  <a:pt x="63351" y="105365"/>
                  <a:pt x="64357" y="105365"/>
                  <a:pt x="63687" y="104634"/>
                </a:cubicBezTo>
                <a:cubicBezTo>
                  <a:pt x="63351" y="104634"/>
                  <a:pt x="62681" y="103170"/>
                  <a:pt x="63351" y="104634"/>
                </a:cubicBezTo>
                <a:cubicBezTo>
                  <a:pt x="64357" y="104634"/>
                  <a:pt x="64357" y="104634"/>
                  <a:pt x="64357" y="104634"/>
                </a:cubicBezTo>
                <a:cubicBezTo>
                  <a:pt x="64357" y="103170"/>
                  <a:pt x="63687" y="99512"/>
                  <a:pt x="63351" y="100975"/>
                </a:cubicBezTo>
                <a:cubicBezTo>
                  <a:pt x="62681" y="102439"/>
                  <a:pt x="62681" y="99512"/>
                  <a:pt x="62011" y="100975"/>
                </a:cubicBezTo>
                <a:cubicBezTo>
                  <a:pt x="61675" y="102439"/>
                  <a:pt x="61675" y="99512"/>
                  <a:pt x="60670" y="99512"/>
                </a:cubicBezTo>
                <a:cubicBezTo>
                  <a:pt x="59664" y="99512"/>
                  <a:pt x="60670" y="102439"/>
                  <a:pt x="61005" y="102439"/>
                </a:cubicBezTo>
                <a:cubicBezTo>
                  <a:pt x="61005" y="102439"/>
                  <a:pt x="62011" y="103170"/>
                  <a:pt x="61675" y="103170"/>
                </a:cubicBezTo>
                <a:cubicBezTo>
                  <a:pt x="60670" y="103170"/>
                  <a:pt x="61005" y="104634"/>
                  <a:pt x="60670" y="103170"/>
                </a:cubicBezTo>
                <a:cubicBezTo>
                  <a:pt x="60000" y="103170"/>
                  <a:pt x="60000" y="102439"/>
                  <a:pt x="59664" y="102439"/>
                </a:cubicBezTo>
                <a:cubicBezTo>
                  <a:pt x="58994" y="102439"/>
                  <a:pt x="58659" y="100975"/>
                  <a:pt x="58659" y="102439"/>
                </a:cubicBezTo>
                <a:cubicBezTo>
                  <a:pt x="57988" y="103170"/>
                  <a:pt x="57653" y="102439"/>
                  <a:pt x="57988" y="104634"/>
                </a:cubicBezTo>
                <a:cubicBezTo>
                  <a:pt x="57988" y="105365"/>
                  <a:pt x="57653" y="106829"/>
                  <a:pt x="58659" y="106829"/>
                </a:cubicBezTo>
                <a:close/>
                <a:moveTo>
                  <a:pt x="59664" y="100975"/>
                </a:moveTo>
                <a:cubicBezTo>
                  <a:pt x="59664" y="99512"/>
                  <a:pt x="60000" y="99512"/>
                  <a:pt x="60000" y="100975"/>
                </a:cubicBezTo>
                <a:cubicBezTo>
                  <a:pt x="60000" y="100975"/>
                  <a:pt x="59664" y="102439"/>
                  <a:pt x="59664" y="100975"/>
                </a:cubicBezTo>
                <a:close/>
                <a:moveTo>
                  <a:pt x="65363" y="103170"/>
                </a:moveTo>
                <a:cubicBezTo>
                  <a:pt x="65363" y="102439"/>
                  <a:pt x="65363" y="102439"/>
                  <a:pt x="65363" y="102439"/>
                </a:cubicBezTo>
                <a:cubicBezTo>
                  <a:pt x="64692" y="102439"/>
                  <a:pt x="64692" y="102439"/>
                  <a:pt x="64692" y="102439"/>
                </a:cubicBezTo>
                <a:cubicBezTo>
                  <a:pt x="64692" y="103170"/>
                  <a:pt x="64692" y="103170"/>
                  <a:pt x="64692" y="104634"/>
                </a:cubicBezTo>
                <a:cubicBezTo>
                  <a:pt x="64692" y="105365"/>
                  <a:pt x="64692" y="103170"/>
                  <a:pt x="65363" y="103170"/>
                </a:cubicBezTo>
                <a:close/>
                <a:moveTo>
                  <a:pt x="65363" y="104634"/>
                </a:moveTo>
                <a:cubicBezTo>
                  <a:pt x="65363" y="105365"/>
                  <a:pt x="65363" y="103170"/>
                  <a:pt x="65698" y="103170"/>
                </a:cubicBezTo>
                <a:cubicBezTo>
                  <a:pt x="65698" y="103170"/>
                  <a:pt x="65698" y="104634"/>
                  <a:pt x="65363" y="104634"/>
                </a:cubicBezTo>
                <a:close/>
                <a:moveTo>
                  <a:pt x="66703" y="104634"/>
                </a:moveTo>
                <a:cubicBezTo>
                  <a:pt x="67374" y="105365"/>
                  <a:pt x="68379" y="104634"/>
                  <a:pt x="68715" y="105365"/>
                </a:cubicBezTo>
                <a:cubicBezTo>
                  <a:pt x="69385" y="106829"/>
                  <a:pt x="69385" y="105365"/>
                  <a:pt x="69720" y="105365"/>
                </a:cubicBezTo>
                <a:cubicBezTo>
                  <a:pt x="69720" y="105365"/>
                  <a:pt x="69720" y="104634"/>
                  <a:pt x="70391" y="105365"/>
                </a:cubicBezTo>
                <a:cubicBezTo>
                  <a:pt x="71396" y="105365"/>
                  <a:pt x="71731" y="104634"/>
                  <a:pt x="71731" y="104634"/>
                </a:cubicBezTo>
                <a:cubicBezTo>
                  <a:pt x="72402" y="104634"/>
                  <a:pt x="74078" y="103170"/>
                  <a:pt x="74078" y="103170"/>
                </a:cubicBezTo>
                <a:cubicBezTo>
                  <a:pt x="74078" y="102439"/>
                  <a:pt x="74413" y="102439"/>
                  <a:pt x="74413" y="99512"/>
                </a:cubicBezTo>
                <a:cubicBezTo>
                  <a:pt x="74078" y="98780"/>
                  <a:pt x="73407" y="100975"/>
                  <a:pt x="74078" y="100975"/>
                </a:cubicBezTo>
                <a:cubicBezTo>
                  <a:pt x="74078" y="100975"/>
                  <a:pt x="74078" y="100975"/>
                  <a:pt x="73407" y="102439"/>
                </a:cubicBezTo>
                <a:cubicBezTo>
                  <a:pt x="72402" y="102439"/>
                  <a:pt x="73407" y="103170"/>
                  <a:pt x="72737" y="103170"/>
                </a:cubicBezTo>
                <a:cubicBezTo>
                  <a:pt x="71731" y="104634"/>
                  <a:pt x="71731" y="100975"/>
                  <a:pt x="71396" y="102439"/>
                </a:cubicBezTo>
                <a:cubicBezTo>
                  <a:pt x="70726" y="103170"/>
                  <a:pt x="70726" y="102439"/>
                  <a:pt x="70391" y="103170"/>
                </a:cubicBezTo>
                <a:cubicBezTo>
                  <a:pt x="69720" y="103170"/>
                  <a:pt x="69385" y="102439"/>
                  <a:pt x="68715" y="100975"/>
                </a:cubicBezTo>
                <a:cubicBezTo>
                  <a:pt x="68379" y="100975"/>
                  <a:pt x="67374" y="99512"/>
                  <a:pt x="66703" y="100975"/>
                </a:cubicBezTo>
                <a:cubicBezTo>
                  <a:pt x="66368" y="102439"/>
                  <a:pt x="65698" y="102439"/>
                  <a:pt x="65698" y="104634"/>
                </a:cubicBezTo>
                <a:cubicBezTo>
                  <a:pt x="65698" y="106829"/>
                  <a:pt x="66368" y="104634"/>
                  <a:pt x="66703" y="104634"/>
                </a:cubicBezTo>
                <a:close/>
                <a:moveTo>
                  <a:pt x="67709" y="82682"/>
                </a:moveTo>
                <a:cubicBezTo>
                  <a:pt x="67709" y="84146"/>
                  <a:pt x="67709" y="89268"/>
                  <a:pt x="67709" y="87073"/>
                </a:cubicBezTo>
                <a:cubicBezTo>
                  <a:pt x="67374" y="86341"/>
                  <a:pt x="67709" y="82682"/>
                  <a:pt x="67709" y="82682"/>
                </a:cubicBezTo>
                <a:close/>
                <a:moveTo>
                  <a:pt x="74413" y="102439"/>
                </a:moveTo>
                <a:cubicBezTo>
                  <a:pt x="74413" y="102439"/>
                  <a:pt x="75083" y="102439"/>
                  <a:pt x="74413" y="103170"/>
                </a:cubicBezTo>
                <a:cubicBezTo>
                  <a:pt x="74078" y="103170"/>
                  <a:pt x="74078" y="103170"/>
                  <a:pt x="74413" y="102439"/>
                </a:cubicBezTo>
                <a:close/>
                <a:moveTo>
                  <a:pt x="75083" y="102439"/>
                </a:moveTo>
                <a:cubicBezTo>
                  <a:pt x="75083" y="102439"/>
                  <a:pt x="75083" y="102439"/>
                  <a:pt x="75418" y="100975"/>
                </a:cubicBezTo>
                <a:cubicBezTo>
                  <a:pt x="75418" y="100975"/>
                  <a:pt x="75083" y="100975"/>
                  <a:pt x="74413" y="100975"/>
                </a:cubicBezTo>
                <a:cubicBezTo>
                  <a:pt x="74413" y="102439"/>
                  <a:pt x="74413" y="102439"/>
                  <a:pt x="75083" y="102439"/>
                </a:cubicBezTo>
                <a:close/>
                <a:moveTo>
                  <a:pt x="75418" y="103170"/>
                </a:moveTo>
                <a:cubicBezTo>
                  <a:pt x="76424" y="103170"/>
                  <a:pt x="75418" y="102439"/>
                  <a:pt x="76089" y="102439"/>
                </a:cubicBezTo>
                <a:cubicBezTo>
                  <a:pt x="76424" y="102439"/>
                  <a:pt x="76089" y="102439"/>
                  <a:pt x="76424" y="100975"/>
                </a:cubicBezTo>
                <a:cubicBezTo>
                  <a:pt x="77094" y="100975"/>
                  <a:pt x="77094" y="100975"/>
                  <a:pt x="76424" y="100975"/>
                </a:cubicBezTo>
                <a:cubicBezTo>
                  <a:pt x="76089" y="100975"/>
                  <a:pt x="75418" y="100975"/>
                  <a:pt x="75418" y="100975"/>
                </a:cubicBezTo>
                <a:cubicBezTo>
                  <a:pt x="75418" y="102439"/>
                  <a:pt x="75418" y="102439"/>
                  <a:pt x="75083" y="102439"/>
                </a:cubicBezTo>
                <a:cubicBezTo>
                  <a:pt x="74413" y="103170"/>
                  <a:pt x="75083" y="103170"/>
                  <a:pt x="75418" y="103170"/>
                </a:cubicBezTo>
                <a:close/>
                <a:moveTo>
                  <a:pt x="77430" y="102439"/>
                </a:moveTo>
                <a:cubicBezTo>
                  <a:pt x="78100" y="100975"/>
                  <a:pt x="78100" y="99512"/>
                  <a:pt x="77430" y="100975"/>
                </a:cubicBezTo>
                <a:cubicBezTo>
                  <a:pt x="77094" y="102439"/>
                  <a:pt x="77094" y="99512"/>
                  <a:pt x="77094" y="102439"/>
                </a:cubicBezTo>
                <a:cubicBezTo>
                  <a:pt x="77094" y="102439"/>
                  <a:pt x="77094" y="103170"/>
                  <a:pt x="77430" y="102439"/>
                </a:cubicBezTo>
                <a:close/>
                <a:moveTo>
                  <a:pt x="79441" y="102439"/>
                </a:moveTo>
                <a:cubicBezTo>
                  <a:pt x="80446" y="102439"/>
                  <a:pt x="80111" y="99512"/>
                  <a:pt x="79106" y="99512"/>
                </a:cubicBezTo>
                <a:cubicBezTo>
                  <a:pt x="78100" y="100975"/>
                  <a:pt x="78435" y="98780"/>
                  <a:pt x="78100" y="100975"/>
                </a:cubicBezTo>
                <a:cubicBezTo>
                  <a:pt x="77430" y="103170"/>
                  <a:pt x="78435" y="102439"/>
                  <a:pt x="79441" y="102439"/>
                </a:cubicBezTo>
                <a:close/>
                <a:moveTo>
                  <a:pt x="65698" y="111951"/>
                </a:moveTo>
                <a:cubicBezTo>
                  <a:pt x="66703" y="113414"/>
                  <a:pt x="66703" y="115609"/>
                  <a:pt x="66703" y="114878"/>
                </a:cubicBezTo>
                <a:cubicBezTo>
                  <a:pt x="67374" y="114878"/>
                  <a:pt x="67374" y="115609"/>
                  <a:pt x="67709" y="115609"/>
                </a:cubicBezTo>
                <a:cubicBezTo>
                  <a:pt x="67709" y="114878"/>
                  <a:pt x="68379" y="114878"/>
                  <a:pt x="68379" y="114878"/>
                </a:cubicBezTo>
                <a:cubicBezTo>
                  <a:pt x="68715" y="113414"/>
                  <a:pt x="67709" y="111219"/>
                  <a:pt x="67374" y="111219"/>
                </a:cubicBezTo>
                <a:cubicBezTo>
                  <a:pt x="66703" y="109756"/>
                  <a:pt x="67374" y="109756"/>
                  <a:pt x="66703" y="109024"/>
                </a:cubicBezTo>
                <a:cubicBezTo>
                  <a:pt x="66368" y="107560"/>
                  <a:pt x="65698" y="109024"/>
                  <a:pt x="65363" y="109024"/>
                </a:cubicBezTo>
                <a:cubicBezTo>
                  <a:pt x="65363" y="109024"/>
                  <a:pt x="63687" y="107560"/>
                  <a:pt x="63687" y="109756"/>
                </a:cubicBezTo>
                <a:cubicBezTo>
                  <a:pt x="63687" y="111951"/>
                  <a:pt x="64692" y="111219"/>
                  <a:pt x="65698" y="111951"/>
                </a:cubicBezTo>
                <a:close/>
                <a:moveTo>
                  <a:pt x="75418" y="117804"/>
                </a:moveTo>
                <a:cubicBezTo>
                  <a:pt x="75418" y="117804"/>
                  <a:pt x="75418" y="115609"/>
                  <a:pt x="75083" y="117804"/>
                </a:cubicBezTo>
                <a:cubicBezTo>
                  <a:pt x="74413" y="119268"/>
                  <a:pt x="74078" y="117804"/>
                  <a:pt x="74078" y="119268"/>
                </a:cubicBezTo>
                <a:cubicBezTo>
                  <a:pt x="74078" y="120000"/>
                  <a:pt x="75083" y="119268"/>
                  <a:pt x="75418" y="117804"/>
                </a:cubicBezTo>
                <a:close/>
                <a:moveTo>
                  <a:pt x="77430" y="114878"/>
                </a:moveTo>
                <a:cubicBezTo>
                  <a:pt x="78100" y="114878"/>
                  <a:pt x="78100" y="114878"/>
                  <a:pt x="79106" y="111951"/>
                </a:cubicBezTo>
                <a:cubicBezTo>
                  <a:pt x="79441" y="109756"/>
                  <a:pt x="79441" y="109756"/>
                  <a:pt x="80446" y="109024"/>
                </a:cubicBezTo>
                <a:cubicBezTo>
                  <a:pt x="81452" y="106829"/>
                  <a:pt x="82122" y="107560"/>
                  <a:pt x="82458" y="106829"/>
                </a:cubicBezTo>
                <a:cubicBezTo>
                  <a:pt x="82458" y="105365"/>
                  <a:pt x="83128" y="106829"/>
                  <a:pt x="83463" y="105365"/>
                </a:cubicBezTo>
                <a:cubicBezTo>
                  <a:pt x="84134" y="103170"/>
                  <a:pt x="84804" y="104634"/>
                  <a:pt x="85139" y="103170"/>
                </a:cubicBezTo>
                <a:cubicBezTo>
                  <a:pt x="85810" y="102439"/>
                  <a:pt x="86145" y="102439"/>
                  <a:pt x="85810" y="100975"/>
                </a:cubicBezTo>
                <a:cubicBezTo>
                  <a:pt x="84804" y="100975"/>
                  <a:pt x="84134" y="102439"/>
                  <a:pt x="83463" y="102439"/>
                </a:cubicBezTo>
                <a:cubicBezTo>
                  <a:pt x="83128" y="102439"/>
                  <a:pt x="82458" y="103170"/>
                  <a:pt x="82122" y="102439"/>
                </a:cubicBezTo>
                <a:cubicBezTo>
                  <a:pt x="82122" y="102439"/>
                  <a:pt x="81452" y="102439"/>
                  <a:pt x="80446" y="103170"/>
                </a:cubicBezTo>
                <a:cubicBezTo>
                  <a:pt x="79441" y="104634"/>
                  <a:pt x="80111" y="104634"/>
                  <a:pt x="79106" y="106829"/>
                </a:cubicBezTo>
                <a:cubicBezTo>
                  <a:pt x="78100" y="107560"/>
                  <a:pt x="78100" y="106829"/>
                  <a:pt x="77094" y="109024"/>
                </a:cubicBezTo>
                <a:cubicBezTo>
                  <a:pt x="76089" y="109756"/>
                  <a:pt x="76089" y="111219"/>
                  <a:pt x="76089" y="111951"/>
                </a:cubicBezTo>
                <a:cubicBezTo>
                  <a:pt x="75418" y="113414"/>
                  <a:pt x="76424" y="113414"/>
                  <a:pt x="76089" y="114878"/>
                </a:cubicBezTo>
                <a:cubicBezTo>
                  <a:pt x="75418" y="114878"/>
                  <a:pt x="75083" y="115609"/>
                  <a:pt x="76089" y="115609"/>
                </a:cubicBezTo>
                <a:cubicBezTo>
                  <a:pt x="77094" y="117073"/>
                  <a:pt x="77094" y="114878"/>
                  <a:pt x="77430" y="114878"/>
                </a:cubicBezTo>
                <a:close/>
                <a:moveTo>
                  <a:pt x="67374" y="81951"/>
                </a:moveTo>
                <a:cubicBezTo>
                  <a:pt x="68379" y="81951"/>
                  <a:pt x="66703" y="78292"/>
                  <a:pt x="67374" y="76097"/>
                </a:cubicBezTo>
                <a:cubicBezTo>
                  <a:pt x="67709" y="74634"/>
                  <a:pt x="67374" y="70975"/>
                  <a:pt x="67374" y="66585"/>
                </a:cubicBezTo>
                <a:cubicBezTo>
                  <a:pt x="67709" y="62195"/>
                  <a:pt x="66368" y="64390"/>
                  <a:pt x="67709" y="61463"/>
                </a:cubicBezTo>
                <a:cubicBezTo>
                  <a:pt x="69385" y="58536"/>
                  <a:pt x="69720" y="62195"/>
                  <a:pt x="68715" y="64390"/>
                </a:cubicBezTo>
                <a:cubicBezTo>
                  <a:pt x="68379" y="68048"/>
                  <a:pt x="69385" y="68048"/>
                  <a:pt x="69720" y="70243"/>
                </a:cubicBezTo>
                <a:cubicBezTo>
                  <a:pt x="70726" y="72439"/>
                  <a:pt x="69385" y="76829"/>
                  <a:pt x="71396" y="76829"/>
                </a:cubicBezTo>
                <a:cubicBezTo>
                  <a:pt x="72402" y="76829"/>
                  <a:pt x="71396" y="74634"/>
                  <a:pt x="72402" y="73902"/>
                </a:cubicBezTo>
                <a:cubicBezTo>
                  <a:pt x="73407" y="72439"/>
                  <a:pt x="73407" y="74634"/>
                  <a:pt x="74078" y="72439"/>
                </a:cubicBezTo>
                <a:cubicBezTo>
                  <a:pt x="74413" y="68780"/>
                  <a:pt x="71731" y="68780"/>
                  <a:pt x="72402" y="66585"/>
                </a:cubicBezTo>
                <a:cubicBezTo>
                  <a:pt x="73407" y="64390"/>
                  <a:pt x="71731" y="60000"/>
                  <a:pt x="70726" y="57804"/>
                </a:cubicBezTo>
                <a:cubicBezTo>
                  <a:pt x="69385" y="54146"/>
                  <a:pt x="72402" y="54146"/>
                  <a:pt x="73407" y="49756"/>
                </a:cubicBezTo>
                <a:cubicBezTo>
                  <a:pt x="74413" y="45365"/>
                  <a:pt x="75083" y="51219"/>
                  <a:pt x="75418" y="49024"/>
                </a:cubicBezTo>
                <a:cubicBezTo>
                  <a:pt x="76089" y="47560"/>
                  <a:pt x="76089" y="46097"/>
                  <a:pt x="74078" y="46097"/>
                </a:cubicBezTo>
                <a:cubicBezTo>
                  <a:pt x="71731" y="46097"/>
                  <a:pt x="72402" y="49024"/>
                  <a:pt x="70726" y="49024"/>
                </a:cubicBezTo>
                <a:cubicBezTo>
                  <a:pt x="69385" y="47560"/>
                  <a:pt x="69720" y="51951"/>
                  <a:pt x="68379" y="51951"/>
                </a:cubicBezTo>
                <a:cubicBezTo>
                  <a:pt x="67374" y="51219"/>
                  <a:pt x="68379" y="49756"/>
                  <a:pt x="67374" y="47560"/>
                </a:cubicBezTo>
                <a:cubicBezTo>
                  <a:pt x="65698" y="46097"/>
                  <a:pt x="66703" y="35853"/>
                  <a:pt x="68379" y="38048"/>
                </a:cubicBezTo>
                <a:cubicBezTo>
                  <a:pt x="69385" y="39512"/>
                  <a:pt x="70391" y="38048"/>
                  <a:pt x="70726" y="38048"/>
                </a:cubicBezTo>
                <a:cubicBezTo>
                  <a:pt x="71731" y="39512"/>
                  <a:pt x="74413" y="37317"/>
                  <a:pt x="75083" y="38048"/>
                </a:cubicBezTo>
                <a:cubicBezTo>
                  <a:pt x="75083" y="39512"/>
                  <a:pt x="77430" y="40975"/>
                  <a:pt x="78435" y="37317"/>
                </a:cubicBezTo>
                <a:cubicBezTo>
                  <a:pt x="79441" y="33658"/>
                  <a:pt x="80446" y="31463"/>
                  <a:pt x="80111" y="30731"/>
                </a:cubicBezTo>
                <a:cubicBezTo>
                  <a:pt x="79441" y="28536"/>
                  <a:pt x="78435" y="31463"/>
                  <a:pt x="77430" y="35121"/>
                </a:cubicBezTo>
                <a:cubicBezTo>
                  <a:pt x="77094" y="37317"/>
                  <a:pt x="74413" y="33658"/>
                  <a:pt x="74078" y="35121"/>
                </a:cubicBezTo>
                <a:cubicBezTo>
                  <a:pt x="74078" y="35853"/>
                  <a:pt x="72737" y="33658"/>
                  <a:pt x="71396" y="33658"/>
                </a:cubicBezTo>
                <a:cubicBezTo>
                  <a:pt x="69720" y="35121"/>
                  <a:pt x="70726" y="32926"/>
                  <a:pt x="69720" y="32926"/>
                </a:cubicBezTo>
                <a:cubicBezTo>
                  <a:pt x="69385" y="32926"/>
                  <a:pt x="68715" y="31463"/>
                  <a:pt x="68379" y="32926"/>
                </a:cubicBezTo>
                <a:cubicBezTo>
                  <a:pt x="68379" y="33658"/>
                  <a:pt x="67709" y="37317"/>
                  <a:pt x="67374" y="35121"/>
                </a:cubicBezTo>
                <a:cubicBezTo>
                  <a:pt x="66703" y="33658"/>
                  <a:pt x="66703" y="37317"/>
                  <a:pt x="66368" y="38048"/>
                </a:cubicBezTo>
                <a:cubicBezTo>
                  <a:pt x="65363" y="40975"/>
                  <a:pt x="66368" y="41707"/>
                  <a:pt x="65698" y="41707"/>
                </a:cubicBezTo>
                <a:cubicBezTo>
                  <a:pt x="64692" y="43170"/>
                  <a:pt x="65698" y="43170"/>
                  <a:pt x="65698" y="45365"/>
                </a:cubicBezTo>
                <a:cubicBezTo>
                  <a:pt x="65363" y="47560"/>
                  <a:pt x="64357" y="49024"/>
                  <a:pt x="64692" y="53414"/>
                </a:cubicBezTo>
                <a:cubicBezTo>
                  <a:pt x="64692" y="57804"/>
                  <a:pt x="64357" y="54146"/>
                  <a:pt x="64357" y="57804"/>
                </a:cubicBezTo>
                <a:cubicBezTo>
                  <a:pt x="64357" y="62195"/>
                  <a:pt x="62681" y="60000"/>
                  <a:pt x="63351" y="62195"/>
                </a:cubicBezTo>
                <a:cubicBezTo>
                  <a:pt x="63687" y="64390"/>
                  <a:pt x="62681" y="62195"/>
                  <a:pt x="63351" y="65853"/>
                </a:cubicBezTo>
                <a:cubicBezTo>
                  <a:pt x="63687" y="68780"/>
                  <a:pt x="64357" y="64390"/>
                  <a:pt x="65363" y="68048"/>
                </a:cubicBezTo>
                <a:cubicBezTo>
                  <a:pt x="66368" y="72439"/>
                  <a:pt x="64357" y="78292"/>
                  <a:pt x="65363" y="81951"/>
                </a:cubicBezTo>
                <a:cubicBezTo>
                  <a:pt x="65698" y="84146"/>
                  <a:pt x="66368" y="81951"/>
                  <a:pt x="67374" y="81951"/>
                </a:cubicBezTo>
                <a:close/>
                <a:moveTo>
                  <a:pt x="84134" y="68780"/>
                </a:moveTo>
                <a:cubicBezTo>
                  <a:pt x="84804" y="70243"/>
                  <a:pt x="86145" y="66585"/>
                  <a:pt x="85139" y="64390"/>
                </a:cubicBezTo>
                <a:cubicBezTo>
                  <a:pt x="84804" y="62195"/>
                  <a:pt x="82458" y="62195"/>
                  <a:pt x="82458" y="64390"/>
                </a:cubicBezTo>
                <a:cubicBezTo>
                  <a:pt x="82122" y="65853"/>
                  <a:pt x="83128" y="68048"/>
                  <a:pt x="84134" y="68780"/>
                </a:cubicBezTo>
                <a:close/>
                <a:moveTo>
                  <a:pt x="88156" y="64390"/>
                </a:moveTo>
                <a:cubicBezTo>
                  <a:pt x="88156" y="63658"/>
                  <a:pt x="88826" y="66585"/>
                  <a:pt x="89832" y="65853"/>
                </a:cubicBezTo>
                <a:cubicBezTo>
                  <a:pt x="90837" y="63658"/>
                  <a:pt x="91843" y="66585"/>
                  <a:pt x="91843" y="65853"/>
                </a:cubicBezTo>
                <a:cubicBezTo>
                  <a:pt x="91843" y="64390"/>
                  <a:pt x="93184" y="66585"/>
                  <a:pt x="94189" y="68780"/>
                </a:cubicBezTo>
                <a:cubicBezTo>
                  <a:pt x="95865" y="70243"/>
                  <a:pt x="95865" y="68048"/>
                  <a:pt x="94860" y="64390"/>
                </a:cubicBezTo>
                <a:cubicBezTo>
                  <a:pt x="93854" y="61463"/>
                  <a:pt x="93854" y="64390"/>
                  <a:pt x="92178" y="62195"/>
                </a:cubicBezTo>
                <a:cubicBezTo>
                  <a:pt x="91173" y="60000"/>
                  <a:pt x="91843" y="62195"/>
                  <a:pt x="90167" y="62195"/>
                </a:cubicBezTo>
                <a:cubicBezTo>
                  <a:pt x="88156" y="61463"/>
                  <a:pt x="87150" y="63658"/>
                  <a:pt x="87150" y="65853"/>
                </a:cubicBezTo>
                <a:cubicBezTo>
                  <a:pt x="87821" y="68780"/>
                  <a:pt x="87821" y="64390"/>
                  <a:pt x="88156" y="64390"/>
                </a:cubicBezTo>
                <a:close/>
                <a:moveTo>
                  <a:pt x="78100" y="55609"/>
                </a:moveTo>
                <a:cubicBezTo>
                  <a:pt x="78100" y="51951"/>
                  <a:pt x="80446" y="54146"/>
                  <a:pt x="80446" y="54146"/>
                </a:cubicBezTo>
                <a:cubicBezTo>
                  <a:pt x="80446" y="55609"/>
                  <a:pt x="78100" y="56341"/>
                  <a:pt x="78100" y="55609"/>
                </a:cubicBezTo>
                <a:close/>
                <a:moveTo>
                  <a:pt x="80446" y="55609"/>
                </a:moveTo>
                <a:cubicBezTo>
                  <a:pt x="81117" y="53414"/>
                  <a:pt x="84134" y="54146"/>
                  <a:pt x="83128" y="54146"/>
                </a:cubicBezTo>
                <a:cubicBezTo>
                  <a:pt x="82458" y="55609"/>
                  <a:pt x="80446" y="56341"/>
                  <a:pt x="80446" y="55609"/>
                </a:cubicBezTo>
                <a:close/>
                <a:moveTo>
                  <a:pt x="86815" y="54146"/>
                </a:moveTo>
                <a:cubicBezTo>
                  <a:pt x="87821" y="53414"/>
                  <a:pt x="88826" y="54146"/>
                  <a:pt x="87821" y="51951"/>
                </a:cubicBezTo>
                <a:cubicBezTo>
                  <a:pt x="86815" y="51219"/>
                  <a:pt x="86145" y="51219"/>
                  <a:pt x="86145" y="53414"/>
                </a:cubicBezTo>
                <a:cubicBezTo>
                  <a:pt x="86145" y="54146"/>
                  <a:pt x="86145" y="54146"/>
                  <a:pt x="86815" y="54146"/>
                </a:cubicBezTo>
                <a:close/>
                <a:moveTo>
                  <a:pt x="92178" y="55609"/>
                </a:moveTo>
                <a:cubicBezTo>
                  <a:pt x="92849" y="56341"/>
                  <a:pt x="93854" y="57804"/>
                  <a:pt x="93854" y="55609"/>
                </a:cubicBezTo>
                <a:cubicBezTo>
                  <a:pt x="94189" y="54146"/>
                  <a:pt x="93854" y="53414"/>
                  <a:pt x="92849" y="54146"/>
                </a:cubicBezTo>
                <a:cubicBezTo>
                  <a:pt x="92178" y="54146"/>
                  <a:pt x="91843" y="55609"/>
                  <a:pt x="92178" y="55609"/>
                </a:cubicBezTo>
                <a:close/>
                <a:moveTo>
                  <a:pt x="95530" y="49024"/>
                </a:moveTo>
                <a:cubicBezTo>
                  <a:pt x="95530" y="47560"/>
                  <a:pt x="94189" y="49024"/>
                  <a:pt x="94189" y="49024"/>
                </a:cubicBezTo>
                <a:cubicBezTo>
                  <a:pt x="94860" y="49756"/>
                  <a:pt x="94860" y="49756"/>
                  <a:pt x="95530" y="51219"/>
                </a:cubicBezTo>
                <a:cubicBezTo>
                  <a:pt x="95530" y="51951"/>
                  <a:pt x="95865" y="49024"/>
                  <a:pt x="95530" y="49024"/>
                </a:cubicBezTo>
                <a:close/>
                <a:moveTo>
                  <a:pt x="95530" y="43170"/>
                </a:moveTo>
                <a:cubicBezTo>
                  <a:pt x="95530" y="43170"/>
                  <a:pt x="95865" y="45365"/>
                  <a:pt x="96536" y="43902"/>
                </a:cubicBezTo>
                <a:cubicBezTo>
                  <a:pt x="96871" y="43902"/>
                  <a:pt x="95865" y="41707"/>
                  <a:pt x="94860" y="41707"/>
                </a:cubicBezTo>
                <a:cubicBezTo>
                  <a:pt x="93854" y="43170"/>
                  <a:pt x="93184" y="43170"/>
                  <a:pt x="93854" y="43902"/>
                </a:cubicBezTo>
                <a:cubicBezTo>
                  <a:pt x="94189" y="43902"/>
                  <a:pt x="94860" y="45365"/>
                  <a:pt x="95530" y="45365"/>
                </a:cubicBezTo>
                <a:cubicBezTo>
                  <a:pt x="95865" y="43902"/>
                  <a:pt x="94860" y="43170"/>
                  <a:pt x="95530" y="43170"/>
                </a:cubicBezTo>
                <a:close/>
                <a:moveTo>
                  <a:pt x="88156" y="46097"/>
                </a:moveTo>
                <a:cubicBezTo>
                  <a:pt x="87821" y="43902"/>
                  <a:pt x="87150" y="41707"/>
                  <a:pt x="87150" y="39512"/>
                </a:cubicBezTo>
                <a:cubicBezTo>
                  <a:pt x="87821" y="38048"/>
                  <a:pt x="88156" y="38048"/>
                  <a:pt x="89162" y="39512"/>
                </a:cubicBezTo>
                <a:cubicBezTo>
                  <a:pt x="90167" y="40975"/>
                  <a:pt x="89832" y="38048"/>
                  <a:pt x="88826" y="37317"/>
                </a:cubicBezTo>
                <a:cubicBezTo>
                  <a:pt x="87821" y="35853"/>
                  <a:pt x="88826" y="35121"/>
                  <a:pt x="89162" y="35121"/>
                </a:cubicBezTo>
                <a:cubicBezTo>
                  <a:pt x="89832" y="33658"/>
                  <a:pt x="89832" y="30731"/>
                  <a:pt x="88826" y="30731"/>
                </a:cubicBezTo>
                <a:cubicBezTo>
                  <a:pt x="87821" y="31463"/>
                  <a:pt x="87150" y="37317"/>
                  <a:pt x="87150" y="35853"/>
                </a:cubicBezTo>
                <a:cubicBezTo>
                  <a:pt x="86815" y="33658"/>
                  <a:pt x="87150" y="35121"/>
                  <a:pt x="87821" y="31463"/>
                </a:cubicBezTo>
                <a:cubicBezTo>
                  <a:pt x="88156" y="29268"/>
                  <a:pt x="87150" y="29268"/>
                  <a:pt x="87150" y="28536"/>
                </a:cubicBezTo>
                <a:cubicBezTo>
                  <a:pt x="87821" y="27073"/>
                  <a:pt x="88156" y="24878"/>
                  <a:pt x="87150" y="25609"/>
                </a:cubicBezTo>
                <a:cubicBezTo>
                  <a:pt x="86145" y="28536"/>
                  <a:pt x="86145" y="32926"/>
                  <a:pt x="86145" y="35121"/>
                </a:cubicBezTo>
                <a:cubicBezTo>
                  <a:pt x="86815" y="35853"/>
                  <a:pt x="86145" y="37317"/>
                  <a:pt x="86815" y="38048"/>
                </a:cubicBezTo>
                <a:cubicBezTo>
                  <a:pt x="87150" y="40975"/>
                  <a:pt x="86145" y="41707"/>
                  <a:pt x="87150" y="43902"/>
                </a:cubicBezTo>
                <a:cubicBezTo>
                  <a:pt x="87821" y="46097"/>
                  <a:pt x="88156" y="49024"/>
                  <a:pt x="88826" y="49024"/>
                </a:cubicBezTo>
                <a:cubicBezTo>
                  <a:pt x="88826" y="47560"/>
                  <a:pt x="88826" y="47560"/>
                  <a:pt x="88156" y="46097"/>
                </a:cubicBezTo>
                <a:close/>
                <a:moveTo>
                  <a:pt x="88156" y="27073"/>
                </a:moveTo>
                <a:cubicBezTo>
                  <a:pt x="88156" y="24878"/>
                  <a:pt x="88826" y="21219"/>
                  <a:pt x="89162" y="23414"/>
                </a:cubicBezTo>
                <a:cubicBezTo>
                  <a:pt x="89832" y="24878"/>
                  <a:pt x="88156" y="29268"/>
                  <a:pt x="88156" y="27073"/>
                </a:cubicBezTo>
                <a:close/>
                <a:moveTo>
                  <a:pt x="71396" y="80487"/>
                </a:moveTo>
                <a:cubicBezTo>
                  <a:pt x="71396" y="79024"/>
                  <a:pt x="71396" y="76829"/>
                  <a:pt x="71396" y="78292"/>
                </a:cubicBezTo>
                <a:cubicBezTo>
                  <a:pt x="71731" y="80487"/>
                  <a:pt x="71731" y="81951"/>
                  <a:pt x="71396" y="80487"/>
                </a:cubicBezTo>
                <a:close/>
                <a:moveTo>
                  <a:pt x="73407" y="79024"/>
                </a:moveTo>
                <a:cubicBezTo>
                  <a:pt x="73407" y="78292"/>
                  <a:pt x="73407" y="76829"/>
                  <a:pt x="73407" y="76097"/>
                </a:cubicBezTo>
                <a:cubicBezTo>
                  <a:pt x="74078" y="73902"/>
                  <a:pt x="72402" y="74634"/>
                  <a:pt x="72402" y="76829"/>
                </a:cubicBezTo>
                <a:cubicBezTo>
                  <a:pt x="72737" y="78292"/>
                  <a:pt x="71731" y="81951"/>
                  <a:pt x="72737" y="80487"/>
                </a:cubicBezTo>
                <a:cubicBezTo>
                  <a:pt x="73407" y="79024"/>
                  <a:pt x="73407" y="79024"/>
                  <a:pt x="73407" y="79024"/>
                </a:cubicBezTo>
                <a:close/>
                <a:moveTo>
                  <a:pt x="74078" y="81951"/>
                </a:moveTo>
                <a:cubicBezTo>
                  <a:pt x="74413" y="79024"/>
                  <a:pt x="75418" y="81951"/>
                  <a:pt x="74413" y="79024"/>
                </a:cubicBezTo>
                <a:cubicBezTo>
                  <a:pt x="73407" y="76097"/>
                  <a:pt x="75418" y="76829"/>
                  <a:pt x="75083" y="73902"/>
                </a:cubicBezTo>
                <a:cubicBezTo>
                  <a:pt x="74413" y="70975"/>
                  <a:pt x="74078" y="74634"/>
                  <a:pt x="74078" y="78292"/>
                </a:cubicBezTo>
                <a:cubicBezTo>
                  <a:pt x="74078" y="81951"/>
                  <a:pt x="72402" y="81951"/>
                  <a:pt x="73407" y="82682"/>
                </a:cubicBezTo>
                <a:cubicBezTo>
                  <a:pt x="74078" y="82682"/>
                  <a:pt x="74078" y="82682"/>
                  <a:pt x="74078" y="81951"/>
                </a:cubicBezTo>
                <a:close/>
                <a:moveTo>
                  <a:pt x="74078" y="53414"/>
                </a:moveTo>
                <a:cubicBezTo>
                  <a:pt x="74078" y="51219"/>
                  <a:pt x="74078" y="49756"/>
                  <a:pt x="74413" y="49756"/>
                </a:cubicBezTo>
                <a:cubicBezTo>
                  <a:pt x="75083" y="49756"/>
                  <a:pt x="74078" y="53414"/>
                  <a:pt x="74078" y="53414"/>
                </a:cubicBezTo>
                <a:close/>
                <a:moveTo>
                  <a:pt x="75418" y="51219"/>
                </a:moveTo>
                <a:cubicBezTo>
                  <a:pt x="76089" y="49756"/>
                  <a:pt x="76089" y="51951"/>
                  <a:pt x="75418" y="51951"/>
                </a:cubicBezTo>
                <a:cubicBezTo>
                  <a:pt x="75418" y="53414"/>
                  <a:pt x="75083" y="51219"/>
                  <a:pt x="75418" y="51219"/>
                </a:cubicBezTo>
                <a:close/>
                <a:moveTo>
                  <a:pt x="86145" y="46097"/>
                </a:moveTo>
                <a:cubicBezTo>
                  <a:pt x="86145" y="47560"/>
                  <a:pt x="86815" y="47560"/>
                  <a:pt x="86815" y="45365"/>
                </a:cubicBezTo>
                <a:cubicBezTo>
                  <a:pt x="86815" y="43902"/>
                  <a:pt x="86145" y="43170"/>
                  <a:pt x="86145" y="43902"/>
                </a:cubicBezTo>
                <a:cubicBezTo>
                  <a:pt x="85810" y="45365"/>
                  <a:pt x="85810" y="45365"/>
                  <a:pt x="86145" y="46097"/>
                </a:cubicBezTo>
                <a:close/>
                <a:moveTo>
                  <a:pt x="96536" y="98780"/>
                </a:moveTo>
                <a:cubicBezTo>
                  <a:pt x="95530" y="99512"/>
                  <a:pt x="96871" y="91463"/>
                  <a:pt x="97541" y="94390"/>
                </a:cubicBezTo>
                <a:cubicBezTo>
                  <a:pt x="97541" y="95121"/>
                  <a:pt x="97541" y="97317"/>
                  <a:pt x="96536" y="98780"/>
                </a:cubicBezTo>
                <a:close/>
                <a:moveTo>
                  <a:pt x="103910" y="90731"/>
                </a:moveTo>
                <a:cubicBezTo>
                  <a:pt x="103575" y="91463"/>
                  <a:pt x="103575" y="84146"/>
                  <a:pt x="104581" y="87073"/>
                </a:cubicBezTo>
                <a:cubicBezTo>
                  <a:pt x="104916" y="89268"/>
                  <a:pt x="104916" y="90731"/>
                  <a:pt x="103910" y="90731"/>
                </a:cubicBezTo>
                <a:close/>
                <a:moveTo>
                  <a:pt x="82122" y="97317"/>
                </a:moveTo>
                <a:cubicBezTo>
                  <a:pt x="82458" y="96585"/>
                  <a:pt x="84804" y="95121"/>
                  <a:pt x="84804" y="96585"/>
                </a:cubicBezTo>
                <a:cubicBezTo>
                  <a:pt x="84804" y="97317"/>
                  <a:pt x="81117" y="98780"/>
                  <a:pt x="82122" y="97317"/>
                </a:cubicBezTo>
                <a:close/>
                <a:moveTo>
                  <a:pt x="56648" y="68780"/>
                </a:moveTo>
                <a:cubicBezTo>
                  <a:pt x="56648" y="66585"/>
                  <a:pt x="56648" y="64390"/>
                  <a:pt x="55977" y="65853"/>
                </a:cubicBezTo>
                <a:cubicBezTo>
                  <a:pt x="55642" y="66585"/>
                  <a:pt x="55977" y="68048"/>
                  <a:pt x="55977" y="70243"/>
                </a:cubicBezTo>
                <a:cubicBezTo>
                  <a:pt x="55642" y="70975"/>
                  <a:pt x="55977" y="70975"/>
                  <a:pt x="56648" y="68780"/>
                </a:cubicBezTo>
                <a:close/>
                <a:moveTo>
                  <a:pt x="33519" y="64390"/>
                </a:moveTo>
                <a:cubicBezTo>
                  <a:pt x="34189" y="63658"/>
                  <a:pt x="34525" y="65853"/>
                  <a:pt x="35195" y="63658"/>
                </a:cubicBezTo>
                <a:cubicBezTo>
                  <a:pt x="35530" y="62195"/>
                  <a:pt x="35195" y="61463"/>
                  <a:pt x="34189" y="60000"/>
                </a:cubicBezTo>
                <a:cubicBezTo>
                  <a:pt x="33184" y="58536"/>
                  <a:pt x="33184" y="62195"/>
                  <a:pt x="33184" y="64390"/>
                </a:cubicBezTo>
                <a:cubicBezTo>
                  <a:pt x="33519" y="64390"/>
                  <a:pt x="33519" y="65853"/>
                  <a:pt x="33519" y="64390"/>
                </a:cubicBezTo>
                <a:close/>
                <a:moveTo>
                  <a:pt x="27821" y="56341"/>
                </a:moveTo>
                <a:cubicBezTo>
                  <a:pt x="28826" y="56341"/>
                  <a:pt x="28491" y="61463"/>
                  <a:pt x="29497" y="62195"/>
                </a:cubicBezTo>
                <a:cubicBezTo>
                  <a:pt x="30167" y="63658"/>
                  <a:pt x="30167" y="64390"/>
                  <a:pt x="31173" y="63658"/>
                </a:cubicBezTo>
                <a:cubicBezTo>
                  <a:pt x="31508" y="63658"/>
                  <a:pt x="30502" y="62195"/>
                  <a:pt x="30502" y="61463"/>
                </a:cubicBezTo>
                <a:cubicBezTo>
                  <a:pt x="31173" y="60000"/>
                  <a:pt x="31173" y="60000"/>
                  <a:pt x="30167" y="60000"/>
                </a:cubicBezTo>
                <a:cubicBezTo>
                  <a:pt x="28826" y="58536"/>
                  <a:pt x="30167" y="51951"/>
                  <a:pt x="27821" y="51951"/>
                </a:cubicBezTo>
                <a:cubicBezTo>
                  <a:pt x="26815" y="53414"/>
                  <a:pt x="27486" y="54146"/>
                  <a:pt x="26815" y="55609"/>
                </a:cubicBezTo>
                <a:cubicBezTo>
                  <a:pt x="25810" y="56341"/>
                  <a:pt x="27486" y="56341"/>
                  <a:pt x="27821" y="56341"/>
                </a:cubicBezTo>
                <a:close/>
                <a:moveTo>
                  <a:pt x="35195" y="10975"/>
                </a:moveTo>
                <a:cubicBezTo>
                  <a:pt x="35195" y="10975"/>
                  <a:pt x="34189" y="13170"/>
                  <a:pt x="34525" y="14634"/>
                </a:cubicBezTo>
                <a:cubicBezTo>
                  <a:pt x="35195" y="14634"/>
                  <a:pt x="34189" y="15365"/>
                  <a:pt x="34525" y="15365"/>
                </a:cubicBezTo>
                <a:cubicBezTo>
                  <a:pt x="35530" y="16829"/>
                  <a:pt x="35195" y="12439"/>
                  <a:pt x="35195" y="10975"/>
                </a:cubicBezTo>
                <a:close/>
                <a:moveTo>
                  <a:pt x="3016" y="23414"/>
                </a:moveTo>
                <a:cubicBezTo>
                  <a:pt x="3351" y="24878"/>
                  <a:pt x="4022" y="25609"/>
                  <a:pt x="4022" y="24878"/>
                </a:cubicBezTo>
                <a:cubicBezTo>
                  <a:pt x="3351" y="23414"/>
                  <a:pt x="2346" y="20487"/>
                  <a:pt x="2011" y="21219"/>
                </a:cubicBezTo>
                <a:cubicBezTo>
                  <a:pt x="2011" y="22682"/>
                  <a:pt x="2011" y="23414"/>
                  <a:pt x="3016" y="23414"/>
                </a:cubicBezTo>
                <a:close/>
                <a:moveTo>
                  <a:pt x="7039" y="37317"/>
                </a:moveTo>
                <a:cubicBezTo>
                  <a:pt x="7374" y="39512"/>
                  <a:pt x="8044" y="35121"/>
                  <a:pt x="7374" y="33658"/>
                </a:cubicBezTo>
                <a:cubicBezTo>
                  <a:pt x="6368" y="32926"/>
                  <a:pt x="6368" y="30731"/>
                  <a:pt x="5363" y="30731"/>
                </a:cubicBezTo>
                <a:cubicBezTo>
                  <a:pt x="5027" y="31463"/>
                  <a:pt x="6033" y="33658"/>
                  <a:pt x="7039" y="37317"/>
                </a:cubicBezTo>
                <a:close/>
                <a:moveTo>
                  <a:pt x="9720" y="49024"/>
                </a:moveTo>
                <a:cubicBezTo>
                  <a:pt x="10055" y="47560"/>
                  <a:pt x="11731" y="53414"/>
                  <a:pt x="11061" y="54146"/>
                </a:cubicBezTo>
                <a:cubicBezTo>
                  <a:pt x="10726" y="54146"/>
                  <a:pt x="8715" y="49756"/>
                  <a:pt x="9720" y="49024"/>
                </a:cubicBezTo>
                <a:close/>
                <a:moveTo>
                  <a:pt x="12067" y="56341"/>
                </a:moveTo>
                <a:cubicBezTo>
                  <a:pt x="12067" y="55609"/>
                  <a:pt x="13072" y="57804"/>
                  <a:pt x="12737" y="58536"/>
                </a:cubicBezTo>
                <a:cubicBezTo>
                  <a:pt x="12737" y="58536"/>
                  <a:pt x="11731" y="57804"/>
                  <a:pt x="12067" y="56341"/>
                </a:cubicBezTo>
                <a:close/>
                <a:moveTo>
                  <a:pt x="13072" y="62195"/>
                </a:moveTo>
                <a:cubicBezTo>
                  <a:pt x="13743" y="62195"/>
                  <a:pt x="14078" y="65853"/>
                  <a:pt x="14078" y="64390"/>
                </a:cubicBezTo>
                <a:cubicBezTo>
                  <a:pt x="14748" y="63658"/>
                  <a:pt x="13743" y="58536"/>
                  <a:pt x="13072" y="60000"/>
                </a:cubicBezTo>
                <a:cubicBezTo>
                  <a:pt x="12737" y="61463"/>
                  <a:pt x="13072" y="62195"/>
                  <a:pt x="13072" y="62195"/>
                </a:cubicBezTo>
                <a:close/>
                <a:moveTo>
                  <a:pt x="24804" y="46097"/>
                </a:moveTo>
                <a:cubicBezTo>
                  <a:pt x="23798" y="47560"/>
                  <a:pt x="24469" y="43902"/>
                  <a:pt x="24804" y="43902"/>
                </a:cubicBezTo>
                <a:cubicBezTo>
                  <a:pt x="25474" y="43902"/>
                  <a:pt x="25474" y="46097"/>
                  <a:pt x="24804" y="46097"/>
                </a:cubicBezTo>
                <a:close/>
                <a:moveTo>
                  <a:pt x="25474" y="41707"/>
                </a:moveTo>
                <a:cubicBezTo>
                  <a:pt x="24804" y="40975"/>
                  <a:pt x="24804" y="41707"/>
                  <a:pt x="24804" y="43170"/>
                </a:cubicBezTo>
                <a:cubicBezTo>
                  <a:pt x="24804" y="43902"/>
                  <a:pt x="26480" y="43902"/>
                  <a:pt x="26480" y="43902"/>
                </a:cubicBezTo>
                <a:cubicBezTo>
                  <a:pt x="26480" y="43902"/>
                  <a:pt x="25810" y="43170"/>
                  <a:pt x="25474" y="41707"/>
                </a:cubicBezTo>
                <a:close/>
                <a:moveTo>
                  <a:pt x="17765" y="25609"/>
                </a:moveTo>
                <a:cubicBezTo>
                  <a:pt x="18100" y="27073"/>
                  <a:pt x="17765" y="29268"/>
                  <a:pt x="17094" y="29268"/>
                </a:cubicBezTo>
                <a:cubicBezTo>
                  <a:pt x="16759" y="28536"/>
                  <a:pt x="17094" y="25609"/>
                  <a:pt x="17765" y="25609"/>
                </a:cubicBezTo>
                <a:close/>
                <a:moveTo>
                  <a:pt x="22458" y="35121"/>
                </a:moveTo>
                <a:cubicBezTo>
                  <a:pt x="22458" y="35121"/>
                  <a:pt x="22793" y="37317"/>
                  <a:pt x="22458" y="37317"/>
                </a:cubicBezTo>
                <a:cubicBezTo>
                  <a:pt x="21787" y="37317"/>
                  <a:pt x="21787" y="35121"/>
                  <a:pt x="22458" y="35121"/>
                </a:cubicBezTo>
                <a:close/>
                <a:moveTo>
                  <a:pt x="19441" y="31463"/>
                </a:moveTo>
                <a:cubicBezTo>
                  <a:pt x="19776" y="32926"/>
                  <a:pt x="19776" y="32926"/>
                  <a:pt x="19776" y="31463"/>
                </a:cubicBezTo>
                <a:cubicBezTo>
                  <a:pt x="19776" y="30731"/>
                  <a:pt x="18770" y="29268"/>
                  <a:pt x="18100" y="30731"/>
                </a:cubicBezTo>
                <a:cubicBezTo>
                  <a:pt x="18100" y="30731"/>
                  <a:pt x="18770" y="30731"/>
                  <a:pt x="19441" y="31463"/>
                </a:cubicBezTo>
                <a:close/>
                <a:moveTo>
                  <a:pt x="19441" y="31463"/>
                </a:moveTo>
                <a:cubicBezTo>
                  <a:pt x="19776" y="32926"/>
                  <a:pt x="19776" y="35853"/>
                  <a:pt x="19441" y="35121"/>
                </a:cubicBezTo>
                <a:cubicBezTo>
                  <a:pt x="19441" y="33658"/>
                  <a:pt x="18770" y="30731"/>
                  <a:pt x="19441" y="31463"/>
                </a:cubicBezTo>
                <a:close/>
                <a:moveTo>
                  <a:pt x="21452" y="35853"/>
                </a:moveTo>
                <a:cubicBezTo>
                  <a:pt x="21452" y="35121"/>
                  <a:pt x="20446" y="35121"/>
                  <a:pt x="20446" y="33658"/>
                </a:cubicBezTo>
                <a:cubicBezTo>
                  <a:pt x="19776" y="32926"/>
                  <a:pt x="19776" y="33658"/>
                  <a:pt x="19776" y="35121"/>
                </a:cubicBezTo>
                <a:cubicBezTo>
                  <a:pt x="19776" y="35853"/>
                  <a:pt x="19776" y="35853"/>
                  <a:pt x="20446" y="35853"/>
                </a:cubicBezTo>
                <a:cubicBezTo>
                  <a:pt x="20782" y="35853"/>
                  <a:pt x="21452" y="37317"/>
                  <a:pt x="21452" y="35853"/>
                </a:cubicBezTo>
                <a:close/>
                <a:moveTo>
                  <a:pt x="20782" y="35121"/>
                </a:moveTo>
                <a:cubicBezTo>
                  <a:pt x="21452" y="35121"/>
                  <a:pt x="21452" y="35121"/>
                  <a:pt x="21452" y="35121"/>
                </a:cubicBezTo>
                <a:cubicBezTo>
                  <a:pt x="21452" y="33658"/>
                  <a:pt x="20446" y="32926"/>
                  <a:pt x="20446" y="33658"/>
                </a:cubicBezTo>
                <a:cubicBezTo>
                  <a:pt x="20446" y="33658"/>
                  <a:pt x="20446" y="33658"/>
                  <a:pt x="20782" y="35121"/>
                </a:cubicBezTo>
                <a:close/>
                <a:moveTo>
                  <a:pt x="21787" y="35853"/>
                </a:moveTo>
                <a:cubicBezTo>
                  <a:pt x="21787" y="38048"/>
                  <a:pt x="21787" y="38048"/>
                  <a:pt x="21787" y="38048"/>
                </a:cubicBezTo>
                <a:cubicBezTo>
                  <a:pt x="21452" y="38048"/>
                  <a:pt x="21452" y="35853"/>
                  <a:pt x="21787" y="35853"/>
                </a:cubicBezTo>
                <a:close/>
                <a:moveTo>
                  <a:pt x="8715" y="45365"/>
                </a:moveTo>
                <a:cubicBezTo>
                  <a:pt x="8044" y="43902"/>
                  <a:pt x="8715" y="43170"/>
                  <a:pt x="9050" y="43170"/>
                </a:cubicBezTo>
                <a:cubicBezTo>
                  <a:pt x="9720" y="43902"/>
                  <a:pt x="9050" y="46097"/>
                  <a:pt x="8715" y="45365"/>
                </a:cubicBezTo>
                <a:close/>
                <a:moveTo>
                  <a:pt x="110614" y="54146"/>
                </a:moveTo>
                <a:cubicBezTo>
                  <a:pt x="112290" y="54146"/>
                  <a:pt x="111284" y="53414"/>
                  <a:pt x="109273" y="53414"/>
                </a:cubicBezTo>
                <a:cubicBezTo>
                  <a:pt x="107262" y="53414"/>
                  <a:pt x="108268" y="53414"/>
                  <a:pt x="109273" y="54146"/>
                </a:cubicBezTo>
                <a:cubicBezTo>
                  <a:pt x="109273" y="55609"/>
                  <a:pt x="109273" y="55609"/>
                  <a:pt x="110614" y="54146"/>
                </a:cubicBezTo>
                <a:close/>
                <a:moveTo>
                  <a:pt x="109608" y="49024"/>
                </a:moveTo>
                <a:cubicBezTo>
                  <a:pt x="109273" y="47560"/>
                  <a:pt x="109608" y="46097"/>
                  <a:pt x="108268" y="46097"/>
                </a:cubicBezTo>
                <a:cubicBezTo>
                  <a:pt x="106592" y="45365"/>
                  <a:pt x="107597" y="47560"/>
                  <a:pt x="108268" y="49024"/>
                </a:cubicBezTo>
                <a:cubicBezTo>
                  <a:pt x="109273" y="49024"/>
                  <a:pt x="108268" y="51219"/>
                  <a:pt x="109608" y="49756"/>
                </a:cubicBezTo>
                <a:cubicBezTo>
                  <a:pt x="110279" y="49756"/>
                  <a:pt x="110279" y="49756"/>
                  <a:pt x="109608" y="49024"/>
                </a:cubicBezTo>
                <a:close/>
                <a:moveTo>
                  <a:pt x="92178" y="98780"/>
                </a:moveTo>
                <a:cubicBezTo>
                  <a:pt x="91173" y="96585"/>
                  <a:pt x="92178" y="97317"/>
                  <a:pt x="92178" y="98780"/>
                </a:cubicBezTo>
                <a:cubicBezTo>
                  <a:pt x="92849" y="98780"/>
                  <a:pt x="92178" y="99512"/>
                  <a:pt x="92178" y="98780"/>
                </a:cubicBezTo>
                <a:close/>
                <a:moveTo>
                  <a:pt x="99888" y="84146"/>
                </a:moveTo>
                <a:cubicBezTo>
                  <a:pt x="99888" y="80487"/>
                  <a:pt x="100558" y="82682"/>
                  <a:pt x="100558" y="82682"/>
                </a:cubicBezTo>
                <a:cubicBezTo>
                  <a:pt x="100558" y="84146"/>
                  <a:pt x="99888" y="84878"/>
                  <a:pt x="99888" y="84146"/>
                </a:cubicBezTo>
                <a:close/>
                <a:moveTo>
                  <a:pt x="100558" y="84878"/>
                </a:moveTo>
                <a:cubicBezTo>
                  <a:pt x="100558" y="81951"/>
                  <a:pt x="101564" y="78292"/>
                  <a:pt x="101564" y="79024"/>
                </a:cubicBezTo>
                <a:cubicBezTo>
                  <a:pt x="101564" y="80487"/>
                  <a:pt x="100558" y="84878"/>
                  <a:pt x="100558" y="84878"/>
                </a:cubicBezTo>
                <a:close/>
                <a:moveTo>
                  <a:pt x="87150" y="100975"/>
                </a:moveTo>
                <a:cubicBezTo>
                  <a:pt x="86815" y="99512"/>
                  <a:pt x="87150" y="99512"/>
                  <a:pt x="87821" y="99512"/>
                </a:cubicBezTo>
                <a:cubicBezTo>
                  <a:pt x="88156" y="100975"/>
                  <a:pt x="87821" y="100975"/>
                  <a:pt x="87150" y="100975"/>
                </a:cubicBezTo>
                <a:close/>
                <a:moveTo>
                  <a:pt x="104581" y="86341"/>
                </a:moveTo>
                <a:cubicBezTo>
                  <a:pt x="103910" y="86341"/>
                  <a:pt x="103910" y="84878"/>
                  <a:pt x="103910" y="84878"/>
                </a:cubicBezTo>
                <a:cubicBezTo>
                  <a:pt x="103910" y="86341"/>
                  <a:pt x="103910" y="86341"/>
                  <a:pt x="103910" y="86341"/>
                </a:cubicBezTo>
                <a:cubicBezTo>
                  <a:pt x="104581" y="87073"/>
                  <a:pt x="104581" y="87073"/>
                  <a:pt x="104916" y="88536"/>
                </a:cubicBezTo>
                <a:cubicBezTo>
                  <a:pt x="104916" y="88536"/>
                  <a:pt x="104916" y="87073"/>
                  <a:pt x="104581" y="86341"/>
                </a:cubicBezTo>
                <a:close/>
                <a:moveTo>
                  <a:pt x="105586" y="84146"/>
                </a:moveTo>
                <a:cubicBezTo>
                  <a:pt x="105586" y="80487"/>
                  <a:pt x="104916" y="79024"/>
                  <a:pt x="104581" y="81951"/>
                </a:cubicBezTo>
                <a:cubicBezTo>
                  <a:pt x="104581" y="82682"/>
                  <a:pt x="103910" y="81951"/>
                  <a:pt x="103910" y="82682"/>
                </a:cubicBezTo>
                <a:cubicBezTo>
                  <a:pt x="103910" y="82682"/>
                  <a:pt x="104581" y="82682"/>
                  <a:pt x="104581" y="84146"/>
                </a:cubicBezTo>
                <a:cubicBezTo>
                  <a:pt x="103910" y="86341"/>
                  <a:pt x="104581" y="86341"/>
                  <a:pt x="104916" y="87073"/>
                </a:cubicBezTo>
                <a:cubicBezTo>
                  <a:pt x="105586" y="87073"/>
                  <a:pt x="105586" y="86341"/>
                  <a:pt x="105586" y="84146"/>
                </a:cubicBezTo>
                <a:close/>
                <a:moveTo>
                  <a:pt x="116312" y="102439"/>
                </a:moveTo>
                <a:cubicBezTo>
                  <a:pt x="116983" y="102439"/>
                  <a:pt x="116312" y="100975"/>
                  <a:pt x="116312" y="100975"/>
                </a:cubicBezTo>
                <a:cubicBezTo>
                  <a:pt x="116312" y="99512"/>
                  <a:pt x="116312" y="99512"/>
                  <a:pt x="115642" y="100975"/>
                </a:cubicBezTo>
                <a:cubicBezTo>
                  <a:pt x="115642" y="102439"/>
                  <a:pt x="115642" y="102439"/>
                  <a:pt x="116312" y="102439"/>
                </a:cubicBezTo>
                <a:close/>
                <a:moveTo>
                  <a:pt x="82122" y="58536"/>
                </a:moveTo>
                <a:cubicBezTo>
                  <a:pt x="82458" y="60000"/>
                  <a:pt x="82458" y="58536"/>
                  <a:pt x="82458" y="57804"/>
                </a:cubicBezTo>
                <a:cubicBezTo>
                  <a:pt x="82122" y="56341"/>
                  <a:pt x="82458" y="55609"/>
                  <a:pt x="82122" y="55609"/>
                </a:cubicBezTo>
                <a:cubicBezTo>
                  <a:pt x="82122" y="56341"/>
                  <a:pt x="82122" y="57804"/>
                  <a:pt x="82122" y="58536"/>
                </a:cubicBezTo>
                <a:close/>
                <a:moveTo>
                  <a:pt x="85810" y="43902"/>
                </a:moveTo>
                <a:cubicBezTo>
                  <a:pt x="85810" y="43170"/>
                  <a:pt x="85810" y="45365"/>
                  <a:pt x="85810" y="45365"/>
                </a:cubicBezTo>
                <a:cubicBezTo>
                  <a:pt x="85139" y="45365"/>
                  <a:pt x="85139" y="43902"/>
                  <a:pt x="85810" y="43902"/>
                </a:cubicBezTo>
                <a:close/>
                <a:moveTo>
                  <a:pt x="86815" y="47560"/>
                </a:moveTo>
                <a:cubicBezTo>
                  <a:pt x="87150" y="46097"/>
                  <a:pt x="87821" y="46097"/>
                  <a:pt x="87150" y="47560"/>
                </a:cubicBezTo>
                <a:cubicBezTo>
                  <a:pt x="87150" y="49024"/>
                  <a:pt x="86815" y="47560"/>
                  <a:pt x="86815" y="47560"/>
                </a:cubicBezTo>
                <a:close/>
                <a:moveTo>
                  <a:pt x="87150" y="68780"/>
                </a:moveTo>
                <a:cubicBezTo>
                  <a:pt x="87150" y="68048"/>
                  <a:pt x="88826" y="65853"/>
                  <a:pt x="88826" y="66585"/>
                </a:cubicBezTo>
                <a:cubicBezTo>
                  <a:pt x="88156" y="68048"/>
                  <a:pt x="87821" y="68780"/>
                  <a:pt x="87150" y="68780"/>
                </a:cubicBezTo>
                <a:close/>
                <a:moveTo>
                  <a:pt x="85810" y="47560"/>
                </a:moveTo>
                <a:cubicBezTo>
                  <a:pt x="85139" y="47560"/>
                  <a:pt x="85810" y="46097"/>
                  <a:pt x="85810" y="46097"/>
                </a:cubicBezTo>
                <a:cubicBezTo>
                  <a:pt x="86145" y="47560"/>
                  <a:pt x="86145" y="47560"/>
                  <a:pt x="85810" y="47560"/>
                </a:cubicBezTo>
                <a:close/>
                <a:moveTo>
                  <a:pt x="93854" y="49024"/>
                </a:moveTo>
                <a:cubicBezTo>
                  <a:pt x="93854" y="47560"/>
                  <a:pt x="94189" y="47560"/>
                  <a:pt x="94860" y="47560"/>
                </a:cubicBezTo>
                <a:cubicBezTo>
                  <a:pt x="95530" y="47560"/>
                  <a:pt x="93854" y="49024"/>
                  <a:pt x="93854" y="49024"/>
                </a:cubicBezTo>
                <a:close/>
                <a:moveTo>
                  <a:pt x="25474" y="35853"/>
                </a:moveTo>
                <a:cubicBezTo>
                  <a:pt x="24804" y="35121"/>
                  <a:pt x="23798" y="33658"/>
                  <a:pt x="24804" y="32926"/>
                </a:cubicBezTo>
                <a:cubicBezTo>
                  <a:pt x="25810" y="31463"/>
                  <a:pt x="25474" y="35853"/>
                  <a:pt x="25474" y="35853"/>
                </a:cubicBezTo>
                <a:close/>
                <a:moveTo>
                  <a:pt x="23798" y="33658"/>
                </a:moveTo>
                <a:cubicBezTo>
                  <a:pt x="23798" y="32926"/>
                  <a:pt x="24469" y="33658"/>
                  <a:pt x="23798" y="35121"/>
                </a:cubicBezTo>
                <a:cubicBezTo>
                  <a:pt x="23798" y="35121"/>
                  <a:pt x="23463" y="33658"/>
                  <a:pt x="23798" y="33658"/>
                </a:cubicBezTo>
                <a:close/>
                <a:moveTo>
                  <a:pt x="23798" y="35853"/>
                </a:moveTo>
                <a:cubicBezTo>
                  <a:pt x="23798" y="35121"/>
                  <a:pt x="24469" y="35121"/>
                  <a:pt x="24469" y="35853"/>
                </a:cubicBezTo>
                <a:cubicBezTo>
                  <a:pt x="24469" y="35853"/>
                  <a:pt x="24469" y="37317"/>
                  <a:pt x="23798" y="35853"/>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22" name="Shape 1982"/>
          <p:cNvSpPr/>
          <p:nvPr/>
        </p:nvSpPr>
        <p:spPr>
          <a:xfrm>
            <a:off x="6854549" y="4210131"/>
            <a:ext cx="23879" cy="52423"/>
          </a:xfrm>
          <a:custGeom>
            <a:avLst/>
            <a:gdLst/>
            <a:ahLst/>
            <a:cxnLst/>
            <a:rect l="0" t="0" r="0" b="0"/>
            <a:pathLst>
              <a:path w="120000" h="120000" extrusionOk="0">
                <a:moveTo>
                  <a:pt x="68571" y="120000"/>
                </a:moveTo>
                <a:cubicBezTo>
                  <a:pt x="68571" y="120000"/>
                  <a:pt x="68571" y="120000"/>
                  <a:pt x="51428" y="120000"/>
                </a:cubicBezTo>
                <a:cubicBezTo>
                  <a:pt x="51428" y="120000"/>
                  <a:pt x="17142" y="120000"/>
                  <a:pt x="17142" y="112941"/>
                </a:cubicBezTo>
                <a:cubicBezTo>
                  <a:pt x="17142" y="56470"/>
                  <a:pt x="0" y="63529"/>
                  <a:pt x="17142" y="35294"/>
                </a:cubicBezTo>
                <a:cubicBezTo>
                  <a:pt x="51428" y="21176"/>
                  <a:pt x="51428" y="0"/>
                  <a:pt x="68571" y="14117"/>
                </a:cubicBezTo>
                <a:cubicBezTo>
                  <a:pt x="102857" y="21176"/>
                  <a:pt x="119999" y="35294"/>
                  <a:pt x="102857" y="42352"/>
                </a:cubicBezTo>
                <a:cubicBezTo>
                  <a:pt x="102857" y="63529"/>
                  <a:pt x="119999" y="63529"/>
                  <a:pt x="119999" y="77647"/>
                </a:cubicBezTo>
                <a:cubicBezTo>
                  <a:pt x="119999" y="98823"/>
                  <a:pt x="102857" y="120000"/>
                  <a:pt x="68571" y="120000"/>
                </a:cubicBezTo>
                <a:cubicBezTo>
                  <a:pt x="68571" y="120000"/>
                  <a:pt x="68571" y="120000"/>
                  <a:pt x="68571"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23" name="Shape 1983"/>
          <p:cNvSpPr/>
          <p:nvPr/>
        </p:nvSpPr>
        <p:spPr>
          <a:xfrm>
            <a:off x="6997825" y="4206953"/>
            <a:ext cx="11939" cy="22237"/>
          </a:xfrm>
          <a:custGeom>
            <a:avLst/>
            <a:gdLst/>
            <a:ahLst/>
            <a:cxnLst/>
            <a:rect l="0" t="0" r="0" b="0"/>
            <a:pathLst>
              <a:path w="120000" h="120000" extrusionOk="0">
                <a:moveTo>
                  <a:pt x="30000" y="119999"/>
                </a:moveTo>
                <a:cubicBezTo>
                  <a:pt x="0" y="119999"/>
                  <a:pt x="30000" y="51428"/>
                  <a:pt x="0" y="51428"/>
                </a:cubicBezTo>
                <a:cubicBezTo>
                  <a:pt x="30000" y="17142"/>
                  <a:pt x="0" y="17142"/>
                  <a:pt x="30000" y="17142"/>
                </a:cubicBezTo>
                <a:cubicBezTo>
                  <a:pt x="90000" y="51428"/>
                  <a:pt x="30000" y="0"/>
                  <a:pt x="90000" y="0"/>
                </a:cubicBezTo>
                <a:cubicBezTo>
                  <a:pt x="120000" y="0"/>
                  <a:pt x="90000" y="51428"/>
                  <a:pt x="90000" y="68571"/>
                </a:cubicBezTo>
                <a:cubicBezTo>
                  <a:pt x="90000" y="68571"/>
                  <a:pt x="30000" y="102857"/>
                  <a:pt x="30000" y="119999"/>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24" name="Shape 1984"/>
          <p:cNvSpPr/>
          <p:nvPr/>
        </p:nvSpPr>
        <p:spPr>
          <a:xfrm>
            <a:off x="6864782" y="4216485"/>
            <a:ext cx="141569" cy="117557"/>
          </a:xfrm>
          <a:custGeom>
            <a:avLst/>
            <a:gdLst/>
            <a:ahLst/>
            <a:cxnLst/>
            <a:rect l="0" t="0" r="0" b="0"/>
            <a:pathLst>
              <a:path w="120000" h="120000" extrusionOk="0">
                <a:moveTo>
                  <a:pt x="114418" y="12631"/>
                </a:moveTo>
                <a:cubicBezTo>
                  <a:pt x="111627" y="12631"/>
                  <a:pt x="114418" y="0"/>
                  <a:pt x="111627" y="0"/>
                </a:cubicBezTo>
                <a:cubicBezTo>
                  <a:pt x="106046" y="18947"/>
                  <a:pt x="111627" y="0"/>
                  <a:pt x="106046" y="12631"/>
                </a:cubicBezTo>
                <a:cubicBezTo>
                  <a:pt x="103255" y="18947"/>
                  <a:pt x="97674" y="18947"/>
                  <a:pt x="94883" y="28421"/>
                </a:cubicBezTo>
                <a:cubicBezTo>
                  <a:pt x="86511" y="37894"/>
                  <a:pt x="78139" y="47368"/>
                  <a:pt x="72558" y="47368"/>
                </a:cubicBezTo>
                <a:cubicBezTo>
                  <a:pt x="72558" y="50526"/>
                  <a:pt x="80930" y="47368"/>
                  <a:pt x="72558" y="56842"/>
                </a:cubicBezTo>
                <a:cubicBezTo>
                  <a:pt x="64186" y="72631"/>
                  <a:pt x="47441" y="56842"/>
                  <a:pt x="30697" y="63157"/>
                </a:cubicBezTo>
                <a:cubicBezTo>
                  <a:pt x="16744" y="66315"/>
                  <a:pt x="16744" y="66315"/>
                  <a:pt x="16744" y="63157"/>
                </a:cubicBezTo>
                <a:cubicBezTo>
                  <a:pt x="16744" y="50526"/>
                  <a:pt x="13953" y="56842"/>
                  <a:pt x="8372" y="56842"/>
                </a:cubicBezTo>
                <a:cubicBezTo>
                  <a:pt x="0" y="56842"/>
                  <a:pt x="8372" y="47368"/>
                  <a:pt x="8372" y="47368"/>
                </a:cubicBezTo>
                <a:cubicBezTo>
                  <a:pt x="8372" y="41052"/>
                  <a:pt x="2790" y="47368"/>
                  <a:pt x="2790" y="47368"/>
                </a:cubicBezTo>
                <a:cubicBezTo>
                  <a:pt x="2790" y="47368"/>
                  <a:pt x="2790" y="47368"/>
                  <a:pt x="0" y="47368"/>
                </a:cubicBezTo>
                <a:cubicBezTo>
                  <a:pt x="0" y="56842"/>
                  <a:pt x="0" y="56842"/>
                  <a:pt x="8372" y="63157"/>
                </a:cubicBezTo>
                <a:cubicBezTo>
                  <a:pt x="16744" y="72631"/>
                  <a:pt x="16744" y="72631"/>
                  <a:pt x="16744" y="85263"/>
                </a:cubicBezTo>
                <a:cubicBezTo>
                  <a:pt x="22325" y="94736"/>
                  <a:pt x="16744" y="94736"/>
                  <a:pt x="41860" y="101052"/>
                </a:cubicBezTo>
                <a:cubicBezTo>
                  <a:pt x="66976" y="104210"/>
                  <a:pt x="89302" y="120000"/>
                  <a:pt x="94883" y="104210"/>
                </a:cubicBezTo>
                <a:cubicBezTo>
                  <a:pt x="94883" y="101052"/>
                  <a:pt x="89302" y="94736"/>
                  <a:pt x="97674" y="82105"/>
                </a:cubicBezTo>
                <a:cubicBezTo>
                  <a:pt x="103255" y="66315"/>
                  <a:pt x="103255" y="72631"/>
                  <a:pt x="97674" y="66315"/>
                </a:cubicBezTo>
                <a:cubicBezTo>
                  <a:pt x="97674" y="66315"/>
                  <a:pt x="103255" y="66315"/>
                  <a:pt x="106046" y="63157"/>
                </a:cubicBezTo>
                <a:cubicBezTo>
                  <a:pt x="114418" y="63157"/>
                  <a:pt x="111627" y="56842"/>
                  <a:pt x="106046" y="56842"/>
                </a:cubicBezTo>
                <a:cubicBezTo>
                  <a:pt x="103255" y="56842"/>
                  <a:pt x="106046" y="56842"/>
                  <a:pt x="106046" y="47368"/>
                </a:cubicBezTo>
                <a:cubicBezTo>
                  <a:pt x="106046" y="37894"/>
                  <a:pt x="106046" y="28421"/>
                  <a:pt x="111627" y="37894"/>
                </a:cubicBezTo>
                <a:cubicBezTo>
                  <a:pt x="114418" y="47368"/>
                  <a:pt x="111627" y="37894"/>
                  <a:pt x="120000" y="31578"/>
                </a:cubicBezTo>
                <a:cubicBezTo>
                  <a:pt x="120000" y="22105"/>
                  <a:pt x="120000" y="18947"/>
                  <a:pt x="114418" y="12631"/>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25" name="Shape 1985"/>
          <p:cNvSpPr/>
          <p:nvPr/>
        </p:nvSpPr>
        <p:spPr>
          <a:xfrm>
            <a:off x="6973948" y="4183125"/>
            <a:ext cx="32408" cy="17474"/>
          </a:xfrm>
          <a:custGeom>
            <a:avLst/>
            <a:gdLst/>
            <a:ahLst/>
            <a:cxnLst/>
            <a:rect l="0" t="0" r="0" b="0"/>
            <a:pathLst>
              <a:path w="120000" h="120000" extrusionOk="0">
                <a:moveTo>
                  <a:pt x="24000" y="120000"/>
                </a:moveTo>
                <a:cubicBezTo>
                  <a:pt x="0" y="80000"/>
                  <a:pt x="60000" y="80000"/>
                  <a:pt x="60000" y="60000"/>
                </a:cubicBezTo>
                <a:cubicBezTo>
                  <a:pt x="60000" y="20000"/>
                  <a:pt x="120000" y="0"/>
                  <a:pt x="96000" y="20000"/>
                </a:cubicBezTo>
                <a:cubicBezTo>
                  <a:pt x="84000" y="80000"/>
                  <a:pt x="24000" y="120000"/>
                  <a:pt x="24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26" name="Shape 1986"/>
          <p:cNvSpPr/>
          <p:nvPr/>
        </p:nvSpPr>
        <p:spPr>
          <a:xfrm>
            <a:off x="6788029" y="4089399"/>
            <a:ext cx="6821" cy="15887"/>
          </a:xfrm>
          <a:custGeom>
            <a:avLst/>
            <a:gdLst/>
            <a:ahLst/>
            <a:cxnLst/>
            <a:rect l="0" t="0" r="0" b="0"/>
            <a:pathLst>
              <a:path w="120000" h="120000" extrusionOk="0">
                <a:moveTo>
                  <a:pt x="120000" y="120000"/>
                </a:moveTo>
                <a:cubicBezTo>
                  <a:pt x="0" y="120000"/>
                  <a:pt x="0" y="48000"/>
                  <a:pt x="0" y="48000"/>
                </a:cubicBezTo>
                <a:cubicBezTo>
                  <a:pt x="0" y="0"/>
                  <a:pt x="120000" y="72000"/>
                  <a:pt x="12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27" name="Shape 1987"/>
          <p:cNvSpPr/>
          <p:nvPr/>
        </p:nvSpPr>
        <p:spPr>
          <a:xfrm>
            <a:off x="6441778" y="4003614"/>
            <a:ext cx="18761" cy="46069"/>
          </a:xfrm>
          <a:custGeom>
            <a:avLst/>
            <a:gdLst/>
            <a:ahLst/>
            <a:cxnLst/>
            <a:rect l="0" t="0" r="0" b="0"/>
            <a:pathLst>
              <a:path w="120000" h="120000" extrusionOk="0">
                <a:moveTo>
                  <a:pt x="80000" y="24000"/>
                </a:moveTo>
                <a:cubicBezTo>
                  <a:pt x="80000" y="40000"/>
                  <a:pt x="120000" y="80000"/>
                  <a:pt x="80000" y="88000"/>
                </a:cubicBezTo>
                <a:cubicBezTo>
                  <a:pt x="60000" y="104000"/>
                  <a:pt x="60000" y="120000"/>
                  <a:pt x="0" y="120000"/>
                </a:cubicBezTo>
                <a:cubicBezTo>
                  <a:pt x="0" y="104000"/>
                  <a:pt x="0" y="104000"/>
                  <a:pt x="0" y="104000"/>
                </a:cubicBezTo>
                <a:cubicBezTo>
                  <a:pt x="0" y="88000"/>
                  <a:pt x="60000" y="80000"/>
                  <a:pt x="20000" y="64000"/>
                </a:cubicBezTo>
                <a:cubicBezTo>
                  <a:pt x="20000" y="64000"/>
                  <a:pt x="0" y="80000"/>
                  <a:pt x="0" y="64000"/>
                </a:cubicBezTo>
                <a:cubicBezTo>
                  <a:pt x="20000" y="64000"/>
                  <a:pt x="20000" y="64000"/>
                  <a:pt x="20000" y="64000"/>
                </a:cubicBezTo>
                <a:cubicBezTo>
                  <a:pt x="20000" y="48000"/>
                  <a:pt x="0" y="24000"/>
                  <a:pt x="20000" y="16000"/>
                </a:cubicBezTo>
                <a:cubicBezTo>
                  <a:pt x="60000" y="0"/>
                  <a:pt x="80000" y="24000"/>
                  <a:pt x="80000" y="24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28" name="Shape 1988"/>
          <p:cNvSpPr/>
          <p:nvPr/>
        </p:nvSpPr>
        <p:spPr>
          <a:xfrm>
            <a:off x="6428130" y="3979784"/>
            <a:ext cx="32408" cy="125499"/>
          </a:xfrm>
          <a:custGeom>
            <a:avLst/>
            <a:gdLst/>
            <a:ahLst/>
            <a:cxnLst/>
            <a:rect l="0" t="0" r="0" b="0"/>
            <a:pathLst>
              <a:path w="120000" h="120000" extrusionOk="0">
                <a:moveTo>
                  <a:pt x="108000" y="32195"/>
                </a:moveTo>
                <a:cubicBezTo>
                  <a:pt x="108000" y="29268"/>
                  <a:pt x="108000" y="29268"/>
                  <a:pt x="108000" y="29268"/>
                </a:cubicBezTo>
                <a:cubicBezTo>
                  <a:pt x="108000" y="23414"/>
                  <a:pt x="108000" y="20487"/>
                  <a:pt x="120000" y="20487"/>
                </a:cubicBezTo>
                <a:cubicBezTo>
                  <a:pt x="120000" y="20487"/>
                  <a:pt x="120000" y="20487"/>
                  <a:pt x="120000" y="14634"/>
                </a:cubicBezTo>
                <a:cubicBezTo>
                  <a:pt x="120000" y="14634"/>
                  <a:pt x="120000" y="11707"/>
                  <a:pt x="120000" y="5853"/>
                </a:cubicBezTo>
                <a:cubicBezTo>
                  <a:pt x="120000" y="5853"/>
                  <a:pt x="120000" y="5853"/>
                  <a:pt x="120000" y="5853"/>
                </a:cubicBezTo>
                <a:cubicBezTo>
                  <a:pt x="120000" y="5853"/>
                  <a:pt x="120000" y="5853"/>
                  <a:pt x="120000" y="5853"/>
                </a:cubicBezTo>
                <a:cubicBezTo>
                  <a:pt x="108000" y="5853"/>
                  <a:pt x="108000" y="0"/>
                  <a:pt x="108000" y="5853"/>
                </a:cubicBezTo>
                <a:cubicBezTo>
                  <a:pt x="108000" y="11707"/>
                  <a:pt x="108000" y="11707"/>
                  <a:pt x="108000" y="11707"/>
                </a:cubicBezTo>
                <a:cubicBezTo>
                  <a:pt x="108000" y="11707"/>
                  <a:pt x="84000" y="11707"/>
                  <a:pt x="72000" y="11707"/>
                </a:cubicBezTo>
                <a:cubicBezTo>
                  <a:pt x="48000" y="20487"/>
                  <a:pt x="36000" y="49756"/>
                  <a:pt x="12000" y="55609"/>
                </a:cubicBezTo>
                <a:cubicBezTo>
                  <a:pt x="36000" y="55609"/>
                  <a:pt x="0" y="64390"/>
                  <a:pt x="0" y="64390"/>
                </a:cubicBezTo>
                <a:cubicBezTo>
                  <a:pt x="0" y="70243"/>
                  <a:pt x="0" y="70243"/>
                  <a:pt x="0" y="70243"/>
                </a:cubicBezTo>
                <a:cubicBezTo>
                  <a:pt x="12000" y="81951"/>
                  <a:pt x="36000" y="99512"/>
                  <a:pt x="48000" y="120000"/>
                </a:cubicBezTo>
                <a:cubicBezTo>
                  <a:pt x="48000" y="120000"/>
                  <a:pt x="48000" y="120000"/>
                  <a:pt x="48000" y="120000"/>
                </a:cubicBezTo>
                <a:cubicBezTo>
                  <a:pt x="48000" y="120000"/>
                  <a:pt x="72000" y="105365"/>
                  <a:pt x="72000" y="99512"/>
                </a:cubicBezTo>
                <a:cubicBezTo>
                  <a:pt x="72000" y="87804"/>
                  <a:pt x="108000" y="73170"/>
                  <a:pt x="108000" y="70243"/>
                </a:cubicBezTo>
                <a:cubicBezTo>
                  <a:pt x="108000" y="64390"/>
                  <a:pt x="108000" y="61463"/>
                  <a:pt x="108000" y="55609"/>
                </a:cubicBezTo>
                <a:cubicBezTo>
                  <a:pt x="84000" y="61463"/>
                  <a:pt x="84000" y="64390"/>
                  <a:pt x="48000" y="64390"/>
                </a:cubicBezTo>
                <a:cubicBezTo>
                  <a:pt x="48000" y="61463"/>
                  <a:pt x="48000" y="61463"/>
                  <a:pt x="48000" y="61463"/>
                </a:cubicBezTo>
                <a:cubicBezTo>
                  <a:pt x="48000" y="55609"/>
                  <a:pt x="84000" y="49756"/>
                  <a:pt x="72000" y="46829"/>
                </a:cubicBezTo>
                <a:cubicBezTo>
                  <a:pt x="72000" y="46829"/>
                  <a:pt x="48000" y="49756"/>
                  <a:pt x="48000" y="46829"/>
                </a:cubicBezTo>
                <a:cubicBezTo>
                  <a:pt x="72000" y="46829"/>
                  <a:pt x="72000" y="46829"/>
                  <a:pt x="72000" y="46829"/>
                </a:cubicBezTo>
                <a:cubicBezTo>
                  <a:pt x="72000" y="40975"/>
                  <a:pt x="48000" y="32195"/>
                  <a:pt x="72000" y="29268"/>
                </a:cubicBezTo>
                <a:cubicBezTo>
                  <a:pt x="84000" y="23414"/>
                  <a:pt x="108000" y="32195"/>
                  <a:pt x="108000" y="32195"/>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29" name="Shape 1989"/>
          <p:cNvSpPr/>
          <p:nvPr/>
        </p:nvSpPr>
        <p:spPr>
          <a:xfrm>
            <a:off x="6421306" y="4038562"/>
            <a:ext cx="13646" cy="14295"/>
          </a:xfrm>
          <a:custGeom>
            <a:avLst/>
            <a:gdLst/>
            <a:ahLst/>
            <a:cxnLst/>
            <a:rect l="0" t="0" r="0" b="0"/>
            <a:pathLst>
              <a:path w="120000" h="120000" extrusionOk="0">
                <a:moveTo>
                  <a:pt x="90000" y="0"/>
                </a:moveTo>
                <a:cubicBezTo>
                  <a:pt x="30000" y="24000"/>
                  <a:pt x="30000" y="24000"/>
                  <a:pt x="0" y="72000"/>
                </a:cubicBezTo>
                <a:cubicBezTo>
                  <a:pt x="0" y="72000"/>
                  <a:pt x="0" y="120000"/>
                  <a:pt x="30000" y="120000"/>
                </a:cubicBezTo>
                <a:cubicBezTo>
                  <a:pt x="30000" y="72000"/>
                  <a:pt x="30000" y="72000"/>
                  <a:pt x="30000" y="72000"/>
                </a:cubicBezTo>
                <a:cubicBezTo>
                  <a:pt x="30000" y="72000"/>
                  <a:pt x="120000" y="0"/>
                  <a:pt x="90000"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30" name="Shape 1990"/>
          <p:cNvSpPr/>
          <p:nvPr/>
        </p:nvSpPr>
        <p:spPr>
          <a:xfrm>
            <a:off x="6040942" y="3692250"/>
            <a:ext cx="225150" cy="241466"/>
          </a:xfrm>
          <a:custGeom>
            <a:avLst/>
            <a:gdLst/>
            <a:ahLst/>
            <a:cxnLst/>
            <a:rect l="0" t="0" r="0" b="0"/>
            <a:pathLst>
              <a:path w="120000" h="120000" extrusionOk="0">
                <a:moveTo>
                  <a:pt x="37058" y="12307"/>
                </a:moveTo>
                <a:cubicBezTo>
                  <a:pt x="44117" y="16923"/>
                  <a:pt x="42352" y="9230"/>
                  <a:pt x="47647" y="9230"/>
                </a:cubicBezTo>
                <a:cubicBezTo>
                  <a:pt x="51176" y="12307"/>
                  <a:pt x="47647" y="7692"/>
                  <a:pt x="56470" y="9230"/>
                </a:cubicBezTo>
                <a:cubicBezTo>
                  <a:pt x="61764" y="9230"/>
                  <a:pt x="63529" y="4615"/>
                  <a:pt x="67058" y="7692"/>
                </a:cubicBezTo>
                <a:cubicBezTo>
                  <a:pt x="68823" y="7692"/>
                  <a:pt x="67058" y="3076"/>
                  <a:pt x="72352" y="7692"/>
                </a:cubicBezTo>
                <a:cubicBezTo>
                  <a:pt x="74117" y="12307"/>
                  <a:pt x="74117" y="4615"/>
                  <a:pt x="77647" y="9230"/>
                </a:cubicBezTo>
                <a:cubicBezTo>
                  <a:pt x="79411" y="13846"/>
                  <a:pt x="82941" y="9230"/>
                  <a:pt x="88235" y="9230"/>
                </a:cubicBezTo>
                <a:cubicBezTo>
                  <a:pt x="95294" y="9230"/>
                  <a:pt x="84705" y="0"/>
                  <a:pt x="93529" y="3076"/>
                </a:cubicBezTo>
                <a:cubicBezTo>
                  <a:pt x="98823" y="7692"/>
                  <a:pt x="98823" y="9230"/>
                  <a:pt x="95294" y="12307"/>
                </a:cubicBezTo>
                <a:cubicBezTo>
                  <a:pt x="93529" y="12307"/>
                  <a:pt x="95294" y="16923"/>
                  <a:pt x="90000" y="18461"/>
                </a:cubicBezTo>
                <a:cubicBezTo>
                  <a:pt x="90000" y="16923"/>
                  <a:pt x="84705" y="18461"/>
                  <a:pt x="79411" y="16923"/>
                </a:cubicBezTo>
                <a:cubicBezTo>
                  <a:pt x="74117" y="13846"/>
                  <a:pt x="77647" y="18461"/>
                  <a:pt x="72352" y="16923"/>
                </a:cubicBezTo>
                <a:cubicBezTo>
                  <a:pt x="67058" y="13846"/>
                  <a:pt x="67058" y="18461"/>
                  <a:pt x="61764" y="21538"/>
                </a:cubicBezTo>
                <a:cubicBezTo>
                  <a:pt x="56470" y="21538"/>
                  <a:pt x="61764" y="21538"/>
                  <a:pt x="58235" y="23076"/>
                </a:cubicBezTo>
                <a:cubicBezTo>
                  <a:pt x="58235" y="26153"/>
                  <a:pt x="61764" y="23076"/>
                  <a:pt x="63529" y="29230"/>
                </a:cubicBezTo>
                <a:cubicBezTo>
                  <a:pt x="68823" y="30769"/>
                  <a:pt x="67058" y="30769"/>
                  <a:pt x="63529" y="29230"/>
                </a:cubicBezTo>
                <a:cubicBezTo>
                  <a:pt x="58235" y="26153"/>
                  <a:pt x="56470" y="26153"/>
                  <a:pt x="61764" y="29230"/>
                </a:cubicBezTo>
                <a:cubicBezTo>
                  <a:pt x="63529" y="33846"/>
                  <a:pt x="61764" y="33846"/>
                  <a:pt x="56470" y="30769"/>
                </a:cubicBezTo>
                <a:cubicBezTo>
                  <a:pt x="52941" y="26153"/>
                  <a:pt x="52941" y="29230"/>
                  <a:pt x="56470" y="30769"/>
                </a:cubicBezTo>
                <a:cubicBezTo>
                  <a:pt x="58235" y="35384"/>
                  <a:pt x="52941" y="35384"/>
                  <a:pt x="51176" y="30769"/>
                </a:cubicBezTo>
                <a:cubicBezTo>
                  <a:pt x="51176" y="23076"/>
                  <a:pt x="44117" y="29230"/>
                  <a:pt x="44117" y="23076"/>
                </a:cubicBezTo>
                <a:cubicBezTo>
                  <a:pt x="47647" y="18461"/>
                  <a:pt x="42352" y="23076"/>
                  <a:pt x="42352" y="26153"/>
                </a:cubicBezTo>
                <a:cubicBezTo>
                  <a:pt x="37058" y="33846"/>
                  <a:pt x="56470" y="43076"/>
                  <a:pt x="51176" y="47692"/>
                </a:cubicBezTo>
                <a:cubicBezTo>
                  <a:pt x="47647" y="50769"/>
                  <a:pt x="51176" y="43076"/>
                  <a:pt x="47647" y="43076"/>
                </a:cubicBezTo>
                <a:cubicBezTo>
                  <a:pt x="42352" y="43076"/>
                  <a:pt x="52941" y="50769"/>
                  <a:pt x="42352" y="50769"/>
                </a:cubicBezTo>
                <a:cubicBezTo>
                  <a:pt x="37058" y="52307"/>
                  <a:pt x="51176" y="52307"/>
                  <a:pt x="51176" y="55384"/>
                </a:cubicBezTo>
                <a:cubicBezTo>
                  <a:pt x="52941" y="60000"/>
                  <a:pt x="52941" y="56923"/>
                  <a:pt x="56470" y="60000"/>
                </a:cubicBezTo>
                <a:cubicBezTo>
                  <a:pt x="56470" y="61538"/>
                  <a:pt x="63529" y="61538"/>
                  <a:pt x="61764" y="64615"/>
                </a:cubicBezTo>
                <a:cubicBezTo>
                  <a:pt x="61764" y="66153"/>
                  <a:pt x="63529" y="70769"/>
                  <a:pt x="61764" y="70769"/>
                </a:cubicBezTo>
                <a:cubicBezTo>
                  <a:pt x="61764" y="70769"/>
                  <a:pt x="58235" y="69230"/>
                  <a:pt x="56470" y="66153"/>
                </a:cubicBezTo>
                <a:cubicBezTo>
                  <a:pt x="52941" y="64615"/>
                  <a:pt x="47647" y="66153"/>
                  <a:pt x="47647" y="69230"/>
                </a:cubicBezTo>
                <a:cubicBezTo>
                  <a:pt x="51176" y="70769"/>
                  <a:pt x="47647" y="70769"/>
                  <a:pt x="51176" y="70769"/>
                </a:cubicBezTo>
                <a:cubicBezTo>
                  <a:pt x="52941" y="73846"/>
                  <a:pt x="56470" y="76923"/>
                  <a:pt x="52941" y="76923"/>
                </a:cubicBezTo>
                <a:cubicBezTo>
                  <a:pt x="51176" y="76923"/>
                  <a:pt x="51176" y="78461"/>
                  <a:pt x="47647" y="76923"/>
                </a:cubicBezTo>
                <a:cubicBezTo>
                  <a:pt x="47647" y="73846"/>
                  <a:pt x="47647" y="73846"/>
                  <a:pt x="44117" y="73846"/>
                </a:cubicBezTo>
                <a:cubicBezTo>
                  <a:pt x="38823" y="73846"/>
                  <a:pt x="52941" y="90769"/>
                  <a:pt x="51176" y="92307"/>
                </a:cubicBezTo>
                <a:cubicBezTo>
                  <a:pt x="44117" y="92307"/>
                  <a:pt x="42352" y="81538"/>
                  <a:pt x="42352" y="87692"/>
                </a:cubicBezTo>
                <a:cubicBezTo>
                  <a:pt x="38823" y="92307"/>
                  <a:pt x="37058" y="95384"/>
                  <a:pt x="37058" y="90769"/>
                </a:cubicBezTo>
                <a:cubicBezTo>
                  <a:pt x="37058" y="86153"/>
                  <a:pt x="33529" y="78461"/>
                  <a:pt x="33529" y="86153"/>
                </a:cubicBezTo>
                <a:cubicBezTo>
                  <a:pt x="31764" y="90769"/>
                  <a:pt x="26470" y="81538"/>
                  <a:pt x="26470" y="78461"/>
                </a:cubicBezTo>
                <a:cubicBezTo>
                  <a:pt x="28235" y="76923"/>
                  <a:pt x="28235" y="73846"/>
                  <a:pt x="26470" y="73846"/>
                </a:cubicBezTo>
                <a:cubicBezTo>
                  <a:pt x="21176" y="73846"/>
                  <a:pt x="22941" y="70769"/>
                  <a:pt x="21176" y="69230"/>
                </a:cubicBezTo>
                <a:cubicBezTo>
                  <a:pt x="17647" y="66153"/>
                  <a:pt x="22941" y="69230"/>
                  <a:pt x="22941" y="64615"/>
                </a:cubicBezTo>
                <a:cubicBezTo>
                  <a:pt x="22941" y="61538"/>
                  <a:pt x="26470" y="64615"/>
                  <a:pt x="28235" y="61538"/>
                </a:cubicBezTo>
                <a:cubicBezTo>
                  <a:pt x="31764" y="60000"/>
                  <a:pt x="31764" y="60000"/>
                  <a:pt x="37058" y="61538"/>
                </a:cubicBezTo>
                <a:cubicBezTo>
                  <a:pt x="42352" y="64615"/>
                  <a:pt x="42352" y="66153"/>
                  <a:pt x="47647" y="64615"/>
                </a:cubicBezTo>
                <a:cubicBezTo>
                  <a:pt x="52941" y="64615"/>
                  <a:pt x="51176" y="61538"/>
                  <a:pt x="47647" y="61538"/>
                </a:cubicBezTo>
                <a:cubicBezTo>
                  <a:pt x="44117" y="61538"/>
                  <a:pt x="42352" y="60000"/>
                  <a:pt x="38823" y="60000"/>
                </a:cubicBezTo>
                <a:cubicBezTo>
                  <a:pt x="33529" y="61538"/>
                  <a:pt x="37058" y="60000"/>
                  <a:pt x="31764" y="60000"/>
                </a:cubicBezTo>
                <a:cubicBezTo>
                  <a:pt x="22941" y="61538"/>
                  <a:pt x="26470" y="56923"/>
                  <a:pt x="22941" y="60000"/>
                </a:cubicBezTo>
                <a:cubicBezTo>
                  <a:pt x="21176" y="64615"/>
                  <a:pt x="21176" y="56923"/>
                  <a:pt x="15882" y="55384"/>
                </a:cubicBezTo>
                <a:cubicBezTo>
                  <a:pt x="12352" y="50769"/>
                  <a:pt x="22941" y="52307"/>
                  <a:pt x="21176" y="50769"/>
                </a:cubicBezTo>
                <a:cubicBezTo>
                  <a:pt x="15882" y="44615"/>
                  <a:pt x="17647" y="52307"/>
                  <a:pt x="15882" y="47692"/>
                </a:cubicBezTo>
                <a:cubicBezTo>
                  <a:pt x="12352" y="44615"/>
                  <a:pt x="10588" y="47692"/>
                  <a:pt x="7058" y="38461"/>
                </a:cubicBezTo>
                <a:cubicBezTo>
                  <a:pt x="7058" y="38461"/>
                  <a:pt x="10588" y="38461"/>
                  <a:pt x="10588" y="35384"/>
                </a:cubicBezTo>
                <a:cubicBezTo>
                  <a:pt x="10588" y="33846"/>
                  <a:pt x="10588" y="33846"/>
                  <a:pt x="10588" y="33846"/>
                </a:cubicBezTo>
                <a:cubicBezTo>
                  <a:pt x="10588" y="30769"/>
                  <a:pt x="15882" y="33846"/>
                  <a:pt x="15882" y="29230"/>
                </a:cubicBezTo>
                <a:cubicBezTo>
                  <a:pt x="15882" y="21538"/>
                  <a:pt x="17647" y="26153"/>
                  <a:pt x="21176" y="23076"/>
                </a:cubicBezTo>
                <a:cubicBezTo>
                  <a:pt x="21176" y="18461"/>
                  <a:pt x="17647" y="18461"/>
                  <a:pt x="17647" y="18461"/>
                </a:cubicBezTo>
                <a:cubicBezTo>
                  <a:pt x="38823" y="16923"/>
                  <a:pt x="28235" y="9230"/>
                  <a:pt x="37058" y="12307"/>
                </a:cubicBezTo>
                <a:close/>
                <a:moveTo>
                  <a:pt x="12352" y="66153"/>
                </a:moveTo>
                <a:cubicBezTo>
                  <a:pt x="15882" y="66153"/>
                  <a:pt x="21176" y="70769"/>
                  <a:pt x="17647" y="70769"/>
                </a:cubicBezTo>
                <a:cubicBezTo>
                  <a:pt x="15882" y="70769"/>
                  <a:pt x="12352" y="69230"/>
                  <a:pt x="12352" y="66153"/>
                </a:cubicBezTo>
                <a:close/>
                <a:moveTo>
                  <a:pt x="15882" y="64615"/>
                </a:moveTo>
                <a:cubicBezTo>
                  <a:pt x="17647" y="66153"/>
                  <a:pt x="17647" y="64615"/>
                  <a:pt x="15882" y="61538"/>
                </a:cubicBezTo>
                <a:cubicBezTo>
                  <a:pt x="12352" y="61538"/>
                  <a:pt x="12352" y="56923"/>
                  <a:pt x="12352" y="60000"/>
                </a:cubicBezTo>
                <a:cubicBezTo>
                  <a:pt x="12352" y="61538"/>
                  <a:pt x="10588" y="60000"/>
                  <a:pt x="10588" y="61538"/>
                </a:cubicBezTo>
                <a:cubicBezTo>
                  <a:pt x="10588" y="64615"/>
                  <a:pt x="12352" y="64615"/>
                  <a:pt x="15882" y="64615"/>
                </a:cubicBezTo>
                <a:close/>
                <a:moveTo>
                  <a:pt x="47647" y="92307"/>
                </a:moveTo>
                <a:cubicBezTo>
                  <a:pt x="51176" y="95384"/>
                  <a:pt x="47647" y="100000"/>
                  <a:pt x="47647" y="98461"/>
                </a:cubicBezTo>
                <a:cubicBezTo>
                  <a:pt x="44117" y="95384"/>
                  <a:pt x="44117" y="92307"/>
                  <a:pt x="47647" y="92307"/>
                </a:cubicBezTo>
                <a:close/>
                <a:moveTo>
                  <a:pt x="72352" y="113846"/>
                </a:moveTo>
                <a:cubicBezTo>
                  <a:pt x="74117" y="120000"/>
                  <a:pt x="79411" y="116923"/>
                  <a:pt x="88235" y="116923"/>
                </a:cubicBezTo>
                <a:cubicBezTo>
                  <a:pt x="95294" y="116923"/>
                  <a:pt x="95294" y="109230"/>
                  <a:pt x="88235" y="112307"/>
                </a:cubicBezTo>
                <a:cubicBezTo>
                  <a:pt x="82941" y="116923"/>
                  <a:pt x="88235" y="109230"/>
                  <a:pt x="82941" y="112307"/>
                </a:cubicBezTo>
                <a:cubicBezTo>
                  <a:pt x="77647" y="112307"/>
                  <a:pt x="77647" y="107692"/>
                  <a:pt x="68823" y="109230"/>
                </a:cubicBezTo>
                <a:cubicBezTo>
                  <a:pt x="63529" y="112307"/>
                  <a:pt x="63529" y="104615"/>
                  <a:pt x="61764" y="107692"/>
                </a:cubicBezTo>
                <a:cubicBezTo>
                  <a:pt x="58235" y="107692"/>
                  <a:pt x="58235" y="104615"/>
                  <a:pt x="58235" y="104615"/>
                </a:cubicBezTo>
                <a:cubicBezTo>
                  <a:pt x="56470" y="107692"/>
                  <a:pt x="56470" y="107692"/>
                  <a:pt x="56470" y="109230"/>
                </a:cubicBezTo>
                <a:cubicBezTo>
                  <a:pt x="56470" y="113846"/>
                  <a:pt x="63529" y="109230"/>
                  <a:pt x="72352" y="113846"/>
                </a:cubicBezTo>
                <a:close/>
                <a:moveTo>
                  <a:pt x="120000" y="92307"/>
                </a:moveTo>
                <a:cubicBezTo>
                  <a:pt x="120000" y="90769"/>
                  <a:pt x="111176" y="95384"/>
                  <a:pt x="111176" y="98461"/>
                </a:cubicBezTo>
                <a:cubicBezTo>
                  <a:pt x="114705" y="98461"/>
                  <a:pt x="111176" y="100000"/>
                  <a:pt x="114705" y="103076"/>
                </a:cubicBezTo>
                <a:cubicBezTo>
                  <a:pt x="118235" y="103076"/>
                  <a:pt x="120000" y="92307"/>
                  <a:pt x="120000" y="92307"/>
                </a:cubicBezTo>
                <a:close/>
                <a:moveTo>
                  <a:pt x="88235" y="56923"/>
                </a:moveTo>
                <a:cubicBezTo>
                  <a:pt x="90000" y="55384"/>
                  <a:pt x="93529" y="61538"/>
                  <a:pt x="88235" y="64615"/>
                </a:cubicBezTo>
                <a:cubicBezTo>
                  <a:pt x="84705" y="64615"/>
                  <a:pt x="90000" y="60000"/>
                  <a:pt x="88235" y="60000"/>
                </a:cubicBezTo>
                <a:cubicBezTo>
                  <a:pt x="88235" y="56923"/>
                  <a:pt x="84705" y="56923"/>
                  <a:pt x="88235" y="56923"/>
                </a:cubicBezTo>
                <a:close/>
                <a:moveTo>
                  <a:pt x="95294" y="47692"/>
                </a:moveTo>
                <a:cubicBezTo>
                  <a:pt x="93529" y="43076"/>
                  <a:pt x="95294" y="44615"/>
                  <a:pt x="93529" y="43076"/>
                </a:cubicBezTo>
                <a:cubicBezTo>
                  <a:pt x="93529" y="43076"/>
                  <a:pt x="90000" y="43076"/>
                  <a:pt x="88235" y="44615"/>
                </a:cubicBezTo>
                <a:cubicBezTo>
                  <a:pt x="84705" y="44615"/>
                  <a:pt x="88235" y="47692"/>
                  <a:pt x="93529" y="50769"/>
                </a:cubicBezTo>
                <a:cubicBezTo>
                  <a:pt x="95294" y="50769"/>
                  <a:pt x="98823" y="50769"/>
                  <a:pt x="95294" y="47692"/>
                </a:cubicBezTo>
                <a:close/>
                <a:moveTo>
                  <a:pt x="72352" y="18461"/>
                </a:moveTo>
                <a:cubicBezTo>
                  <a:pt x="72352" y="18461"/>
                  <a:pt x="72352" y="23076"/>
                  <a:pt x="68823" y="21538"/>
                </a:cubicBezTo>
                <a:cubicBezTo>
                  <a:pt x="67058" y="21538"/>
                  <a:pt x="68823" y="18461"/>
                  <a:pt x="72352" y="18461"/>
                </a:cubicBezTo>
                <a:close/>
                <a:moveTo>
                  <a:pt x="52941" y="55384"/>
                </a:moveTo>
                <a:cubicBezTo>
                  <a:pt x="58235" y="56923"/>
                  <a:pt x="56470" y="60000"/>
                  <a:pt x="58235" y="60000"/>
                </a:cubicBezTo>
                <a:cubicBezTo>
                  <a:pt x="63529" y="60000"/>
                  <a:pt x="63529" y="66153"/>
                  <a:pt x="67058" y="66153"/>
                </a:cubicBezTo>
                <a:cubicBezTo>
                  <a:pt x="68823" y="69230"/>
                  <a:pt x="68823" y="64615"/>
                  <a:pt x="67058" y="64615"/>
                </a:cubicBezTo>
                <a:cubicBezTo>
                  <a:pt x="63529" y="61538"/>
                  <a:pt x="63529" y="60000"/>
                  <a:pt x="63529" y="56923"/>
                </a:cubicBezTo>
                <a:cubicBezTo>
                  <a:pt x="63529" y="52307"/>
                  <a:pt x="61764" y="56923"/>
                  <a:pt x="52941" y="50769"/>
                </a:cubicBezTo>
                <a:cubicBezTo>
                  <a:pt x="51176" y="47692"/>
                  <a:pt x="44117" y="50769"/>
                  <a:pt x="44117" y="52307"/>
                </a:cubicBezTo>
                <a:cubicBezTo>
                  <a:pt x="47647" y="52307"/>
                  <a:pt x="51176" y="52307"/>
                  <a:pt x="52941" y="55384"/>
                </a:cubicBezTo>
                <a:close/>
                <a:moveTo>
                  <a:pt x="82941" y="81538"/>
                </a:moveTo>
                <a:cubicBezTo>
                  <a:pt x="84705" y="78461"/>
                  <a:pt x="84705" y="86153"/>
                  <a:pt x="82941" y="83076"/>
                </a:cubicBezTo>
                <a:cubicBezTo>
                  <a:pt x="79411" y="83076"/>
                  <a:pt x="79411" y="81538"/>
                  <a:pt x="82941" y="81538"/>
                </a:cubicBezTo>
                <a:close/>
                <a:moveTo>
                  <a:pt x="105882" y="109230"/>
                </a:moveTo>
                <a:cubicBezTo>
                  <a:pt x="104117" y="109230"/>
                  <a:pt x="104117" y="103076"/>
                  <a:pt x="105882" y="104615"/>
                </a:cubicBezTo>
                <a:cubicBezTo>
                  <a:pt x="105882" y="107692"/>
                  <a:pt x="105882" y="109230"/>
                  <a:pt x="105882" y="109230"/>
                </a:cubicBezTo>
                <a:close/>
                <a:moveTo>
                  <a:pt x="7058" y="43076"/>
                </a:moveTo>
                <a:cubicBezTo>
                  <a:pt x="1764" y="38461"/>
                  <a:pt x="1764" y="38461"/>
                  <a:pt x="1764" y="38461"/>
                </a:cubicBezTo>
                <a:cubicBezTo>
                  <a:pt x="5294" y="35384"/>
                  <a:pt x="1764" y="35384"/>
                  <a:pt x="0" y="35384"/>
                </a:cubicBezTo>
                <a:cubicBezTo>
                  <a:pt x="0" y="38461"/>
                  <a:pt x="1764" y="43076"/>
                  <a:pt x="7058" y="43076"/>
                </a:cubicBezTo>
                <a:close/>
                <a:moveTo>
                  <a:pt x="77647" y="35384"/>
                </a:moveTo>
                <a:cubicBezTo>
                  <a:pt x="79411" y="33846"/>
                  <a:pt x="79411" y="38461"/>
                  <a:pt x="79411" y="35384"/>
                </a:cubicBezTo>
                <a:cubicBezTo>
                  <a:pt x="79411" y="33846"/>
                  <a:pt x="82941" y="30769"/>
                  <a:pt x="79411" y="33846"/>
                </a:cubicBezTo>
                <a:cubicBezTo>
                  <a:pt x="79411" y="33846"/>
                  <a:pt x="74117" y="30769"/>
                  <a:pt x="74117" y="33846"/>
                </a:cubicBezTo>
                <a:cubicBezTo>
                  <a:pt x="74117" y="35384"/>
                  <a:pt x="77647" y="35384"/>
                  <a:pt x="77647" y="35384"/>
                </a:cubicBezTo>
                <a:close/>
                <a:moveTo>
                  <a:pt x="84705" y="30769"/>
                </a:moveTo>
                <a:cubicBezTo>
                  <a:pt x="84705" y="26153"/>
                  <a:pt x="90000" y="29230"/>
                  <a:pt x="88235" y="30769"/>
                </a:cubicBezTo>
                <a:cubicBezTo>
                  <a:pt x="84705" y="30769"/>
                  <a:pt x="84705" y="30769"/>
                  <a:pt x="84705" y="30769"/>
                </a:cubicBezTo>
                <a:close/>
                <a:moveTo>
                  <a:pt x="77647" y="83076"/>
                </a:moveTo>
                <a:cubicBezTo>
                  <a:pt x="74117" y="81538"/>
                  <a:pt x="77647" y="78461"/>
                  <a:pt x="79411" y="81538"/>
                </a:cubicBezTo>
                <a:cubicBezTo>
                  <a:pt x="77647" y="83076"/>
                  <a:pt x="77647" y="83076"/>
                  <a:pt x="77647" y="83076"/>
                </a:cubicBezTo>
                <a:close/>
                <a:moveTo>
                  <a:pt x="67058" y="87692"/>
                </a:moveTo>
                <a:cubicBezTo>
                  <a:pt x="63529" y="87692"/>
                  <a:pt x="67058" y="90769"/>
                  <a:pt x="68823" y="87692"/>
                </a:cubicBezTo>
                <a:cubicBezTo>
                  <a:pt x="68823" y="86153"/>
                  <a:pt x="68823" y="86153"/>
                  <a:pt x="67058" y="87692"/>
                </a:cubicBezTo>
                <a:close/>
                <a:moveTo>
                  <a:pt x="67058" y="73846"/>
                </a:moveTo>
                <a:cubicBezTo>
                  <a:pt x="63529" y="73846"/>
                  <a:pt x="67058" y="70769"/>
                  <a:pt x="67058" y="70769"/>
                </a:cubicBezTo>
                <a:cubicBezTo>
                  <a:pt x="67058" y="73846"/>
                  <a:pt x="67058" y="73846"/>
                  <a:pt x="67058" y="73846"/>
                </a:cubicBezTo>
                <a:close/>
                <a:moveTo>
                  <a:pt x="67058" y="78461"/>
                </a:moveTo>
                <a:cubicBezTo>
                  <a:pt x="63529" y="78461"/>
                  <a:pt x="67058" y="73846"/>
                  <a:pt x="67058" y="76923"/>
                </a:cubicBezTo>
                <a:cubicBezTo>
                  <a:pt x="68823" y="76923"/>
                  <a:pt x="68823" y="78461"/>
                  <a:pt x="67058" y="78461"/>
                </a:cubicBezTo>
                <a:close/>
                <a:moveTo>
                  <a:pt x="88235" y="73846"/>
                </a:moveTo>
                <a:cubicBezTo>
                  <a:pt x="88235" y="70769"/>
                  <a:pt x="93529" y="70769"/>
                  <a:pt x="93529" y="70769"/>
                </a:cubicBezTo>
                <a:cubicBezTo>
                  <a:pt x="93529" y="70769"/>
                  <a:pt x="88235" y="76923"/>
                  <a:pt x="88235" y="73846"/>
                </a:cubicBezTo>
                <a:close/>
                <a:moveTo>
                  <a:pt x="12352" y="56923"/>
                </a:moveTo>
                <a:cubicBezTo>
                  <a:pt x="10588" y="56923"/>
                  <a:pt x="12352" y="52307"/>
                  <a:pt x="15882" y="52307"/>
                </a:cubicBezTo>
                <a:cubicBezTo>
                  <a:pt x="15882" y="55384"/>
                  <a:pt x="15882" y="56923"/>
                  <a:pt x="12352" y="56923"/>
                </a:cubicBezTo>
                <a:close/>
                <a:moveTo>
                  <a:pt x="72352" y="52307"/>
                </a:moveTo>
                <a:cubicBezTo>
                  <a:pt x="68823" y="52307"/>
                  <a:pt x="68823" y="50769"/>
                  <a:pt x="68823" y="50769"/>
                </a:cubicBezTo>
                <a:cubicBezTo>
                  <a:pt x="68823" y="47692"/>
                  <a:pt x="72352" y="52307"/>
                  <a:pt x="72352" y="52307"/>
                </a:cubicBezTo>
                <a:close/>
                <a:moveTo>
                  <a:pt x="74117" y="73846"/>
                </a:moveTo>
                <a:cubicBezTo>
                  <a:pt x="77647" y="76923"/>
                  <a:pt x="79411" y="73846"/>
                  <a:pt x="77647" y="70769"/>
                </a:cubicBezTo>
                <a:cubicBezTo>
                  <a:pt x="74117" y="70769"/>
                  <a:pt x="72352" y="64615"/>
                  <a:pt x="72352" y="66153"/>
                </a:cubicBezTo>
                <a:cubicBezTo>
                  <a:pt x="68823" y="69230"/>
                  <a:pt x="74117" y="69230"/>
                  <a:pt x="74117" y="73846"/>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31" name="Shape 1991"/>
          <p:cNvSpPr/>
          <p:nvPr/>
        </p:nvSpPr>
        <p:spPr>
          <a:xfrm>
            <a:off x="7328727" y="6573962"/>
            <a:ext cx="49465" cy="42894"/>
          </a:xfrm>
          <a:custGeom>
            <a:avLst/>
            <a:gdLst/>
            <a:ahLst/>
            <a:cxnLst/>
            <a:rect l="0" t="0" r="0" b="0"/>
            <a:pathLst>
              <a:path w="120000" h="120000" extrusionOk="0">
                <a:moveTo>
                  <a:pt x="16000" y="119999"/>
                </a:moveTo>
                <a:cubicBezTo>
                  <a:pt x="0" y="102857"/>
                  <a:pt x="24000" y="85714"/>
                  <a:pt x="16000" y="77142"/>
                </a:cubicBezTo>
                <a:cubicBezTo>
                  <a:pt x="0" y="59999"/>
                  <a:pt x="0" y="34285"/>
                  <a:pt x="16000" y="25714"/>
                </a:cubicBezTo>
                <a:cubicBezTo>
                  <a:pt x="16000" y="8571"/>
                  <a:pt x="16000" y="0"/>
                  <a:pt x="24000" y="8571"/>
                </a:cubicBezTo>
                <a:cubicBezTo>
                  <a:pt x="40000" y="25714"/>
                  <a:pt x="16000" y="34285"/>
                  <a:pt x="24000" y="51428"/>
                </a:cubicBezTo>
                <a:cubicBezTo>
                  <a:pt x="48000" y="59999"/>
                  <a:pt x="64000" y="8571"/>
                  <a:pt x="64000" y="34285"/>
                </a:cubicBezTo>
                <a:cubicBezTo>
                  <a:pt x="64000" y="59999"/>
                  <a:pt x="40000" y="59999"/>
                  <a:pt x="64000" y="59999"/>
                </a:cubicBezTo>
                <a:cubicBezTo>
                  <a:pt x="88000" y="59999"/>
                  <a:pt x="96000" y="34285"/>
                  <a:pt x="112000" y="51428"/>
                </a:cubicBezTo>
                <a:cubicBezTo>
                  <a:pt x="120000" y="51428"/>
                  <a:pt x="120000" y="85714"/>
                  <a:pt x="96000" y="77142"/>
                </a:cubicBezTo>
                <a:cubicBezTo>
                  <a:pt x="72000" y="77142"/>
                  <a:pt x="64000" y="85714"/>
                  <a:pt x="72000" y="85714"/>
                </a:cubicBezTo>
                <a:cubicBezTo>
                  <a:pt x="72000" y="85714"/>
                  <a:pt x="120000" y="102857"/>
                  <a:pt x="96000" y="119999"/>
                </a:cubicBezTo>
                <a:cubicBezTo>
                  <a:pt x="64000" y="119999"/>
                  <a:pt x="40000" y="85714"/>
                  <a:pt x="24000" y="102857"/>
                </a:cubicBezTo>
                <a:cubicBezTo>
                  <a:pt x="24000" y="119999"/>
                  <a:pt x="16000" y="119999"/>
                  <a:pt x="16000" y="119999"/>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32" name="Shape 1992"/>
          <p:cNvSpPr/>
          <p:nvPr/>
        </p:nvSpPr>
        <p:spPr>
          <a:xfrm>
            <a:off x="8773437" y="3563573"/>
            <a:ext cx="579929" cy="711693"/>
          </a:xfrm>
          <a:custGeom>
            <a:avLst/>
            <a:gdLst/>
            <a:ahLst/>
            <a:cxnLst/>
            <a:rect l="0" t="0" r="0" b="0"/>
            <a:pathLst>
              <a:path w="120000" h="120000" extrusionOk="0">
                <a:moveTo>
                  <a:pt x="36342" y="87272"/>
                </a:moveTo>
                <a:cubicBezTo>
                  <a:pt x="35657" y="87272"/>
                  <a:pt x="36342" y="85714"/>
                  <a:pt x="36342" y="86753"/>
                </a:cubicBezTo>
                <a:cubicBezTo>
                  <a:pt x="37714" y="86753"/>
                  <a:pt x="37714" y="87272"/>
                  <a:pt x="36342" y="87272"/>
                </a:cubicBezTo>
                <a:close/>
                <a:moveTo>
                  <a:pt x="26742" y="73766"/>
                </a:moveTo>
                <a:cubicBezTo>
                  <a:pt x="28114" y="73766"/>
                  <a:pt x="28114" y="74285"/>
                  <a:pt x="26742" y="74285"/>
                </a:cubicBezTo>
                <a:cubicBezTo>
                  <a:pt x="26057" y="74285"/>
                  <a:pt x="26742" y="73766"/>
                  <a:pt x="26742" y="73766"/>
                </a:cubicBezTo>
                <a:close/>
                <a:moveTo>
                  <a:pt x="33600" y="75844"/>
                </a:moveTo>
                <a:cubicBezTo>
                  <a:pt x="33600" y="75324"/>
                  <a:pt x="35657" y="74285"/>
                  <a:pt x="35657" y="75324"/>
                </a:cubicBezTo>
                <a:cubicBezTo>
                  <a:pt x="35657" y="75844"/>
                  <a:pt x="34285" y="76883"/>
                  <a:pt x="33600" y="75844"/>
                </a:cubicBezTo>
                <a:close/>
                <a:moveTo>
                  <a:pt x="63771" y="69610"/>
                </a:moveTo>
                <a:cubicBezTo>
                  <a:pt x="65828" y="71168"/>
                  <a:pt x="66514" y="68051"/>
                  <a:pt x="67885" y="66493"/>
                </a:cubicBezTo>
                <a:cubicBezTo>
                  <a:pt x="69942" y="64935"/>
                  <a:pt x="73371" y="65454"/>
                  <a:pt x="69942" y="63896"/>
                </a:cubicBezTo>
                <a:cubicBezTo>
                  <a:pt x="67885" y="63376"/>
                  <a:pt x="70628" y="59740"/>
                  <a:pt x="70628" y="61298"/>
                </a:cubicBezTo>
                <a:cubicBezTo>
                  <a:pt x="70628" y="63896"/>
                  <a:pt x="74057" y="61298"/>
                  <a:pt x="72000" y="63376"/>
                </a:cubicBezTo>
                <a:cubicBezTo>
                  <a:pt x="70628" y="64935"/>
                  <a:pt x="74057" y="63376"/>
                  <a:pt x="76114" y="63376"/>
                </a:cubicBezTo>
                <a:cubicBezTo>
                  <a:pt x="78171" y="63896"/>
                  <a:pt x="77485" y="63896"/>
                  <a:pt x="79542" y="62337"/>
                </a:cubicBezTo>
                <a:cubicBezTo>
                  <a:pt x="80228" y="60779"/>
                  <a:pt x="81600" y="59740"/>
                  <a:pt x="81600" y="62337"/>
                </a:cubicBezTo>
                <a:cubicBezTo>
                  <a:pt x="80228" y="64935"/>
                  <a:pt x="82285" y="63896"/>
                  <a:pt x="83657" y="61298"/>
                </a:cubicBezTo>
                <a:cubicBezTo>
                  <a:pt x="83657" y="59740"/>
                  <a:pt x="83657" y="59220"/>
                  <a:pt x="85714" y="59740"/>
                </a:cubicBezTo>
                <a:cubicBezTo>
                  <a:pt x="86400" y="61298"/>
                  <a:pt x="85714" y="59740"/>
                  <a:pt x="86400" y="58181"/>
                </a:cubicBezTo>
                <a:cubicBezTo>
                  <a:pt x="87771" y="57662"/>
                  <a:pt x="88457" y="57662"/>
                  <a:pt x="87771" y="58181"/>
                </a:cubicBezTo>
                <a:cubicBezTo>
                  <a:pt x="87771" y="59740"/>
                  <a:pt x="86400" y="63376"/>
                  <a:pt x="87771" y="61298"/>
                </a:cubicBezTo>
                <a:cubicBezTo>
                  <a:pt x="88457" y="59740"/>
                  <a:pt x="89828" y="61298"/>
                  <a:pt x="90514" y="59220"/>
                </a:cubicBezTo>
                <a:cubicBezTo>
                  <a:pt x="90514" y="55584"/>
                  <a:pt x="95314" y="59740"/>
                  <a:pt x="91885" y="55584"/>
                </a:cubicBezTo>
                <a:cubicBezTo>
                  <a:pt x="88457" y="52467"/>
                  <a:pt x="95314" y="50389"/>
                  <a:pt x="92571" y="46233"/>
                </a:cubicBezTo>
                <a:cubicBezTo>
                  <a:pt x="92571" y="43636"/>
                  <a:pt x="93942" y="41038"/>
                  <a:pt x="96000" y="43116"/>
                </a:cubicBezTo>
                <a:cubicBezTo>
                  <a:pt x="98057" y="43636"/>
                  <a:pt x="95314" y="41038"/>
                  <a:pt x="97371" y="38961"/>
                </a:cubicBezTo>
                <a:cubicBezTo>
                  <a:pt x="99428" y="36363"/>
                  <a:pt x="100114" y="33246"/>
                  <a:pt x="97371" y="31688"/>
                </a:cubicBezTo>
                <a:cubicBezTo>
                  <a:pt x="95314" y="29090"/>
                  <a:pt x="95314" y="26493"/>
                  <a:pt x="96000" y="25974"/>
                </a:cubicBezTo>
                <a:cubicBezTo>
                  <a:pt x="96000" y="24415"/>
                  <a:pt x="95314" y="24935"/>
                  <a:pt x="93942" y="24415"/>
                </a:cubicBezTo>
                <a:cubicBezTo>
                  <a:pt x="92571" y="23376"/>
                  <a:pt x="91885" y="26493"/>
                  <a:pt x="93942" y="25974"/>
                </a:cubicBezTo>
                <a:cubicBezTo>
                  <a:pt x="96000" y="24935"/>
                  <a:pt x="95314" y="28051"/>
                  <a:pt x="93942" y="27532"/>
                </a:cubicBezTo>
                <a:cubicBezTo>
                  <a:pt x="92571" y="26493"/>
                  <a:pt x="91885" y="29090"/>
                  <a:pt x="91885" y="27532"/>
                </a:cubicBezTo>
                <a:cubicBezTo>
                  <a:pt x="91885" y="24935"/>
                  <a:pt x="89828" y="24935"/>
                  <a:pt x="89828" y="27532"/>
                </a:cubicBezTo>
                <a:cubicBezTo>
                  <a:pt x="89828" y="30129"/>
                  <a:pt x="86400" y="27532"/>
                  <a:pt x="87771" y="30129"/>
                </a:cubicBezTo>
                <a:cubicBezTo>
                  <a:pt x="88457" y="33246"/>
                  <a:pt x="86400" y="32207"/>
                  <a:pt x="86400" y="33246"/>
                </a:cubicBezTo>
                <a:cubicBezTo>
                  <a:pt x="86400" y="33766"/>
                  <a:pt x="89828" y="32207"/>
                  <a:pt x="86400" y="38961"/>
                </a:cubicBezTo>
                <a:cubicBezTo>
                  <a:pt x="85714" y="43636"/>
                  <a:pt x="83657" y="43636"/>
                  <a:pt x="81600" y="46753"/>
                </a:cubicBezTo>
                <a:cubicBezTo>
                  <a:pt x="78171" y="50389"/>
                  <a:pt x="76114" y="49350"/>
                  <a:pt x="73371" y="50909"/>
                </a:cubicBezTo>
                <a:cubicBezTo>
                  <a:pt x="70628" y="52467"/>
                  <a:pt x="73371" y="50389"/>
                  <a:pt x="72000" y="49350"/>
                </a:cubicBezTo>
                <a:cubicBezTo>
                  <a:pt x="70628" y="49350"/>
                  <a:pt x="75428" y="48831"/>
                  <a:pt x="74057" y="46753"/>
                </a:cubicBezTo>
                <a:cubicBezTo>
                  <a:pt x="73371" y="46233"/>
                  <a:pt x="69942" y="47792"/>
                  <a:pt x="69942" y="49350"/>
                </a:cubicBezTo>
                <a:cubicBezTo>
                  <a:pt x="70628" y="51948"/>
                  <a:pt x="65828" y="55064"/>
                  <a:pt x="65828" y="55584"/>
                </a:cubicBezTo>
                <a:cubicBezTo>
                  <a:pt x="66514" y="56623"/>
                  <a:pt x="66514" y="58181"/>
                  <a:pt x="63771" y="58181"/>
                </a:cubicBezTo>
                <a:cubicBezTo>
                  <a:pt x="60342" y="59220"/>
                  <a:pt x="63771" y="57662"/>
                  <a:pt x="61714" y="56623"/>
                </a:cubicBezTo>
                <a:cubicBezTo>
                  <a:pt x="60342" y="56623"/>
                  <a:pt x="52114" y="59740"/>
                  <a:pt x="51428" y="58181"/>
                </a:cubicBezTo>
                <a:cubicBezTo>
                  <a:pt x="50057" y="56623"/>
                  <a:pt x="48685" y="58181"/>
                  <a:pt x="45942" y="60779"/>
                </a:cubicBezTo>
                <a:cubicBezTo>
                  <a:pt x="42514" y="63896"/>
                  <a:pt x="42514" y="61298"/>
                  <a:pt x="41828" y="63896"/>
                </a:cubicBezTo>
                <a:cubicBezTo>
                  <a:pt x="40457" y="65454"/>
                  <a:pt x="38400" y="63896"/>
                  <a:pt x="38400" y="65454"/>
                </a:cubicBezTo>
                <a:cubicBezTo>
                  <a:pt x="38400" y="68051"/>
                  <a:pt x="41828" y="66493"/>
                  <a:pt x="43885" y="67012"/>
                </a:cubicBezTo>
                <a:cubicBezTo>
                  <a:pt x="46628" y="68051"/>
                  <a:pt x="44571" y="65454"/>
                  <a:pt x="45942" y="64935"/>
                </a:cubicBezTo>
                <a:cubicBezTo>
                  <a:pt x="48000" y="64935"/>
                  <a:pt x="46628" y="65454"/>
                  <a:pt x="48685" y="65454"/>
                </a:cubicBezTo>
                <a:cubicBezTo>
                  <a:pt x="51428" y="64935"/>
                  <a:pt x="53485" y="64935"/>
                  <a:pt x="55542" y="63896"/>
                </a:cubicBezTo>
                <a:cubicBezTo>
                  <a:pt x="58285" y="63376"/>
                  <a:pt x="55542" y="62337"/>
                  <a:pt x="59657" y="63376"/>
                </a:cubicBezTo>
                <a:cubicBezTo>
                  <a:pt x="62399" y="63896"/>
                  <a:pt x="62399" y="62337"/>
                  <a:pt x="63771" y="63376"/>
                </a:cubicBezTo>
                <a:cubicBezTo>
                  <a:pt x="63771" y="64935"/>
                  <a:pt x="61714" y="64935"/>
                  <a:pt x="61714" y="65454"/>
                </a:cubicBezTo>
                <a:cubicBezTo>
                  <a:pt x="61714" y="66493"/>
                  <a:pt x="60342" y="67012"/>
                  <a:pt x="61714" y="68051"/>
                </a:cubicBezTo>
                <a:cubicBezTo>
                  <a:pt x="63771" y="68571"/>
                  <a:pt x="61714" y="68571"/>
                  <a:pt x="64457" y="69610"/>
                </a:cubicBezTo>
                <a:cubicBezTo>
                  <a:pt x="63771" y="69610"/>
                  <a:pt x="63771" y="69610"/>
                  <a:pt x="63771" y="69610"/>
                </a:cubicBezTo>
                <a:close/>
                <a:moveTo>
                  <a:pt x="35657" y="72727"/>
                </a:moveTo>
                <a:cubicBezTo>
                  <a:pt x="34285" y="72727"/>
                  <a:pt x="34285" y="70649"/>
                  <a:pt x="35657" y="72207"/>
                </a:cubicBezTo>
                <a:cubicBezTo>
                  <a:pt x="36342" y="73766"/>
                  <a:pt x="37714" y="75324"/>
                  <a:pt x="35657" y="76883"/>
                </a:cubicBezTo>
                <a:cubicBezTo>
                  <a:pt x="34285" y="78441"/>
                  <a:pt x="34285" y="77922"/>
                  <a:pt x="35657" y="80000"/>
                </a:cubicBezTo>
                <a:cubicBezTo>
                  <a:pt x="35657" y="81558"/>
                  <a:pt x="33600" y="81038"/>
                  <a:pt x="36342" y="81558"/>
                </a:cubicBezTo>
                <a:cubicBezTo>
                  <a:pt x="38400" y="82597"/>
                  <a:pt x="36342" y="84155"/>
                  <a:pt x="38400" y="82597"/>
                </a:cubicBezTo>
                <a:cubicBezTo>
                  <a:pt x="40457" y="81558"/>
                  <a:pt x="38400" y="81558"/>
                  <a:pt x="39771" y="81038"/>
                </a:cubicBezTo>
                <a:cubicBezTo>
                  <a:pt x="40457" y="80000"/>
                  <a:pt x="39771" y="81558"/>
                  <a:pt x="40457" y="81038"/>
                </a:cubicBezTo>
                <a:cubicBezTo>
                  <a:pt x="41828" y="81038"/>
                  <a:pt x="41828" y="73766"/>
                  <a:pt x="43885" y="73766"/>
                </a:cubicBezTo>
                <a:cubicBezTo>
                  <a:pt x="45942" y="72727"/>
                  <a:pt x="44571" y="71168"/>
                  <a:pt x="42514" y="71168"/>
                </a:cubicBezTo>
                <a:cubicBezTo>
                  <a:pt x="40457" y="71168"/>
                  <a:pt x="43885" y="69610"/>
                  <a:pt x="42514" y="68571"/>
                </a:cubicBezTo>
                <a:cubicBezTo>
                  <a:pt x="41828" y="68051"/>
                  <a:pt x="39771" y="70649"/>
                  <a:pt x="39771" y="68051"/>
                </a:cubicBezTo>
                <a:cubicBezTo>
                  <a:pt x="38400" y="67012"/>
                  <a:pt x="36342" y="66493"/>
                  <a:pt x="36342" y="68051"/>
                </a:cubicBezTo>
                <a:cubicBezTo>
                  <a:pt x="35657" y="69610"/>
                  <a:pt x="35657" y="68051"/>
                  <a:pt x="34285" y="69610"/>
                </a:cubicBezTo>
                <a:cubicBezTo>
                  <a:pt x="33600" y="71168"/>
                  <a:pt x="33600" y="68051"/>
                  <a:pt x="32228" y="69610"/>
                </a:cubicBezTo>
                <a:cubicBezTo>
                  <a:pt x="32228" y="71168"/>
                  <a:pt x="30171" y="69610"/>
                  <a:pt x="31542" y="71168"/>
                </a:cubicBezTo>
                <a:cubicBezTo>
                  <a:pt x="32228" y="72727"/>
                  <a:pt x="31542" y="72207"/>
                  <a:pt x="32228" y="72727"/>
                </a:cubicBezTo>
                <a:cubicBezTo>
                  <a:pt x="33600" y="74285"/>
                  <a:pt x="31542" y="75324"/>
                  <a:pt x="33600" y="74285"/>
                </a:cubicBezTo>
                <a:cubicBezTo>
                  <a:pt x="35657" y="72727"/>
                  <a:pt x="33600" y="75324"/>
                  <a:pt x="35657" y="74285"/>
                </a:cubicBezTo>
                <a:cubicBezTo>
                  <a:pt x="36342" y="73766"/>
                  <a:pt x="36342" y="73766"/>
                  <a:pt x="35657" y="72727"/>
                </a:cubicBezTo>
                <a:close/>
                <a:moveTo>
                  <a:pt x="53485" y="69610"/>
                </a:moveTo>
                <a:cubicBezTo>
                  <a:pt x="55542" y="68571"/>
                  <a:pt x="56228" y="72207"/>
                  <a:pt x="56228" y="70649"/>
                </a:cubicBezTo>
                <a:cubicBezTo>
                  <a:pt x="57599" y="68051"/>
                  <a:pt x="59657" y="68571"/>
                  <a:pt x="59657" y="67012"/>
                </a:cubicBezTo>
                <a:cubicBezTo>
                  <a:pt x="58285" y="66493"/>
                  <a:pt x="59657" y="66493"/>
                  <a:pt x="58285" y="65454"/>
                </a:cubicBezTo>
                <a:cubicBezTo>
                  <a:pt x="57599" y="64935"/>
                  <a:pt x="56228" y="64935"/>
                  <a:pt x="54171" y="65454"/>
                </a:cubicBezTo>
                <a:cubicBezTo>
                  <a:pt x="52114" y="66493"/>
                  <a:pt x="53485" y="67012"/>
                  <a:pt x="52114" y="67012"/>
                </a:cubicBezTo>
                <a:cubicBezTo>
                  <a:pt x="51428" y="66493"/>
                  <a:pt x="50057" y="68051"/>
                  <a:pt x="50057" y="67012"/>
                </a:cubicBezTo>
                <a:cubicBezTo>
                  <a:pt x="50057" y="65454"/>
                  <a:pt x="50057" y="65454"/>
                  <a:pt x="48000" y="68051"/>
                </a:cubicBezTo>
                <a:cubicBezTo>
                  <a:pt x="46628" y="69610"/>
                  <a:pt x="43885" y="70649"/>
                  <a:pt x="45942" y="70649"/>
                </a:cubicBezTo>
                <a:cubicBezTo>
                  <a:pt x="48000" y="70649"/>
                  <a:pt x="45942" y="71168"/>
                  <a:pt x="48000" y="72727"/>
                </a:cubicBezTo>
                <a:cubicBezTo>
                  <a:pt x="48685" y="73766"/>
                  <a:pt x="45942" y="73766"/>
                  <a:pt x="48685" y="73766"/>
                </a:cubicBezTo>
                <a:cubicBezTo>
                  <a:pt x="51428" y="74285"/>
                  <a:pt x="50057" y="70649"/>
                  <a:pt x="53485" y="69610"/>
                </a:cubicBezTo>
                <a:close/>
                <a:moveTo>
                  <a:pt x="79542" y="43636"/>
                </a:moveTo>
                <a:cubicBezTo>
                  <a:pt x="80228" y="42077"/>
                  <a:pt x="80228" y="43636"/>
                  <a:pt x="80228" y="44675"/>
                </a:cubicBezTo>
                <a:cubicBezTo>
                  <a:pt x="79542" y="45194"/>
                  <a:pt x="78171" y="44675"/>
                  <a:pt x="79542" y="43636"/>
                </a:cubicBezTo>
                <a:close/>
                <a:moveTo>
                  <a:pt x="90514" y="23376"/>
                </a:moveTo>
                <a:cubicBezTo>
                  <a:pt x="91885" y="20779"/>
                  <a:pt x="91885" y="23376"/>
                  <a:pt x="93942" y="22857"/>
                </a:cubicBezTo>
                <a:cubicBezTo>
                  <a:pt x="97371" y="21818"/>
                  <a:pt x="88457" y="20779"/>
                  <a:pt x="89828" y="18701"/>
                </a:cubicBezTo>
                <a:cubicBezTo>
                  <a:pt x="91885" y="16103"/>
                  <a:pt x="91885" y="20259"/>
                  <a:pt x="95314" y="18701"/>
                </a:cubicBezTo>
                <a:cubicBezTo>
                  <a:pt x="97371" y="17142"/>
                  <a:pt x="98057" y="17662"/>
                  <a:pt x="104228" y="20779"/>
                </a:cubicBezTo>
                <a:cubicBezTo>
                  <a:pt x="107657" y="22857"/>
                  <a:pt x="106285" y="17142"/>
                  <a:pt x="109714" y="16103"/>
                </a:cubicBezTo>
                <a:cubicBezTo>
                  <a:pt x="111771" y="15584"/>
                  <a:pt x="113828" y="16103"/>
                  <a:pt x="115885" y="15584"/>
                </a:cubicBezTo>
                <a:cubicBezTo>
                  <a:pt x="119314" y="13506"/>
                  <a:pt x="119999" y="13506"/>
                  <a:pt x="119999" y="12987"/>
                </a:cubicBezTo>
                <a:cubicBezTo>
                  <a:pt x="119314" y="11948"/>
                  <a:pt x="117942" y="14545"/>
                  <a:pt x="115885" y="11948"/>
                </a:cubicBezTo>
                <a:cubicBezTo>
                  <a:pt x="115199" y="9870"/>
                  <a:pt x="117942" y="7272"/>
                  <a:pt x="117257" y="7272"/>
                </a:cubicBezTo>
                <a:cubicBezTo>
                  <a:pt x="115885" y="8311"/>
                  <a:pt x="115199" y="10389"/>
                  <a:pt x="112457" y="9870"/>
                </a:cubicBezTo>
                <a:cubicBezTo>
                  <a:pt x="110399" y="9870"/>
                  <a:pt x="112457" y="8831"/>
                  <a:pt x="109714" y="8831"/>
                </a:cubicBezTo>
                <a:cubicBezTo>
                  <a:pt x="106285" y="8311"/>
                  <a:pt x="102171" y="4155"/>
                  <a:pt x="100114" y="2597"/>
                </a:cubicBezTo>
                <a:cubicBezTo>
                  <a:pt x="98057" y="0"/>
                  <a:pt x="95314" y="1038"/>
                  <a:pt x="97371" y="3116"/>
                </a:cubicBezTo>
                <a:cubicBezTo>
                  <a:pt x="99428" y="6233"/>
                  <a:pt x="96000" y="6233"/>
                  <a:pt x="97371" y="8311"/>
                </a:cubicBezTo>
                <a:cubicBezTo>
                  <a:pt x="98057" y="9870"/>
                  <a:pt x="95314" y="10389"/>
                  <a:pt x="95314" y="11948"/>
                </a:cubicBezTo>
                <a:cubicBezTo>
                  <a:pt x="96000" y="12987"/>
                  <a:pt x="96000" y="15584"/>
                  <a:pt x="92571" y="14545"/>
                </a:cubicBezTo>
                <a:cubicBezTo>
                  <a:pt x="90514" y="12987"/>
                  <a:pt x="88457" y="12987"/>
                  <a:pt x="90514" y="14545"/>
                </a:cubicBezTo>
                <a:cubicBezTo>
                  <a:pt x="91885" y="16103"/>
                  <a:pt x="84342" y="18701"/>
                  <a:pt x="87771" y="20259"/>
                </a:cubicBezTo>
                <a:cubicBezTo>
                  <a:pt x="90514" y="21818"/>
                  <a:pt x="86400" y="23376"/>
                  <a:pt x="88457" y="24935"/>
                </a:cubicBezTo>
                <a:cubicBezTo>
                  <a:pt x="88457" y="24935"/>
                  <a:pt x="88457" y="25974"/>
                  <a:pt x="90514" y="23376"/>
                </a:cubicBezTo>
                <a:close/>
                <a:moveTo>
                  <a:pt x="59657" y="65454"/>
                </a:moveTo>
                <a:cubicBezTo>
                  <a:pt x="59657" y="64935"/>
                  <a:pt x="61714" y="63376"/>
                  <a:pt x="61714" y="63896"/>
                </a:cubicBezTo>
                <a:cubicBezTo>
                  <a:pt x="61714" y="64935"/>
                  <a:pt x="60342" y="66493"/>
                  <a:pt x="59657" y="65454"/>
                </a:cubicBezTo>
                <a:close/>
                <a:moveTo>
                  <a:pt x="52114" y="55064"/>
                </a:moveTo>
                <a:cubicBezTo>
                  <a:pt x="52114" y="53506"/>
                  <a:pt x="52114" y="53506"/>
                  <a:pt x="52114" y="53506"/>
                </a:cubicBezTo>
                <a:cubicBezTo>
                  <a:pt x="51428" y="54025"/>
                  <a:pt x="51428" y="55064"/>
                  <a:pt x="52114" y="55064"/>
                </a:cubicBezTo>
                <a:close/>
                <a:moveTo>
                  <a:pt x="21942" y="109090"/>
                </a:moveTo>
                <a:cubicBezTo>
                  <a:pt x="21942" y="108571"/>
                  <a:pt x="21942" y="108571"/>
                  <a:pt x="24000" y="107012"/>
                </a:cubicBezTo>
                <a:cubicBezTo>
                  <a:pt x="26057" y="105974"/>
                  <a:pt x="24685" y="105454"/>
                  <a:pt x="24000" y="105974"/>
                </a:cubicBezTo>
                <a:cubicBezTo>
                  <a:pt x="22628" y="107532"/>
                  <a:pt x="21942" y="107532"/>
                  <a:pt x="20571" y="109090"/>
                </a:cubicBezTo>
                <a:cubicBezTo>
                  <a:pt x="20571" y="110129"/>
                  <a:pt x="21942" y="110129"/>
                  <a:pt x="21942" y="109090"/>
                </a:cubicBezTo>
                <a:close/>
                <a:moveTo>
                  <a:pt x="28114" y="101298"/>
                </a:moveTo>
                <a:cubicBezTo>
                  <a:pt x="26742" y="100259"/>
                  <a:pt x="28114" y="99740"/>
                  <a:pt x="28114" y="100259"/>
                </a:cubicBezTo>
                <a:cubicBezTo>
                  <a:pt x="29485" y="101298"/>
                  <a:pt x="28114" y="101818"/>
                  <a:pt x="28114" y="101298"/>
                </a:cubicBezTo>
                <a:close/>
                <a:moveTo>
                  <a:pt x="30171" y="98701"/>
                </a:moveTo>
                <a:cubicBezTo>
                  <a:pt x="30171" y="97142"/>
                  <a:pt x="32228" y="96103"/>
                  <a:pt x="32228" y="97142"/>
                </a:cubicBezTo>
                <a:cubicBezTo>
                  <a:pt x="32228" y="97142"/>
                  <a:pt x="30171" y="99740"/>
                  <a:pt x="30171" y="98701"/>
                </a:cubicBezTo>
                <a:close/>
                <a:moveTo>
                  <a:pt x="0" y="118961"/>
                </a:moveTo>
                <a:cubicBezTo>
                  <a:pt x="0" y="118441"/>
                  <a:pt x="685" y="118961"/>
                  <a:pt x="685" y="119999"/>
                </a:cubicBezTo>
                <a:cubicBezTo>
                  <a:pt x="685" y="119999"/>
                  <a:pt x="0" y="119999"/>
                  <a:pt x="0" y="118961"/>
                </a:cubicBezTo>
                <a:close/>
                <a:moveTo>
                  <a:pt x="2057" y="118961"/>
                </a:moveTo>
                <a:cubicBezTo>
                  <a:pt x="685" y="118961"/>
                  <a:pt x="2742" y="117402"/>
                  <a:pt x="2742" y="118441"/>
                </a:cubicBezTo>
                <a:cubicBezTo>
                  <a:pt x="2742" y="118961"/>
                  <a:pt x="2742" y="119999"/>
                  <a:pt x="2057" y="118961"/>
                </a:cubicBezTo>
                <a:close/>
                <a:moveTo>
                  <a:pt x="8228" y="117402"/>
                </a:moveTo>
                <a:cubicBezTo>
                  <a:pt x="7542" y="116363"/>
                  <a:pt x="8228" y="116363"/>
                  <a:pt x="9600" y="116363"/>
                </a:cubicBezTo>
                <a:cubicBezTo>
                  <a:pt x="9600" y="117402"/>
                  <a:pt x="8228" y="117402"/>
                  <a:pt x="8228" y="117402"/>
                </a:cubicBezTo>
                <a:close/>
              </a:path>
            </a:pathLst>
          </a:custGeom>
          <a:solidFill>
            <a:schemeClr val="accent2"/>
          </a:solidFill>
          <a:ln w="3175" cap="flat" cmpd="sng" algn="ctr">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B5BF"/>
              </a:solidFill>
              <a:latin typeface="Arial" panose="020B0604020202020204" pitchFamily="34" charset="0"/>
              <a:ea typeface="Arial"/>
              <a:cs typeface="Arial" panose="020B0604020202020204" pitchFamily="34" charset="0"/>
              <a:sym typeface="Arial"/>
            </a:endParaRPr>
          </a:p>
        </p:txBody>
      </p:sp>
      <p:sp>
        <p:nvSpPr>
          <p:cNvPr id="534" name="Shape 1994"/>
          <p:cNvSpPr/>
          <p:nvPr/>
        </p:nvSpPr>
        <p:spPr>
          <a:xfrm>
            <a:off x="8635237" y="5331680"/>
            <a:ext cx="1077989" cy="1065949"/>
          </a:xfrm>
          <a:custGeom>
            <a:avLst/>
            <a:gdLst/>
            <a:ahLst/>
            <a:cxnLst/>
            <a:rect l="0" t="0" r="0" b="0"/>
            <a:pathLst>
              <a:path w="120000" h="120000" extrusionOk="0">
                <a:moveTo>
                  <a:pt x="26503" y="27052"/>
                </a:moveTo>
                <a:cubicBezTo>
                  <a:pt x="28711" y="25317"/>
                  <a:pt x="25766" y="25317"/>
                  <a:pt x="28343" y="21502"/>
                </a:cubicBezTo>
                <a:cubicBezTo>
                  <a:pt x="30920" y="18381"/>
                  <a:pt x="30920" y="25664"/>
                  <a:pt x="31656" y="21502"/>
                </a:cubicBezTo>
                <a:cubicBezTo>
                  <a:pt x="31656" y="16647"/>
                  <a:pt x="33865" y="22543"/>
                  <a:pt x="33865" y="18728"/>
                </a:cubicBezTo>
                <a:cubicBezTo>
                  <a:pt x="33865" y="15953"/>
                  <a:pt x="34233" y="17687"/>
                  <a:pt x="36073" y="14566"/>
                </a:cubicBezTo>
                <a:cubicBezTo>
                  <a:pt x="37546" y="11098"/>
                  <a:pt x="38282" y="14566"/>
                  <a:pt x="38650" y="12485"/>
                </a:cubicBezTo>
                <a:cubicBezTo>
                  <a:pt x="38650" y="10057"/>
                  <a:pt x="40490" y="13526"/>
                  <a:pt x="40490" y="11098"/>
                </a:cubicBezTo>
                <a:cubicBezTo>
                  <a:pt x="40490" y="9017"/>
                  <a:pt x="44539" y="14913"/>
                  <a:pt x="46012" y="14566"/>
                </a:cubicBezTo>
                <a:cubicBezTo>
                  <a:pt x="47852" y="14566"/>
                  <a:pt x="47852" y="15953"/>
                  <a:pt x="48957" y="14913"/>
                </a:cubicBezTo>
                <a:cubicBezTo>
                  <a:pt x="50061" y="13872"/>
                  <a:pt x="46748" y="14566"/>
                  <a:pt x="48957" y="11098"/>
                </a:cubicBezTo>
                <a:cubicBezTo>
                  <a:pt x="51165" y="8670"/>
                  <a:pt x="48957" y="9017"/>
                  <a:pt x="51533" y="6936"/>
                </a:cubicBezTo>
                <a:cubicBezTo>
                  <a:pt x="55214" y="4161"/>
                  <a:pt x="53374" y="6242"/>
                  <a:pt x="55582" y="5895"/>
                </a:cubicBezTo>
                <a:cubicBezTo>
                  <a:pt x="57791" y="5202"/>
                  <a:pt x="57423" y="6936"/>
                  <a:pt x="57791" y="4855"/>
                </a:cubicBezTo>
                <a:cubicBezTo>
                  <a:pt x="58527" y="2774"/>
                  <a:pt x="56319" y="3815"/>
                  <a:pt x="55582" y="3121"/>
                </a:cubicBezTo>
                <a:cubicBezTo>
                  <a:pt x="55214" y="2080"/>
                  <a:pt x="55582" y="2080"/>
                  <a:pt x="56687" y="2080"/>
                </a:cubicBezTo>
                <a:cubicBezTo>
                  <a:pt x="57791" y="2080"/>
                  <a:pt x="57423" y="3121"/>
                  <a:pt x="58527" y="2774"/>
                </a:cubicBezTo>
                <a:cubicBezTo>
                  <a:pt x="59631" y="2774"/>
                  <a:pt x="58527" y="4161"/>
                  <a:pt x="60736" y="4161"/>
                </a:cubicBezTo>
                <a:cubicBezTo>
                  <a:pt x="62208" y="3815"/>
                  <a:pt x="61840" y="5895"/>
                  <a:pt x="63312" y="4855"/>
                </a:cubicBezTo>
                <a:cubicBezTo>
                  <a:pt x="64417" y="4855"/>
                  <a:pt x="64049" y="6936"/>
                  <a:pt x="66257" y="4855"/>
                </a:cubicBezTo>
                <a:cubicBezTo>
                  <a:pt x="68466" y="3121"/>
                  <a:pt x="66625" y="5202"/>
                  <a:pt x="67361" y="5202"/>
                </a:cubicBezTo>
                <a:cubicBezTo>
                  <a:pt x="68098" y="5202"/>
                  <a:pt x="67361" y="6936"/>
                  <a:pt x="68098" y="6242"/>
                </a:cubicBezTo>
                <a:cubicBezTo>
                  <a:pt x="69202" y="5895"/>
                  <a:pt x="68098" y="5895"/>
                  <a:pt x="68466" y="4855"/>
                </a:cubicBezTo>
                <a:cubicBezTo>
                  <a:pt x="69570" y="4161"/>
                  <a:pt x="69202" y="4855"/>
                  <a:pt x="70306" y="5895"/>
                </a:cubicBezTo>
                <a:cubicBezTo>
                  <a:pt x="71779" y="6242"/>
                  <a:pt x="69570" y="6242"/>
                  <a:pt x="69202" y="8670"/>
                </a:cubicBezTo>
                <a:cubicBezTo>
                  <a:pt x="69202" y="11098"/>
                  <a:pt x="69202" y="7630"/>
                  <a:pt x="67361" y="9710"/>
                </a:cubicBezTo>
                <a:cubicBezTo>
                  <a:pt x="66257" y="12485"/>
                  <a:pt x="69202" y="9710"/>
                  <a:pt x="66625" y="12832"/>
                </a:cubicBezTo>
                <a:cubicBezTo>
                  <a:pt x="65153" y="15953"/>
                  <a:pt x="66257" y="14913"/>
                  <a:pt x="69202" y="17687"/>
                </a:cubicBezTo>
                <a:cubicBezTo>
                  <a:pt x="70306" y="19421"/>
                  <a:pt x="70306" y="17687"/>
                  <a:pt x="72883" y="19768"/>
                </a:cubicBezTo>
                <a:cubicBezTo>
                  <a:pt x="75828" y="22543"/>
                  <a:pt x="76196" y="20809"/>
                  <a:pt x="76932" y="22543"/>
                </a:cubicBezTo>
                <a:cubicBezTo>
                  <a:pt x="76932" y="23583"/>
                  <a:pt x="79509" y="25317"/>
                  <a:pt x="80981" y="24277"/>
                </a:cubicBezTo>
                <a:cubicBezTo>
                  <a:pt x="82453" y="23236"/>
                  <a:pt x="81349" y="22543"/>
                  <a:pt x="83190" y="20462"/>
                </a:cubicBezTo>
                <a:cubicBezTo>
                  <a:pt x="84294" y="18728"/>
                  <a:pt x="83190" y="18728"/>
                  <a:pt x="83558" y="16647"/>
                </a:cubicBezTo>
                <a:cubicBezTo>
                  <a:pt x="84662" y="13872"/>
                  <a:pt x="83190" y="11791"/>
                  <a:pt x="83558" y="10057"/>
                </a:cubicBezTo>
                <a:cubicBezTo>
                  <a:pt x="84294" y="8670"/>
                  <a:pt x="83558" y="8670"/>
                  <a:pt x="84294" y="7630"/>
                </a:cubicBezTo>
                <a:cubicBezTo>
                  <a:pt x="85398" y="6936"/>
                  <a:pt x="83558" y="7630"/>
                  <a:pt x="84294" y="5895"/>
                </a:cubicBezTo>
                <a:cubicBezTo>
                  <a:pt x="85398" y="3815"/>
                  <a:pt x="85398" y="3121"/>
                  <a:pt x="85398" y="2080"/>
                </a:cubicBezTo>
                <a:cubicBezTo>
                  <a:pt x="85766" y="346"/>
                  <a:pt x="86871" y="0"/>
                  <a:pt x="87607" y="1734"/>
                </a:cubicBezTo>
                <a:cubicBezTo>
                  <a:pt x="87607" y="3121"/>
                  <a:pt x="87607" y="4161"/>
                  <a:pt x="87975" y="4855"/>
                </a:cubicBezTo>
                <a:cubicBezTo>
                  <a:pt x="89079" y="5202"/>
                  <a:pt x="87975" y="5202"/>
                  <a:pt x="88711" y="6242"/>
                </a:cubicBezTo>
                <a:cubicBezTo>
                  <a:pt x="89815" y="7976"/>
                  <a:pt x="89815" y="9017"/>
                  <a:pt x="89815" y="10751"/>
                </a:cubicBezTo>
                <a:cubicBezTo>
                  <a:pt x="89815" y="12485"/>
                  <a:pt x="90920" y="14566"/>
                  <a:pt x="91288" y="12832"/>
                </a:cubicBezTo>
                <a:cubicBezTo>
                  <a:pt x="92392" y="11098"/>
                  <a:pt x="92024" y="13526"/>
                  <a:pt x="94233" y="14566"/>
                </a:cubicBezTo>
                <a:cubicBezTo>
                  <a:pt x="96073" y="15606"/>
                  <a:pt x="94233" y="19421"/>
                  <a:pt x="96073" y="21502"/>
                </a:cubicBezTo>
                <a:cubicBezTo>
                  <a:pt x="97546" y="23236"/>
                  <a:pt x="96441" y="25664"/>
                  <a:pt x="97177" y="27398"/>
                </a:cubicBezTo>
                <a:cubicBezTo>
                  <a:pt x="98282" y="28439"/>
                  <a:pt x="97546" y="29479"/>
                  <a:pt x="99754" y="30173"/>
                </a:cubicBezTo>
                <a:cubicBezTo>
                  <a:pt x="101963" y="30520"/>
                  <a:pt x="100490" y="31907"/>
                  <a:pt x="103067" y="32254"/>
                </a:cubicBezTo>
                <a:cubicBezTo>
                  <a:pt x="106012" y="33294"/>
                  <a:pt x="106012" y="34335"/>
                  <a:pt x="104907" y="34335"/>
                </a:cubicBezTo>
                <a:cubicBezTo>
                  <a:pt x="103803" y="34335"/>
                  <a:pt x="106748" y="36416"/>
                  <a:pt x="107116" y="37803"/>
                </a:cubicBezTo>
                <a:cubicBezTo>
                  <a:pt x="107852" y="38843"/>
                  <a:pt x="106748" y="39190"/>
                  <a:pt x="107852" y="40924"/>
                </a:cubicBezTo>
                <a:cubicBezTo>
                  <a:pt x="108957" y="42658"/>
                  <a:pt x="107852" y="39190"/>
                  <a:pt x="108957" y="40924"/>
                </a:cubicBezTo>
                <a:cubicBezTo>
                  <a:pt x="110429" y="41965"/>
                  <a:pt x="110061" y="39884"/>
                  <a:pt x="110429" y="40924"/>
                </a:cubicBezTo>
                <a:cubicBezTo>
                  <a:pt x="111533" y="41965"/>
                  <a:pt x="110061" y="43699"/>
                  <a:pt x="111533" y="45780"/>
                </a:cubicBezTo>
                <a:cubicBezTo>
                  <a:pt x="113374" y="47514"/>
                  <a:pt x="112638" y="45780"/>
                  <a:pt x="113742" y="47861"/>
                </a:cubicBezTo>
                <a:cubicBezTo>
                  <a:pt x="114846" y="49595"/>
                  <a:pt x="116319" y="49595"/>
                  <a:pt x="116687" y="51676"/>
                </a:cubicBezTo>
                <a:cubicBezTo>
                  <a:pt x="117423" y="53757"/>
                  <a:pt x="117791" y="52369"/>
                  <a:pt x="117791" y="54450"/>
                </a:cubicBezTo>
                <a:cubicBezTo>
                  <a:pt x="117423" y="56531"/>
                  <a:pt x="118159" y="56531"/>
                  <a:pt x="117791" y="58265"/>
                </a:cubicBezTo>
                <a:cubicBezTo>
                  <a:pt x="117423" y="58612"/>
                  <a:pt x="120000" y="62427"/>
                  <a:pt x="118895" y="64508"/>
                </a:cubicBezTo>
                <a:cubicBezTo>
                  <a:pt x="117791" y="66242"/>
                  <a:pt x="118895" y="67976"/>
                  <a:pt x="117423" y="70057"/>
                </a:cubicBezTo>
                <a:cubicBezTo>
                  <a:pt x="116687" y="71791"/>
                  <a:pt x="117791" y="72832"/>
                  <a:pt x="116687" y="74913"/>
                </a:cubicBezTo>
                <a:cubicBezTo>
                  <a:pt x="115582" y="76994"/>
                  <a:pt x="117423" y="76647"/>
                  <a:pt x="114478" y="79075"/>
                </a:cubicBezTo>
                <a:cubicBezTo>
                  <a:pt x="111165" y="81849"/>
                  <a:pt x="111533" y="86705"/>
                  <a:pt x="110429" y="87398"/>
                </a:cubicBezTo>
                <a:cubicBezTo>
                  <a:pt x="109325" y="87745"/>
                  <a:pt x="108957" y="90520"/>
                  <a:pt x="108957" y="91560"/>
                </a:cubicBezTo>
                <a:cubicBezTo>
                  <a:pt x="108957" y="93294"/>
                  <a:pt x="107852" y="94335"/>
                  <a:pt x="108220" y="94682"/>
                </a:cubicBezTo>
                <a:cubicBezTo>
                  <a:pt x="108957" y="95375"/>
                  <a:pt x="108220" y="97456"/>
                  <a:pt x="105276" y="97456"/>
                </a:cubicBezTo>
                <a:cubicBezTo>
                  <a:pt x="102699" y="97109"/>
                  <a:pt x="99754" y="100924"/>
                  <a:pt x="98650" y="100924"/>
                </a:cubicBezTo>
                <a:cubicBezTo>
                  <a:pt x="97546" y="101271"/>
                  <a:pt x="98650" y="104046"/>
                  <a:pt x="97546" y="102312"/>
                </a:cubicBezTo>
                <a:cubicBezTo>
                  <a:pt x="96073" y="100231"/>
                  <a:pt x="95337" y="100924"/>
                  <a:pt x="94969" y="99537"/>
                </a:cubicBezTo>
                <a:cubicBezTo>
                  <a:pt x="94969" y="98497"/>
                  <a:pt x="94969" y="100924"/>
                  <a:pt x="93865" y="100231"/>
                </a:cubicBezTo>
                <a:cubicBezTo>
                  <a:pt x="92392" y="99190"/>
                  <a:pt x="95337" y="99190"/>
                  <a:pt x="94233" y="98150"/>
                </a:cubicBezTo>
                <a:cubicBezTo>
                  <a:pt x="92392" y="97109"/>
                  <a:pt x="93865" y="98497"/>
                  <a:pt x="92024" y="99537"/>
                </a:cubicBezTo>
                <a:cubicBezTo>
                  <a:pt x="89815" y="100231"/>
                  <a:pt x="90920" y="101965"/>
                  <a:pt x="87975" y="100924"/>
                </a:cubicBezTo>
                <a:cubicBezTo>
                  <a:pt x="85398" y="99190"/>
                  <a:pt x="84662" y="99190"/>
                  <a:pt x="84294" y="99537"/>
                </a:cubicBezTo>
                <a:cubicBezTo>
                  <a:pt x="83558" y="100231"/>
                  <a:pt x="83190" y="98497"/>
                  <a:pt x="82085" y="98150"/>
                </a:cubicBezTo>
                <a:cubicBezTo>
                  <a:pt x="80245" y="98150"/>
                  <a:pt x="78036" y="94682"/>
                  <a:pt x="78404" y="93641"/>
                </a:cubicBezTo>
                <a:cubicBezTo>
                  <a:pt x="79141" y="92601"/>
                  <a:pt x="78036" y="89826"/>
                  <a:pt x="76196" y="89479"/>
                </a:cubicBezTo>
                <a:cubicBezTo>
                  <a:pt x="75092" y="88786"/>
                  <a:pt x="74723" y="89826"/>
                  <a:pt x="73987" y="89479"/>
                </a:cubicBezTo>
                <a:cubicBezTo>
                  <a:pt x="73619" y="88439"/>
                  <a:pt x="75828" y="87398"/>
                  <a:pt x="74723" y="84971"/>
                </a:cubicBezTo>
                <a:cubicBezTo>
                  <a:pt x="72883" y="82890"/>
                  <a:pt x="73987" y="87398"/>
                  <a:pt x="71779" y="87745"/>
                </a:cubicBezTo>
                <a:cubicBezTo>
                  <a:pt x="69570" y="87745"/>
                  <a:pt x="70306" y="86358"/>
                  <a:pt x="71411" y="86358"/>
                </a:cubicBezTo>
                <a:cubicBezTo>
                  <a:pt x="72515" y="86705"/>
                  <a:pt x="72515" y="85664"/>
                  <a:pt x="71779" y="84624"/>
                </a:cubicBezTo>
                <a:cubicBezTo>
                  <a:pt x="71779" y="83583"/>
                  <a:pt x="73987" y="80115"/>
                  <a:pt x="73619" y="79075"/>
                </a:cubicBezTo>
                <a:cubicBezTo>
                  <a:pt x="72883" y="78034"/>
                  <a:pt x="72883" y="77687"/>
                  <a:pt x="72883" y="78728"/>
                </a:cubicBezTo>
                <a:cubicBezTo>
                  <a:pt x="72883" y="79768"/>
                  <a:pt x="71411" y="79768"/>
                  <a:pt x="71411" y="81502"/>
                </a:cubicBezTo>
                <a:cubicBezTo>
                  <a:pt x="70674" y="82890"/>
                  <a:pt x="71411" y="80809"/>
                  <a:pt x="68466" y="83930"/>
                </a:cubicBezTo>
                <a:cubicBezTo>
                  <a:pt x="65521" y="87398"/>
                  <a:pt x="69202" y="87398"/>
                  <a:pt x="66257" y="86358"/>
                </a:cubicBezTo>
                <a:cubicBezTo>
                  <a:pt x="64417" y="84971"/>
                  <a:pt x="65521" y="81502"/>
                  <a:pt x="63312" y="80115"/>
                </a:cubicBezTo>
                <a:cubicBezTo>
                  <a:pt x="60736" y="78728"/>
                  <a:pt x="64049" y="78728"/>
                  <a:pt x="61840" y="76994"/>
                </a:cubicBezTo>
                <a:cubicBezTo>
                  <a:pt x="60000" y="75606"/>
                  <a:pt x="60000" y="76994"/>
                  <a:pt x="55582" y="74913"/>
                </a:cubicBezTo>
                <a:cubicBezTo>
                  <a:pt x="51165" y="72832"/>
                  <a:pt x="55214" y="74913"/>
                  <a:pt x="50061" y="73872"/>
                </a:cubicBezTo>
                <a:cubicBezTo>
                  <a:pt x="47116" y="73872"/>
                  <a:pt x="44907" y="76994"/>
                  <a:pt x="39386" y="76994"/>
                </a:cubicBezTo>
                <a:cubicBezTo>
                  <a:pt x="36073" y="76647"/>
                  <a:pt x="36441" y="79075"/>
                  <a:pt x="34233" y="79075"/>
                </a:cubicBezTo>
                <a:cubicBezTo>
                  <a:pt x="32024" y="79075"/>
                  <a:pt x="33128" y="83930"/>
                  <a:pt x="29815" y="82890"/>
                </a:cubicBezTo>
                <a:cubicBezTo>
                  <a:pt x="26871" y="81849"/>
                  <a:pt x="28711" y="83930"/>
                  <a:pt x="25766" y="82543"/>
                </a:cubicBezTo>
                <a:cubicBezTo>
                  <a:pt x="24294" y="81849"/>
                  <a:pt x="24294" y="82890"/>
                  <a:pt x="21349" y="82890"/>
                </a:cubicBezTo>
                <a:cubicBezTo>
                  <a:pt x="19141" y="82890"/>
                  <a:pt x="20245" y="84624"/>
                  <a:pt x="18773" y="84971"/>
                </a:cubicBezTo>
                <a:cubicBezTo>
                  <a:pt x="16564" y="84971"/>
                  <a:pt x="16564" y="87745"/>
                  <a:pt x="12515" y="87398"/>
                </a:cubicBezTo>
                <a:cubicBezTo>
                  <a:pt x="8466" y="86705"/>
                  <a:pt x="8466" y="83930"/>
                  <a:pt x="6993" y="84624"/>
                </a:cubicBezTo>
                <a:cubicBezTo>
                  <a:pt x="5889" y="84624"/>
                  <a:pt x="5889" y="81502"/>
                  <a:pt x="6257" y="81502"/>
                </a:cubicBezTo>
                <a:cubicBezTo>
                  <a:pt x="7361" y="81849"/>
                  <a:pt x="8466" y="80809"/>
                  <a:pt x="8098" y="79075"/>
                </a:cubicBezTo>
                <a:cubicBezTo>
                  <a:pt x="8098" y="76994"/>
                  <a:pt x="9570" y="78034"/>
                  <a:pt x="7361" y="72832"/>
                </a:cubicBezTo>
                <a:cubicBezTo>
                  <a:pt x="5153" y="67283"/>
                  <a:pt x="6993" y="67283"/>
                  <a:pt x="5889" y="64508"/>
                </a:cubicBezTo>
                <a:cubicBezTo>
                  <a:pt x="4049" y="62080"/>
                  <a:pt x="3680" y="62080"/>
                  <a:pt x="3680" y="60346"/>
                </a:cubicBezTo>
                <a:cubicBezTo>
                  <a:pt x="4049" y="58265"/>
                  <a:pt x="1104" y="56531"/>
                  <a:pt x="1104" y="54797"/>
                </a:cubicBezTo>
                <a:cubicBezTo>
                  <a:pt x="1104" y="52716"/>
                  <a:pt x="2576" y="56531"/>
                  <a:pt x="2944" y="56184"/>
                </a:cubicBezTo>
                <a:cubicBezTo>
                  <a:pt x="2944" y="54797"/>
                  <a:pt x="1104" y="53410"/>
                  <a:pt x="1840" y="52369"/>
                </a:cubicBezTo>
                <a:cubicBezTo>
                  <a:pt x="2576" y="51676"/>
                  <a:pt x="4049" y="57225"/>
                  <a:pt x="4049" y="54450"/>
                </a:cubicBezTo>
                <a:cubicBezTo>
                  <a:pt x="4049" y="51676"/>
                  <a:pt x="0" y="48901"/>
                  <a:pt x="1840" y="45780"/>
                </a:cubicBezTo>
                <a:cubicBezTo>
                  <a:pt x="4049" y="42658"/>
                  <a:pt x="1104" y="43005"/>
                  <a:pt x="2944" y="40231"/>
                </a:cubicBezTo>
                <a:cubicBezTo>
                  <a:pt x="4785" y="37803"/>
                  <a:pt x="3680" y="43699"/>
                  <a:pt x="4785" y="40231"/>
                </a:cubicBezTo>
                <a:cubicBezTo>
                  <a:pt x="5889" y="37803"/>
                  <a:pt x="6257" y="39884"/>
                  <a:pt x="9202" y="36416"/>
                </a:cubicBezTo>
                <a:cubicBezTo>
                  <a:pt x="11779" y="33294"/>
                  <a:pt x="11779" y="36069"/>
                  <a:pt x="13987" y="35028"/>
                </a:cubicBezTo>
                <a:cubicBezTo>
                  <a:pt x="16564" y="33988"/>
                  <a:pt x="17668" y="33988"/>
                  <a:pt x="18036" y="32947"/>
                </a:cubicBezTo>
                <a:cubicBezTo>
                  <a:pt x="18773" y="31907"/>
                  <a:pt x="20245" y="33988"/>
                  <a:pt x="23190" y="31907"/>
                </a:cubicBezTo>
                <a:cubicBezTo>
                  <a:pt x="25766" y="30173"/>
                  <a:pt x="24662" y="28439"/>
                  <a:pt x="26503" y="27052"/>
                </a:cubicBezTo>
                <a:close/>
                <a:moveTo>
                  <a:pt x="93865" y="112023"/>
                </a:moveTo>
                <a:cubicBezTo>
                  <a:pt x="94233" y="113063"/>
                  <a:pt x="94233" y="112716"/>
                  <a:pt x="94233" y="113757"/>
                </a:cubicBezTo>
                <a:cubicBezTo>
                  <a:pt x="94233" y="114797"/>
                  <a:pt x="94969" y="116878"/>
                  <a:pt x="95337" y="117572"/>
                </a:cubicBezTo>
                <a:cubicBezTo>
                  <a:pt x="96441" y="117919"/>
                  <a:pt x="96441" y="119653"/>
                  <a:pt x="97177" y="119653"/>
                </a:cubicBezTo>
                <a:cubicBezTo>
                  <a:pt x="97546" y="118959"/>
                  <a:pt x="98282" y="119653"/>
                  <a:pt x="99386" y="119653"/>
                </a:cubicBezTo>
                <a:cubicBezTo>
                  <a:pt x="99754" y="120000"/>
                  <a:pt x="99386" y="118959"/>
                  <a:pt x="100490" y="118612"/>
                </a:cubicBezTo>
                <a:cubicBezTo>
                  <a:pt x="100858" y="117919"/>
                  <a:pt x="100858" y="116878"/>
                  <a:pt x="100858" y="117572"/>
                </a:cubicBezTo>
                <a:cubicBezTo>
                  <a:pt x="101595" y="117919"/>
                  <a:pt x="100858" y="116531"/>
                  <a:pt x="101595" y="116878"/>
                </a:cubicBezTo>
                <a:cubicBezTo>
                  <a:pt x="101963" y="116878"/>
                  <a:pt x="101963" y="117572"/>
                  <a:pt x="101963" y="117572"/>
                </a:cubicBezTo>
                <a:cubicBezTo>
                  <a:pt x="101595" y="117572"/>
                  <a:pt x="101595" y="117919"/>
                  <a:pt x="102699" y="117919"/>
                </a:cubicBezTo>
                <a:cubicBezTo>
                  <a:pt x="103067" y="118612"/>
                  <a:pt x="101963" y="115838"/>
                  <a:pt x="102699" y="115491"/>
                </a:cubicBezTo>
                <a:cubicBezTo>
                  <a:pt x="103067" y="115491"/>
                  <a:pt x="101963" y="114104"/>
                  <a:pt x="102699" y="113757"/>
                </a:cubicBezTo>
                <a:cubicBezTo>
                  <a:pt x="103803" y="113063"/>
                  <a:pt x="103067" y="114797"/>
                  <a:pt x="103803" y="114104"/>
                </a:cubicBezTo>
                <a:cubicBezTo>
                  <a:pt x="104171" y="113757"/>
                  <a:pt x="103067" y="113757"/>
                  <a:pt x="103803" y="111676"/>
                </a:cubicBezTo>
                <a:cubicBezTo>
                  <a:pt x="103803" y="109942"/>
                  <a:pt x="103067" y="108208"/>
                  <a:pt x="102699" y="108901"/>
                </a:cubicBezTo>
                <a:cubicBezTo>
                  <a:pt x="101963" y="109248"/>
                  <a:pt x="101963" y="108208"/>
                  <a:pt x="101595" y="109248"/>
                </a:cubicBezTo>
                <a:cubicBezTo>
                  <a:pt x="100858" y="109942"/>
                  <a:pt x="101595" y="108901"/>
                  <a:pt x="99386" y="109942"/>
                </a:cubicBezTo>
                <a:cubicBezTo>
                  <a:pt x="96441" y="110982"/>
                  <a:pt x="97177" y="108901"/>
                  <a:pt x="94969" y="108901"/>
                </a:cubicBezTo>
                <a:cubicBezTo>
                  <a:pt x="93128" y="108901"/>
                  <a:pt x="93128" y="107167"/>
                  <a:pt x="92392" y="109248"/>
                </a:cubicBezTo>
                <a:cubicBezTo>
                  <a:pt x="92392" y="109942"/>
                  <a:pt x="93128" y="110289"/>
                  <a:pt x="93865" y="112023"/>
                </a:cubicBezTo>
                <a:close/>
                <a:moveTo>
                  <a:pt x="90920" y="104046"/>
                </a:moveTo>
                <a:cubicBezTo>
                  <a:pt x="91288" y="103352"/>
                  <a:pt x="92024" y="105780"/>
                  <a:pt x="90920" y="106127"/>
                </a:cubicBezTo>
                <a:cubicBezTo>
                  <a:pt x="90184" y="106127"/>
                  <a:pt x="90184" y="104393"/>
                  <a:pt x="90920" y="104046"/>
                </a:cubicBezTo>
                <a:close/>
                <a:moveTo>
                  <a:pt x="101963" y="105780"/>
                </a:moveTo>
                <a:cubicBezTo>
                  <a:pt x="102699" y="105780"/>
                  <a:pt x="102699" y="105780"/>
                  <a:pt x="102699" y="106127"/>
                </a:cubicBezTo>
                <a:cubicBezTo>
                  <a:pt x="102699" y="106820"/>
                  <a:pt x="103803" y="106820"/>
                  <a:pt x="103803" y="106127"/>
                </a:cubicBezTo>
                <a:cubicBezTo>
                  <a:pt x="103067" y="105780"/>
                  <a:pt x="104171" y="105780"/>
                  <a:pt x="103067" y="105780"/>
                </a:cubicBezTo>
                <a:cubicBezTo>
                  <a:pt x="102699" y="105086"/>
                  <a:pt x="102699" y="104046"/>
                  <a:pt x="101963" y="105086"/>
                </a:cubicBezTo>
                <a:cubicBezTo>
                  <a:pt x="101963" y="105086"/>
                  <a:pt x="101595" y="105086"/>
                  <a:pt x="101963" y="105780"/>
                </a:cubicBezTo>
                <a:close/>
                <a:moveTo>
                  <a:pt x="102699" y="107167"/>
                </a:moveTo>
                <a:cubicBezTo>
                  <a:pt x="102699" y="106820"/>
                  <a:pt x="104171" y="106820"/>
                  <a:pt x="103803" y="107167"/>
                </a:cubicBezTo>
                <a:cubicBezTo>
                  <a:pt x="103803" y="107861"/>
                  <a:pt x="102699" y="107167"/>
                  <a:pt x="102699" y="107167"/>
                </a:cubicBezTo>
                <a:close/>
                <a:moveTo>
                  <a:pt x="72515" y="90520"/>
                </a:moveTo>
                <a:cubicBezTo>
                  <a:pt x="72883" y="89826"/>
                  <a:pt x="73987" y="90520"/>
                  <a:pt x="73619" y="89826"/>
                </a:cubicBezTo>
                <a:cubicBezTo>
                  <a:pt x="73619" y="89479"/>
                  <a:pt x="72883" y="89826"/>
                  <a:pt x="72515" y="88786"/>
                </a:cubicBezTo>
                <a:cubicBezTo>
                  <a:pt x="71779" y="88439"/>
                  <a:pt x="69202" y="89479"/>
                  <a:pt x="69202" y="90520"/>
                </a:cubicBezTo>
                <a:cubicBezTo>
                  <a:pt x="69570" y="91213"/>
                  <a:pt x="71779" y="90520"/>
                  <a:pt x="72515" y="90520"/>
                </a:cubicBezTo>
                <a:close/>
                <a:moveTo>
                  <a:pt x="54478" y="2774"/>
                </a:moveTo>
                <a:cubicBezTo>
                  <a:pt x="53374" y="1040"/>
                  <a:pt x="53374" y="3815"/>
                  <a:pt x="51533" y="2774"/>
                </a:cubicBezTo>
                <a:cubicBezTo>
                  <a:pt x="50429" y="2080"/>
                  <a:pt x="51533" y="3815"/>
                  <a:pt x="52638" y="4855"/>
                </a:cubicBezTo>
                <a:cubicBezTo>
                  <a:pt x="53374" y="4855"/>
                  <a:pt x="55214" y="3815"/>
                  <a:pt x="54478" y="2774"/>
                </a:cubicBezTo>
                <a:close/>
                <a:moveTo>
                  <a:pt x="51165" y="3815"/>
                </a:moveTo>
                <a:cubicBezTo>
                  <a:pt x="50429" y="2774"/>
                  <a:pt x="50429" y="2774"/>
                  <a:pt x="50429" y="3815"/>
                </a:cubicBezTo>
                <a:cubicBezTo>
                  <a:pt x="50429" y="4161"/>
                  <a:pt x="50061" y="4161"/>
                  <a:pt x="51165" y="4855"/>
                </a:cubicBezTo>
                <a:cubicBezTo>
                  <a:pt x="51533" y="4855"/>
                  <a:pt x="51533" y="4161"/>
                  <a:pt x="51165" y="3815"/>
                </a:cubicBezTo>
                <a:close/>
                <a:moveTo>
                  <a:pt x="69202" y="12485"/>
                </a:moveTo>
                <a:cubicBezTo>
                  <a:pt x="68466" y="11098"/>
                  <a:pt x="70306" y="11098"/>
                  <a:pt x="70306" y="11791"/>
                </a:cubicBezTo>
                <a:cubicBezTo>
                  <a:pt x="69570" y="12832"/>
                  <a:pt x="69202" y="13526"/>
                  <a:pt x="69202" y="12485"/>
                </a:cubicBezTo>
                <a:close/>
                <a:moveTo>
                  <a:pt x="117791" y="52369"/>
                </a:moveTo>
                <a:cubicBezTo>
                  <a:pt x="117791" y="51676"/>
                  <a:pt x="118159" y="51329"/>
                  <a:pt x="118159" y="50635"/>
                </a:cubicBezTo>
                <a:cubicBezTo>
                  <a:pt x="118159" y="49942"/>
                  <a:pt x="118159" y="49942"/>
                  <a:pt x="118159" y="49595"/>
                </a:cubicBezTo>
                <a:cubicBezTo>
                  <a:pt x="118159" y="48901"/>
                  <a:pt x="117791" y="49595"/>
                  <a:pt x="117791" y="49942"/>
                </a:cubicBezTo>
                <a:cubicBezTo>
                  <a:pt x="118159" y="50635"/>
                  <a:pt x="117423" y="51329"/>
                  <a:pt x="117423" y="51329"/>
                </a:cubicBezTo>
                <a:cubicBezTo>
                  <a:pt x="117791" y="51676"/>
                  <a:pt x="116687" y="52716"/>
                  <a:pt x="117423" y="53410"/>
                </a:cubicBezTo>
                <a:cubicBezTo>
                  <a:pt x="117791" y="53410"/>
                  <a:pt x="117791" y="52716"/>
                  <a:pt x="117791" y="52369"/>
                </a:cubicBezTo>
                <a:close/>
                <a:moveTo>
                  <a:pt x="77300" y="20809"/>
                </a:moveTo>
                <a:cubicBezTo>
                  <a:pt x="78036" y="20809"/>
                  <a:pt x="79141" y="20809"/>
                  <a:pt x="78404" y="20462"/>
                </a:cubicBezTo>
                <a:cubicBezTo>
                  <a:pt x="78036" y="19768"/>
                  <a:pt x="76196" y="20809"/>
                  <a:pt x="76932" y="21502"/>
                </a:cubicBezTo>
                <a:cubicBezTo>
                  <a:pt x="76932" y="21502"/>
                  <a:pt x="77300" y="21502"/>
                  <a:pt x="77300" y="20809"/>
                </a:cubicBezTo>
                <a:close/>
              </a:path>
            </a:pathLst>
          </a:custGeom>
          <a:solidFill>
            <a:srgbClr val="FFFFFF">
              <a:alpha val="35000"/>
            </a:srgbClr>
          </a:solidFill>
          <a:ln w="3175" cap="flat" cmpd="sng" algn="ctr">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35" name="Shape 1995"/>
          <p:cNvSpPr/>
          <p:nvPr/>
        </p:nvSpPr>
        <p:spPr>
          <a:xfrm>
            <a:off x="5072120" y="3994083"/>
            <a:ext cx="18761" cy="9530"/>
          </a:xfrm>
          <a:custGeom>
            <a:avLst/>
            <a:gdLst/>
            <a:ahLst/>
            <a:cxnLst/>
            <a:rect l="0" t="0" r="0" b="0"/>
            <a:pathLst>
              <a:path w="120000" h="120000" extrusionOk="0">
                <a:moveTo>
                  <a:pt x="60000" y="120000"/>
                </a:moveTo>
                <a:cubicBezTo>
                  <a:pt x="0" y="40000"/>
                  <a:pt x="0" y="40000"/>
                  <a:pt x="0" y="0"/>
                </a:cubicBezTo>
                <a:cubicBezTo>
                  <a:pt x="20000" y="0"/>
                  <a:pt x="20000" y="40000"/>
                  <a:pt x="60000" y="40000"/>
                </a:cubicBezTo>
                <a:cubicBezTo>
                  <a:pt x="60000" y="40000"/>
                  <a:pt x="120000" y="40000"/>
                  <a:pt x="80000" y="40000"/>
                </a:cubicBezTo>
                <a:cubicBezTo>
                  <a:pt x="60000" y="120000"/>
                  <a:pt x="60000" y="120000"/>
                  <a:pt x="6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36" name="Shape 1996"/>
          <p:cNvSpPr/>
          <p:nvPr/>
        </p:nvSpPr>
        <p:spPr>
          <a:xfrm>
            <a:off x="6656688" y="5353919"/>
            <a:ext cx="13646" cy="20653"/>
          </a:xfrm>
          <a:custGeom>
            <a:avLst/>
            <a:gdLst/>
            <a:ahLst/>
            <a:cxnLst/>
            <a:rect l="0" t="0" r="0" b="0"/>
            <a:pathLst>
              <a:path w="120000" h="120000" extrusionOk="0">
                <a:moveTo>
                  <a:pt x="60000" y="34285"/>
                </a:moveTo>
                <a:cubicBezTo>
                  <a:pt x="60000" y="0"/>
                  <a:pt x="120000" y="119999"/>
                  <a:pt x="60000" y="119999"/>
                </a:cubicBezTo>
                <a:cubicBezTo>
                  <a:pt x="0" y="119999"/>
                  <a:pt x="0" y="34285"/>
                  <a:pt x="60000" y="34285"/>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37" name="Shape 1997"/>
          <p:cNvSpPr/>
          <p:nvPr/>
        </p:nvSpPr>
        <p:spPr>
          <a:xfrm>
            <a:off x="6702744" y="5393636"/>
            <a:ext cx="10232" cy="15887"/>
          </a:xfrm>
          <a:custGeom>
            <a:avLst/>
            <a:gdLst/>
            <a:ahLst/>
            <a:cxnLst/>
            <a:rect l="0" t="0" r="0" b="0"/>
            <a:pathLst>
              <a:path w="120000" h="120000" extrusionOk="0">
                <a:moveTo>
                  <a:pt x="80000" y="72000"/>
                </a:moveTo>
                <a:cubicBezTo>
                  <a:pt x="0" y="48000"/>
                  <a:pt x="0" y="0"/>
                  <a:pt x="80000" y="48000"/>
                </a:cubicBezTo>
                <a:cubicBezTo>
                  <a:pt x="120000" y="48000"/>
                  <a:pt x="120000" y="120000"/>
                  <a:pt x="80000" y="72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38" name="Shape 1998"/>
          <p:cNvSpPr/>
          <p:nvPr/>
        </p:nvSpPr>
        <p:spPr>
          <a:xfrm>
            <a:off x="6682275" y="5377751"/>
            <a:ext cx="10232" cy="9530"/>
          </a:xfrm>
          <a:custGeom>
            <a:avLst/>
            <a:gdLst/>
            <a:ahLst/>
            <a:cxnLst/>
            <a:rect l="0" t="0" r="0" b="0"/>
            <a:pathLst>
              <a:path w="120000" h="120000" extrusionOk="0">
                <a:moveTo>
                  <a:pt x="80000" y="0"/>
                </a:moveTo>
                <a:cubicBezTo>
                  <a:pt x="0" y="80000"/>
                  <a:pt x="120000" y="120000"/>
                  <a:pt x="120000" y="120000"/>
                </a:cubicBezTo>
                <a:cubicBezTo>
                  <a:pt x="120000" y="80000"/>
                  <a:pt x="120000" y="0"/>
                  <a:pt x="80000" y="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39" name="Shape 1999"/>
          <p:cNvSpPr/>
          <p:nvPr/>
        </p:nvSpPr>
        <p:spPr>
          <a:xfrm>
            <a:off x="6295087" y="5042556"/>
            <a:ext cx="291670" cy="332018"/>
          </a:xfrm>
          <a:custGeom>
            <a:avLst/>
            <a:gdLst/>
            <a:ahLst/>
            <a:cxnLst/>
            <a:rect l="0" t="0" r="0" b="0"/>
            <a:pathLst>
              <a:path w="120000" h="120000" extrusionOk="0">
                <a:moveTo>
                  <a:pt x="2727" y="38888"/>
                </a:moveTo>
                <a:cubicBezTo>
                  <a:pt x="10909" y="36666"/>
                  <a:pt x="8181" y="31111"/>
                  <a:pt x="15000" y="26666"/>
                </a:cubicBezTo>
                <a:cubicBezTo>
                  <a:pt x="20454" y="21111"/>
                  <a:pt x="12272" y="21111"/>
                  <a:pt x="12272" y="18888"/>
                </a:cubicBezTo>
                <a:cubicBezTo>
                  <a:pt x="12272" y="17777"/>
                  <a:pt x="15000" y="17777"/>
                  <a:pt x="15000" y="15555"/>
                </a:cubicBezTo>
                <a:cubicBezTo>
                  <a:pt x="16363" y="15555"/>
                  <a:pt x="16363" y="14444"/>
                  <a:pt x="16363" y="8888"/>
                </a:cubicBezTo>
                <a:cubicBezTo>
                  <a:pt x="15000" y="2222"/>
                  <a:pt x="12272" y="3333"/>
                  <a:pt x="12272" y="0"/>
                </a:cubicBezTo>
                <a:cubicBezTo>
                  <a:pt x="16363" y="0"/>
                  <a:pt x="43636" y="0"/>
                  <a:pt x="50454" y="0"/>
                </a:cubicBezTo>
                <a:cubicBezTo>
                  <a:pt x="72272" y="12222"/>
                  <a:pt x="81818" y="17777"/>
                  <a:pt x="87272" y="21111"/>
                </a:cubicBezTo>
                <a:cubicBezTo>
                  <a:pt x="95454" y="24444"/>
                  <a:pt x="87272" y="24444"/>
                  <a:pt x="91363" y="30000"/>
                </a:cubicBezTo>
                <a:cubicBezTo>
                  <a:pt x="98181" y="33333"/>
                  <a:pt x="106363" y="40000"/>
                  <a:pt x="107727" y="40000"/>
                </a:cubicBezTo>
                <a:cubicBezTo>
                  <a:pt x="103636" y="45555"/>
                  <a:pt x="106363" y="45555"/>
                  <a:pt x="103636" y="48888"/>
                </a:cubicBezTo>
                <a:cubicBezTo>
                  <a:pt x="99545" y="57777"/>
                  <a:pt x="106363" y="61111"/>
                  <a:pt x="110454" y="64444"/>
                </a:cubicBezTo>
                <a:cubicBezTo>
                  <a:pt x="111818" y="70000"/>
                  <a:pt x="106363" y="65555"/>
                  <a:pt x="110454" y="73333"/>
                </a:cubicBezTo>
                <a:cubicBezTo>
                  <a:pt x="111818" y="80000"/>
                  <a:pt x="106363" y="76666"/>
                  <a:pt x="110454" y="85555"/>
                </a:cubicBezTo>
                <a:cubicBezTo>
                  <a:pt x="114545" y="93333"/>
                  <a:pt x="110454" y="93333"/>
                  <a:pt x="111818" y="98888"/>
                </a:cubicBezTo>
                <a:cubicBezTo>
                  <a:pt x="115909" y="102222"/>
                  <a:pt x="115909" y="98888"/>
                  <a:pt x="120000" y="104444"/>
                </a:cubicBezTo>
                <a:cubicBezTo>
                  <a:pt x="115909" y="107777"/>
                  <a:pt x="111818" y="108888"/>
                  <a:pt x="103636" y="113333"/>
                </a:cubicBezTo>
                <a:cubicBezTo>
                  <a:pt x="95454" y="116666"/>
                  <a:pt x="94090" y="107777"/>
                  <a:pt x="94090" y="113333"/>
                </a:cubicBezTo>
                <a:cubicBezTo>
                  <a:pt x="91363" y="117777"/>
                  <a:pt x="85909" y="117777"/>
                  <a:pt x="83181" y="116666"/>
                </a:cubicBezTo>
                <a:cubicBezTo>
                  <a:pt x="81818" y="114444"/>
                  <a:pt x="76363" y="120000"/>
                  <a:pt x="72272" y="116666"/>
                </a:cubicBezTo>
                <a:cubicBezTo>
                  <a:pt x="68181" y="111111"/>
                  <a:pt x="68181" y="117777"/>
                  <a:pt x="58636" y="114444"/>
                </a:cubicBezTo>
                <a:cubicBezTo>
                  <a:pt x="54545" y="108888"/>
                  <a:pt x="58636" y="108888"/>
                  <a:pt x="55909" y="104444"/>
                </a:cubicBezTo>
                <a:cubicBezTo>
                  <a:pt x="54545" y="98888"/>
                  <a:pt x="51818" y="95555"/>
                  <a:pt x="50454" y="93333"/>
                </a:cubicBezTo>
                <a:cubicBezTo>
                  <a:pt x="46363" y="93333"/>
                  <a:pt x="42272" y="93333"/>
                  <a:pt x="39545" y="92222"/>
                </a:cubicBezTo>
                <a:cubicBezTo>
                  <a:pt x="28636" y="86666"/>
                  <a:pt x="31363" y="90000"/>
                  <a:pt x="28636" y="86666"/>
                </a:cubicBezTo>
                <a:cubicBezTo>
                  <a:pt x="27272" y="83333"/>
                  <a:pt x="27272" y="88888"/>
                  <a:pt x="24545" y="85555"/>
                </a:cubicBezTo>
                <a:cubicBezTo>
                  <a:pt x="23181" y="82222"/>
                  <a:pt x="19090" y="83333"/>
                  <a:pt x="16363" y="77777"/>
                </a:cubicBezTo>
                <a:cubicBezTo>
                  <a:pt x="15000" y="76666"/>
                  <a:pt x="12272" y="74444"/>
                  <a:pt x="12272" y="70000"/>
                </a:cubicBezTo>
                <a:cubicBezTo>
                  <a:pt x="10909" y="65555"/>
                  <a:pt x="0" y="58888"/>
                  <a:pt x="2727" y="54444"/>
                </a:cubicBezTo>
                <a:cubicBezTo>
                  <a:pt x="4090" y="48888"/>
                  <a:pt x="0" y="45555"/>
                  <a:pt x="2727" y="38888"/>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40" name="Shape 2000"/>
          <p:cNvSpPr/>
          <p:nvPr/>
        </p:nvSpPr>
        <p:spPr>
          <a:xfrm>
            <a:off x="6550939" y="5180766"/>
            <a:ext cx="15348" cy="30182"/>
          </a:xfrm>
          <a:custGeom>
            <a:avLst/>
            <a:gdLst/>
            <a:ahLst/>
            <a:cxnLst/>
            <a:rect l="0" t="0" r="0" b="0"/>
            <a:pathLst>
              <a:path w="120000" h="120000" extrusionOk="0">
                <a:moveTo>
                  <a:pt x="48000" y="108000"/>
                </a:moveTo>
                <a:cubicBezTo>
                  <a:pt x="48000" y="84000"/>
                  <a:pt x="0" y="48000"/>
                  <a:pt x="48000" y="48000"/>
                </a:cubicBezTo>
                <a:cubicBezTo>
                  <a:pt x="48000" y="24000"/>
                  <a:pt x="48000" y="0"/>
                  <a:pt x="72000" y="48000"/>
                </a:cubicBezTo>
                <a:cubicBezTo>
                  <a:pt x="72000" y="84000"/>
                  <a:pt x="72000" y="60000"/>
                  <a:pt x="72000" y="84000"/>
                </a:cubicBezTo>
                <a:cubicBezTo>
                  <a:pt x="120000" y="108000"/>
                  <a:pt x="120000" y="120000"/>
                  <a:pt x="48000" y="108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41" name="Shape 2001"/>
          <p:cNvSpPr/>
          <p:nvPr/>
        </p:nvSpPr>
        <p:spPr>
          <a:xfrm>
            <a:off x="6561173" y="5160113"/>
            <a:ext cx="8529" cy="17474"/>
          </a:xfrm>
          <a:custGeom>
            <a:avLst/>
            <a:gdLst/>
            <a:ahLst/>
            <a:cxnLst/>
            <a:rect l="0" t="0" r="0" b="0"/>
            <a:pathLst>
              <a:path w="120000" h="120000" extrusionOk="0">
                <a:moveTo>
                  <a:pt x="80000" y="120000"/>
                </a:moveTo>
                <a:cubicBezTo>
                  <a:pt x="0" y="80000"/>
                  <a:pt x="80000" y="80000"/>
                  <a:pt x="80000" y="60000"/>
                </a:cubicBezTo>
                <a:cubicBezTo>
                  <a:pt x="80000" y="20000"/>
                  <a:pt x="80000" y="0"/>
                  <a:pt x="120000" y="20000"/>
                </a:cubicBezTo>
                <a:cubicBezTo>
                  <a:pt x="120000" y="20000"/>
                  <a:pt x="120000" y="20000"/>
                  <a:pt x="120000" y="80000"/>
                </a:cubicBezTo>
                <a:cubicBezTo>
                  <a:pt x="120000" y="120000"/>
                  <a:pt x="120000" y="120000"/>
                  <a:pt x="8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42" name="Shape 2002"/>
          <p:cNvSpPr/>
          <p:nvPr/>
        </p:nvSpPr>
        <p:spPr>
          <a:xfrm>
            <a:off x="6561170" y="5239543"/>
            <a:ext cx="15348" cy="15887"/>
          </a:xfrm>
          <a:custGeom>
            <a:avLst/>
            <a:gdLst/>
            <a:ahLst/>
            <a:cxnLst/>
            <a:rect l="0" t="0" r="0" b="0"/>
            <a:pathLst>
              <a:path w="120000" h="120000" extrusionOk="0">
                <a:moveTo>
                  <a:pt x="48000" y="120000"/>
                </a:moveTo>
                <a:cubicBezTo>
                  <a:pt x="0" y="120000"/>
                  <a:pt x="120000" y="0"/>
                  <a:pt x="72000" y="48000"/>
                </a:cubicBezTo>
                <a:cubicBezTo>
                  <a:pt x="72000" y="72000"/>
                  <a:pt x="72000" y="120000"/>
                  <a:pt x="48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43" name="Shape 2003"/>
          <p:cNvSpPr/>
          <p:nvPr/>
        </p:nvSpPr>
        <p:spPr>
          <a:xfrm>
            <a:off x="6970536" y="5646220"/>
            <a:ext cx="27291" cy="23832"/>
          </a:xfrm>
          <a:custGeom>
            <a:avLst/>
            <a:gdLst/>
            <a:ahLst/>
            <a:cxnLst/>
            <a:rect l="0" t="0" r="0" b="0"/>
            <a:pathLst>
              <a:path w="120000" h="120000" extrusionOk="0">
                <a:moveTo>
                  <a:pt x="15000" y="30000"/>
                </a:moveTo>
                <a:cubicBezTo>
                  <a:pt x="45000" y="0"/>
                  <a:pt x="120000" y="60000"/>
                  <a:pt x="90000" y="75000"/>
                </a:cubicBezTo>
                <a:cubicBezTo>
                  <a:pt x="75000" y="120000"/>
                  <a:pt x="0" y="75000"/>
                  <a:pt x="15000" y="3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44" name="Shape 2004"/>
          <p:cNvSpPr/>
          <p:nvPr/>
        </p:nvSpPr>
        <p:spPr>
          <a:xfrm>
            <a:off x="7020001" y="5616040"/>
            <a:ext cx="27291" cy="27005"/>
          </a:xfrm>
          <a:custGeom>
            <a:avLst/>
            <a:gdLst/>
            <a:ahLst/>
            <a:cxnLst/>
            <a:rect l="0" t="0" r="0" b="0"/>
            <a:pathLst>
              <a:path w="120000" h="120000" extrusionOk="0">
                <a:moveTo>
                  <a:pt x="75000" y="93333"/>
                </a:moveTo>
                <a:cubicBezTo>
                  <a:pt x="0" y="120000"/>
                  <a:pt x="75000" y="0"/>
                  <a:pt x="90000" y="40000"/>
                </a:cubicBezTo>
                <a:cubicBezTo>
                  <a:pt x="90000" y="80000"/>
                  <a:pt x="120000" y="93333"/>
                  <a:pt x="75000" y="93333"/>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45" name="Shape 2005"/>
          <p:cNvSpPr/>
          <p:nvPr/>
        </p:nvSpPr>
        <p:spPr>
          <a:xfrm>
            <a:off x="5955657" y="3643001"/>
            <a:ext cx="22174" cy="6353"/>
          </a:xfrm>
          <a:custGeom>
            <a:avLst/>
            <a:gdLst/>
            <a:ahLst/>
            <a:cxnLst/>
            <a:rect l="0" t="0" r="0" b="0"/>
            <a:pathLst>
              <a:path w="120000" h="120000" extrusionOk="0">
                <a:moveTo>
                  <a:pt x="102857" y="120000"/>
                </a:moveTo>
                <a:cubicBezTo>
                  <a:pt x="119999" y="120000"/>
                  <a:pt x="68571" y="120000"/>
                  <a:pt x="51428" y="120000"/>
                </a:cubicBezTo>
                <a:cubicBezTo>
                  <a:pt x="0" y="120000"/>
                  <a:pt x="0" y="120000"/>
                  <a:pt x="17142" y="120000"/>
                </a:cubicBezTo>
                <a:cubicBezTo>
                  <a:pt x="51428" y="0"/>
                  <a:pt x="68571" y="120000"/>
                  <a:pt x="102857"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46" name="Shape 2006"/>
          <p:cNvSpPr/>
          <p:nvPr/>
        </p:nvSpPr>
        <p:spPr>
          <a:xfrm>
            <a:off x="5955659" y="3639823"/>
            <a:ext cx="18761" cy="3176"/>
          </a:xfrm>
          <a:custGeom>
            <a:avLst/>
            <a:gdLst/>
            <a:ahLst/>
            <a:cxnLst/>
            <a:rect l="0" t="0" r="0" b="0"/>
            <a:pathLst>
              <a:path w="120000" h="120000" extrusionOk="0">
                <a:moveTo>
                  <a:pt x="20000" y="120000"/>
                </a:moveTo>
                <a:cubicBezTo>
                  <a:pt x="0" y="0"/>
                  <a:pt x="120000" y="120000"/>
                  <a:pt x="80000" y="120000"/>
                </a:cubicBezTo>
                <a:cubicBezTo>
                  <a:pt x="60000" y="120000"/>
                  <a:pt x="20000" y="120000"/>
                  <a:pt x="2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47" name="Shape 2007"/>
          <p:cNvSpPr/>
          <p:nvPr/>
        </p:nvSpPr>
        <p:spPr>
          <a:xfrm>
            <a:off x="5959068" y="3655712"/>
            <a:ext cx="15348" cy="3176"/>
          </a:xfrm>
          <a:custGeom>
            <a:avLst/>
            <a:gdLst/>
            <a:ahLst/>
            <a:cxnLst/>
            <a:rect l="0" t="0" r="0" b="0"/>
            <a:pathLst>
              <a:path w="120000" h="120000" extrusionOk="0">
                <a:moveTo>
                  <a:pt x="48000" y="120000"/>
                </a:moveTo>
                <a:cubicBezTo>
                  <a:pt x="0" y="0"/>
                  <a:pt x="120000" y="0"/>
                  <a:pt x="120000" y="120000"/>
                </a:cubicBezTo>
                <a:cubicBezTo>
                  <a:pt x="120000" y="120000"/>
                  <a:pt x="120000" y="120000"/>
                  <a:pt x="72000" y="120000"/>
                </a:cubicBezTo>
                <a:cubicBezTo>
                  <a:pt x="48000" y="120000"/>
                  <a:pt x="48000" y="120000"/>
                  <a:pt x="48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48" name="Shape 2008"/>
          <p:cNvSpPr/>
          <p:nvPr/>
        </p:nvSpPr>
        <p:spPr>
          <a:xfrm>
            <a:off x="5902782" y="3577869"/>
            <a:ext cx="8529" cy="9530"/>
          </a:xfrm>
          <a:custGeom>
            <a:avLst/>
            <a:gdLst/>
            <a:ahLst/>
            <a:cxnLst/>
            <a:rect l="0" t="0" r="0" b="0"/>
            <a:pathLst>
              <a:path w="120000" h="120000" extrusionOk="0">
                <a:moveTo>
                  <a:pt x="120000" y="120000"/>
                </a:moveTo>
                <a:cubicBezTo>
                  <a:pt x="80000" y="120000"/>
                  <a:pt x="0" y="40000"/>
                  <a:pt x="0" y="40000"/>
                </a:cubicBezTo>
                <a:cubicBezTo>
                  <a:pt x="80000" y="0"/>
                  <a:pt x="0" y="0"/>
                  <a:pt x="80000" y="0"/>
                </a:cubicBezTo>
                <a:cubicBezTo>
                  <a:pt x="80000" y="0"/>
                  <a:pt x="80000" y="0"/>
                  <a:pt x="120000" y="40000"/>
                </a:cubicBezTo>
                <a:cubicBezTo>
                  <a:pt x="120000" y="120000"/>
                  <a:pt x="120000" y="120000"/>
                  <a:pt x="120000" y="12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49" name="Shape 2009"/>
          <p:cNvSpPr/>
          <p:nvPr/>
        </p:nvSpPr>
        <p:spPr>
          <a:xfrm>
            <a:off x="5899373" y="3577869"/>
            <a:ext cx="8529" cy="22237"/>
          </a:xfrm>
          <a:custGeom>
            <a:avLst/>
            <a:gdLst/>
            <a:ahLst/>
            <a:cxnLst/>
            <a:rect l="0" t="0" r="0" b="0"/>
            <a:pathLst>
              <a:path w="120000" h="120000" extrusionOk="0">
                <a:moveTo>
                  <a:pt x="120000" y="102857"/>
                </a:moveTo>
                <a:cubicBezTo>
                  <a:pt x="40000" y="68571"/>
                  <a:pt x="0" y="51428"/>
                  <a:pt x="40000" y="51428"/>
                </a:cubicBezTo>
                <a:cubicBezTo>
                  <a:pt x="40000" y="51428"/>
                  <a:pt x="40000" y="68571"/>
                  <a:pt x="40000" y="17142"/>
                </a:cubicBezTo>
                <a:cubicBezTo>
                  <a:pt x="0" y="0"/>
                  <a:pt x="40000" y="0"/>
                  <a:pt x="40000" y="0"/>
                </a:cubicBezTo>
                <a:cubicBezTo>
                  <a:pt x="40000" y="17142"/>
                  <a:pt x="120000" y="119999"/>
                  <a:pt x="120000" y="102857"/>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50" name="Shape 2010"/>
          <p:cNvSpPr/>
          <p:nvPr/>
        </p:nvSpPr>
        <p:spPr>
          <a:xfrm>
            <a:off x="5907898" y="3590578"/>
            <a:ext cx="13646" cy="19061"/>
          </a:xfrm>
          <a:custGeom>
            <a:avLst/>
            <a:gdLst/>
            <a:ahLst/>
            <a:cxnLst/>
            <a:rect l="0" t="0" r="0" b="0"/>
            <a:pathLst>
              <a:path w="120000" h="120000" extrusionOk="0">
                <a:moveTo>
                  <a:pt x="120000" y="100000"/>
                </a:moveTo>
                <a:cubicBezTo>
                  <a:pt x="30000" y="60000"/>
                  <a:pt x="30000" y="60000"/>
                  <a:pt x="30000" y="40000"/>
                </a:cubicBezTo>
                <a:cubicBezTo>
                  <a:pt x="0" y="0"/>
                  <a:pt x="30000" y="40000"/>
                  <a:pt x="30000" y="60000"/>
                </a:cubicBezTo>
                <a:cubicBezTo>
                  <a:pt x="90000" y="60000"/>
                  <a:pt x="120000" y="120000"/>
                  <a:pt x="120000" y="10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51" name="Shape 2011"/>
          <p:cNvSpPr/>
          <p:nvPr/>
        </p:nvSpPr>
        <p:spPr>
          <a:xfrm>
            <a:off x="5565059" y="3665242"/>
            <a:ext cx="6821" cy="9530"/>
          </a:xfrm>
          <a:custGeom>
            <a:avLst/>
            <a:gdLst/>
            <a:ahLst/>
            <a:cxnLst/>
            <a:rect l="0" t="0" r="0" b="0"/>
            <a:pathLst>
              <a:path w="120000" h="120000" extrusionOk="0">
                <a:moveTo>
                  <a:pt x="0" y="40000"/>
                </a:moveTo>
                <a:cubicBezTo>
                  <a:pt x="0" y="120000"/>
                  <a:pt x="120000" y="120000"/>
                  <a:pt x="120000" y="120000"/>
                </a:cubicBezTo>
                <a:cubicBezTo>
                  <a:pt x="120000" y="40000"/>
                  <a:pt x="120000" y="0"/>
                  <a:pt x="0" y="40000"/>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52" name="Shape 2012"/>
          <p:cNvSpPr/>
          <p:nvPr/>
        </p:nvSpPr>
        <p:spPr>
          <a:xfrm>
            <a:off x="6148784" y="4650309"/>
            <a:ext cx="279313" cy="73892"/>
          </a:xfrm>
          <a:custGeom>
            <a:avLst/>
            <a:gdLst/>
            <a:ahLst/>
            <a:cxnLst/>
            <a:rect l="0" t="0" r="0" b="0"/>
            <a:pathLst>
              <a:path w="120000" h="120000" extrusionOk="0">
                <a:moveTo>
                  <a:pt x="0" y="115222"/>
                </a:moveTo>
                <a:cubicBezTo>
                  <a:pt x="3575" y="112704"/>
                  <a:pt x="7685" y="115041"/>
                  <a:pt x="8484" y="98152"/>
                </a:cubicBezTo>
                <a:cubicBezTo>
                  <a:pt x="8695" y="93715"/>
                  <a:pt x="7677" y="89616"/>
                  <a:pt x="7272" y="85349"/>
                </a:cubicBezTo>
                <a:cubicBezTo>
                  <a:pt x="7677" y="78236"/>
                  <a:pt x="7028" y="69141"/>
                  <a:pt x="8484" y="64012"/>
                </a:cubicBezTo>
                <a:cubicBezTo>
                  <a:pt x="10292" y="57650"/>
                  <a:pt x="15757" y="55476"/>
                  <a:pt x="15757" y="55476"/>
                </a:cubicBezTo>
                <a:cubicBezTo>
                  <a:pt x="16969" y="58322"/>
                  <a:pt x="18363" y="60385"/>
                  <a:pt x="19393" y="64012"/>
                </a:cubicBezTo>
                <a:cubicBezTo>
                  <a:pt x="20424" y="67639"/>
                  <a:pt x="20885" y="72874"/>
                  <a:pt x="21818" y="76815"/>
                </a:cubicBezTo>
                <a:cubicBezTo>
                  <a:pt x="22915" y="81451"/>
                  <a:pt x="24242" y="85349"/>
                  <a:pt x="25454" y="89616"/>
                </a:cubicBezTo>
                <a:cubicBezTo>
                  <a:pt x="25858" y="93883"/>
                  <a:pt x="25763" y="99238"/>
                  <a:pt x="26666" y="102419"/>
                </a:cubicBezTo>
                <a:cubicBezTo>
                  <a:pt x="29151" y="111166"/>
                  <a:pt x="34058" y="104041"/>
                  <a:pt x="36363" y="102419"/>
                </a:cubicBezTo>
                <a:cubicBezTo>
                  <a:pt x="40403" y="103842"/>
                  <a:pt x="44632" y="102164"/>
                  <a:pt x="48484" y="106686"/>
                </a:cubicBezTo>
                <a:cubicBezTo>
                  <a:pt x="49866" y="108308"/>
                  <a:pt x="49495" y="118245"/>
                  <a:pt x="50909" y="119489"/>
                </a:cubicBezTo>
                <a:cubicBezTo>
                  <a:pt x="53293" y="121587"/>
                  <a:pt x="55757" y="116645"/>
                  <a:pt x="58181" y="115222"/>
                </a:cubicBezTo>
                <a:cubicBezTo>
                  <a:pt x="58585" y="108109"/>
                  <a:pt x="58371" y="100182"/>
                  <a:pt x="59393" y="93885"/>
                </a:cubicBezTo>
                <a:cubicBezTo>
                  <a:pt x="61965" y="78039"/>
                  <a:pt x="68337" y="88017"/>
                  <a:pt x="71515" y="89616"/>
                </a:cubicBezTo>
                <a:cubicBezTo>
                  <a:pt x="72727" y="88193"/>
                  <a:pt x="74153" y="88159"/>
                  <a:pt x="75151" y="85349"/>
                </a:cubicBezTo>
                <a:cubicBezTo>
                  <a:pt x="76289" y="82145"/>
                  <a:pt x="76244" y="74629"/>
                  <a:pt x="77575" y="72546"/>
                </a:cubicBezTo>
                <a:cubicBezTo>
                  <a:pt x="80186" y="68460"/>
                  <a:pt x="83232" y="69702"/>
                  <a:pt x="86060" y="68279"/>
                </a:cubicBezTo>
                <a:cubicBezTo>
                  <a:pt x="87272" y="66856"/>
                  <a:pt x="88988" y="67756"/>
                  <a:pt x="89697" y="64012"/>
                </a:cubicBezTo>
                <a:cubicBezTo>
                  <a:pt x="90839" y="57978"/>
                  <a:pt x="90409" y="49711"/>
                  <a:pt x="90909" y="42675"/>
                </a:cubicBezTo>
                <a:cubicBezTo>
                  <a:pt x="91219" y="38311"/>
                  <a:pt x="91844" y="34263"/>
                  <a:pt x="92121" y="29872"/>
                </a:cubicBezTo>
                <a:cubicBezTo>
                  <a:pt x="92654" y="21426"/>
                  <a:pt x="92113" y="11779"/>
                  <a:pt x="93333" y="4267"/>
                </a:cubicBezTo>
                <a:cubicBezTo>
                  <a:pt x="93966" y="362"/>
                  <a:pt x="95757" y="1422"/>
                  <a:pt x="96969" y="0"/>
                </a:cubicBezTo>
                <a:cubicBezTo>
                  <a:pt x="101044" y="43043"/>
                  <a:pt x="94826" y="-23732"/>
                  <a:pt x="99394" y="29872"/>
                </a:cubicBezTo>
                <a:cubicBezTo>
                  <a:pt x="100128" y="38489"/>
                  <a:pt x="101010" y="46942"/>
                  <a:pt x="101818" y="55476"/>
                </a:cubicBezTo>
                <a:cubicBezTo>
                  <a:pt x="103342" y="71577"/>
                  <a:pt x="103355" y="80458"/>
                  <a:pt x="110303" y="85349"/>
                </a:cubicBezTo>
                <a:lnTo>
                  <a:pt x="116363" y="89616"/>
                </a:lnTo>
                <a:lnTo>
                  <a:pt x="120000" y="98152"/>
                </a:lnTo>
              </a:path>
            </a:pathLst>
          </a:custGeom>
          <a:solidFill>
            <a:srgbClr val="FFFFFF">
              <a:alpha val="35000"/>
            </a:srgbClr>
          </a:solidFill>
          <a:ln w="3175" cap="flat" cmpd="sng">
            <a:solidFill>
              <a:schemeClr val="bg1"/>
            </a:solidFill>
            <a:prstDash val="solid"/>
            <a:miter/>
            <a:headEnd type="none" w="med" len="med"/>
            <a:tailEnd type="none" w="med" len="med"/>
          </a:ln>
        </p:spPr>
        <p:txBody>
          <a:bodyPr lIns="91344" tIns="45661" rIns="91344" bIns="45661" anchor="ctr" anchorCtr="0">
            <a:noAutofit/>
          </a:bodyPr>
          <a:lstStyle/>
          <a:p>
            <a:pPr algn="ctr" defTabSz="1088089"/>
            <a:endParaRPr lang="en-US" sz="1998" kern="0" dirty="0">
              <a:solidFill>
                <a:srgbClr val="FFFFFF"/>
              </a:solidFill>
              <a:latin typeface="Arial" panose="020B0604020202020204" pitchFamily="34" charset="0"/>
              <a:ea typeface="Arial"/>
              <a:cs typeface="Arial" panose="020B0604020202020204" pitchFamily="34" charset="0"/>
              <a:sym typeface="Arial"/>
            </a:endParaRPr>
          </a:p>
        </p:txBody>
      </p:sp>
      <p:sp>
        <p:nvSpPr>
          <p:cNvPr id="553" name="Shape 2013"/>
          <p:cNvSpPr/>
          <p:nvPr/>
        </p:nvSpPr>
        <p:spPr>
          <a:xfrm>
            <a:off x="6145747" y="4647811"/>
            <a:ext cx="324729" cy="259476"/>
          </a:xfrm>
          <a:custGeom>
            <a:avLst/>
            <a:gdLst/>
            <a:ahLst/>
            <a:cxnLst/>
            <a:rect l="0" t="0" r="0" b="0"/>
            <a:pathLst>
              <a:path w="120000" h="120000" extrusionOk="0">
                <a:moveTo>
                  <a:pt x="103036" y="28708"/>
                </a:moveTo>
                <a:cubicBezTo>
                  <a:pt x="102454" y="26572"/>
                  <a:pt x="100170" y="27062"/>
                  <a:pt x="98450" y="26395"/>
                </a:cubicBezTo>
                <a:cubicBezTo>
                  <a:pt x="96729" y="25729"/>
                  <a:pt x="94234" y="25900"/>
                  <a:pt x="92713" y="24709"/>
                </a:cubicBezTo>
                <a:cubicBezTo>
                  <a:pt x="91192" y="23518"/>
                  <a:pt x="90133" y="21361"/>
                  <a:pt x="89324" y="19249"/>
                </a:cubicBezTo>
                <a:cubicBezTo>
                  <a:pt x="88514" y="17137"/>
                  <a:pt x="88480" y="15222"/>
                  <a:pt x="87855" y="12035"/>
                </a:cubicBezTo>
                <a:cubicBezTo>
                  <a:pt x="87230" y="8849"/>
                  <a:pt x="86047" y="-1269"/>
                  <a:pt x="85573" y="132"/>
                </a:cubicBezTo>
                <a:cubicBezTo>
                  <a:pt x="85100" y="1533"/>
                  <a:pt x="81909" y="648"/>
                  <a:pt x="81291" y="3085"/>
                </a:cubicBezTo>
                <a:cubicBezTo>
                  <a:pt x="80674" y="5522"/>
                  <a:pt x="81010" y="4731"/>
                  <a:pt x="80937" y="7160"/>
                </a:cubicBezTo>
                <a:cubicBezTo>
                  <a:pt x="80865" y="8503"/>
                  <a:pt x="80302" y="9568"/>
                  <a:pt x="79926" y="10787"/>
                </a:cubicBezTo>
                <a:cubicBezTo>
                  <a:pt x="79551" y="12005"/>
                  <a:pt x="78910" y="13037"/>
                  <a:pt x="78685" y="14471"/>
                </a:cubicBezTo>
                <a:cubicBezTo>
                  <a:pt x="78460" y="15904"/>
                  <a:pt x="79367" y="18449"/>
                  <a:pt x="78575" y="19388"/>
                </a:cubicBezTo>
                <a:cubicBezTo>
                  <a:pt x="77784" y="20328"/>
                  <a:pt x="76167" y="20326"/>
                  <a:pt x="73936" y="20108"/>
                </a:cubicBezTo>
                <a:cubicBezTo>
                  <a:pt x="71706" y="19890"/>
                  <a:pt x="71032" y="19515"/>
                  <a:pt x="69846" y="20251"/>
                </a:cubicBezTo>
                <a:cubicBezTo>
                  <a:pt x="68659" y="20986"/>
                  <a:pt x="68006" y="24170"/>
                  <a:pt x="66820" y="24519"/>
                </a:cubicBezTo>
                <a:cubicBezTo>
                  <a:pt x="65944" y="26496"/>
                  <a:pt x="64484" y="26182"/>
                  <a:pt x="63348" y="26326"/>
                </a:cubicBezTo>
                <a:cubicBezTo>
                  <a:pt x="62212" y="26470"/>
                  <a:pt x="62002" y="26234"/>
                  <a:pt x="60003" y="25383"/>
                </a:cubicBezTo>
                <a:cubicBezTo>
                  <a:pt x="58004" y="24533"/>
                  <a:pt x="54592" y="25685"/>
                  <a:pt x="53218" y="26649"/>
                </a:cubicBezTo>
                <a:cubicBezTo>
                  <a:pt x="51844" y="27613"/>
                  <a:pt x="52182" y="29990"/>
                  <a:pt x="51757" y="31167"/>
                </a:cubicBezTo>
                <a:cubicBezTo>
                  <a:pt x="51333" y="32343"/>
                  <a:pt x="51721" y="33064"/>
                  <a:pt x="50671" y="33709"/>
                </a:cubicBezTo>
                <a:cubicBezTo>
                  <a:pt x="49621" y="34353"/>
                  <a:pt x="46515" y="35450"/>
                  <a:pt x="45457" y="35034"/>
                </a:cubicBezTo>
                <a:cubicBezTo>
                  <a:pt x="44399" y="34617"/>
                  <a:pt x="44978" y="32087"/>
                  <a:pt x="44325" y="31210"/>
                </a:cubicBezTo>
                <a:cubicBezTo>
                  <a:pt x="43671" y="30332"/>
                  <a:pt x="43435" y="30005"/>
                  <a:pt x="41537" y="29769"/>
                </a:cubicBezTo>
                <a:cubicBezTo>
                  <a:pt x="39638" y="29533"/>
                  <a:pt x="35257" y="29474"/>
                  <a:pt x="32935" y="29793"/>
                </a:cubicBezTo>
                <a:cubicBezTo>
                  <a:pt x="30613" y="30112"/>
                  <a:pt x="28844" y="31689"/>
                  <a:pt x="27604" y="31685"/>
                </a:cubicBezTo>
                <a:cubicBezTo>
                  <a:pt x="26363" y="31681"/>
                  <a:pt x="26046" y="30819"/>
                  <a:pt x="25492" y="29769"/>
                </a:cubicBezTo>
                <a:cubicBezTo>
                  <a:pt x="24938" y="28718"/>
                  <a:pt x="25189" y="26733"/>
                  <a:pt x="24281" y="25383"/>
                </a:cubicBezTo>
                <a:cubicBezTo>
                  <a:pt x="23373" y="24034"/>
                  <a:pt x="21228" y="23199"/>
                  <a:pt x="20043" y="21673"/>
                </a:cubicBezTo>
                <a:cubicBezTo>
                  <a:pt x="18858" y="20147"/>
                  <a:pt x="18956" y="16789"/>
                  <a:pt x="17171" y="16227"/>
                </a:cubicBezTo>
                <a:cubicBezTo>
                  <a:pt x="15385" y="15665"/>
                  <a:pt x="10838" y="16934"/>
                  <a:pt x="9330" y="18300"/>
                </a:cubicBezTo>
                <a:cubicBezTo>
                  <a:pt x="7821" y="19665"/>
                  <a:pt x="8136" y="22615"/>
                  <a:pt x="8119" y="24420"/>
                </a:cubicBezTo>
                <a:cubicBezTo>
                  <a:pt x="8102" y="26226"/>
                  <a:pt x="9333" y="27935"/>
                  <a:pt x="9228" y="29132"/>
                </a:cubicBezTo>
                <a:cubicBezTo>
                  <a:pt x="9122" y="30329"/>
                  <a:pt x="8329" y="30861"/>
                  <a:pt x="7483" y="31601"/>
                </a:cubicBezTo>
                <a:cubicBezTo>
                  <a:pt x="6638" y="32342"/>
                  <a:pt x="5006" y="33153"/>
                  <a:pt x="4153" y="33576"/>
                </a:cubicBezTo>
                <a:cubicBezTo>
                  <a:pt x="3301" y="34000"/>
                  <a:pt x="2897" y="33597"/>
                  <a:pt x="2367" y="34143"/>
                </a:cubicBezTo>
                <a:cubicBezTo>
                  <a:pt x="1837" y="34689"/>
                  <a:pt x="1350" y="35074"/>
                  <a:pt x="971" y="36852"/>
                </a:cubicBezTo>
                <a:cubicBezTo>
                  <a:pt x="592" y="38631"/>
                  <a:pt x="-286" y="42860"/>
                  <a:pt x="93" y="44816"/>
                </a:cubicBezTo>
                <a:cubicBezTo>
                  <a:pt x="473" y="46772"/>
                  <a:pt x="2123" y="48010"/>
                  <a:pt x="3253" y="48586"/>
                </a:cubicBezTo>
                <a:cubicBezTo>
                  <a:pt x="4382" y="49162"/>
                  <a:pt x="6419" y="47495"/>
                  <a:pt x="6870" y="48273"/>
                </a:cubicBezTo>
                <a:cubicBezTo>
                  <a:pt x="7322" y="49050"/>
                  <a:pt x="5533" y="52060"/>
                  <a:pt x="5962" y="53249"/>
                </a:cubicBezTo>
                <a:cubicBezTo>
                  <a:pt x="6392" y="54438"/>
                  <a:pt x="8135" y="54925"/>
                  <a:pt x="9447" y="55405"/>
                </a:cubicBezTo>
                <a:cubicBezTo>
                  <a:pt x="10759" y="55885"/>
                  <a:pt x="12728" y="55347"/>
                  <a:pt x="13833" y="56128"/>
                </a:cubicBezTo>
                <a:cubicBezTo>
                  <a:pt x="14938" y="56910"/>
                  <a:pt x="15709" y="58900"/>
                  <a:pt x="16077" y="60093"/>
                </a:cubicBezTo>
                <a:cubicBezTo>
                  <a:pt x="16445" y="61286"/>
                  <a:pt x="15786" y="62287"/>
                  <a:pt x="16039" y="63285"/>
                </a:cubicBezTo>
                <a:cubicBezTo>
                  <a:pt x="16293" y="64283"/>
                  <a:pt x="16855" y="65160"/>
                  <a:pt x="17598" y="66081"/>
                </a:cubicBezTo>
                <a:cubicBezTo>
                  <a:pt x="18342" y="67003"/>
                  <a:pt x="19115" y="67719"/>
                  <a:pt x="20501" y="68815"/>
                </a:cubicBezTo>
                <a:cubicBezTo>
                  <a:pt x="21886" y="69911"/>
                  <a:pt x="24631" y="71177"/>
                  <a:pt x="25912" y="72657"/>
                </a:cubicBezTo>
                <a:cubicBezTo>
                  <a:pt x="27193" y="74137"/>
                  <a:pt x="28029" y="76032"/>
                  <a:pt x="28186" y="77693"/>
                </a:cubicBezTo>
                <a:cubicBezTo>
                  <a:pt x="28344" y="79353"/>
                  <a:pt x="26253" y="81132"/>
                  <a:pt x="26858" y="82620"/>
                </a:cubicBezTo>
                <a:cubicBezTo>
                  <a:pt x="27463" y="84108"/>
                  <a:pt x="30229" y="85564"/>
                  <a:pt x="31819" y="86620"/>
                </a:cubicBezTo>
                <a:cubicBezTo>
                  <a:pt x="33409" y="87675"/>
                  <a:pt x="35527" y="87681"/>
                  <a:pt x="36398" y="88956"/>
                </a:cubicBezTo>
                <a:cubicBezTo>
                  <a:pt x="37268" y="90231"/>
                  <a:pt x="36828" y="91435"/>
                  <a:pt x="37041" y="94270"/>
                </a:cubicBezTo>
                <a:cubicBezTo>
                  <a:pt x="37253" y="97105"/>
                  <a:pt x="39765" y="100232"/>
                  <a:pt x="41397" y="102714"/>
                </a:cubicBezTo>
                <a:cubicBezTo>
                  <a:pt x="43028" y="105195"/>
                  <a:pt x="45395" y="108669"/>
                  <a:pt x="46831" y="109161"/>
                </a:cubicBezTo>
                <a:cubicBezTo>
                  <a:pt x="48267" y="109653"/>
                  <a:pt x="48798" y="105925"/>
                  <a:pt x="50013" y="105666"/>
                </a:cubicBezTo>
                <a:cubicBezTo>
                  <a:pt x="51228" y="105407"/>
                  <a:pt x="52857" y="107663"/>
                  <a:pt x="54119" y="107606"/>
                </a:cubicBezTo>
                <a:cubicBezTo>
                  <a:pt x="55380" y="107550"/>
                  <a:pt x="56826" y="106206"/>
                  <a:pt x="57581" y="105329"/>
                </a:cubicBezTo>
                <a:cubicBezTo>
                  <a:pt x="58337" y="104451"/>
                  <a:pt x="55780" y="101819"/>
                  <a:pt x="58652" y="102341"/>
                </a:cubicBezTo>
                <a:cubicBezTo>
                  <a:pt x="61524" y="102864"/>
                  <a:pt x="62179" y="105337"/>
                  <a:pt x="62712" y="108462"/>
                </a:cubicBezTo>
                <a:cubicBezTo>
                  <a:pt x="63246" y="111587"/>
                  <a:pt x="63428" y="112482"/>
                  <a:pt x="65577" y="113497"/>
                </a:cubicBezTo>
                <a:cubicBezTo>
                  <a:pt x="67727" y="114513"/>
                  <a:pt x="68955" y="119644"/>
                  <a:pt x="70023" y="119980"/>
                </a:cubicBezTo>
                <a:cubicBezTo>
                  <a:pt x="71092" y="120315"/>
                  <a:pt x="71335" y="116332"/>
                  <a:pt x="71987" y="115511"/>
                </a:cubicBezTo>
                <a:cubicBezTo>
                  <a:pt x="72640" y="114690"/>
                  <a:pt x="73155" y="114783"/>
                  <a:pt x="73936" y="115052"/>
                </a:cubicBezTo>
                <a:cubicBezTo>
                  <a:pt x="74718" y="115321"/>
                  <a:pt x="75864" y="117259"/>
                  <a:pt x="76676" y="117125"/>
                </a:cubicBezTo>
                <a:cubicBezTo>
                  <a:pt x="77488" y="116990"/>
                  <a:pt x="78255" y="114670"/>
                  <a:pt x="78810" y="114245"/>
                </a:cubicBezTo>
                <a:cubicBezTo>
                  <a:pt x="79365" y="113820"/>
                  <a:pt x="79446" y="113733"/>
                  <a:pt x="80006" y="114572"/>
                </a:cubicBezTo>
                <a:cubicBezTo>
                  <a:pt x="80566" y="115411"/>
                  <a:pt x="81210" y="118773"/>
                  <a:pt x="82170" y="119281"/>
                </a:cubicBezTo>
                <a:cubicBezTo>
                  <a:pt x="83130" y="119788"/>
                  <a:pt x="84615" y="118558"/>
                  <a:pt x="85765" y="117618"/>
                </a:cubicBezTo>
                <a:cubicBezTo>
                  <a:pt x="86916" y="116679"/>
                  <a:pt x="87983" y="114501"/>
                  <a:pt x="89073" y="113643"/>
                </a:cubicBezTo>
                <a:cubicBezTo>
                  <a:pt x="90162" y="112786"/>
                  <a:pt x="91575" y="112008"/>
                  <a:pt x="92300" y="112472"/>
                </a:cubicBezTo>
                <a:cubicBezTo>
                  <a:pt x="93026" y="112935"/>
                  <a:pt x="92496" y="116070"/>
                  <a:pt x="93424" y="116425"/>
                </a:cubicBezTo>
                <a:cubicBezTo>
                  <a:pt x="94352" y="116781"/>
                  <a:pt x="96800" y="115934"/>
                  <a:pt x="97867" y="114607"/>
                </a:cubicBezTo>
                <a:cubicBezTo>
                  <a:pt x="98934" y="113279"/>
                  <a:pt x="98635" y="110550"/>
                  <a:pt x="99823" y="108462"/>
                </a:cubicBezTo>
                <a:cubicBezTo>
                  <a:pt x="101012" y="106374"/>
                  <a:pt x="103665" y="103509"/>
                  <a:pt x="105000" y="102077"/>
                </a:cubicBezTo>
                <a:cubicBezTo>
                  <a:pt x="106335" y="100646"/>
                  <a:pt x="107061" y="100201"/>
                  <a:pt x="107834" y="99872"/>
                </a:cubicBezTo>
                <a:cubicBezTo>
                  <a:pt x="108607" y="99544"/>
                  <a:pt x="109032" y="100162"/>
                  <a:pt x="109638" y="100106"/>
                </a:cubicBezTo>
                <a:cubicBezTo>
                  <a:pt x="110243" y="100049"/>
                  <a:pt x="114420" y="98727"/>
                  <a:pt x="115345" y="99354"/>
                </a:cubicBezTo>
                <a:cubicBezTo>
                  <a:pt x="116271" y="99982"/>
                  <a:pt x="114445" y="102813"/>
                  <a:pt x="115190" y="103872"/>
                </a:cubicBezTo>
                <a:cubicBezTo>
                  <a:pt x="115936" y="104930"/>
                  <a:pt x="119185" y="105847"/>
                  <a:pt x="119819" y="105704"/>
                </a:cubicBezTo>
                <a:cubicBezTo>
                  <a:pt x="120452" y="105562"/>
                  <a:pt x="119240" y="104091"/>
                  <a:pt x="118990" y="103016"/>
                </a:cubicBezTo>
                <a:cubicBezTo>
                  <a:pt x="118740" y="101942"/>
                  <a:pt x="118406" y="100767"/>
                  <a:pt x="118320" y="99257"/>
                </a:cubicBezTo>
                <a:cubicBezTo>
                  <a:pt x="118234" y="97747"/>
                  <a:pt x="119147" y="95093"/>
                  <a:pt x="118475" y="93957"/>
                </a:cubicBezTo>
                <a:cubicBezTo>
                  <a:pt x="117803" y="92821"/>
                  <a:pt x="115516" y="93168"/>
                  <a:pt x="114286" y="92441"/>
                </a:cubicBezTo>
                <a:cubicBezTo>
                  <a:pt x="113057" y="91714"/>
                  <a:pt x="111737" y="91117"/>
                  <a:pt x="111096" y="89596"/>
                </a:cubicBezTo>
                <a:cubicBezTo>
                  <a:pt x="110456" y="88076"/>
                  <a:pt x="110903" y="85989"/>
                  <a:pt x="110441" y="83319"/>
                </a:cubicBezTo>
                <a:cubicBezTo>
                  <a:pt x="109980" y="80649"/>
                  <a:pt x="109495" y="75984"/>
                  <a:pt x="108330" y="73575"/>
                </a:cubicBezTo>
                <a:cubicBezTo>
                  <a:pt x="107164" y="71166"/>
                  <a:pt x="104614" y="70293"/>
                  <a:pt x="103448" y="68863"/>
                </a:cubicBezTo>
                <a:cubicBezTo>
                  <a:pt x="102283" y="67433"/>
                  <a:pt x="102219" y="66173"/>
                  <a:pt x="101337" y="64996"/>
                </a:cubicBezTo>
                <a:cubicBezTo>
                  <a:pt x="100455" y="63820"/>
                  <a:pt x="99447" y="62651"/>
                  <a:pt x="98154" y="61804"/>
                </a:cubicBezTo>
                <a:cubicBezTo>
                  <a:pt x="96862" y="60956"/>
                  <a:pt x="94590" y="60494"/>
                  <a:pt x="93583" y="59912"/>
                </a:cubicBezTo>
                <a:cubicBezTo>
                  <a:pt x="92577" y="59329"/>
                  <a:pt x="92065" y="59030"/>
                  <a:pt x="92115" y="58309"/>
                </a:cubicBezTo>
                <a:cubicBezTo>
                  <a:pt x="92166" y="57588"/>
                  <a:pt x="93789" y="56463"/>
                  <a:pt x="93886" y="55586"/>
                </a:cubicBezTo>
                <a:cubicBezTo>
                  <a:pt x="93983" y="54708"/>
                  <a:pt x="92845" y="53749"/>
                  <a:pt x="92698" y="53044"/>
                </a:cubicBezTo>
                <a:cubicBezTo>
                  <a:pt x="92550" y="52339"/>
                  <a:pt x="92685" y="51651"/>
                  <a:pt x="93001" y="51357"/>
                </a:cubicBezTo>
                <a:cubicBezTo>
                  <a:pt x="93316" y="51064"/>
                  <a:pt x="93631" y="50832"/>
                  <a:pt x="94589" y="51282"/>
                </a:cubicBezTo>
                <a:cubicBezTo>
                  <a:pt x="95548" y="51732"/>
                  <a:pt x="99107" y="52904"/>
                  <a:pt x="100459" y="52428"/>
                </a:cubicBezTo>
                <a:cubicBezTo>
                  <a:pt x="101811" y="51953"/>
                  <a:pt x="102249" y="50903"/>
                  <a:pt x="102703" y="48429"/>
                </a:cubicBezTo>
                <a:cubicBezTo>
                  <a:pt x="103157" y="45955"/>
                  <a:pt x="101887" y="42501"/>
                  <a:pt x="101942" y="39214"/>
                </a:cubicBezTo>
                <a:cubicBezTo>
                  <a:pt x="101998" y="35927"/>
                  <a:pt x="103618" y="30844"/>
                  <a:pt x="103036" y="28708"/>
                </a:cubicBezTo>
                <a:close/>
              </a:path>
            </a:pathLst>
          </a:custGeom>
          <a:solidFill>
            <a:srgbClr val="FFFFFF">
              <a:alpha val="35000"/>
            </a:srgbClr>
          </a:solidFill>
          <a:ln w="3175" cap="flat" cmpd="sng">
            <a:solidFill>
              <a:schemeClr val="bg1"/>
            </a:solidFill>
            <a:prstDash val="solid"/>
            <a:miter/>
            <a:headEnd type="none" w="med" len="med"/>
            <a:tailEnd type="none" w="med" len="med"/>
          </a:ln>
        </p:spPr>
        <p:txBody>
          <a:bodyPr lIns="91344" tIns="45661" rIns="91344" bIns="45661" anchor="ctr" anchorCtr="0">
            <a:noAutofit/>
          </a:bodyPr>
          <a:lstStyle/>
          <a:p>
            <a:pPr algn="ctr" defTabSz="1088089"/>
            <a:endParaRPr lang="en-US" sz="1998" kern="0" dirty="0">
              <a:solidFill>
                <a:srgbClr val="FFFFFF"/>
              </a:solidFill>
              <a:latin typeface="Arial" panose="020B0604020202020204" pitchFamily="34" charset="0"/>
              <a:ea typeface="Georgia"/>
              <a:cs typeface="Arial" panose="020B0604020202020204" pitchFamily="34" charset="0"/>
              <a:sym typeface="Georgia"/>
            </a:endParaRPr>
          </a:p>
        </p:txBody>
      </p:sp>
      <p:sp>
        <p:nvSpPr>
          <p:cNvPr id="554" name="Shape 2014"/>
          <p:cNvSpPr/>
          <p:nvPr/>
        </p:nvSpPr>
        <p:spPr>
          <a:xfrm>
            <a:off x="6100202" y="4309224"/>
            <a:ext cx="437080" cy="418701"/>
          </a:xfrm>
          <a:custGeom>
            <a:avLst/>
            <a:gdLst/>
            <a:ahLst/>
            <a:cxnLst/>
            <a:rect l="0" t="0" r="0" b="0"/>
            <a:pathLst>
              <a:path w="120000" h="120000" extrusionOk="0">
                <a:moveTo>
                  <a:pt x="89352" y="113856"/>
                </a:moveTo>
                <a:cubicBezTo>
                  <a:pt x="91152" y="110016"/>
                  <a:pt x="88440" y="111252"/>
                  <a:pt x="89352" y="107736"/>
                </a:cubicBezTo>
                <a:cubicBezTo>
                  <a:pt x="92052" y="103356"/>
                  <a:pt x="92052" y="108612"/>
                  <a:pt x="93852" y="107736"/>
                </a:cubicBezTo>
                <a:cubicBezTo>
                  <a:pt x="94752" y="105972"/>
                  <a:pt x="93852" y="98940"/>
                  <a:pt x="96564" y="96348"/>
                </a:cubicBezTo>
                <a:cubicBezTo>
                  <a:pt x="99264" y="95472"/>
                  <a:pt x="98364" y="89328"/>
                  <a:pt x="103776" y="89328"/>
                </a:cubicBezTo>
                <a:cubicBezTo>
                  <a:pt x="101964" y="85836"/>
                  <a:pt x="104664" y="84072"/>
                  <a:pt x="106476" y="76212"/>
                </a:cubicBezTo>
                <a:cubicBezTo>
                  <a:pt x="106476" y="73572"/>
                  <a:pt x="103776" y="70944"/>
                  <a:pt x="104664" y="69216"/>
                </a:cubicBezTo>
                <a:cubicBezTo>
                  <a:pt x="106476" y="66564"/>
                  <a:pt x="109176" y="62148"/>
                  <a:pt x="109176" y="54300"/>
                </a:cubicBezTo>
                <a:cubicBezTo>
                  <a:pt x="107376" y="49032"/>
                  <a:pt x="110076" y="55188"/>
                  <a:pt x="112788" y="49920"/>
                </a:cubicBezTo>
                <a:cubicBezTo>
                  <a:pt x="114588" y="47304"/>
                  <a:pt x="117288" y="51672"/>
                  <a:pt x="120000" y="42912"/>
                </a:cubicBezTo>
                <a:cubicBezTo>
                  <a:pt x="120000" y="42024"/>
                  <a:pt x="118200" y="40284"/>
                  <a:pt x="117288" y="42024"/>
                </a:cubicBezTo>
                <a:cubicBezTo>
                  <a:pt x="115488" y="42024"/>
                  <a:pt x="115488" y="37680"/>
                  <a:pt x="112788" y="37680"/>
                </a:cubicBezTo>
                <a:cubicBezTo>
                  <a:pt x="111876" y="39420"/>
                  <a:pt x="109176" y="25404"/>
                  <a:pt x="110076" y="24528"/>
                </a:cubicBezTo>
                <a:cubicBezTo>
                  <a:pt x="111876" y="20136"/>
                  <a:pt x="107376" y="17520"/>
                  <a:pt x="110076" y="17520"/>
                </a:cubicBezTo>
                <a:cubicBezTo>
                  <a:pt x="112788" y="18396"/>
                  <a:pt x="109176" y="15732"/>
                  <a:pt x="109176" y="8748"/>
                </a:cubicBezTo>
                <a:cubicBezTo>
                  <a:pt x="107376" y="7896"/>
                  <a:pt x="107376" y="6132"/>
                  <a:pt x="106476" y="6132"/>
                </a:cubicBezTo>
                <a:cubicBezTo>
                  <a:pt x="103776" y="6132"/>
                  <a:pt x="104664" y="2628"/>
                  <a:pt x="101964" y="2628"/>
                </a:cubicBezTo>
                <a:cubicBezTo>
                  <a:pt x="101064" y="2628"/>
                  <a:pt x="99264" y="888"/>
                  <a:pt x="99264" y="0"/>
                </a:cubicBezTo>
                <a:cubicBezTo>
                  <a:pt x="96564" y="3516"/>
                  <a:pt x="94752" y="0"/>
                  <a:pt x="93852" y="3516"/>
                </a:cubicBezTo>
                <a:cubicBezTo>
                  <a:pt x="92052" y="7896"/>
                  <a:pt x="89352" y="6132"/>
                  <a:pt x="88440" y="8748"/>
                </a:cubicBezTo>
                <a:cubicBezTo>
                  <a:pt x="86640" y="12252"/>
                  <a:pt x="83940" y="13128"/>
                  <a:pt x="81228" y="8748"/>
                </a:cubicBezTo>
                <a:lnTo>
                  <a:pt x="68604" y="8748"/>
                </a:lnTo>
                <a:lnTo>
                  <a:pt x="68604" y="7896"/>
                </a:lnTo>
                <a:cubicBezTo>
                  <a:pt x="68304" y="8172"/>
                  <a:pt x="68016" y="8484"/>
                  <a:pt x="67716" y="8748"/>
                </a:cubicBezTo>
                <a:lnTo>
                  <a:pt x="23532" y="8748"/>
                </a:lnTo>
                <a:lnTo>
                  <a:pt x="23532" y="27156"/>
                </a:lnTo>
                <a:lnTo>
                  <a:pt x="15420" y="27156"/>
                </a:lnTo>
                <a:lnTo>
                  <a:pt x="15420" y="30672"/>
                </a:lnTo>
                <a:lnTo>
                  <a:pt x="15420" y="62148"/>
                </a:lnTo>
                <a:lnTo>
                  <a:pt x="13620" y="63924"/>
                </a:lnTo>
                <a:cubicBezTo>
                  <a:pt x="10908" y="63924"/>
                  <a:pt x="8208" y="63924"/>
                  <a:pt x="8208" y="67452"/>
                </a:cubicBezTo>
                <a:cubicBezTo>
                  <a:pt x="8208" y="71832"/>
                  <a:pt x="5496" y="69216"/>
                  <a:pt x="7308" y="71832"/>
                </a:cubicBezTo>
                <a:cubicBezTo>
                  <a:pt x="7308" y="76212"/>
                  <a:pt x="2808" y="71832"/>
                  <a:pt x="4608" y="76212"/>
                </a:cubicBezTo>
                <a:cubicBezTo>
                  <a:pt x="7308" y="79704"/>
                  <a:pt x="96" y="78816"/>
                  <a:pt x="2808" y="83220"/>
                </a:cubicBezTo>
                <a:cubicBezTo>
                  <a:pt x="5496" y="86700"/>
                  <a:pt x="-804" y="86700"/>
                  <a:pt x="96" y="91116"/>
                </a:cubicBezTo>
                <a:cubicBezTo>
                  <a:pt x="1896" y="91968"/>
                  <a:pt x="4608" y="88452"/>
                  <a:pt x="4608" y="91968"/>
                </a:cubicBezTo>
                <a:cubicBezTo>
                  <a:pt x="4608" y="96348"/>
                  <a:pt x="5496" y="95472"/>
                  <a:pt x="5496" y="98940"/>
                </a:cubicBezTo>
                <a:cubicBezTo>
                  <a:pt x="5496" y="103356"/>
                  <a:pt x="10020" y="100704"/>
                  <a:pt x="8208" y="105972"/>
                </a:cubicBezTo>
                <a:cubicBezTo>
                  <a:pt x="9180" y="107904"/>
                  <a:pt x="11040" y="108504"/>
                  <a:pt x="11784" y="110844"/>
                </a:cubicBezTo>
                <a:cubicBezTo>
                  <a:pt x="12528" y="113184"/>
                  <a:pt x="14232" y="113388"/>
                  <a:pt x="12708" y="120000"/>
                </a:cubicBezTo>
                <a:cubicBezTo>
                  <a:pt x="13956" y="113280"/>
                  <a:pt x="22032" y="119352"/>
                  <a:pt x="18936" y="109836"/>
                </a:cubicBezTo>
                <a:cubicBezTo>
                  <a:pt x="16548" y="105336"/>
                  <a:pt x="24408" y="105576"/>
                  <a:pt x="24912" y="105588"/>
                </a:cubicBezTo>
                <a:cubicBezTo>
                  <a:pt x="27000" y="106020"/>
                  <a:pt x="26100" y="107364"/>
                  <a:pt x="27000" y="108720"/>
                </a:cubicBezTo>
                <a:cubicBezTo>
                  <a:pt x="27444" y="110412"/>
                  <a:pt x="30840" y="109056"/>
                  <a:pt x="31260" y="113532"/>
                </a:cubicBezTo>
                <a:cubicBezTo>
                  <a:pt x="32256" y="114984"/>
                  <a:pt x="31848" y="114996"/>
                  <a:pt x="32652" y="115104"/>
                </a:cubicBezTo>
                <a:cubicBezTo>
                  <a:pt x="33456" y="115212"/>
                  <a:pt x="34008" y="115176"/>
                  <a:pt x="35748" y="114324"/>
                </a:cubicBezTo>
                <a:cubicBezTo>
                  <a:pt x="38340" y="113940"/>
                  <a:pt x="41364" y="113592"/>
                  <a:pt x="45084" y="114096"/>
                </a:cubicBezTo>
                <a:cubicBezTo>
                  <a:pt x="46440" y="115944"/>
                  <a:pt x="44880" y="117000"/>
                  <a:pt x="46356" y="117336"/>
                </a:cubicBezTo>
                <a:cubicBezTo>
                  <a:pt x="47256" y="118008"/>
                  <a:pt x="50868" y="116988"/>
                  <a:pt x="50628" y="115440"/>
                </a:cubicBezTo>
                <a:cubicBezTo>
                  <a:pt x="52344" y="115128"/>
                  <a:pt x="50292" y="112176"/>
                  <a:pt x="52476" y="111516"/>
                </a:cubicBezTo>
                <a:cubicBezTo>
                  <a:pt x="58212" y="110232"/>
                  <a:pt x="56376" y="112032"/>
                  <a:pt x="60768" y="111732"/>
                </a:cubicBezTo>
                <a:cubicBezTo>
                  <a:pt x="63192" y="111768"/>
                  <a:pt x="62616" y="107580"/>
                  <a:pt x="65484" y="107808"/>
                </a:cubicBezTo>
                <a:cubicBezTo>
                  <a:pt x="69564" y="108588"/>
                  <a:pt x="72180" y="109068"/>
                  <a:pt x="70608" y="104880"/>
                </a:cubicBezTo>
                <a:cubicBezTo>
                  <a:pt x="71568" y="103116"/>
                  <a:pt x="72516" y="100356"/>
                  <a:pt x="72480" y="100416"/>
                </a:cubicBezTo>
                <a:cubicBezTo>
                  <a:pt x="72384" y="96996"/>
                  <a:pt x="73212" y="96960"/>
                  <a:pt x="76584" y="95784"/>
                </a:cubicBezTo>
                <a:cubicBezTo>
                  <a:pt x="77568" y="96372"/>
                  <a:pt x="76476" y="97224"/>
                  <a:pt x="77136" y="98172"/>
                </a:cubicBezTo>
                <a:cubicBezTo>
                  <a:pt x="77244" y="99648"/>
                  <a:pt x="77220" y="99660"/>
                  <a:pt x="77328" y="101136"/>
                </a:cubicBezTo>
                <a:cubicBezTo>
                  <a:pt x="78360" y="108504"/>
                  <a:pt x="81252" y="111276"/>
                  <a:pt x="81192" y="111216"/>
                </a:cubicBezTo>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55" name="Shape 1752"/>
          <p:cNvSpPr/>
          <p:nvPr/>
        </p:nvSpPr>
        <p:spPr>
          <a:xfrm>
            <a:off x="3536658" y="5543614"/>
            <a:ext cx="232115" cy="1315734"/>
          </a:xfrm>
          <a:custGeom>
            <a:avLst/>
            <a:gdLst/>
            <a:ahLst/>
            <a:cxnLst/>
            <a:rect l="0" t="0" r="0" b="0"/>
            <a:pathLst>
              <a:path w="120000" h="120000" extrusionOk="0">
                <a:moveTo>
                  <a:pt x="86197" y="0"/>
                </a:moveTo>
                <a:cubicBezTo>
                  <a:pt x="89577" y="1981"/>
                  <a:pt x="91267" y="1981"/>
                  <a:pt x="91267" y="2264"/>
                </a:cubicBezTo>
                <a:cubicBezTo>
                  <a:pt x="91267" y="2830"/>
                  <a:pt x="94647" y="4811"/>
                  <a:pt x="96338" y="4811"/>
                </a:cubicBezTo>
                <a:cubicBezTo>
                  <a:pt x="99718" y="5943"/>
                  <a:pt x="101408" y="5943"/>
                  <a:pt x="99718" y="6226"/>
                </a:cubicBezTo>
                <a:cubicBezTo>
                  <a:pt x="94647" y="7075"/>
                  <a:pt x="101408" y="7075"/>
                  <a:pt x="99718" y="7641"/>
                </a:cubicBezTo>
                <a:cubicBezTo>
                  <a:pt x="96338" y="8490"/>
                  <a:pt x="96338" y="8773"/>
                  <a:pt x="99718" y="8773"/>
                </a:cubicBezTo>
                <a:cubicBezTo>
                  <a:pt x="101408" y="9339"/>
                  <a:pt x="96338" y="10188"/>
                  <a:pt x="101408" y="10188"/>
                </a:cubicBezTo>
                <a:cubicBezTo>
                  <a:pt x="104788" y="10188"/>
                  <a:pt x="106478" y="13018"/>
                  <a:pt x="106478" y="14716"/>
                </a:cubicBezTo>
                <a:cubicBezTo>
                  <a:pt x="109859" y="15849"/>
                  <a:pt x="111549" y="15849"/>
                  <a:pt x="116619" y="15566"/>
                </a:cubicBezTo>
                <a:cubicBezTo>
                  <a:pt x="120000" y="15849"/>
                  <a:pt x="120000" y="16415"/>
                  <a:pt x="116619" y="16698"/>
                </a:cubicBezTo>
                <a:cubicBezTo>
                  <a:pt x="116619" y="17830"/>
                  <a:pt x="116619" y="18962"/>
                  <a:pt x="111549" y="19528"/>
                </a:cubicBezTo>
                <a:cubicBezTo>
                  <a:pt x="109859" y="19528"/>
                  <a:pt x="96338" y="20377"/>
                  <a:pt x="99718" y="21792"/>
                </a:cubicBezTo>
                <a:cubicBezTo>
                  <a:pt x="101408" y="22075"/>
                  <a:pt x="96338" y="25754"/>
                  <a:pt x="101408" y="26886"/>
                </a:cubicBezTo>
                <a:cubicBezTo>
                  <a:pt x="106478" y="29150"/>
                  <a:pt x="96338" y="26886"/>
                  <a:pt x="94647" y="29150"/>
                </a:cubicBezTo>
                <a:cubicBezTo>
                  <a:pt x="89577" y="31415"/>
                  <a:pt x="91267" y="30849"/>
                  <a:pt x="86197" y="31415"/>
                </a:cubicBezTo>
                <a:cubicBezTo>
                  <a:pt x="82816" y="31698"/>
                  <a:pt x="82816" y="33679"/>
                  <a:pt x="81126" y="33962"/>
                </a:cubicBezTo>
                <a:cubicBezTo>
                  <a:pt x="76056" y="34811"/>
                  <a:pt x="82816" y="36509"/>
                  <a:pt x="81126" y="37641"/>
                </a:cubicBezTo>
                <a:cubicBezTo>
                  <a:pt x="77746" y="37924"/>
                  <a:pt x="77746" y="37075"/>
                  <a:pt x="76056" y="38490"/>
                </a:cubicBezTo>
                <a:cubicBezTo>
                  <a:pt x="72676" y="39622"/>
                  <a:pt x="70985" y="41037"/>
                  <a:pt x="72676" y="41603"/>
                </a:cubicBezTo>
                <a:cubicBezTo>
                  <a:pt x="76056" y="42452"/>
                  <a:pt x="76056" y="43301"/>
                  <a:pt x="77746" y="44716"/>
                </a:cubicBezTo>
                <a:cubicBezTo>
                  <a:pt x="81126" y="45849"/>
                  <a:pt x="76056" y="46415"/>
                  <a:pt x="81126" y="46415"/>
                </a:cubicBezTo>
                <a:cubicBezTo>
                  <a:pt x="86197" y="46415"/>
                  <a:pt x="81126" y="47264"/>
                  <a:pt x="81126" y="48396"/>
                </a:cubicBezTo>
                <a:cubicBezTo>
                  <a:pt x="82816" y="49811"/>
                  <a:pt x="76056" y="48962"/>
                  <a:pt x="76056" y="51226"/>
                </a:cubicBezTo>
                <a:cubicBezTo>
                  <a:pt x="72676" y="53773"/>
                  <a:pt x="76056" y="54339"/>
                  <a:pt x="72676" y="55188"/>
                </a:cubicBezTo>
                <a:cubicBezTo>
                  <a:pt x="67605" y="56603"/>
                  <a:pt x="65915" y="55471"/>
                  <a:pt x="65915" y="56603"/>
                </a:cubicBezTo>
                <a:cubicBezTo>
                  <a:pt x="62535" y="57452"/>
                  <a:pt x="65915" y="58584"/>
                  <a:pt x="62535" y="59433"/>
                </a:cubicBezTo>
                <a:cubicBezTo>
                  <a:pt x="62535" y="60566"/>
                  <a:pt x="70985" y="62547"/>
                  <a:pt x="65915" y="63113"/>
                </a:cubicBezTo>
                <a:cubicBezTo>
                  <a:pt x="55774" y="64528"/>
                  <a:pt x="62535" y="65377"/>
                  <a:pt x="57464" y="65660"/>
                </a:cubicBezTo>
                <a:cubicBezTo>
                  <a:pt x="52394" y="66509"/>
                  <a:pt x="60845" y="67924"/>
                  <a:pt x="55774" y="68773"/>
                </a:cubicBezTo>
                <a:cubicBezTo>
                  <a:pt x="49014" y="69622"/>
                  <a:pt x="55774" y="69339"/>
                  <a:pt x="55774" y="71037"/>
                </a:cubicBezTo>
                <a:cubicBezTo>
                  <a:pt x="52394" y="72735"/>
                  <a:pt x="57464" y="73301"/>
                  <a:pt x="55774" y="73584"/>
                </a:cubicBezTo>
                <a:cubicBezTo>
                  <a:pt x="55774" y="74433"/>
                  <a:pt x="52394" y="73301"/>
                  <a:pt x="49014" y="75000"/>
                </a:cubicBezTo>
                <a:cubicBezTo>
                  <a:pt x="49014" y="76698"/>
                  <a:pt x="55774" y="76698"/>
                  <a:pt x="55774" y="77264"/>
                </a:cubicBezTo>
                <a:cubicBezTo>
                  <a:pt x="57464" y="77547"/>
                  <a:pt x="52394" y="78962"/>
                  <a:pt x="57464" y="79528"/>
                </a:cubicBezTo>
                <a:cubicBezTo>
                  <a:pt x="60845" y="79811"/>
                  <a:pt x="49014" y="81509"/>
                  <a:pt x="57464" y="81226"/>
                </a:cubicBezTo>
                <a:cubicBezTo>
                  <a:pt x="67605" y="80660"/>
                  <a:pt x="65915" y="82358"/>
                  <a:pt x="57464" y="82358"/>
                </a:cubicBezTo>
                <a:cubicBezTo>
                  <a:pt x="49014" y="82075"/>
                  <a:pt x="49014" y="82358"/>
                  <a:pt x="55774" y="82924"/>
                </a:cubicBezTo>
                <a:cubicBezTo>
                  <a:pt x="62535" y="82924"/>
                  <a:pt x="62535" y="84339"/>
                  <a:pt x="57464" y="84622"/>
                </a:cubicBezTo>
                <a:cubicBezTo>
                  <a:pt x="49014" y="85188"/>
                  <a:pt x="60845" y="86037"/>
                  <a:pt x="55774" y="86320"/>
                </a:cubicBezTo>
                <a:cubicBezTo>
                  <a:pt x="52394" y="86886"/>
                  <a:pt x="60845" y="88301"/>
                  <a:pt x="55774" y="88584"/>
                </a:cubicBezTo>
                <a:cubicBezTo>
                  <a:pt x="47323" y="89433"/>
                  <a:pt x="60845" y="89433"/>
                  <a:pt x="52394" y="90283"/>
                </a:cubicBezTo>
                <a:cubicBezTo>
                  <a:pt x="43943" y="91698"/>
                  <a:pt x="49014" y="91698"/>
                  <a:pt x="47323" y="92264"/>
                </a:cubicBezTo>
                <a:cubicBezTo>
                  <a:pt x="42253" y="93113"/>
                  <a:pt x="52394" y="93396"/>
                  <a:pt x="47323" y="94245"/>
                </a:cubicBezTo>
                <a:cubicBezTo>
                  <a:pt x="42253" y="94811"/>
                  <a:pt x="38873" y="97358"/>
                  <a:pt x="33802" y="97358"/>
                </a:cubicBezTo>
                <a:cubicBezTo>
                  <a:pt x="28732" y="97075"/>
                  <a:pt x="33802" y="98207"/>
                  <a:pt x="32112" y="99339"/>
                </a:cubicBezTo>
                <a:cubicBezTo>
                  <a:pt x="28732" y="100471"/>
                  <a:pt x="33802" y="99622"/>
                  <a:pt x="37183" y="101320"/>
                </a:cubicBezTo>
                <a:cubicBezTo>
                  <a:pt x="37183" y="102735"/>
                  <a:pt x="38873" y="101320"/>
                  <a:pt x="43943" y="101320"/>
                </a:cubicBezTo>
                <a:cubicBezTo>
                  <a:pt x="49014" y="101320"/>
                  <a:pt x="43943" y="105000"/>
                  <a:pt x="49014" y="105283"/>
                </a:cubicBezTo>
                <a:cubicBezTo>
                  <a:pt x="55774" y="105849"/>
                  <a:pt x="49014" y="106132"/>
                  <a:pt x="57464" y="106132"/>
                </a:cubicBezTo>
                <a:cubicBezTo>
                  <a:pt x="65915" y="106132"/>
                  <a:pt x="77746" y="106132"/>
                  <a:pt x="77746" y="106132"/>
                </a:cubicBezTo>
                <a:cubicBezTo>
                  <a:pt x="86197" y="106981"/>
                  <a:pt x="99718" y="106698"/>
                  <a:pt x="101408" y="107547"/>
                </a:cubicBezTo>
                <a:cubicBezTo>
                  <a:pt x="99718" y="107547"/>
                  <a:pt x="96338" y="107547"/>
                  <a:pt x="94647" y="106981"/>
                </a:cubicBezTo>
                <a:cubicBezTo>
                  <a:pt x="89577" y="106981"/>
                  <a:pt x="89577" y="106981"/>
                  <a:pt x="86197" y="108113"/>
                </a:cubicBezTo>
                <a:cubicBezTo>
                  <a:pt x="81126" y="108396"/>
                  <a:pt x="82816" y="107547"/>
                  <a:pt x="77746" y="108396"/>
                </a:cubicBezTo>
                <a:cubicBezTo>
                  <a:pt x="72676" y="108962"/>
                  <a:pt x="70985" y="108396"/>
                  <a:pt x="67605" y="109245"/>
                </a:cubicBezTo>
                <a:cubicBezTo>
                  <a:pt x="67605" y="110660"/>
                  <a:pt x="67605" y="109811"/>
                  <a:pt x="65915" y="111509"/>
                </a:cubicBezTo>
                <a:cubicBezTo>
                  <a:pt x="65915" y="112924"/>
                  <a:pt x="67605" y="112924"/>
                  <a:pt x="62535" y="112924"/>
                </a:cubicBezTo>
                <a:cubicBezTo>
                  <a:pt x="57464" y="112924"/>
                  <a:pt x="55774" y="112358"/>
                  <a:pt x="55774" y="112358"/>
                </a:cubicBezTo>
                <a:cubicBezTo>
                  <a:pt x="52394" y="112358"/>
                  <a:pt x="47323" y="111509"/>
                  <a:pt x="47323" y="111226"/>
                </a:cubicBezTo>
                <a:cubicBezTo>
                  <a:pt x="47323" y="110660"/>
                  <a:pt x="49014" y="110660"/>
                  <a:pt x="52394" y="110660"/>
                </a:cubicBezTo>
                <a:cubicBezTo>
                  <a:pt x="52394" y="111226"/>
                  <a:pt x="52394" y="110660"/>
                  <a:pt x="55774" y="110660"/>
                </a:cubicBezTo>
                <a:cubicBezTo>
                  <a:pt x="57464" y="111226"/>
                  <a:pt x="55774" y="110660"/>
                  <a:pt x="57464" y="110094"/>
                </a:cubicBezTo>
                <a:cubicBezTo>
                  <a:pt x="62535" y="110094"/>
                  <a:pt x="65915" y="109245"/>
                  <a:pt x="62535" y="109245"/>
                </a:cubicBezTo>
                <a:cubicBezTo>
                  <a:pt x="60845" y="108962"/>
                  <a:pt x="60845" y="109245"/>
                  <a:pt x="55774" y="109811"/>
                </a:cubicBezTo>
                <a:cubicBezTo>
                  <a:pt x="52394" y="109811"/>
                  <a:pt x="55774" y="110094"/>
                  <a:pt x="49014" y="110094"/>
                </a:cubicBezTo>
                <a:cubicBezTo>
                  <a:pt x="42253" y="109811"/>
                  <a:pt x="52394" y="110094"/>
                  <a:pt x="49014" y="110660"/>
                </a:cubicBezTo>
                <a:cubicBezTo>
                  <a:pt x="47323" y="110660"/>
                  <a:pt x="43943" y="110660"/>
                  <a:pt x="43943" y="111509"/>
                </a:cubicBezTo>
                <a:cubicBezTo>
                  <a:pt x="47323" y="112075"/>
                  <a:pt x="43943" y="111509"/>
                  <a:pt x="42253" y="111226"/>
                </a:cubicBezTo>
                <a:cubicBezTo>
                  <a:pt x="37183" y="111226"/>
                  <a:pt x="33802" y="110094"/>
                  <a:pt x="37183" y="110094"/>
                </a:cubicBezTo>
                <a:cubicBezTo>
                  <a:pt x="38873" y="110094"/>
                  <a:pt x="42253" y="110660"/>
                  <a:pt x="42253" y="110094"/>
                </a:cubicBezTo>
                <a:cubicBezTo>
                  <a:pt x="38873" y="110094"/>
                  <a:pt x="42253" y="110094"/>
                  <a:pt x="38873" y="109811"/>
                </a:cubicBezTo>
                <a:cubicBezTo>
                  <a:pt x="38873" y="109245"/>
                  <a:pt x="42253" y="108962"/>
                  <a:pt x="43943" y="109245"/>
                </a:cubicBezTo>
                <a:cubicBezTo>
                  <a:pt x="47323" y="109811"/>
                  <a:pt x="47323" y="108396"/>
                  <a:pt x="52394" y="108396"/>
                </a:cubicBezTo>
                <a:cubicBezTo>
                  <a:pt x="55774" y="108962"/>
                  <a:pt x="57464" y="108962"/>
                  <a:pt x="60845" y="108396"/>
                </a:cubicBezTo>
                <a:cubicBezTo>
                  <a:pt x="60845" y="108396"/>
                  <a:pt x="49014" y="108113"/>
                  <a:pt x="47323" y="108396"/>
                </a:cubicBezTo>
                <a:cubicBezTo>
                  <a:pt x="43943" y="108962"/>
                  <a:pt x="47323" y="108113"/>
                  <a:pt x="42253" y="108113"/>
                </a:cubicBezTo>
                <a:cubicBezTo>
                  <a:pt x="38873" y="108396"/>
                  <a:pt x="42253" y="108396"/>
                  <a:pt x="42253" y="108396"/>
                </a:cubicBezTo>
                <a:cubicBezTo>
                  <a:pt x="43943" y="108962"/>
                  <a:pt x="38873" y="108962"/>
                  <a:pt x="38873" y="109245"/>
                </a:cubicBezTo>
                <a:cubicBezTo>
                  <a:pt x="38873" y="109811"/>
                  <a:pt x="38873" y="110094"/>
                  <a:pt x="33802" y="110094"/>
                </a:cubicBezTo>
                <a:cubicBezTo>
                  <a:pt x="28732" y="109811"/>
                  <a:pt x="37183" y="109811"/>
                  <a:pt x="33802" y="109245"/>
                </a:cubicBezTo>
                <a:cubicBezTo>
                  <a:pt x="33802" y="109245"/>
                  <a:pt x="32112" y="108962"/>
                  <a:pt x="33802" y="109245"/>
                </a:cubicBezTo>
                <a:cubicBezTo>
                  <a:pt x="37183" y="109245"/>
                  <a:pt x="33802" y="108113"/>
                  <a:pt x="32112" y="108962"/>
                </a:cubicBezTo>
                <a:cubicBezTo>
                  <a:pt x="28732" y="109245"/>
                  <a:pt x="28732" y="108962"/>
                  <a:pt x="32112" y="108113"/>
                </a:cubicBezTo>
                <a:cubicBezTo>
                  <a:pt x="33802" y="107547"/>
                  <a:pt x="28732" y="108113"/>
                  <a:pt x="32112" y="107547"/>
                </a:cubicBezTo>
                <a:cubicBezTo>
                  <a:pt x="32112" y="106698"/>
                  <a:pt x="27042" y="106132"/>
                  <a:pt x="28732" y="106698"/>
                </a:cubicBezTo>
                <a:cubicBezTo>
                  <a:pt x="32112" y="106698"/>
                  <a:pt x="33802" y="107547"/>
                  <a:pt x="37183" y="106981"/>
                </a:cubicBezTo>
                <a:cubicBezTo>
                  <a:pt x="37183" y="106698"/>
                  <a:pt x="38873" y="106698"/>
                  <a:pt x="38873" y="106698"/>
                </a:cubicBezTo>
                <a:cubicBezTo>
                  <a:pt x="38873" y="106981"/>
                  <a:pt x="38873" y="106981"/>
                  <a:pt x="38873" y="106132"/>
                </a:cubicBezTo>
                <a:cubicBezTo>
                  <a:pt x="42253" y="105849"/>
                  <a:pt x="47323" y="106981"/>
                  <a:pt x="43943" y="106698"/>
                </a:cubicBezTo>
                <a:cubicBezTo>
                  <a:pt x="42253" y="106132"/>
                  <a:pt x="43943" y="106132"/>
                  <a:pt x="47323" y="105849"/>
                </a:cubicBezTo>
                <a:cubicBezTo>
                  <a:pt x="47323" y="105000"/>
                  <a:pt x="43943" y="105000"/>
                  <a:pt x="38873" y="104433"/>
                </a:cubicBezTo>
                <a:cubicBezTo>
                  <a:pt x="33802" y="104150"/>
                  <a:pt x="33802" y="104433"/>
                  <a:pt x="38873" y="105000"/>
                </a:cubicBezTo>
                <a:cubicBezTo>
                  <a:pt x="43943" y="105283"/>
                  <a:pt x="47323" y="105849"/>
                  <a:pt x="42253" y="105849"/>
                </a:cubicBezTo>
                <a:cubicBezTo>
                  <a:pt x="37183" y="105283"/>
                  <a:pt x="38873" y="105849"/>
                  <a:pt x="38873" y="105849"/>
                </a:cubicBezTo>
                <a:cubicBezTo>
                  <a:pt x="37183" y="105849"/>
                  <a:pt x="37183" y="106132"/>
                  <a:pt x="37183" y="106698"/>
                </a:cubicBezTo>
                <a:cubicBezTo>
                  <a:pt x="33802" y="106981"/>
                  <a:pt x="28732" y="105849"/>
                  <a:pt x="32112" y="105849"/>
                </a:cubicBezTo>
                <a:cubicBezTo>
                  <a:pt x="33802" y="106132"/>
                  <a:pt x="32112" y="106132"/>
                  <a:pt x="32112" y="105283"/>
                </a:cubicBezTo>
                <a:cubicBezTo>
                  <a:pt x="32112" y="105000"/>
                  <a:pt x="28732" y="105849"/>
                  <a:pt x="27042" y="105283"/>
                </a:cubicBezTo>
                <a:cubicBezTo>
                  <a:pt x="27042" y="105000"/>
                  <a:pt x="28732" y="105000"/>
                  <a:pt x="27042" y="104433"/>
                </a:cubicBezTo>
                <a:cubicBezTo>
                  <a:pt x="27042" y="104150"/>
                  <a:pt x="27042" y="104150"/>
                  <a:pt x="28732" y="104433"/>
                </a:cubicBezTo>
                <a:cubicBezTo>
                  <a:pt x="28732" y="105000"/>
                  <a:pt x="32112" y="105000"/>
                  <a:pt x="28732" y="104150"/>
                </a:cubicBezTo>
                <a:cubicBezTo>
                  <a:pt x="28732" y="103584"/>
                  <a:pt x="28732" y="103584"/>
                  <a:pt x="27042" y="103584"/>
                </a:cubicBezTo>
                <a:cubicBezTo>
                  <a:pt x="23661" y="103584"/>
                  <a:pt x="23661" y="104150"/>
                  <a:pt x="23661" y="103018"/>
                </a:cubicBezTo>
                <a:cubicBezTo>
                  <a:pt x="23661" y="102735"/>
                  <a:pt x="23661" y="103018"/>
                  <a:pt x="23661" y="102735"/>
                </a:cubicBezTo>
                <a:cubicBezTo>
                  <a:pt x="21971" y="102735"/>
                  <a:pt x="23661" y="102169"/>
                  <a:pt x="27042" y="102735"/>
                </a:cubicBezTo>
                <a:cubicBezTo>
                  <a:pt x="27042" y="102735"/>
                  <a:pt x="28732" y="102169"/>
                  <a:pt x="28732" y="101886"/>
                </a:cubicBezTo>
                <a:cubicBezTo>
                  <a:pt x="32112" y="101037"/>
                  <a:pt x="28732" y="101037"/>
                  <a:pt x="28732" y="101320"/>
                </a:cubicBezTo>
                <a:cubicBezTo>
                  <a:pt x="27042" y="102169"/>
                  <a:pt x="27042" y="102169"/>
                  <a:pt x="23661" y="101886"/>
                </a:cubicBezTo>
                <a:cubicBezTo>
                  <a:pt x="21971" y="101320"/>
                  <a:pt x="21971" y="101320"/>
                  <a:pt x="23661" y="101320"/>
                </a:cubicBezTo>
                <a:cubicBezTo>
                  <a:pt x="27042" y="101320"/>
                  <a:pt x="27042" y="101320"/>
                  <a:pt x="23661" y="101037"/>
                </a:cubicBezTo>
                <a:cubicBezTo>
                  <a:pt x="21971" y="101037"/>
                  <a:pt x="23661" y="101037"/>
                  <a:pt x="21971" y="101037"/>
                </a:cubicBezTo>
                <a:cubicBezTo>
                  <a:pt x="18591" y="100471"/>
                  <a:pt x="18591" y="100471"/>
                  <a:pt x="16901" y="100188"/>
                </a:cubicBezTo>
                <a:cubicBezTo>
                  <a:pt x="13521" y="100188"/>
                  <a:pt x="18591" y="99622"/>
                  <a:pt x="21971" y="100188"/>
                </a:cubicBezTo>
                <a:cubicBezTo>
                  <a:pt x="23661" y="100471"/>
                  <a:pt x="27042" y="100471"/>
                  <a:pt x="23661" y="100188"/>
                </a:cubicBezTo>
                <a:cubicBezTo>
                  <a:pt x="21971" y="99622"/>
                  <a:pt x="18591" y="99339"/>
                  <a:pt x="23661" y="99622"/>
                </a:cubicBezTo>
                <a:cubicBezTo>
                  <a:pt x="28732" y="99622"/>
                  <a:pt x="27042" y="99622"/>
                  <a:pt x="21971" y="99339"/>
                </a:cubicBezTo>
                <a:cubicBezTo>
                  <a:pt x="18591" y="98773"/>
                  <a:pt x="23661" y="98773"/>
                  <a:pt x="21971" y="98207"/>
                </a:cubicBezTo>
                <a:cubicBezTo>
                  <a:pt x="21971" y="98207"/>
                  <a:pt x="23661" y="97924"/>
                  <a:pt x="27042" y="98207"/>
                </a:cubicBezTo>
                <a:cubicBezTo>
                  <a:pt x="28732" y="98773"/>
                  <a:pt x="27042" y="97924"/>
                  <a:pt x="23661" y="97358"/>
                </a:cubicBezTo>
                <a:cubicBezTo>
                  <a:pt x="23661" y="97075"/>
                  <a:pt x="27042" y="96509"/>
                  <a:pt x="23661" y="96509"/>
                </a:cubicBezTo>
                <a:cubicBezTo>
                  <a:pt x="21971" y="97075"/>
                  <a:pt x="23661" y="97924"/>
                  <a:pt x="21971" y="97924"/>
                </a:cubicBezTo>
                <a:cubicBezTo>
                  <a:pt x="18591" y="97924"/>
                  <a:pt x="21971" y="97075"/>
                  <a:pt x="18591" y="96226"/>
                </a:cubicBezTo>
                <a:cubicBezTo>
                  <a:pt x="18591" y="95094"/>
                  <a:pt x="21971" y="95094"/>
                  <a:pt x="21971" y="94811"/>
                </a:cubicBezTo>
                <a:cubicBezTo>
                  <a:pt x="21971" y="93962"/>
                  <a:pt x="27042" y="94811"/>
                  <a:pt x="27042" y="94811"/>
                </a:cubicBezTo>
                <a:cubicBezTo>
                  <a:pt x="23661" y="94245"/>
                  <a:pt x="27042" y="94245"/>
                  <a:pt x="23661" y="94245"/>
                </a:cubicBezTo>
                <a:cubicBezTo>
                  <a:pt x="23661" y="93962"/>
                  <a:pt x="21971" y="93962"/>
                  <a:pt x="18591" y="93396"/>
                </a:cubicBezTo>
                <a:cubicBezTo>
                  <a:pt x="18591" y="93113"/>
                  <a:pt x="18591" y="93396"/>
                  <a:pt x="16901" y="93113"/>
                </a:cubicBezTo>
                <a:cubicBezTo>
                  <a:pt x="16901" y="92547"/>
                  <a:pt x="18591" y="93113"/>
                  <a:pt x="23661" y="93113"/>
                </a:cubicBezTo>
                <a:cubicBezTo>
                  <a:pt x="27042" y="93113"/>
                  <a:pt x="28732" y="93113"/>
                  <a:pt x="32112" y="93396"/>
                </a:cubicBezTo>
                <a:cubicBezTo>
                  <a:pt x="37183" y="93962"/>
                  <a:pt x="28732" y="92547"/>
                  <a:pt x="32112" y="92547"/>
                </a:cubicBezTo>
                <a:cubicBezTo>
                  <a:pt x="33802" y="92547"/>
                  <a:pt x="28732" y="91698"/>
                  <a:pt x="28732" y="92264"/>
                </a:cubicBezTo>
                <a:cubicBezTo>
                  <a:pt x="28732" y="92547"/>
                  <a:pt x="27042" y="91698"/>
                  <a:pt x="21971" y="92264"/>
                </a:cubicBezTo>
                <a:cubicBezTo>
                  <a:pt x="16901" y="92264"/>
                  <a:pt x="16901" y="92264"/>
                  <a:pt x="16901" y="91698"/>
                </a:cubicBezTo>
                <a:cubicBezTo>
                  <a:pt x="18591" y="91132"/>
                  <a:pt x="18591" y="91698"/>
                  <a:pt x="21971" y="91698"/>
                </a:cubicBezTo>
                <a:cubicBezTo>
                  <a:pt x="23661" y="91698"/>
                  <a:pt x="16901" y="91132"/>
                  <a:pt x="18591" y="90849"/>
                </a:cubicBezTo>
                <a:cubicBezTo>
                  <a:pt x="21971" y="90000"/>
                  <a:pt x="27042" y="90283"/>
                  <a:pt x="27042" y="90000"/>
                </a:cubicBezTo>
                <a:cubicBezTo>
                  <a:pt x="27042" y="89150"/>
                  <a:pt x="23661" y="89433"/>
                  <a:pt x="23661" y="89150"/>
                </a:cubicBezTo>
                <a:cubicBezTo>
                  <a:pt x="21971" y="88584"/>
                  <a:pt x="18591" y="88584"/>
                  <a:pt x="18591" y="89150"/>
                </a:cubicBezTo>
                <a:cubicBezTo>
                  <a:pt x="18591" y="89433"/>
                  <a:pt x="13521" y="89150"/>
                  <a:pt x="10140" y="88584"/>
                </a:cubicBezTo>
                <a:cubicBezTo>
                  <a:pt x="10140" y="87735"/>
                  <a:pt x="5070" y="88301"/>
                  <a:pt x="5070" y="88584"/>
                </a:cubicBezTo>
                <a:cubicBezTo>
                  <a:pt x="5070" y="89433"/>
                  <a:pt x="5070" y="89433"/>
                  <a:pt x="3380" y="89150"/>
                </a:cubicBezTo>
                <a:cubicBezTo>
                  <a:pt x="0" y="88301"/>
                  <a:pt x="5070" y="87735"/>
                  <a:pt x="10140" y="86886"/>
                </a:cubicBezTo>
                <a:cubicBezTo>
                  <a:pt x="18591" y="86320"/>
                  <a:pt x="13521" y="85471"/>
                  <a:pt x="18591" y="86037"/>
                </a:cubicBezTo>
                <a:cubicBezTo>
                  <a:pt x="21971" y="86037"/>
                  <a:pt x="16901" y="85471"/>
                  <a:pt x="21971" y="85471"/>
                </a:cubicBezTo>
                <a:cubicBezTo>
                  <a:pt x="27042" y="85471"/>
                  <a:pt x="21971" y="86320"/>
                  <a:pt x="27042" y="86886"/>
                </a:cubicBezTo>
                <a:cubicBezTo>
                  <a:pt x="32112" y="87169"/>
                  <a:pt x="23661" y="88584"/>
                  <a:pt x="28732" y="88301"/>
                </a:cubicBezTo>
                <a:cubicBezTo>
                  <a:pt x="32112" y="87735"/>
                  <a:pt x="28732" y="87735"/>
                  <a:pt x="32112" y="86320"/>
                </a:cubicBezTo>
                <a:cubicBezTo>
                  <a:pt x="32112" y="85188"/>
                  <a:pt x="32112" y="85471"/>
                  <a:pt x="32112" y="84622"/>
                </a:cubicBezTo>
                <a:cubicBezTo>
                  <a:pt x="32112" y="84339"/>
                  <a:pt x="37183" y="84339"/>
                  <a:pt x="33802" y="83773"/>
                </a:cubicBezTo>
                <a:cubicBezTo>
                  <a:pt x="33802" y="83207"/>
                  <a:pt x="32112" y="83207"/>
                  <a:pt x="37183" y="82924"/>
                </a:cubicBezTo>
                <a:cubicBezTo>
                  <a:pt x="38873" y="82924"/>
                  <a:pt x="42253" y="82358"/>
                  <a:pt x="42253" y="82075"/>
                </a:cubicBezTo>
                <a:cubicBezTo>
                  <a:pt x="43943" y="81509"/>
                  <a:pt x="43943" y="80660"/>
                  <a:pt x="38873" y="80660"/>
                </a:cubicBezTo>
                <a:cubicBezTo>
                  <a:pt x="37183" y="80660"/>
                  <a:pt x="33802" y="80377"/>
                  <a:pt x="37183" y="80377"/>
                </a:cubicBezTo>
                <a:cubicBezTo>
                  <a:pt x="38873" y="79811"/>
                  <a:pt x="38873" y="78962"/>
                  <a:pt x="37183" y="78113"/>
                </a:cubicBezTo>
                <a:cubicBezTo>
                  <a:pt x="37183" y="77264"/>
                  <a:pt x="43943" y="77264"/>
                  <a:pt x="42253" y="75849"/>
                </a:cubicBezTo>
                <a:cubicBezTo>
                  <a:pt x="38873" y="75000"/>
                  <a:pt x="42253" y="75283"/>
                  <a:pt x="42253" y="74433"/>
                </a:cubicBezTo>
                <a:cubicBezTo>
                  <a:pt x="42253" y="74150"/>
                  <a:pt x="42253" y="74150"/>
                  <a:pt x="43943" y="74433"/>
                </a:cubicBezTo>
                <a:cubicBezTo>
                  <a:pt x="47323" y="75000"/>
                  <a:pt x="49014" y="73584"/>
                  <a:pt x="42253" y="73584"/>
                </a:cubicBezTo>
                <a:cubicBezTo>
                  <a:pt x="37183" y="73301"/>
                  <a:pt x="47323" y="72735"/>
                  <a:pt x="43943" y="72452"/>
                </a:cubicBezTo>
                <a:cubicBezTo>
                  <a:pt x="38873" y="72452"/>
                  <a:pt x="38873" y="71037"/>
                  <a:pt x="37183" y="72452"/>
                </a:cubicBezTo>
                <a:cubicBezTo>
                  <a:pt x="37183" y="72735"/>
                  <a:pt x="32112" y="73301"/>
                  <a:pt x="27042" y="71320"/>
                </a:cubicBezTo>
                <a:cubicBezTo>
                  <a:pt x="23661" y="70188"/>
                  <a:pt x="27042" y="70188"/>
                  <a:pt x="28732" y="67358"/>
                </a:cubicBezTo>
                <a:cubicBezTo>
                  <a:pt x="28732" y="65660"/>
                  <a:pt x="32112" y="67924"/>
                  <a:pt x="33802" y="65377"/>
                </a:cubicBezTo>
                <a:cubicBezTo>
                  <a:pt x="37183" y="63113"/>
                  <a:pt x="32112" y="63396"/>
                  <a:pt x="32112" y="61698"/>
                </a:cubicBezTo>
                <a:cubicBezTo>
                  <a:pt x="33802" y="59433"/>
                  <a:pt x="28732" y="60849"/>
                  <a:pt x="28732" y="58584"/>
                </a:cubicBezTo>
                <a:cubicBezTo>
                  <a:pt x="32112" y="57452"/>
                  <a:pt x="37183" y="59433"/>
                  <a:pt x="37183" y="57452"/>
                </a:cubicBezTo>
                <a:cubicBezTo>
                  <a:pt x="37183" y="55471"/>
                  <a:pt x="38873" y="58301"/>
                  <a:pt x="38873" y="55471"/>
                </a:cubicBezTo>
                <a:cubicBezTo>
                  <a:pt x="42253" y="53773"/>
                  <a:pt x="43943" y="55188"/>
                  <a:pt x="43943" y="53773"/>
                </a:cubicBezTo>
                <a:cubicBezTo>
                  <a:pt x="43943" y="52924"/>
                  <a:pt x="52394" y="52075"/>
                  <a:pt x="52394" y="49528"/>
                </a:cubicBezTo>
                <a:cubicBezTo>
                  <a:pt x="52394" y="47264"/>
                  <a:pt x="60845" y="48396"/>
                  <a:pt x="57464" y="46698"/>
                </a:cubicBezTo>
                <a:cubicBezTo>
                  <a:pt x="55774" y="45566"/>
                  <a:pt x="62535" y="44716"/>
                  <a:pt x="60845" y="43584"/>
                </a:cubicBezTo>
                <a:cubicBezTo>
                  <a:pt x="57464" y="42735"/>
                  <a:pt x="60845" y="42452"/>
                  <a:pt x="57464" y="40188"/>
                </a:cubicBezTo>
                <a:cubicBezTo>
                  <a:pt x="55774" y="37924"/>
                  <a:pt x="57464" y="37641"/>
                  <a:pt x="60845" y="37075"/>
                </a:cubicBezTo>
                <a:cubicBezTo>
                  <a:pt x="62535" y="36509"/>
                  <a:pt x="62535" y="35377"/>
                  <a:pt x="60845" y="33962"/>
                </a:cubicBezTo>
                <a:cubicBezTo>
                  <a:pt x="55774" y="32830"/>
                  <a:pt x="62535" y="33113"/>
                  <a:pt x="65915" y="31415"/>
                </a:cubicBezTo>
                <a:cubicBezTo>
                  <a:pt x="65915" y="29150"/>
                  <a:pt x="67605" y="30000"/>
                  <a:pt x="67605" y="28584"/>
                </a:cubicBezTo>
                <a:cubicBezTo>
                  <a:pt x="65915" y="27735"/>
                  <a:pt x="72676" y="25754"/>
                  <a:pt x="70985" y="24905"/>
                </a:cubicBezTo>
                <a:cubicBezTo>
                  <a:pt x="67605" y="23773"/>
                  <a:pt x="76056" y="23490"/>
                  <a:pt x="72676" y="21792"/>
                </a:cubicBezTo>
                <a:cubicBezTo>
                  <a:pt x="67605" y="19528"/>
                  <a:pt x="76056" y="17830"/>
                  <a:pt x="72676" y="17830"/>
                </a:cubicBezTo>
                <a:cubicBezTo>
                  <a:pt x="67605" y="17264"/>
                  <a:pt x="72676" y="16415"/>
                  <a:pt x="72676" y="16415"/>
                </a:cubicBezTo>
                <a:cubicBezTo>
                  <a:pt x="76056" y="16415"/>
                  <a:pt x="76056" y="15849"/>
                  <a:pt x="77746" y="13301"/>
                </a:cubicBezTo>
                <a:cubicBezTo>
                  <a:pt x="81126" y="10754"/>
                  <a:pt x="76056" y="10188"/>
                  <a:pt x="77746" y="8490"/>
                </a:cubicBezTo>
                <a:cubicBezTo>
                  <a:pt x="77746" y="6792"/>
                  <a:pt x="76056" y="6792"/>
                  <a:pt x="76056" y="5377"/>
                </a:cubicBezTo>
                <a:cubicBezTo>
                  <a:pt x="76056" y="4528"/>
                  <a:pt x="72676" y="5943"/>
                  <a:pt x="72676" y="2830"/>
                </a:cubicBezTo>
                <a:cubicBezTo>
                  <a:pt x="89577" y="1981"/>
                  <a:pt x="77746" y="1132"/>
                  <a:pt x="81126" y="1132"/>
                </a:cubicBezTo>
                <a:cubicBezTo>
                  <a:pt x="86197" y="1132"/>
                  <a:pt x="86197" y="0"/>
                  <a:pt x="86197" y="0"/>
                </a:cubicBezTo>
                <a:close/>
                <a:moveTo>
                  <a:pt x="99718" y="116320"/>
                </a:moveTo>
                <a:cubicBezTo>
                  <a:pt x="99718" y="108396"/>
                  <a:pt x="99718" y="108396"/>
                  <a:pt x="99718" y="108396"/>
                </a:cubicBezTo>
                <a:moveTo>
                  <a:pt x="99718" y="116320"/>
                </a:moveTo>
                <a:cubicBezTo>
                  <a:pt x="99718" y="108396"/>
                  <a:pt x="99718" y="108396"/>
                  <a:pt x="99718" y="108396"/>
                </a:cubicBezTo>
                <a:cubicBezTo>
                  <a:pt x="96338" y="108113"/>
                  <a:pt x="94647" y="108962"/>
                  <a:pt x="91267" y="108962"/>
                </a:cubicBezTo>
                <a:cubicBezTo>
                  <a:pt x="89577" y="108962"/>
                  <a:pt x="89577" y="108113"/>
                  <a:pt x="86197" y="108113"/>
                </a:cubicBezTo>
                <a:cubicBezTo>
                  <a:pt x="82816" y="108113"/>
                  <a:pt x="82816" y="108962"/>
                  <a:pt x="81126" y="109245"/>
                </a:cubicBezTo>
                <a:cubicBezTo>
                  <a:pt x="77746" y="109245"/>
                  <a:pt x="76056" y="108962"/>
                  <a:pt x="76056" y="108962"/>
                </a:cubicBezTo>
                <a:cubicBezTo>
                  <a:pt x="72676" y="108962"/>
                  <a:pt x="76056" y="108962"/>
                  <a:pt x="76056" y="109245"/>
                </a:cubicBezTo>
                <a:cubicBezTo>
                  <a:pt x="76056" y="109811"/>
                  <a:pt x="77746" y="109245"/>
                  <a:pt x="77746" y="109811"/>
                </a:cubicBezTo>
                <a:cubicBezTo>
                  <a:pt x="76056" y="110094"/>
                  <a:pt x="76056" y="110094"/>
                  <a:pt x="76056" y="109811"/>
                </a:cubicBezTo>
                <a:cubicBezTo>
                  <a:pt x="72676" y="109245"/>
                  <a:pt x="72676" y="110094"/>
                  <a:pt x="76056" y="111226"/>
                </a:cubicBezTo>
                <a:cubicBezTo>
                  <a:pt x="76056" y="112075"/>
                  <a:pt x="86197" y="110660"/>
                  <a:pt x="89577" y="111226"/>
                </a:cubicBezTo>
                <a:cubicBezTo>
                  <a:pt x="91267" y="112075"/>
                  <a:pt x="76056" y="112075"/>
                  <a:pt x="77746" y="112924"/>
                </a:cubicBezTo>
                <a:cubicBezTo>
                  <a:pt x="77746" y="114056"/>
                  <a:pt x="94647" y="114622"/>
                  <a:pt x="94647" y="114905"/>
                </a:cubicBezTo>
                <a:cubicBezTo>
                  <a:pt x="82816" y="114622"/>
                  <a:pt x="86197" y="114056"/>
                  <a:pt x="86197" y="114622"/>
                </a:cubicBezTo>
                <a:cubicBezTo>
                  <a:pt x="82816" y="114905"/>
                  <a:pt x="81126" y="114056"/>
                  <a:pt x="77746" y="114056"/>
                </a:cubicBezTo>
                <a:cubicBezTo>
                  <a:pt x="76056" y="114622"/>
                  <a:pt x="81126" y="114905"/>
                  <a:pt x="76056" y="114622"/>
                </a:cubicBezTo>
                <a:cubicBezTo>
                  <a:pt x="70985" y="113773"/>
                  <a:pt x="65915" y="113207"/>
                  <a:pt x="67605" y="113773"/>
                </a:cubicBezTo>
                <a:cubicBezTo>
                  <a:pt x="67605" y="114622"/>
                  <a:pt x="76056" y="114056"/>
                  <a:pt x="70985" y="114622"/>
                </a:cubicBezTo>
                <a:cubicBezTo>
                  <a:pt x="65915" y="114622"/>
                  <a:pt x="67605" y="114905"/>
                  <a:pt x="65915" y="114905"/>
                </a:cubicBezTo>
                <a:cubicBezTo>
                  <a:pt x="60845" y="114622"/>
                  <a:pt x="60845" y="114622"/>
                  <a:pt x="60845" y="114622"/>
                </a:cubicBezTo>
                <a:cubicBezTo>
                  <a:pt x="60845" y="114905"/>
                  <a:pt x="57464" y="114622"/>
                  <a:pt x="55774" y="114622"/>
                </a:cubicBezTo>
                <a:cubicBezTo>
                  <a:pt x="52394" y="114622"/>
                  <a:pt x="57464" y="114905"/>
                  <a:pt x="57464" y="114905"/>
                </a:cubicBezTo>
                <a:cubicBezTo>
                  <a:pt x="55774" y="115471"/>
                  <a:pt x="52394" y="114622"/>
                  <a:pt x="52394" y="114905"/>
                </a:cubicBezTo>
                <a:cubicBezTo>
                  <a:pt x="52394" y="115471"/>
                  <a:pt x="52394" y="115471"/>
                  <a:pt x="52394" y="115471"/>
                </a:cubicBezTo>
                <a:cubicBezTo>
                  <a:pt x="55774" y="116037"/>
                  <a:pt x="57464" y="115471"/>
                  <a:pt x="60845" y="115471"/>
                </a:cubicBezTo>
                <a:cubicBezTo>
                  <a:pt x="60845" y="116037"/>
                  <a:pt x="60845" y="114905"/>
                  <a:pt x="62535" y="114905"/>
                </a:cubicBezTo>
                <a:cubicBezTo>
                  <a:pt x="62535" y="114905"/>
                  <a:pt x="60845" y="115471"/>
                  <a:pt x="62535" y="115471"/>
                </a:cubicBezTo>
                <a:cubicBezTo>
                  <a:pt x="62535" y="116037"/>
                  <a:pt x="67605" y="114905"/>
                  <a:pt x="65915" y="115471"/>
                </a:cubicBezTo>
                <a:cubicBezTo>
                  <a:pt x="65915" y="116320"/>
                  <a:pt x="65915" y="116037"/>
                  <a:pt x="67605" y="116037"/>
                </a:cubicBezTo>
                <a:cubicBezTo>
                  <a:pt x="67605" y="116037"/>
                  <a:pt x="67605" y="116320"/>
                  <a:pt x="70985" y="116037"/>
                </a:cubicBezTo>
                <a:cubicBezTo>
                  <a:pt x="72676" y="116037"/>
                  <a:pt x="76056" y="116320"/>
                  <a:pt x="76056" y="116320"/>
                </a:cubicBezTo>
                <a:cubicBezTo>
                  <a:pt x="77746" y="116037"/>
                  <a:pt x="77746" y="116320"/>
                  <a:pt x="81126" y="116320"/>
                </a:cubicBezTo>
                <a:cubicBezTo>
                  <a:pt x="81126" y="116037"/>
                  <a:pt x="82816" y="116320"/>
                  <a:pt x="82816" y="116037"/>
                </a:cubicBezTo>
                <a:cubicBezTo>
                  <a:pt x="82816" y="115471"/>
                  <a:pt x="82816" y="116320"/>
                  <a:pt x="86197" y="116320"/>
                </a:cubicBezTo>
                <a:cubicBezTo>
                  <a:pt x="94647" y="116320"/>
                  <a:pt x="96338" y="116886"/>
                  <a:pt x="96338" y="116320"/>
                </a:cubicBezTo>
                <a:cubicBezTo>
                  <a:pt x="96338" y="116037"/>
                  <a:pt x="96338" y="116320"/>
                  <a:pt x="99718" y="116320"/>
                </a:cubicBezTo>
                <a:close/>
                <a:moveTo>
                  <a:pt x="33802" y="82358"/>
                </a:moveTo>
                <a:cubicBezTo>
                  <a:pt x="33802" y="82358"/>
                  <a:pt x="32112" y="82358"/>
                  <a:pt x="33802" y="82924"/>
                </a:cubicBezTo>
                <a:cubicBezTo>
                  <a:pt x="37183" y="82924"/>
                  <a:pt x="38873" y="82358"/>
                  <a:pt x="38873" y="82358"/>
                </a:cubicBezTo>
                <a:cubicBezTo>
                  <a:pt x="42253" y="82075"/>
                  <a:pt x="38873" y="82075"/>
                  <a:pt x="38873" y="82075"/>
                </a:cubicBezTo>
                <a:cubicBezTo>
                  <a:pt x="42253" y="82075"/>
                  <a:pt x="43943" y="81509"/>
                  <a:pt x="38873" y="81226"/>
                </a:cubicBezTo>
                <a:cubicBezTo>
                  <a:pt x="37183" y="80660"/>
                  <a:pt x="38873" y="81226"/>
                  <a:pt x="37183" y="81226"/>
                </a:cubicBezTo>
                <a:cubicBezTo>
                  <a:pt x="37183" y="81226"/>
                  <a:pt x="33802" y="81226"/>
                  <a:pt x="33802" y="81509"/>
                </a:cubicBezTo>
                <a:cubicBezTo>
                  <a:pt x="37183" y="82075"/>
                  <a:pt x="33802" y="81509"/>
                  <a:pt x="32112" y="82075"/>
                </a:cubicBezTo>
                <a:cubicBezTo>
                  <a:pt x="32112" y="82075"/>
                  <a:pt x="32112" y="82075"/>
                  <a:pt x="33802" y="82358"/>
                </a:cubicBezTo>
                <a:close/>
                <a:moveTo>
                  <a:pt x="72676" y="113773"/>
                </a:moveTo>
                <a:cubicBezTo>
                  <a:pt x="70985" y="113207"/>
                  <a:pt x="70985" y="113207"/>
                  <a:pt x="72676" y="113207"/>
                </a:cubicBezTo>
                <a:cubicBezTo>
                  <a:pt x="76056" y="113773"/>
                  <a:pt x="76056" y="113773"/>
                  <a:pt x="72676" y="113207"/>
                </a:cubicBezTo>
                <a:cubicBezTo>
                  <a:pt x="72676" y="112924"/>
                  <a:pt x="72676" y="112358"/>
                  <a:pt x="72676" y="112075"/>
                </a:cubicBezTo>
                <a:cubicBezTo>
                  <a:pt x="72676" y="111509"/>
                  <a:pt x="70985" y="112075"/>
                  <a:pt x="70985" y="112358"/>
                </a:cubicBezTo>
                <a:cubicBezTo>
                  <a:pt x="70985" y="112924"/>
                  <a:pt x="67605" y="112358"/>
                  <a:pt x="67605" y="112924"/>
                </a:cubicBezTo>
                <a:cubicBezTo>
                  <a:pt x="67605" y="113207"/>
                  <a:pt x="70985" y="113773"/>
                  <a:pt x="76056" y="114056"/>
                </a:cubicBezTo>
                <a:cubicBezTo>
                  <a:pt x="77746" y="114622"/>
                  <a:pt x="76056" y="114056"/>
                  <a:pt x="72676" y="113773"/>
                </a:cubicBezTo>
                <a:close/>
                <a:moveTo>
                  <a:pt x="65915" y="113773"/>
                </a:moveTo>
                <a:cubicBezTo>
                  <a:pt x="65915" y="113207"/>
                  <a:pt x="62535" y="113773"/>
                  <a:pt x="62535" y="113207"/>
                </a:cubicBezTo>
                <a:cubicBezTo>
                  <a:pt x="60845" y="112924"/>
                  <a:pt x="57464" y="112924"/>
                  <a:pt x="57464" y="113207"/>
                </a:cubicBezTo>
                <a:cubicBezTo>
                  <a:pt x="57464" y="113773"/>
                  <a:pt x="55774" y="114056"/>
                  <a:pt x="57464" y="114056"/>
                </a:cubicBezTo>
                <a:cubicBezTo>
                  <a:pt x="60845" y="114056"/>
                  <a:pt x="57464" y="113773"/>
                  <a:pt x="60845" y="114056"/>
                </a:cubicBezTo>
                <a:cubicBezTo>
                  <a:pt x="62535" y="114056"/>
                  <a:pt x="60845" y="114056"/>
                  <a:pt x="62535" y="114622"/>
                </a:cubicBezTo>
                <a:cubicBezTo>
                  <a:pt x="65915" y="114622"/>
                  <a:pt x="65915" y="114056"/>
                  <a:pt x="65915" y="113773"/>
                </a:cubicBezTo>
                <a:close/>
                <a:moveTo>
                  <a:pt x="21971" y="75000"/>
                </a:moveTo>
                <a:cubicBezTo>
                  <a:pt x="21971" y="75283"/>
                  <a:pt x="23661" y="75283"/>
                  <a:pt x="21971" y="76698"/>
                </a:cubicBezTo>
                <a:cubicBezTo>
                  <a:pt x="18591" y="78113"/>
                  <a:pt x="21971" y="77547"/>
                  <a:pt x="27042" y="78113"/>
                </a:cubicBezTo>
                <a:cubicBezTo>
                  <a:pt x="33802" y="78113"/>
                  <a:pt x="27042" y="77264"/>
                  <a:pt x="28732" y="77264"/>
                </a:cubicBezTo>
                <a:cubicBezTo>
                  <a:pt x="33802" y="77264"/>
                  <a:pt x="28732" y="76415"/>
                  <a:pt x="32112" y="76415"/>
                </a:cubicBezTo>
                <a:cubicBezTo>
                  <a:pt x="33802" y="76415"/>
                  <a:pt x="33802" y="76415"/>
                  <a:pt x="28732" y="75283"/>
                </a:cubicBezTo>
                <a:cubicBezTo>
                  <a:pt x="27042" y="75000"/>
                  <a:pt x="32112" y="75283"/>
                  <a:pt x="28732" y="75000"/>
                </a:cubicBezTo>
                <a:cubicBezTo>
                  <a:pt x="28732" y="74433"/>
                  <a:pt x="28732" y="74433"/>
                  <a:pt x="32112" y="74433"/>
                </a:cubicBezTo>
                <a:cubicBezTo>
                  <a:pt x="37183" y="74433"/>
                  <a:pt x="33802" y="74150"/>
                  <a:pt x="32112" y="73584"/>
                </a:cubicBezTo>
                <a:cubicBezTo>
                  <a:pt x="32112" y="73301"/>
                  <a:pt x="32112" y="72735"/>
                  <a:pt x="28732" y="73301"/>
                </a:cubicBezTo>
                <a:cubicBezTo>
                  <a:pt x="23661" y="73301"/>
                  <a:pt x="28732" y="72735"/>
                  <a:pt x="27042" y="72735"/>
                </a:cubicBezTo>
                <a:cubicBezTo>
                  <a:pt x="23661" y="72735"/>
                  <a:pt x="23661" y="72735"/>
                  <a:pt x="23661" y="73301"/>
                </a:cubicBezTo>
                <a:cubicBezTo>
                  <a:pt x="27042" y="74150"/>
                  <a:pt x="23661" y="74150"/>
                  <a:pt x="21971" y="75000"/>
                </a:cubicBezTo>
                <a:close/>
                <a:moveTo>
                  <a:pt x="37183" y="79528"/>
                </a:moveTo>
                <a:cubicBezTo>
                  <a:pt x="37183" y="79528"/>
                  <a:pt x="37183" y="79811"/>
                  <a:pt x="33802" y="79811"/>
                </a:cubicBezTo>
                <a:cubicBezTo>
                  <a:pt x="33802" y="79811"/>
                  <a:pt x="33802" y="79528"/>
                  <a:pt x="37183" y="79528"/>
                </a:cubicBezTo>
                <a:close/>
                <a:moveTo>
                  <a:pt x="27042" y="79528"/>
                </a:moveTo>
                <a:cubicBezTo>
                  <a:pt x="28732" y="79528"/>
                  <a:pt x="28732" y="79528"/>
                  <a:pt x="28732" y="79528"/>
                </a:cubicBezTo>
                <a:cubicBezTo>
                  <a:pt x="27042" y="78962"/>
                  <a:pt x="27042" y="79528"/>
                  <a:pt x="23661" y="79528"/>
                </a:cubicBezTo>
                <a:cubicBezTo>
                  <a:pt x="23661" y="78962"/>
                  <a:pt x="21971" y="79528"/>
                  <a:pt x="23661" y="79528"/>
                </a:cubicBezTo>
                <a:cubicBezTo>
                  <a:pt x="27042" y="79811"/>
                  <a:pt x="27042" y="79811"/>
                  <a:pt x="27042" y="79528"/>
                </a:cubicBezTo>
                <a:close/>
                <a:moveTo>
                  <a:pt x="27042" y="83773"/>
                </a:moveTo>
                <a:cubicBezTo>
                  <a:pt x="27042" y="83773"/>
                  <a:pt x="27042" y="83773"/>
                  <a:pt x="28732" y="83773"/>
                </a:cubicBezTo>
                <a:cubicBezTo>
                  <a:pt x="28732" y="84339"/>
                  <a:pt x="28732" y="83773"/>
                  <a:pt x="28732" y="83207"/>
                </a:cubicBezTo>
                <a:cubicBezTo>
                  <a:pt x="27042" y="82924"/>
                  <a:pt x="27042" y="83207"/>
                  <a:pt x="23661" y="83207"/>
                </a:cubicBezTo>
                <a:cubicBezTo>
                  <a:pt x="21971" y="82924"/>
                  <a:pt x="21971" y="83207"/>
                  <a:pt x="23661" y="83773"/>
                </a:cubicBezTo>
                <a:cubicBezTo>
                  <a:pt x="23661" y="83773"/>
                  <a:pt x="23661" y="83773"/>
                  <a:pt x="27042" y="83773"/>
                </a:cubicBezTo>
                <a:close/>
                <a:moveTo>
                  <a:pt x="27042" y="82924"/>
                </a:moveTo>
                <a:cubicBezTo>
                  <a:pt x="27042" y="82924"/>
                  <a:pt x="27042" y="82924"/>
                  <a:pt x="23661" y="82358"/>
                </a:cubicBezTo>
                <a:cubicBezTo>
                  <a:pt x="21971" y="82358"/>
                  <a:pt x="21971" y="82924"/>
                  <a:pt x="21971" y="82924"/>
                </a:cubicBezTo>
                <a:cubicBezTo>
                  <a:pt x="18591" y="83207"/>
                  <a:pt x="21971" y="82924"/>
                  <a:pt x="27042" y="82924"/>
                </a:cubicBezTo>
                <a:close/>
                <a:moveTo>
                  <a:pt x="23661" y="82075"/>
                </a:moveTo>
                <a:cubicBezTo>
                  <a:pt x="27042" y="82075"/>
                  <a:pt x="27042" y="82075"/>
                  <a:pt x="27042" y="82075"/>
                </a:cubicBezTo>
                <a:cubicBezTo>
                  <a:pt x="27042" y="81509"/>
                  <a:pt x="23661" y="81509"/>
                  <a:pt x="21971" y="82075"/>
                </a:cubicBezTo>
                <a:cubicBezTo>
                  <a:pt x="18591" y="82075"/>
                  <a:pt x="21971" y="82075"/>
                  <a:pt x="21971" y="82358"/>
                </a:cubicBezTo>
                <a:cubicBezTo>
                  <a:pt x="21971" y="82358"/>
                  <a:pt x="23661" y="82358"/>
                  <a:pt x="23661" y="82075"/>
                </a:cubicBezTo>
                <a:close/>
                <a:moveTo>
                  <a:pt x="28732" y="82075"/>
                </a:moveTo>
                <a:cubicBezTo>
                  <a:pt x="32112" y="82075"/>
                  <a:pt x="32112" y="81509"/>
                  <a:pt x="28732" y="81509"/>
                </a:cubicBezTo>
                <a:cubicBezTo>
                  <a:pt x="27042" y="81509"/>
                  <a:pt x="28732" y="81509"/>
                  <a:pt x="28732" y="82075"/>
                </a:cubicBezTo>
                <a:cubicBezTo>
                  <a:pt x="28732" y="82075"/>
                  <a:pt x="28732" y="82075"/>
                  <a:pt x="28732" y="82075"/>
                </a:cubicBezTo>
                <a:close/>
                <a:moveTo>
                  <a:pt x="32112" y="85188"/>
                </a:moveTo>
                <a:cubicBezTo>
                  <a:pt x="32112" y="84622"/>
                  <a:pt x="32112" y="84622"/>
                  <a:pt x="28732" y="84622"/>
                </a:cubicBezTo>
                <a:cubicBezTo>
                  <a:pt x="28732" y="84622"/>
                  <a:pt x="27042" y="85188"/>
                  <a:pt x="28732" y="85471"/>
                </a:cubicBezTo>
                <a:cubicBezTo>
                  <a:pt x="28732" y="85471"/>
                  <a:pt x="32112" y="85471"/>
                  <a:pt x="32112" y="85188"/>
                </a:cubicBezTo>
                <a:close/>
                <a:moveTo>
                  <a:pt x="21971" y="85188"/>
                </a:moveTo>
                <a:cubicBezTo>
                  <a:pt x="23661" y="85188"/>
                  <a:pt x="21971" y="84622"/>
                  <a:pt x="21971" y="84622"/>
                </a:cubicBezTo>
                <a:cubicBezTo>
                  <a:pt x="18591" y="84339"/>
                  <a:pt x="18591" y="84622"/>
                  <a:pt x="18591" y="85188"/>
                </a:cubicBezTo>
                <a:cubicBezTo>
                  <a:pt x="21971" y="85188"/>
                  <a:pt x="18591" y="85471"/>
                  <a:pt x="21971" y="85471"/>
                </a:cubicBezTo>
                <a:cubicBezTo>
                  <a:pt x="21971" y="85188"/>
                  <a:pt x="21971" y="85188"/>
                  <a:pt x="21971" y="85188"/>
                </a:cubicBezTo>
                <a:close/>
                <a:moveTo>
                  <a:pt x="23661" y="85188"/>
                </a:moveTo>
                <a:cubicBezTo>
                  <a:pt x="23661" y="85188"/>
                  <a:pt x="27042" y="84622"/>
                  <a:pt x="27042" y="85188"/>
                </a:cubicBezTo>
                <a:cubicBezTo>
                  <a:pt x="27042" y="85188"/>
                  <a:pt x="27042" y="85471"/>
                  <a:pt x="23661" y="85188"/>
                </a:cubicBezTo>
                <a:close/>
                <a:moveTo>
                  <a:pt x="28732" y="86037"/>
                </a:moveTo>
                <a:cubicBezTo>
                  <a:pt x="28732" y="86037"/>
                  <a:pt x="28732" y="86037"/>
                  <a:pt x="28732" y="85471"/>
                </a:cubicBezTo>
                <a:cubicBezTo>
                  <a:pt x="28732" y="85471"/>
                  <a:pt x="27042" y="85471"/>
                  <a:pt x="27042" y="86037"/>
                </a:cubicBezTo>
                <a:cubicBezTo>
                  <a:pt x="27042" y="86320"/>
                  <a:pt x="27042" y="86320"/>
                  <a:pt x="28732" y="86037"/>
                </a:cubicBezTo>
                <a:close/>
                <a:moveTo>
                  <a:pt x="10140" y="86320"/>
                </a:moveTo>
                <a:cubicBezTo>
                  <a:pt x="10140" y="86320"/>
                  <a:pt x="10140" y="86320"/>
                  <a:pt x="10140" y="86320"/>
                </a:cubicBezTo>
                <a:cubicBezTo>
                  <a:pt x="10140" y="86886"/>
                  <a:pt x="13521" y="86886"/>
                  <a:pt x="13521" y="86320"/>
                </a:cubicBezTo>
                <a:cubicBezTo>
                  <a:pt x="16901" y="86320"/>
                  <a:pt x="16901" y="86037"/>
                  <a:pt x="13521" y="85471"/>
                </a:cubicBezTo>
                <a:cubicBezTo>
                  <a:pt x="13521" y="85471"/>
                  <a:pt x="13521" y="85471"/>
                  <a:pt x="10140" y="86037"/>
                </a:cubicBezTo>
                <a:cubicBezTo>
                  <a:pt x="10140" y="86037"/>
                  <a:pt x="10140" y="86037"/>
                  <a:pt x="10140" y="86320"/>
                </a:cubicBezTo>
                <a:close/>
                <a:moveTo>
                  <a:pt x="21971" y="81226"/>
                </a:moveTo>
                <a:cubicBezTo>
                  <a:pt x="21971" y="81226"/>
                  <a:pt x="21971" y="81226"/>
                  <a:pt x="18591" y="81226"/>
                </a:cubicBezTo>
                <a:cubicBezTo>
                  <a:pt x="18591" y="81509"/>
                  <a:pt x="18591" y="81509"/>
                  <a:pt x="18591" y="81509"/>
                </a:cubicBezTo>
                <a:cubicBezTo>
                  <a:pt x="21971" y="81509"/>
                  <a:pt x="21971" y="81226"/>
                  <a:pt x="21971" y="81226"/>
                </a:cubicBezTo>
                <a:close/>
                <a:moveTo>
                  <a:pt x="23661" y="81509"/>
                </a:moveTo>
                <a:cubicBezTo>
                  <a:pt x="27042" y="81509"/>
                  <a:pt x="27042" y="81509"/>
                  <a:pt x="27042" y="81509"/>
                </a:cubicBezTo>
                <a:cubicBezTo>
                  <a:pt x="27042" y="81226"/>
                  <a:pt x="23661" y="81509"/>
                  <a:pt x="21971" y="81509"/>
                </a:cubicBezTo>
                <a:cubicBezTo>
                  <a:pt x="21971" y="81509"/>
                  <a:pt x="21971" y="81509"/>
                  <a:pt x="23661" y="81509"/>
                </a:cubicBezTo>
                <a:close/>
                <a:moveTo>
                  <a:pt x="23661" y="80660"/>
                </a:moveTo>
                <a:cubicBezTo>
                  <a:pt x="23661" y="80377"/>
                  <a:pt x="23661" y="80377"/>
                  <a:pt x="27042" y="80377"/>
                </a:cubicBezTo>
                <a:cubicBezTo>
                  <a:pt x="27042" y="80660"/>
                  <a:pt x="23661" y="81226"/>
                  <a:pt x="23661" y="80660"/>
                </a:cubicBezTo>
                <a:close/>
                <a:moveTo>
                  <a:pt x="32112" y="80377"/>
                </a:moveTo>
                <a:cubicBezTo>
                  <a:pt x="28732" y="80377"/>
                  <a:pt x="28732" y="79811"/>
                  <a:pt x="28732" y="79811"/>
                </a:cubicBezTo>
                <a:cubicBezTo>
                  <a:pt x="28732" y="79528"/>
                  <a:pt x="32112" y="80377"/>
                  <a:pt x="32112" y="80377"/>
                </a:cubicBezTo>
                <a:close/>
                <a:moveTo>
                  <a:pt x="13521" y="78396"/>
                </a:moveTo>
                <a:cubicBezTo>
                  <a:pt x="13521" y="78396"/>
                  <a:pt x="16901" y="78113"/>
                  <a:pt x="16901" y="78396"/>
                </a:cubicBezTo>
                <a:cubicBezTo>
                  <a:pt x="18591" y="78396"/>
                  <a:pt x="13521" y="78962"/>
                  <a:pt x="13521" y="78396"/>
                </a:cubicBezTo>
                <a:close/>
                <a:moveTo>
                  <a:pt x="16901" y="85471"/>
                </a:moveTo>
                <a:cubicBezTo>
                  <a:pt x="16901" y="85188"/>
                  <a:pt x="16901" y="85188"/>
                  <a:pt x="16901" y="85188"/>
                </a:cubicBezTo>
                <a:cubicBezTo>
                  <a:pt x="18591" y="85188"/>
                  <a:pt x="18591" y="85471"/>
                  <a:pt x="16901" y="85471"/>
                </a:cubicBezTo>
                <a:close/>
                <a:moveTo>
                  <a:pt x="27042" y="84622"/>
                </a:moveTo>
                <a:cubicBezTo>
                  <a:pt x="27042" y="84622"/>
                  <a:pt x="23661" y="84339"/>
                  <a:pt x="23661" y="84622"/>
                </a:cubicBezTo>
                <a:cubicBezTo>
                  <a:pt x="23661" y="84622"/>
                  <a:pt x="23661" y="84622"/>
                  <a:pt x="27042" y="84622"/>
                </a:cubicBezTo>
                <a:cubicBezTo>
                  <a:pt x="27042" y="84622"/>
                  <a:pt x="28732" y="84622"/>
                  <a:pt x="27042" y="84622"/>
                </a:cubicBezTo>
                <a:close/>
                <a:moveTo>
                  <a:pt x="28732" y="82924"/>
                </a:moveTo>
                <a:cubicBezTo>
                  <a:pt x="27042" y="82924"/>
                  <a:pt x="27042" y="82358"/>
                  <a:pt x="27042" y="82358"/>
                </a:cubicBezTo>
                <a:cubicBezTo>
                  <a:pt x="28732" y="82358"/>
                  <a:pt x="28732" y="82924"/>
                  <a:pt x="28732" y="82924"/>
                </a:cubicBezTo>
                <a:close/>
                <a:moveTo>
                  <a:pt x="86197" y="118018"/>
                </a:moveTo>
                <a:cubicBezTo>
                  <a:pt x="89577" y="118018"/>
                  <a:pt x="89577" y="118584"/>
                  <a:pt x="91267" y="118584"/>
                </a:cubicBezTo>
                <a:cubicBezTo>
                  <a:pt x="94647" y="118584"/>
                  <a:pt x="91267" y="118584"/>
                  <a:pt x="89577" y="118018"/>
                </a:cubicBezTo>
                <a:cubicBezTo>
                  <a:pt x="86197" y="117735"/>
                  <a:pt x="89577" y="117735"/>
                  <a:pt x="91267" y="117735"/>
                </a:cubicBezTo>
                <a:cubicBezTo>
                  <a:pt x="94647" y="117735"/>
                  <a:pt x="96338" y="117735"/>
                  <a:pt x="94647" y="117735"/>
                </a:cubicBezTo>
                <a:cubicBezTo>
                  <a:pt x="94647" y="118018"/>
                  <a:pt x="94647" y="118018"/>
                  <a:pt x="94647" y="118584"/>
                </a:cubicBezTo>
                <a:cubicBezTo>
                  <a:pt x="96338" y="119150"/>
                  <a:pt x="96338" y="118018"/>
                  <a:pt x="99718" y="118584"/>
                </a:cubicBezTo>
                <a:cubicBezTo>
                  <a:pt x="99718" y="119150"/>
                  <a:pt x="101408" y="118584"/>
                  <a:pt x="101408" y="119150"/>
                </a:cubicBezTo>
                <a:cubicBezTo>
                  <a:pt x="104788" y="119433"/>
                  <a:pt x="104788" y="119150"/>
                  <a:pt x="104788" y="119433"/>
                </a:cubicBezTo>
                <a:cubicBezTo>
                  <a:pt x="106478" y="120000"/>
                  <a:pt x="106478" y="119150"/>
                  <a:pt x="106478" y="119150"/>
                </a:cubicBezTo>
                <a:cubicBezTo>
                  <a:pt x="104788" y="118584"/>
                  <a:pt x="106478" y="118584"/>
                  <a:pt x="101408" y="118018"/>
                </a:cubicBezTo>
                <a:cubicBezTo>
                  <a:pt x="96338" y="117735"/>
                  <a:pt x="104788" y="118018"/>
                  <a:pt x="101408" y="117735"/>
                </a:cubicBezTo>
                <a:cubicBezTo>
                  <a:pt x="101408" y="117735"/>
                  <a:pt x="101408" y="117735"/>
                  <a:pt x="99718" y="117735"/>
                </a:cubicBezTo>
                <a:cubicBezTo>
                  <a:pt x="96338" y="117169"/>
                  <a:pt x="96338" y="117169"/>
                  <a:pt x="99718" y="117169"/>
                </a:cubicBezTo>
                <a:cubicBezTo>
                  <a:pt x="101408" y="117169"/>
                  <a:pt x="101408" y="116886"/>
                  <a:pt x="101408" y="116886"/>
                </a:cubicBezTo>
                <a:cubicBezTo>
                  <a:pt x="99718" y="116320"/>
                  <a:pt x="94647" y="116886"/>
                  <a:pt x="91267" y="116886"/>
                </a:cubicBezTo>
                <a:cubicBezTo>
                  <a:pt x="89577" y="116886"/>
                  <a:pt x="86197" y="116886"/>
                  <a:pt x="81126" y="117169"/>
                </a:cubicBezTo>
                <a:cubicBezTo>
                  <a:pt x="77746" y="117169"/>
                  <a:pt x="81126" y="117169"/>
                  <a:pt x="82816" y="117735"/>
                </a:cubicBezTo>
                <a:cubicBezTo>
                  <a:pt x="86197" y="118018"/>
                  <a:pt x="77746" y="117735"/>
                  <a:pt x="86197" y="118018"/>
                </a:cubicBezTo>
                <a:close/>
                <a:moveTo>
                  <a:pt x="86197" y="116886"/>
                </a:moveTo>
                <a:cubicBezTo>
                  <a:pt x="91267" y="116320"/>
                  <a:pt x="89577" y="116886"/>
                  <a:pt x="86197" y="116320"/>
                </a:cubicBezTo>
                <a:cubicBezTo>
                  <a:pt x="81126" y="116320"/>
                  <a:pt x="81126" y="116320"/>
                  <a:pt x="77746" y="116886"/>
                </a:cubicBezTo>
                <a:cubicBezTo>
                  <a:pt x="76056" y="116886"/>
                  <a:pt x="77746" y="116886"/>
                  <a:pt x="81126" y="116886"/>
                </a:cubicBezTo>
                <a:cubicBezTo>
                  <a:pt x="81126" y="116886"/>
                  <a:pt x="81126" y="116886"/>
                  <a:pt x="86197" y="116886"/>
                </a:cubicBezTo>
                <a:close/>
                <a:moveTo>
                  <a:pt x="72676" y="116886"/>
                </a:moveTo>
                <a:cubicBezTo>
                  <a:pt x="72676" y="116886"/>
                  <a:pt x="70985" y="116886"/>
                  <a:pt x="72676" y="116886"/>
                </a:cubicBezTo>
                <a:cubicBezTo>
                  <a:pt x="77746" y="116886"/>
                  <a:pt x="76056" y="116320"/>
                  <a:pt x="72676" y="116320"/>
                </a:cubicBezTo>
                <a:cubicBezTo>
                  <a:pt x="70985" y="116320"/>
                  <a:pt x="70985" y="116886"/>
                  <a:pt x="67605" y="116886"/>
                </a:cubicBezTo>
                <a:cubicBezTo>
                  <a:pt x="65915" y="116886"/>
                  <a:pt x="65915" y="116886"/>
                  <a:pt x="65915" y="116886"/>
                </a:cubicBezTo>
                <a:cubicBezTo>
                  <a:pt x="65915" y="117169"/>
                  <a:pt x="67605" y="117169"/>
                  <a:pt x="70985" y="117169"/>
                </a:cubicBezTo>
                <a:cubicBezTo>
                  <a:pt x="72676" y="117169"/>
                  <a:pt x="70985" y="117735"/>
                  <a:pt x="72676" y="117735"/>
                </a:cubicBezTo>
                <a:cubicBezTo>
                  <a:pt x="76056" y="117169"/>
                  <a:pt x="76056" y="116886"/>
                  <a:pt x="72676" y="116886"/>
                </a:cubicBezTo>
                <a:close/>
                <a:moveTo>
                  <a:pt x="65915" y="116320"/>
                </a:moveTo>
                <a:cubicBezTo>
                  <a:pt x="65915" y="116320"/>
                  <a:pt x="62535" y="116037"/>
                  <a:pt x="60845" y="116320"/>
                </a:cubicBezTo>
                <a:cubicBezTo>
                  <a:pt x="60845" y="116320"/>
                  <a:pt x="60845" y="116886"/>
                  <a:pt x="62535" y="116320"/>
                </a:cubicBezTo>
                <a:cubicBezTo>
                  <a:pt x="65915" y="116320"/>
                  <a:pt x="62535" y="116886"/>
                  <a:pt x="65915" y="116320"/>
                </a:cubicBezTo>
                <a:cubicBezTo>
                  <a:pt x="67605" y="116320"/>
                  <a:pt x="65915" y="116320"/>
                  <a:pt x="65915" y="116320"/>
                </a:cubicBezTo>
                <a:close/>
                <a:moveTo>
                  <a:pt x="109859" y="120000"/>
                </a:moveTo>
                <a:cubicBezTo>
                  <a:pt x="106478" y="119433"/>
                  <a:pt x="111549" y="119433"/>
                  <a:pt x="111549" y="119433"/>
                </a:cubicBezTo>
                <a:cubicBezTo>
                  <a:pt x="114929" y="120000"/>
                  <a:pt x="109859" y="120000"/>
                  <a:pt x="109859" y="120000"/>
                </a:cubicBezTo>
                <a:close/>
                <a:moveTo>
                  <a:pt x="114929" y="119150"/>
                </a:moveTo>
                <a:cubicBezTo>
                  <a:pt x="114929" y="119150"/>
                  <a:pt x="114929" y="118584"/>
                  <a:pt x="114929" y="119150"/>
                </a:cubicBezTo>
                <a:cubicBezTo>
                  <a:pt x="114929" y="119433"/>
                  <a:pt x="111549" y="119150"/>
                  <a:pt x="111549" y="119150"/>
                </a:cubicBezTo>
                <a:cubicBezTo>
                  <a:pt x="111549" y="119433"/>
                  <a:pt x="111549" y="119433"/>
                  <a:pt x="114929" y="119433"/>
                </a:cubicBezTo>
                <a:cubicBezTo>
                  <a:pt x="116619" y="119433"/>
                  <a:pt x="116619" y="119433"/>
                  <a:pt x="114929" y="119150"/>
                </a:cubicBezTo>
                <a:close/>
                <a:moveTo>
                  <a:pt x="55774" y="114056"/>
                </a:moveTo>
                <a:cubicBezTo>
                  <a:pt x="55774" y="113773"/>
                  <a:pt x="57464" y="113773"/>
                  <a:pt x="57464" y="113773"/>
                </a:cubicBezTo>
                <a:cubicBezTo>
                  <a:pt x="55774" y="113207"/>
                  <a:pt x="57464" y="112924"/>
                  <a:pt x="55774" y="112924"/>
                </a:cubicBezTo>
                <a:cubicBezTo>
                  <a:pt x="52394" y="112924"/>
                  <a:pt x="52394" y="112924"/>
                  <a:pt x="52394" y="112924"/>
                </a:cubicBezTo>
                <a:cubicBezTo>
                  <a:pt x="52394" y="113207"/>
                  <a:pt x="49014" y="112924"/>
                  <a:pt x="49014" y="112924"/>
                </a:cubicBezTo>
                <a:cubicBezTo>
                  <a:pt x="47323" y="113207"/>
                  <a:pt x="49014" y="113207"/>
                  <a:pt x="49014" y="113773"/>
                </a:cubicBezTo>
                <a:cubicBezTo>
                  <a:pt x="52394" y="113773"/>
                  <a:pt x="55774" y="113773"/>
                  <a:pt x="52394" y="114056"/>
                </a:cubicBezTo>
                <a:cubicBezTo>
                  <a:pt x="52394" y="114622"/>
                  <a:pt x="55774" y="114622"/>
                  <a:pt x="55774" y="114056"/>
                </a:cubicBezTo>
                <a:cubicBezTo>
                  <a:pt x="55774" y="114056"/>
                  <a:pt x="55774" y="114056"/>
                  <a:pt x="55774" y="114056"/>
                </a:cubicBezTo>
                <a:close/>
                <a:moveTo>
                  <a:pt x="37183" y="106698"/>
                </a:moveTo>
                <a:cubicBezTo>
                  <a:pt x="37183" y="106132"/>
                  <a:pt x="38873" y="105849"/>
                  <a:pt x="38873" y="105849"/>
                </a:cubicBezTo>
                <a:cubicBezTo>
                  <a:pt x="42253" y="105849"/>
                  <a:pt x="38873" y="106698"/>
                  <a:pt x="37183" y="106698"/>
                </a:cubicBezTo>
                <a:close/>
                <a:moveTo>
                  <a:pt x="47323" y="113207"/>
                </a:moveTo>
                <a:cubicBezTo>
                  <a:pt x="47323" y="113773"/>
                  <a:pt x="47323" y="113773"/>
                  <a:pt x="47323" y="113207"/>
                </a:cubicBezTo>
                <a:cubicBezTo>
                  <a:pt x="47323" y="112924"/>
                  <a:pt x="52394" y="112924"/>
                  <a:pt x="49014" y="112358"/>
                </a:cubicBezTo>
                <a:cubicBezTo>
                  <a:pt x="49014" y="112358"/>
                  <a:pt x="47323" y="112358"/>
                  <a:pt x="47323" y="112075"/>
                </a:cubicBezTo>
                <a:cubicBezTo>
                  <a:pt x="47323" y="112075"/>
                  <a:pt x="43943" y="111509"/>
                  <a:pt x="42253" y="112075"/>
                </a:cubicBezTo>
                <a:cubicBezTo>
                  <a:pt x="42253" y="112075"/>
                  <a:pt x="42253" y="111509"/>
                  <a:pt x="42253" y="112075"/>
                </a:cubicBezTo>
                <a:cubicBezTo>
                  <a:pt x="38873" y="112075"/>
                  <a:pt x="42253" y="111509"/>
                  <a:pt x="38873" y="111226"/>
                </a:cubicBezTo>
                <a:cubicBezTo>
                  <a:pt x="37183" y="111226"/>
                  <a:pt x="38873" y="111509"/>
                  <a:pt x="33802" y="111509"/>
                </a:cubicBezTo>
                <a:cubicBezTo>
                  <a:pt x="32112" y="111226"/>
                  <a:pt x="37183" y="112075"/>
                  <a:pt x="33802" y="112075"/>
                </a:cubicBezTo>
                <a:cubicBezTo>
                  <a:pt x="32112" y="112075"/>
                  <a:pt x="32112" y="111509"/>
                  <a:pt x="32112" y="112075"/>
                </a:cubicBezTo>
                <a:cubicBezTo>
                  <a:pt x="28732" y="112358"/>
                  <a:pt x="32112" y="112075"/>
                  <a:pt x="32112" y="112358"/>
                </a:cubicBezTo>
                <a:cubicBezTo>
                  <a:pt x="32112" y="112924"/>
                  <a:pt x="33802" y="112075"/>
                  <a:pt x="33802" y="112358"/>
                </a:cubicBezTo>
                <a:cubicBezTo>
                  <a:pt x="37183" y="112924"/>
                  <a:pt x="33802" y="113207"/>
                  <a:pt x="37183" y="113207"/>
                </a:cubicBezTo>
                <a:cubicBezTo>
                  <a:pt x="38873" y="113773"/>
                  <a:pt x="37183" y="112358"/>
                  <a:pt x="38873" y="112924"/>
                </a:cubicBezTo>
                <a:cubicBezTo>
                  <a:pt x="38873" y="113207"/>
                  <a:pt x="42253" y="112358"/>
                  <a:pt x="42253" y="112924"/>
                </a:cubicBezTo>
                <a:cubicBezTo>
                  <a:pt x="42253" y="113773"/>
                  <a:pt x="37183" y="113773"/>
                  <a:pt x="38873" y="113773"/>
                </a:cubicBezTo>
                <a:cubicBezTo>
                  <a:pt x="42253" y="113773"/>
                  <a:pt x="42253" y="113207"/>
                  <a:pt x="43943" y="113773"/>
                </a:cubicBezTo>
                <a:cubicBezTo>
                  <a:pt x="43943" y="113773"/>
                  <a:pt x="43943" y="113207"/>
                  <a:pt x="47323" y="113207"/>
                </a:cubicBezTo>
                <a:close/>
                <a:moveTo>
                  <a:pt x="49014" y="114056"/>
                </a:moveTo>
                <a:cubicBezTo>
                  <a:pt x="49014" y="113773"/>
                  <a:pt x="49014" y="113207"/>
                  <a:pt x="47323" y="113773"/>
                </a:cubicBezTo>
                <a:cubicBezTo>
                  <a:pt x="47323" y="114056"/>
                  <a:pt x="43943" y="113773"/>
                  <a:pt x="47323" y="114056"/>
                </a:cubicBezTo>
                <a:cubicBezTo>
                  <a:pt x="47323" y="114056"/>
                  <a:pt x="47323" y="114056"/>
                  <a:pt x="49014" y="114056"/>
                </a:cubicBezTo>
                <a:close/>
                <a:moveTo>
                  <a:pt x="23661" y="110660"/>
                </a:moveTo>
                <a:cubicBezTo>
                  <a:pt x="27042" y="110660"/>
                  <a:pt x="23661" y="111226"/>
                  <a:pt x="21971" y="111226"/>
                </a:cubicBezTo>
                <a:cubicBezTo>
                  <a:pt x="21971" y="110660"/>
                  <a:pt x="23661" y="110660"/>
                  <a:pt x="23661" y="110660"/>
                </a:cubicBezTo>
                <a:close/>
                <a:moveTo>
                  <a:pt x="28732" y="108396"/>
                </a:moveTo>
                <a:cubicBezTo>
                  <a:pt x="28732" y="108113"/>
                  <a:pt x="28732" y="108113"/>
                  <a:pt x="28732" y="108113"/>
                </a:cubicBezTo>
                <a:cubicBezTo>
                  <a:pt x="28732" y="107547"/>
                  <a:pt x="28732" y="108113"/>
                  <a:pt x="27042" y="108113"/>
                </a:cubicBezTo>
                <a:cubicBezTo>
                  <a:pt x="23661" y="108396"/>
                  <a:pt x="27042" y="108396"/>
                  <a:pt x="27042" y="108962"/>
                </a:cubicBezTo>
                <a:cubicBezTo>
                  <a:pt x="27042" y="108962"/>
                  <a:pt x="28732" y="108962"/>
                  <a:pt x="28732" y="108396"/>
                </a:cubicBezTo>
                <a:close/>
                <a:moveTo>
                  <a:pt x="27042" y="110660"/>
                </a:moveTo>
                <a:cubicBezTo>
                  <a:pt x="28732" y="110660"/>
                  <a:pt x="28732" y="110094"/>
                  <a:pt x="32112" y="110660"/>
                </a:cubicBezTo>
                <a:cubicBezTo>
                  <a:pt x="32112" y="110660"/>
                  <a:pt x="28732" y="110660"/>
                  <a:pt x="32112" y="111226"/>
                </a:cubicBezTo>
                <a:cubicBezTo>
                  <a:pt x="32112" y="111226"/>
                  <a:pt x="32112" y="110660"/>
                  <a:pt x="33802" y="111226"/>
                </a:cubicBezTo>
                <a:cubicBezTo>
                  <a:pt x="37183" y="111226"/>
                  <a:pt x="37183" y="111226"/>
                  <a:pt x="37183" y="110660"/>
                </a:cubicBezTo>
                <a:cubicBezTo>
                  <a:pt x="33802" y="110660"/>
                  <a:pt x="33802" y="110094"/>
                  <a:pt x="32112" y="110094"/>
                </a:cubicBezTo>
                <a:cubicBezTo>
                  <a:pt x="32112" y="110094"/>
                  <a:pt x="32112" y="109811"/>
                  <a:pt x="28732" y="110094"/>
                </a:cubicBezTo>
                <a:cubicBezTo>
                  <a:pt x="28732" y="110094"/>
                  <a:pt x="28732" y="109811"/>
                  <a:pt x="27042" y="109811"/>
                </a:cubicBezTo>
                <a:cubicBezTo>
                  <a:pt x="23661" y="109811"/>
                  <a:pt x="21971" y="109811"/>
                  <a:pt x="18591" y="109245"/>
                </a:cubicBezTo>
                <a:cubicBezTo>
                  <a:pt x="16901" y="108962"/>
                  <a:pt x="13521" y="108962"/>
                  <a:pt x="16901" y="109245"/>
                </a:cubicBezTo>
                <a:cubicBezTo>
                  <a:pt x="18591" y="109245"/>
                  <a:pt x="16901" y="109245"/>
                  <a:pt x="18591" y="109811"/>
                </a:cubicBezTo>
                <a:cubicBezTo>
                  <a:pt x="21971" y="109811"/>
                  <a:pt x="18591" y="110094"/>
                  <a:pt x="23661" y="110094"/>
                </a:cubicBezTo>
                <a:cubicBezTo>
                  <a:pt x="23661" y="110094"/>
                  <a:pt x="27042" y="110094"/>
                  <a:pt x="27042" y="110660"/>
                </a:cubicBezTo>
                <a:close/>
                <a:moveTo>
                  <a:pt x="23661" y="105000"/>
                </a:moveTo>
                <a:cubicBezTo>
                  <a:pt x="23661" y="104433"/>
                  <a:pt x="23661" y="105000"/>
                  <a:pt x="23661" y="105283"/>
                </a:cubicBezTo>
                <a:cubicBezTo>
                  <a:pt x="21971" y="105283"/>
                  <a:pt x="23661" y="105849"/>
                  <a:pt x="27042" y="105849"/>
                </a:cubicBezTo>
                <a:cubicBezTo>
                  <a:pt x="27042" y="105283"/>
                  <a:pt x="27042" y="105000"/>
                  <a:pt x="23661" y="105000"/>
                </a:cubicBezTo>
                <a:close/>
                <a:moveTo>
                  <a:pt x="13521" y="106132"/>
                </a:moveTo>
                <a:cubicBezTo>
                  <a:pt x="13521" y="105849"/>
                  <a:pt x="16901" y="105849"/>
                  <a:pt x="16901" y="105283"/>
                </a:cubicBezTo>
                <a:cubicBezTo>
                  <a:pt x="13521" y="105000"/>
                  <a:pt x="13521" y="105000"/>
                  <a:pt x="13521" y="105283"/>
                </a:cubicBezTo>
                <a:cubicBezTo>
                  <a:pt x="13521" y="105849"/>
                  <a:pt x="13521" y="105849"/>
                  <a:pt x="13521" y="105283"/>
                </a:cubicBezTo>
                <a:cubicBezTo>
                  <a:pt x="10140" y="105283"/>
                  <a:pt x="10140" y="105849"/>
                  <a:pt x="10140" y="105849"/>
                </a:cubicBezTo>
                <a:cubicBezTo>
                  <a:pt x="13521" y="106132"/>
                  <a:pt x="10140" y="106132"/>
                  <a:pt x="10140" y="106698"/>
                </a:cubicBezTo>
                <a:cubicBezTo>
                  <a:pt x="10140" y="106698"/>
                  <a:pt x="13521" y="106698"/>
                  <a:pt x="13521" y="106132"/>
                </a:cubicBezTo>
                <a:close/>
                <a:moveTo>
                  <a:pt x="21971" y="105849"/>
                </a:moveTo>
                <a:cubicBezTo>
                  <a:pt x="18591" y="105283"/>
                  <a:pt x="18591" y="105283"/>
                  <a:pt x="18591" y="105283"/>
                </a:cubicBezTo>
                <a:cubicBezTo>
                  <a:pt x="21971" y="105849"/>
                  <a:pt x="18591" y="105849"/>
                  <a:pt x="21971" y="106132"/>
                </a:cubicBezTo>
                <a:cubicBezTo>
                  <a:pt x="23661" y="106132"/>
                  <a:pt x="23661" y="105849"/>
                  <a:pt x="21971" y="105849"/>
                </a:cubicBezTo>
                <a:close/>
                <a:moveTo>
                  <a:pt x="27042" y="106698"/>
                </a:moveTo>
                <a:cubicBezTo>
                  <a:pt x="28732" y="107547"/>
                  <a:pt x="28732" y="106981"/>
                  <a:pt x="28732" y="106698"/>
                </a:cubicBezTo>
                <a:cubicBezTo>
                  <a:pt x="27042" y="106132"/>
                  <a:pt x="23661" y="105849"/>
                  <a:pt x="23661" y="106132"/>
                </a:cubicBezTo>
                <a:cubicBezTo>
                  <a:pt x="23661" y="106698"/>
                  <a:pt x="23661" y="106132"/>
                  <a:pt x="27042" y="106698"/>
                </a:cubicBezTo>
                <a:close/>
                <a:moveTo>
                  <a:pt x="27042" y="107547"/>
                </a:moveTo>
                <a:cubicBezTo>
                  <a:pt x="27042" y="107547"/>
                  <a:pt x="27042" y="106981"/>
                  <a:pt x="23661" y="106698"/>
                </a:cubicBezTo>
                <a:cubicBezTo>
                  <a:pt x="21971" y="106698"/>
                  <a:pt x="18591" y="106698"/>
                  <a:pt x="21971" y="106698"/>
                </a:cubicBezTo>
                <a:cubicBezTo>
                  <a:pt x="21971" y="106981"/>
                  <a:pt x="21971" y="106698"/>
                  <a:pt x="21971" y="106981"/>
                </a:cubicBezTo>
                <a:cubicBezTo>
                  <a:pt x="23661" y="106981"/>
                  <a:pt x="21971" y="106981"/>
                  <a:pt x="23661" y="107547"/>
                </a:cubicBezTo>
                <a:cubicBezTo>
                  <a:pt x="23661" y="108113"/>
                  <a:pt x="23661" y="107547"/>
                  <a:pt x="27042" y="107547"/>
                </a:cubicBezTo>
                <a:close/>
                <a:moveTo>
                  <a:pt x="16901" y="106132"/>
                </a:moveTo>
                <a:cubicBezTo>
                  <a:pt x="18591" y="105849"/>
                  <a:pt x="16901" y="105849"/>
                  <a:pt x="16901" y="106132"/>
                </a:cubicBezTo>
                <a:cubicBezTo>
                  <a:pt x="13521" y="106698"/>
                  <a:pt x="13521" y="106981"/>
                  <a:pt x="13521" y="106698"/>
                </a:cubicBezTo>
                <a:cubicBezTo>
                  <a:pt x="16901" y="106698"/>
                  <a:pt x="16901" y="106698"/>
                  <a:pt x="16901" y="106132"/>
                </a:cubicBezTo>
                <a:close/>
                <a:moveTo>
                  <a:pt x="16901" y="107547"/>
                </a:moveTo>
                <a:cubicBezTo>
                  <a:pt x="16901" y="107547"/>
                  <a:pt x="18591" y="106981"/>
                  <a:pt x="16901" y="106981"/>
                </a:cubicBezTo>
                <a:cubicBezTo>
                  <a:pt x="13521" y="106981"/>
                  <a:pt x="13521" y="106981"/>
                  <a:pt x="13521" y="106981"/>
                </a:cubicBezTo>
                <a:cubicBezTo>
                  <a:pt x="13521" y="106981"/>
                  <a:pt x="13521" y="106981"/>
                  <a:pt x="16901" y="107547"/>
                </a:cubicBezTo>
                <a:close/>
                <a:moveTo>
                  <a:pt x="10140" y="104433"/>
                </a:moveTo>
                <a:cubicBezTo>
                  <a:pt x="10140" y="104150"/>
                  <a:pt x="10140" y="104150"/>
                  <a:pt x="10140" y="104150"/>
                </a:cubicBezTo>
                <a:cubicBezTo>
                  <a:pt x="8450" y="103584"/>
                  <a:pt x="8450" y="104150"/>
                  <a:pt x="8450" y="104433"/>
                </a:cubicBezTo>
                <a:cubicBezTo>
                  <a:pt x="8450" y="105000"/>
                  <a:pt x="5070" y="105283"/>
                  <a:pt x="8450" y="105000"/>
                </a:cubicBezTo>
                <a:cubicBezTo>
                  <a:pt x="10140" y="105000"/>
                  <a:pt x="8450" y="104433"/>
                  <a:pt x="10140" y="104433"/>
                </a:cubicBezTo>
                <a:close/>
                <a:moveTo>
                  <a:pt x="23661" y="104433"/>
                </a:moveTo>
                <a:cubicBezTo>
                  <a:pt x="21971" y="104433"/>
                  <a:pt x="21971" y="104150"/>
                  <a:pt x="21971" y="104150"/>
                </a:cubicBezTo>
                <a:cubicBezTo>
                  <a:pt x="23661" y="104150"/>
                  <a:pt x="23661" y="104433"/>
                  <a:pt x="23661" y="104433"/>
                </a:cubicBezTo>
                <a:close/>
                <a:moveTo>
                  <a:pt x="23661" y="104150"/>
                </a:moveTo>
                <a:cubicBezTo>
                  <a:pt x="23661" y="103584"/>
                  <a:pt x="27042" y="103584"/>
                  <a:pt x="27042" y="104150"/>
                </a:cubicBezTo>
                <a:cubicBezTo>
                  <a:pt x="27042" y="104150"/>
                  <a:pt x="23661" y="104433"/>
                  <a:pt x="23661" y="104150"/>
                </a:cubicBezTo>
                <a:close/>
                <a:moveTo>
                  <a:pt x="16901" y="104150"/>
                </a:moveTo>
                <a:cubicBezTo>
                  <a:pt x="16901" y="104433"/>
                  <a:pt x="18591" y="104433"/>
                  <a:pt x="18591" y="104150"/>
                </a:cubicBezTo>
                <a:cubicBezTo>
                  <a:pt x="16901" y="104150"/>
                  <a:pt x="18591" y="103584"/>
                  <a:pt x="16901" y="103584"/>
                </a:cubicBezTo>
                <a:cubicBezTo>
                  <a:pt x="13521" y="103584"/>
                  <a:pt x="13521" y="104150"/>
                  <a:pt x="13521" y="104150"/>
                </a:cubicBezTo>
                <a:cubicBezTo>
                  <a:pt x="10140" y="104433"/>
                  <a:pt x="10140" y="104433"/>
                  <a:pt x="13521" y="104433"/>
                </a:cubicBezTo>
                <a:cubicBezTo>
                  <a:pt x="16901" y="104433"/>
                  <a:pt x="16901" y="104150"/>
                  <a:pt x="16901" y="104150"/>
                </a:cubicBezTo>
                <a:close/>
                <a:moveTo>
                  <a:pt x="21971" y="103584"/>
                </a:moveTo>
                <a:cubicBezTo>
                  <a:pt x="21971" y="102735"/>
                  <a:pt x="21971" y="102735"/>
                  <a:pt x="21971" y="102735"/>
                </a:cubicBezTo>
                <a:cubicBezTo>
                  <a:pt x="21971" y="102735"/>
                  <a:pt x="23661" y="103584"/>
                  <a:pt x="21971" y="103584"/>
                </a:cubicBezTo>
                <a:close/>
                <a:moveTo>
                  <a:pt x="18591" y="98773"/>
                </a:moveTo>
                <a:cubicBezTo>
                  <a:pt x="21971" y="98773"/>
                  <a:pt x="18591" y="98207"/>
                  <a:pt x="18591" y="98207"/>
                </a:cubicBezTo>
                <a:cubicBezTo>
                  <a:pt x="18591" y="98773"/>
                  <a:pt x="16901" y="98207"/>
                  <a:pt x="18591" y="98207"/>
                </a:cubicBezTo>
                <a:cubicBezTo>
                  <a:pt x="18591" y="97924"/>
                  <a:pt x="18591" y="97358"/>
                  <a:pt x="18591" y="96509"/>
                </a:cubicBezTo>
                <a:cubicBezTo>
                  <a:pt x="18591" y="95660"/>
                  <a:pt x="18591" y="95094"/>
                  <a:pt x="18591" y="95094"/>
                </a:cubicBezTo>
                <a:cubicBezTo>
                  <a:pt x="16901" y="95094"/>
                  <a:pt x="16901" y="95094"/>
                  <a:pt x="13521" y="95094"/>
                </a:cubicBezTo>
                <a:cubicBezTo>
                  <a:pt x="10140" y="95660"/>
                  <a:pt x="10140" y="95660"/>
                  <a:pt x="10140" y="95660"/>
                </a:cubicBezTo>
                <a:cubicBezTo>
                  <a:pt x="13521" y="96226"/>
                  <a:pt x="10140" y="96226"/>
                  <a:pt x="13521" y="96226"/>
                </a:cubicBezTo>
                <a:cubicBezTo>
                  <a:pt x="13521" y="96509"/>
                  <a:pt x="13521" y="97075"/>
                  <a:pt x="13521" y="97358"/>
                </a:cubicBezTo>
                <a:cubicBezTo>
                  <a:pt x="10140" y="97075"/>
                  <a:pt x="10140" y="97075"/>
                  <a:pt x="10140" y="97075"/>
                </a:cubicBezTo>
                <a:cubicBezTo>
                  <a:pt x="8450" y="97358"/>
                  <a:pt x="8450" y="97075"/>
                  <a:pt x="8450" y="97075"/>
                </a:cubicBezTo>
                <a:cubicBezTo>
                  <a:pt x="5070" y="97358"/>
                  <a:pt x="5070" y="97358"/>
                  <a:pt x="8450" y="97924"/>
                </a:cubicBezTo>
                <a:cubicBezTo>
                  <a:pt x="8450" y="98207"/>
                  <a:pt x="8450" y="98773"/>
                  <a:pt x="10140" y="99339"/>
                </a:cubicBezTo>
                <a:cubicBezTo>
                  <a:pt x="13521" y="99622"/>
                  <a:pt x="13521" y="98773"/>
                  <a:pt x="10140" y="98207"/>
                </a:cubicBezTo>
                <a:cubicBezTo>
                  <a:pt x="10140" y="97924"/>
                  <a:pt x="10140" y="97924"/>
                  <a:pt x="13521" y="98207"/>
                </a:cubicBezTo>
                <a:cubicBezTo>
                  <a:pt x="16901" y="98207"/>
                  <a:pt x="13521" y="98207"/>
                  <a:pt x="13521" y="98773"/>
                </a:cubicBezTo>
                <a:cubicBezTo>
                  <a:pt x="13521" y="99339"/>
                  <a:pt x="13521" y="98773"/>
                  <a:pt x="13521" y="99339"/>
                </a:cubicBezTo>
                <a:cubicBezTo>
                  <a:pt x="13521" y="99622"/>
                  <a:pt x="13521" y="99622"/>
                  <a:pt x="16901" y="99622"/>
                </a:cubicBezTo>
                <a:cubicBezTo>
                  <a:pt x="21971" y="99622"/>
                  <a:pt x="18591" y="98773"/>
                  <a:pt x="18591" y="98773"/>
                </a:cubicBezTo>
                <a:close/>
                <a:moveTo>
                  <a:pt x="8450" y="101886"/>
                </a:moveTo>
                <a:cubicBezTo>
                  <a:pt x="10140" y="101320"/>
                  <a:pt x="10140" y="101320"/>
                  <a:pt x="8450" y="101320"/>
                </a:cubicBezTo>
                <a:cubicBezTo>
                  <a:pt x="3380" y="101037"/>
                  <a:pt x="8450" y="101320"/>
                  <a:pt x="5070" y="101886"/>
                </a:cubicBezTo>
                <a:cubicBezTo>
                  <a:pt x="5070" y="101886"/>
                  <a:pt x="3380" y="102169"/>
                  <a:pt x="5070" y="102169"/>
                </a:cubicBezTo>
                <a:cubicBezTo>
                  <a:pt x="8450" y="102169"/>
                  <a:pt x="8450" y="101886"/>
                  <a:pt x="8450" y="101886"/>
                </a:cubicBezTo>
                <a:close/>
                <a:moveTo>
                  <a:pt x="21971" y="102169"/>
                </a:moveTo>
                <a:cubicBezTo>
                  <a:pt x="23661" y="102169"/>
                  <a:pt x="23661" y="102169"/>
                  <a:pt x="21971" y="101886"/>
                </a:cubicBezTo>
                <a:cubicBezTo>
                  <a:pt x="21971" y="101320"/>
                  <a:pt x="21971" y="101320"/>
                  <a:pt x="18591" y="101037"/>
                </a:cubicBezTo>
                <a:cubicBezTo>
                  <a:pt x="18591" y="101037"/>
                  <a:pt x="16901" y="101037"/>
                  <a:pt x="18591" y="101320"/>
                </a:cubicBezTo>
                <a:cubicBezTo>
                  <a:pt x="21971" y="101886"/>
                  <a:pt x="16901" y="101320"/>
                  <a:pt x="18591" y="102169"/>
                </a:cubicBezTo>
                <a:cubicBezTo>
                  <a:pt x="21971" y="102169"/>
                  <a:pt x="21971" y="102169"/>
                  <a:pt x="21971" y="102169"/>
                </a:cubicBezTo>
                <a:close/>
                <a:moveTo>
                  <a:pt x="5070" y="98773"/>
                </a:moveTo>
                <a:cubicBezTo>
                  <a:pt x="8450" y="98773"/>
                  <a:pt x="5070" y="99339"/>
                  <a:pt x="8450" y="99339"/>
                </a:cubicBezTo>
                <a:cubicBezTo>
                  <a:pt x="8450" y="99339"/>
                  <a:pt x="8450" y="99339"/>
                  <a:pt x="8450" y="98773"/>
                </a:cubicBezTo>
                <a:cubicBezTo>
                  <a:pt x="8450" y="98207"/>
                  <a:pt x="8450" y="98207"/>
                  <a:pt x="5070" y="98207"/>
                </a:cubicBezTo>
                <a:cubicBezTo>
                  <a:pt x="3380" y="98207"/>
                  <a:pt x="3380" y="98207"/>
                  <a:pt x="3380" y="99339"/>
                </a:cubicBezTo>
                <a:cubicBezTo>
                  <a:pt x="3380" y="99339"/>
                  <a:pt x="5070" y="99339"/>
                  <a:pt x="5070" y="98773"/>
                </a:cubicBezTo>
                <a:close/>
                <a:moveTo>
                  <a:pt x="8450" y="101037"/>
                </a:moveTo>
                <a:cubicBezTo>
                  <a:pt x="8450" y="101037"/>
                  <a:pt x="8450" y="101320"/>
                  <a:pt x="10140" y="101037"/>
                </a:cubicBezTo>
                <a:cubicBezTo>
                  <a:pt x="10140" y="100471"/>
                  <a:pt x="10140" y="101037"/>
                  <a:pt x="13521" y="101037"/>
                </a:cubicBezTo>
                <a:cubicBezTo>
                  <a:pt x="13521" y="100471"/>
                  <a:pt x="10140" y="100471"/>
                  <a:pt x="13521" y="100471"/>
                </a:cubicBezTo>
                <a:cubicBezTo>
                  <a:pt x="16901" y="100188"/>
                  <a:pt x="13521" y="100188"/>
                  <a:pt x="13521" y="100188"/>
                </a:cubicBezTo>
                <a:cubicBezTo>
                  <a:pt x="10140" y="100471"/>
                  <a:pt x="13521" y="99622"/>
                  <a:pt x="10140" y="100188"/>
                </a:cubicBezTo>
                <a:cubicBezTo>
                  <a:pt x="10140" y="100188"/>
                  <a:pt x="8450" y="99622"/>
                  <a:pt x="5070" y="99622"/>
                </a:cubicBezTo>
                <a:cubicBezTo>
                  <a:pt x="3380" y="99622"/>
                  <a:pt x="10140" y="100188"/>
                  <a:pt x="8450" y="100188"/>
                </a:cubicBezTo>
                <a:cubicBezTo>
                  <a:pt x="8450" y="100471"/>
                  <a:pt x="5070" y="99622"/>
                  <a:pt x="5070" y="100471"/>
                </a:cubicBezTo>
                <a:cubicBezTo>
                  <a:pt x="5070" y="101037"/>
                  <a:pt x="8450" y="100471"/>
                  <a:pt x="8450" y="101037"/>
                </a:cubicBezTo>
                <a:close/>
                <a:moveTo>
                  <a:pt x="18591" y="103018"/>
                </a:moveTo>
                <a:cubicBezTo>
                  <a:pt x="18591" y="103018"/>
                  <a:pt x="21971" y="102735"/>
                  <a:pt x="18591" y="102735"/>
                </a:cubicBezTo>
                <a:cubicBezTo>
                  <a:pt x="18591" y="102169"/>
                  <a:pt x="16901" y="101886"/>
                  <a:pt x="16901" y="102169"/>
                </a:cubicBezTo>
                <a:cubicBezTo>
                  <a:pt x="16901" y="102735"/>
                  <a:pt x="18591" y="102735"/>
                  <a:pt x="16901" y="102735"/>
                </a:cubicBezTo>
                <a:cubicBezTo>
                  <a:pt x="10140" y="102735"/>
                  <a:pt x="10140" y="102735"/>
                  <a:pt x="13521" y="102735"/>
                </a:cubicBezTo>
                <a:cubicBezTo>
                  <a:pt x="16901" y="103018"/>
                  <a:pt x="13521" y="103018"/>
                  <a:pt x="16901" y="103018"/>
                </a:cubicBezTo>
                <a:cubicBezTo>
                  <a:pt x="16901" y="103584"/>
                  <a:pt x="18591" y="102735"/>
                  <a:pt x="18591" y="103018"/>
                </a:cubicBezTo>
                <a:close/>
                <a:moveTo>
                  <a:pt x="16901" y="102735"/>
                </a:moveTo>
                <a:cubicBezTo>
                  <a:pt x="13521" y="102169"/>
                  <a:pt x="10140" y="102169"/>
                  <a:pt x="13521" y="101886"/>
                </a:cubicBezTo>
                <a:cubicBezTo>
                  <a:pt x="16901" y="102735"/>
                  <a:pt x="16901" y="102735"/>
                  <a:pt x="16901" y="102735"/>
                </a:cubicBezTo>
                <a:close/>
                <a:moveTo>
                  <a:pt x="18591" y="103584"/>
                </a:moveTo>
                <a:cubicBezTo>
                  <a:pt x="16901" y="103584"/>
                  <a:pt x="18591" y="103018"/>
                  <a:pt x="18591" y="103018"/>
                </a:cubicBezTo>
                <a:cubicBezTo>
                  <a:pt x="18591" y="103584"/>
                  <a:pt x="21971" y="104150"/>
                  <a:pt x="18591" y="103584"/>
                </a:cubicBezTo>
                <a:close/>
                <a:moveTo>
                  <a:pt x="13521" y="96509"/>
                </a:moveTo>
                <a:cubicBezTo>
                  <a:pt x="13521" y="96509"/>
                  <a:pt x="8450" y="96226"/>
                  <a:pt x="8450" y="96509"/>
                </a:cubicBezTo>
                <a:cubicBezTo>
                  <a:pt x="8450" y="97075"/>
                  <a:pt x="10140" y="96509"/>
                  <a:pt x="10140" y="97075"/>
                </a:cubicBezTo>
                <a:cubicBezTo>
                  <a:pt x="13521" y="97075"/>
                  <a:pt x="13521" y="97075"/>
                  <a:pt x="13521" y="96509"/>
                </a:cubicBezTo>
                <a:close/>
                <a:moveTo>
                  <a:pt x="18591" y="94811"/>
                </a:moveTo>
                <a:cubicBezTo>
                  <a:pt x="18591" y="94811"/>
                  <a:pt x="18591" y="95094"/>
                  <a:pt x="18591" y="94811"/>
                </a:cubicBezTo>
                <a:cubicBezTo>
                  <a:pt x="16901" y="94245"/>
                  <a:pt x="18591" y="94245"/>
                  <a:pt x="18591" y="93962"/>
                </a:cubicBezTo>
                <a:cubicBezTo>
                  <a:pt x="16901" y="93396"/>
                  <a:pt x="16901" y="93113"/>
                  <a:pt x="16901" y="93396"/>
                </a:cubicBezTo>
                <a:cubicBezTo>
                  <a:pt x="13521" y="93962"/>
                  <a:pt x="16901" y="93962"/>
                  <a:pt x="16901" y="94245"/>
                </a:cubicBezTo>
                <a:cubicBezTo>
                  <a:pt x="16901" y="94811"/>
                  <a:pt x="13521" y="93962"/>
                  <a:pt x="10140" y="94245"/>
                </a:cubicBezTo>
                <a:cubicBezTo>
                  <a:pt x="10140" y="94811"/>
                  <a:pt x="13521" y="94811"/>
                  <a:pt x="16901" y="95094"/>
                </a:cubicBezTo>
                <a:cubicBezTo>
                  <a:pt x="18591" y="95094"/>
                  <a:pt x="18591" y="95094"/>
                  <a:pt x="18591" y="94811"/>
                </a:cubicBezTo>
                <a:close/>
                <a:moveTo>
                  <a:pt x="27042" y="92547"/>
                </a:moveTo>
                <a:cubicBezTo>
                  <a:pt x="27042" y="93113"/>
                  <a:pt x="27042" y="92547"/>
                  <a:pt x="28732" y="92547"/>
                </a:cubicBezTo>
                <a:cubicBezTo>
                  <a:pt x="28732" y="92547"/>
                  <a:pt x="27042" y="92547"/>
                  <a:pt x="23661" y="92264"/>
                </a:cubicBezTo>
                <a:cubicBezTo>
                  <a:pt x="23661" y="92264"/>
                  <a:pt x="18591" y="92264"/>
                  <a:pt x="18591" y="92547"/>
                </a:cubicBezTo>
                <a:cubicBezTo>
                  <a:pt x="18591" y="93113"/>
                  <a:pt x="23661" y="92547"/>
                  <a:pt x="27042" y="92547"/>
                </a:cubicBezTo>
                <a:close/>
                <a:moveTo>
                  <a:pt x="13521" y="94245"/>
                </a:moveTo>
                <a:cubicBezTo>
                  <a:pt x="13521" y="93962"/>
                  <a:pt x="13521" y="93962"/>
                  <a:pt x="13521" y="93396"/>
                </a:cubicBezTo>
                <a:cubicBezTo>
                  <a:pt x="13521" y="93396"/>
                  <a:pt x="10140" y="93396"/>
                  <a:pt x="10140" y="93113"/>
                </a:cubicBezTo>
                <a:cubicBezTo>
                  <a:pt x="8450" y="93113"/>
                  <a:pt x="8450" y="93962"/>
                  <a:pt x="10140" y="94245"/>
                </a:cubicBezTo>
                <a:cubicBezTo>
                  <a:pt x="13521" y="94245"/>
                  <a:pt x="13521" y="94245"/>
                  <a:pt x="13521" y="94245"/>
                </a:cubicBezTo>
                <a:close/>
                <a:moveTo>
                  <a:pt x="5070" y="97075"/>
                </a:moveTo>
                <a:cubicBezTo>
                  <a:pt x="5070" y="96509"/>
                  <a:pt x="8450" y="97075"/>
                  <a:pt x="5070" y="96509"/>
                </a:cubicBezTo>
                <a:cubicBezTo>
                  <a:pt x="5070" y="96226"/>
                  <a:pt x="5070" y="96509"/>
                  <a:pt x="5070" y="96509"/>
                </a:cubicBezTo>
                <a:cubicBezTo>
                  <a:pt x="3380" y="96509"/>
                  <a:pt x="3380" y="97075"/>
                  <a:pt x="3380" y="97075"/>
                </a:cubicBezTo>
                <a:cubicBezTo>
                  <a:pt x="5070" y="97358"/>
                  <a:pt x="5070" y="97358"/>
                  <a:pt x="5070" y="97075"/>
                </a:cubicBezTo>
                <a:close/>
                <a:moveTo>
                  <a:pt x="13521" y="92264"/>
                </a:moveTo>
                <a:cubicBezTo>
                  <a:pt x="13521" y="92264"/>
                  <a:pt x="13521" y="92547"/>
                  <a:pt x="10140" y="92547"/>
                </a:cubicBezTo>
                <a:cubicBezTo>
                  <a:pt x="8450" y="92547"/>
                  <a:pt x="8450" y="93113"/>
                  <a:pt x="10140" y="93113"/>
                </a:cubicBezTo>
                <a:cubicBezTo>
                  <a:pt x="13521" y="93113"/>
                  <a:pt x="10140" y="93113"/>
                  <a:pt x="13521" y="93113"/>
                </a:cubicBezTo>
                <a:cubicBezTo>
                  <a:pt x="13521" y="93113"/>
                  <a:pt x="16901" y="92264"/>
                  <a:pt x="13521" y="92264"/>
                </a:cubicBezTo>
                <a:close/>
                <a:moveTo>
                  <a:pt x="10140" y="94811"/>
                </a:moveTo>
                <a:cubicBezTo>
                  <a:pt x="10140" y="94245"/>
                  <a:pt x="8450" y="93962"/>
                  <a:pt x="8450" y="93396"/>
                </a:cubicBezTo>
                <a:cubicBezTo>
                  <a:pt x="5070" y="93113"/>
                  <a:pt x="5070" y="93113"/>
                  <a:pt x="5070" y="93113"/>
                </a:cubicBezTo>
                <a:cubicBezTo>
                  <a:pt x="3380" y="93396"/>
                  <a:pt x="5070" y="93396"/>
                  <a:pt x="5070" y="93962"/>
                </a:cubicBezTo>
                <a:cubicBezTo>
                  <a:pt x="3380" y="93962"/>
                  <a:pt x="3380" y="94245"/>
                  <a:pt x="5070" y="94245"/>
                </a:cubicBezTo>
                <a:cubicBezTo>
                  <a:pt x="8450" y="93962"/>
                  <a:pt x="8450" y="94245"/>
                  <a:pt x="8450" y="94811"/>
                </a:cubicBezTo>
                <a:cubicBezTo>
                  <a:pt x="8450" y="95094"/>
                  <a:pt x="8450" y="95094"/>
                  <a:pt x="8450" y="95094"/>
                </a:cubicBezTo>
                <a:cubicBezTo>
                  <a:pt x="10140" y="94811"/>
                  <a:pt x="10140" y="94811"/>
                  <a:pt x="10140" y="94811"/>
                </a:cubicBezTo>
                <a:close/>
                <a:moveTo>
                  <a:pt x="5070" y="95094"/>
                </a:moveTo>
                <a:cubicBezTo>
                  <a:pt x="8450" y="94811"/>
                  <a:pt x="5070" y="94245"/>
                  <a:pt x="5070" y="94245"/>
                </a:cubicBezTo>
                <a:cubicBezTo>
                  <a:pt x="3380" y="94811"/>
                  <a:pt x="3380" y="94245"/>
                  <a:pt x="3380" y="94811"/>
                </a:cubicBezTo>
                <a:cubicBezTo>
                  <a:pt x="3380" y="95094"/>
                  <a:pt x="3380" y="95094"/>
                  <a:pt x="5070" y="95094"/>
                </a:cubicBezTo>
                <a:close/>
                <a:moveTo>
                  <a:pt x="5070" y="96226"/>
                </a:moveTo>
                <a:cubicBezTo>
                  <a:pt x="8450" y="96226"/>
                  <a:pt x="8450" y="96509"/>
                  <a:pt x="8450" y="96226"/>
                </a:cubicBezTo>
                <a:cubicBezTo>
                  <a:pt x="8450" y="96226"/>
                  <a:pt x="8450" y="95660"/>
                  <a:pt x="5070" y="95660"/>
                </a:cubicBezTo>
                <a:cubicBezTo>
                  <a:pt x="5070" y="95660"/>
                  <a:pt x="0" y="95660"/>
                  <a:pt x="3380" y="96226"/>
                </a:cubicBezTo>
                <a:cubicBezTo>
                  <a:pt x="5070" y="96226"/>
                  <a:pt x="5070" y="96226"/>
                  <a:pt x="5070" y="96226"/>
                </a:cubicBezTo>
                <a:close/>
                <a:moveTo>
                  <a:pt x="8450" y="92264"/>
                </a:moveTo>
                <a:cubicBezTo>
                  <a:pt x="8450" y="92264"/>
                  <a:pt x="10140" y="91698"/>
                  <a:pt x="10140" y="92264"/>
                </a:cubicBezTo>
                <a:cubicBezTo>
                  <a:pt x="10140" y="92264"/>
                  <a:pt x="8450" y="92547"/>
                  <a:pt x="8450" y="92264"/>
                </a:cubicBezTo>
                <a:close/>
                <a:moveTo>
                  <a:pt x="21971" y="90000"/>
                </a:moveTo>
                <a:cubicBezTo>
                  <a:pt x="21971" y="89433"/>
                  <a:pt x="27042" y="89433"/>
                  <a:pt x="23661" y="90000"/>
                </a:cubicBezTo>
                <a:cubicBezTo>
                  <a:pt x="21971" y="90000"/>
                  <a:pt x="21971" y="90000"/>
                  <a:pt x="21971" y="90000"/>
                </a:cubicBezTo>
                <a:close/>
                <a:moveTo>
                  <a:pt x="5070" y="95094"/>
                </a:moveTo>
                <a:cubicBezTo>
                  <a:pt x="8450" y="95094"/>
                  <a:pt x="8450" y="95094"/>
                  <a:pt x="5070" y="95094"/>
                </a:cubicBezTo>
                <a:cubicBezTo>
                  <a:pt x="3380" y="95094"/>
                  <a:pt x="3380" y="95094"/>
                  <a:pt x="3380" y="95660"/>
                </a:cubicBezTo>
                <a:cubicBezTo>
                  <a:pt x="3380" y="95660"/>
                  <a:pt x="3380" y="95660"/>
                  <a:pt x="5070" y="95094"/>
                </a:cubicBezTo>
                <a:close/>
                <a:moveTo>
                  <a:pt x="10140" y="96226"/>
                </a:moveTo>
                <a:cubicBezTo>
                  <a:pt x="10140" y="96226"/>
                  <a:pt x="10140" y="95660"/>
                  <a:pt x="8450" y="95660"/>
                </a:cubicBezTo>
                <a:cubicBezTo>
                  <a:pt x="8450" y="95660"/>
                  <a:pt x="8450" y="95660"/>
                  <a:pt x="8450" y="96226"/>
                </a:cubicBezTo>
                <a:cubicBezTo>
                  <a:pt x="8450" y="96226"/>
                  <a:pt x="8450" y="96226"/>
                  <a:pt x="10140" y="96226"/>
                </a:cubicBezTo>
                <a:close/>
                <a:moveTo>
                  <a:pt x="23661" y="94245"/>
                </a:moveTo>
                <a:cubicBezTo>
                  <a:pt x="23661" y="94245"/>
                  <a:pt x="21971" y="93962"/>
                  <a:pt x="18591" y="93962"/>
                </a:cubicBezTo>
                <a:cubicBezTo>
                  <a:pt x="18591" y="93396"/>
                  <a:pt x="18591" y="93113"/>
                  <a:pt x="18591" y="93396"/>
                </a:cubicBezTo>
                <a:cubicBezTo>
                  <a:pt x="18591" y="94245"/>
                  <a:pt x="18591" y="93962"/>
                  <a:pt x="18591" y="94245"/>
                </a:cubicBezTo>
                <a:cubicBezTo>
                  <a:pt x="21971" y="94245"/>
                  <a:pt x="23661" y="94245"/>
                  <a:pt x="23661" y="94245"/>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556" name="Shape 1753"/>
          <p:cNvSpPr/>
          <p:nvPr/>
        </p:nvSpPr>
        <p:spPr>
          <a:xfrm>
            <a:off x="3592566" y="5679671"/>
            <a:ext cx="525226" cy="1158869"/>
          </a:xfrm>
          <a:custGeom>
            <a:avLst/>
            <a:gdLst/>
            <a:ahLst/>
            <a:cxnLst/>
            <a:rect l="0" t="0" r="0" b="0"/>
            <a:pathLst>
              <a:path w="120000" h="120000" extrusionOk="0">
                <a:moveTo>
                  <a:pt x="96000" y="27989"/>
                </a:moveTo>
                <a:cubicBezTo>
                  <a:pt x="93750" y="29276"/>
                  <a:pt x="96000" y="29919"/>
                  <a:pt x="93750" y="31528"/>
                </a:cubicBezTo>
                <a:cubicBezTo>
                  <a:pt x="91500" y="32815"/>
                  <a:pt x="95250" y="32815"/>
                  <a:pt x="93000" y="33458"/>
                </a:cubicBezTo>
                <a:cubicBezTo>
                  <a:pt x="91500" y="34423"/>
                  <a:pt x="95250" y="37319"/>
                  <a:pt x="93000" y="37962"/>
                </a:cubicBezTo>
                <a:cubicBezTo>
                  <a:pt x="90750" y="38284"/>
                  <a:pt x="90750" y="40536"/>
                  <a:pt x="91500" y="41501"/>
                </a:cubicBezTo>
                <a:cubicBezTo>
                  <a:pt x="88500" y="43431"/>
                  <a:pt x="95250" y="43431"/>
                  <a:pt x="97500" y="45040"/>
                </a:cubicBezTo>
                <a:cubicBezTo>
                  <a:pt x="100500" y="46970"/>
                  <a:pt x="96000" y="46327"/>
                  <a:pt x="97500" y="47935"/>
                </a:cubicBezTo>
                <a:cubicBezTo>
                  <a:pt x="99750" y="49865"/>
                  <a:pt x="102000" y="47935"/>
                  <a:pt x="102000" y="49865"/>
                </a:cubicBezTo>
                <a:cubicBezTo>
                  <a:pt x="102000" y="51474"/>
                  <a:pt x="100500" y="52439"/>
                  <a:pt x="98250" y="53404"/>
                </a:cubicBezTo>
                <a:cubicBezTo>
                  <a:pt x="96000" y="55013"/>
                  <a:pt x="98250" y="55013"/>
                  <a:pt x="95250" y="55978"/>
                </a:cubicBezTo>
                <a:cubicBezTo>
                  <a:pt x="90750" y="56943"/>
                  <a:pt x="82500" y="57908"/>
                  <a:pt x="76500" y="58552"/>
                </a:cubicBezTo>
                <a:cubicBezTo>
                  <a:pt x="71250" y="58552"/>
                  <a:pt x="72000" y="58873"/>
                  <a:pt x="69750" y="57908"/>
                </a:cubicBezTo>
                <a:cubicBezTo>
                  <a:pt x="66750" y="57587"/>
                  <a:pt x="67500" y="58873"/>
                  <a:pt x="69000" y="59517"/>
                </a:cubicBezTo>
                <a:cubicBezTo>
                  <a:pt x="71250" y="59839"/>
                  <a:pt x="69750" y="60804"/>
                  <a:pt x="69000" y="61769"/>
                </a:cubicBezTo>
                <a:cubicBezTo>
                  <a:pt x="67500" y="62412"/>
                  <a:pt x="66750" y="63378"/>
                  <a:pt x="69000" y="64021"/>
                </a:cubicBezTo>
                <a:cubicBezTo>
                  <a:pt x="69750" y="64343"/>
                  <a:pt x="69750" y="64986"/>
                  <a:pt x="65250" y="65951"/>
                </a:cubicBezTo>
                <a:cubicBezTo>
                  <a:pt x="62250" y="66273"/>
                  <a:pt x="64500" y="65951"/>
                  <a:pt x="60750" y="65951"/>
                </a:cubicBezTo>
                <a:cubicBezTo>
                  <a:pt x="57750" y="66273"/>
                  <a:pt x="54750" y="64343"/>
                  <a:pt x="51750" y="64986"/>
                </a:cubicBezTo>
                <a:cubicBezTo>
                  <a:pt x="49500" y="65308"/>
                  <a:pt x="52500" y="66916"/>
                  <a:pt x="51750" y="68525"/>
                </a:cubicBezTo>
                <a:cubicBezTo>
                  <a:pt x="51750" y="70455"/>
                  <a:pt x="54000" y="70455"/>
                  <a:pt x="58500" y="69490"/>
                </a:cubicBezTo>
                <a:cubicBezTo>
                  <a:pt x="60750" y="69490"/>
                  <a:pt x="60750" y="70777"/>
                  <a:pt x="60750" y="71420"/>
                </a:cubicBezTo>
                <a:cubicBezTo>
                  <a:pt x="60000" y="73029"/>
                  <a:pt x="57750" y="73029"/>
                  <a:pt x="56250" y="72064"/>
                </a:cubicBezTo>
                <a:cubicBezTo>
                  <a:pt x="54750" y="70777"/>
                  <a:pt x="50250" y="71420"/>
                  <a:pt x="52500" y="72386"/>
                </a:cubicBezTo>
                <a:cubicBezTo>
                  <a:pt x="54750" y="73029"/>
                  <a:pt x="57750" y="72386"/>
                  <a:pt x="54750" y="73029"/>
                </a:cubicBezTo>
                <a:cubicBezTo>
                  <a:pt x="50250" y="73351"/>
                  <a:pt x="49500" y="75281"/>
                  <a:pt x="50250" y="76246"/>
                </a:cubicBezTo>
                <a:cubicBezTo>
                  <a:pt x="52500" y="78820"/>
                  <a:pt x="47250" y="78498"/>
                  <a:pt x="48000" y="79463"/>
                </a:cubicBezTo>
                <a:cubicBezTo>
                  <a:pt x="50250" y="80428"/>
                  <a:pt x="45000" y="79785"/>
                  <a:pt x="43500" y="80428"/>
                </a:cubicBezTo>
                <a:cubicBezTo>
                  <a:pt x="42750" y="81394"/>
                  <a:pt x="41250" y="79785"/>
                  <a:pt x="39000" y="82359"/>
                </a:cubicBezTo>
                <a:cubicBezTo>
                  <a:pt x="36000" y="84289"/>
                  <a:pt x="36000" y="84289"/>
                  <a:pt x="39000" y="86541"/>
                </a:cubicBezTo>
                <a:cubicBezTo>
                  <a:pt x="43500" y="88793"/>
                  <a:pt x="47250" y="86863"/>
                  <a:pt x="48000" y="88471"/>
                </a:cubicBezTo>
                <a:cubicBezTo>
                  <a:pt x="48000" y="90402"/>
                  <a:pt x="45750" y="89758"/>
                  <a:pt x="47250" y="90402"/>
                </a:cubicBezTo>
                <a:cubicBezTo>
                  <a:pt x="48000" y="91367"/>
                  <a:pt x="45000" y="91367"/>
                  <a:pt x="45000" y="92332"/>
                </a:cubicBezTo>
                <a:cubicBezTo>
                  <a:pt x="45000" y="92975"/>
                  <a:pt x="38250" y="93297"/>
                  <a:pt x="36750" y="95871"/>
                </a:cubicBezTo>
                <a:cubicBezTo>
                  <a:pt x="36000" y="97801"/>
                  <a:pt x="36750" y="98766"/>
                  <a:pt x="32250" y="99410"/>
                </a:cubicBezTo>
                <a:cubicBezTo>
                  <a:pt x="26250" y="100375"/>
                  <a:pt x="27750" y="102305"/>
                  <a:pt x="27750" y="103914"/>
                </a:cubicBezTo>
                <a:cubicBezTo>
                  <a:pt x="28500" y="106487"/>
                  <a:pt x="33750" y="107774"/>
                  <a:pt x="32250" y="107774"/>
                </a:cubicBezTo>
                <a:cubicBezTo>
                  <a:pt x="31500" y="106809"/>
                  <a:pt x="25500" y="107453"/>
                  <a:pt x="21750" y="106487"/>
                </a:cubicBezTo>
                <a:cubicBezTo>
                  <a:pt x="21750" y="106487"/>
                  <a:pt x="16500" y="106487"/>
                  <a:pt x="12750" y="106487"/>
                </a:cubicBezTo>
                <a:cubicBezTo>
                  <a:pt x="9750" y="106487"/>
                  <a:pt x="12000" y="105844"/>
                  <a:pt x="9750" y="105522"/>
                </a:cubicBezTo>
                <a:cubicBezTo>
                  <a:pt x="7500" y="104879"/>
                  <a:pt x="9750" y="101018"/>
                  <a:pt x="7500" y="101018"/>
                </a:cubicBezTo>
                <a:cubicBezTo>
                  <a:pt x="5250" y="101018"/>
                  <a:pt x="3750" y="102305"/>
                  <a:pt x="3750" y="101018"/>
                </a:cubicBezTo>
                <a:cubicBezTo>
                  <a:pt x="2250" y="98766"/>
                  <a:pt x="0" y="99731"/>
                  <a:pt x="1500" y="98445"/>
                </a:cubicBezTo>
                <a:cubicBezTo>
                  <a:pt x="2250" y="97479"/>
                  <a:pt x="0" y="95871"/>
                  <a:pt x="2250" y="96514"/>
                </a:cubicBezTo>
                <a:cubicBezTo>
                  <a:pt x="5250" y="96514"/>
                  <a:pt x="6000" y="93297"/>
                  <a:pt x="8250" y="92975"/>
                </a:cubicBezTo>
                <a:cubicBezTo>
                  <a:pt x="10500" y="92010"/>
                  <a:pt x="6000" y="91367"/>
                  <a:pt x="8250" y="90402"/>
                </a:cubicBezTo>
                <a:cubicBezTo>
                  <a:pt x="9750" y="89758"/>
                  <a:pt x="7500" y="89758"/>
                  <a:pt x="10500" y="88471"/>
                </a:cubicBezTo>
                <a:cubicBezTo>
                  <a:pt x="14250" y="87506"/>
                  <a:pt x="8250" y="87506"/>
                  <a:pt x="12000" y="86541"/>
                </a:cubicBezTo>
                <a:cubicBezTo>
                  <a:pt x="14250" y="85898"/>
                  <a:pt x="10500" y="84289"/>
                  <a:pt x="12000" y="83967"/>
                </a:cubicBezTo>
                <a:cubicBezTo>
                  <a:pt x="14250" y="83324"/>
                  <a:pt x="9750" y="82359"/>
                  <a:pt x="12750" y="82037"/>
                </a:cubicBezTo>
                <a:cubicBezTo>
                  <a:pt x="15000" y="81394"/>
                  <a:pt x="15000" y="79785"/>
                  <a:pt x="12000" y="79785"/>
                </a:cubicBezTo>
                <a:cubicBezTo>
                  <a:pt x="9750" y="79463"/>
                  <a:pt x="9750" y="78820"/>
                  <a:pt x="12750" y="79463"/>
                </a:cubicBezTo>
                <a:cubicBezTo>
                  <a:pt x="16500" y="79463"/>
                  <a:pt x="17250" y="77533"/>
                  <a:pt x="12750" y="77855"/>
                </a:cubicBezTo>
                <a:cubicBezTo>
                  <a:pt x="9750" y="78498"/>
                  <a:pt x="14250" y="76246"/>
                  <a:pt x="12750" y="75924"/>
                </a:cubicBezTo>
                <a:cubicBezTo>
                  <a:pt x="10500" y="75281"/>
                  <a:pt x="12750" y="73994"/>
                  <a:pt x="12000" y="73351"/>
                </a:cubicBezTo>
                <a:cubicBezTo>
                  <a:pt x="12000" y="73029"/>
                  <a:pt x="9750" y="73029"/>
                  <a:pt x="9750" y="70777"/>
                </a:cubicBezTo>
                <a:cubicBezTo>
                  <a:pt x="10500" y="68847"/>
                  <a:pt x="12000" y="70455"/>
                  <a:pt x="12000" y="69490"/>
                </a:cubicBezTo>
                <a:cubicBezTo>
                  <a:pt x="12750" y="68847"/>
                  <a:pt x="10500" y="68525"/>
                  <a:pt x="12000" y="66273"/>
                </a:cubicBezTo>
                <a:cubicBezTo>
                  <a:pt x="12000" y="64343"/>
                  <a:pt x="9750" y="64986"/>
                  <a:pt x="12000" y="64021"/>
                </a:cubicBezTo>
                <a:cubicBezTo>
                  <a:pt x="14250" y="63056"/>
                  <a:pt x="10500" y="61447"/>
                  <a:pt x="12750" y="60482"/>
                </a:cubicBezTo>
                <a:cubicBezTo>
                  <a:pt x="15000" y="59839"/>
                  <a:pt x="12000" y="58873"/>
                  <a:pt x="16500" y="57587"/>
                </a:cubicBezTo>
                <a:cubicBezTo>
                  <a:pt x="18750" y="56943"/>
                  <a:pt x="15000" y="54369"/>
                  <a:pt x="15000" y="53404"/>
                </a:cubicBezTo>
                <a:cubicBezTo>
                  <a:pt x="16500" y="52439"/>
                  <a:pt x="15000" y="50831"/>
                  <a:pt x="16500" y="49865"/>
                </a:cubicBezTo>
                <a:cubicBezTo>
                  <a:pt x="16500" y="48900"/>
                  <a:pt x="17250" y="49865"/>
                  <a:pt x="19500" y="48579"/>
                </a:cubicBezTo>
                <a:cubicBezTo>
                  <a:pt x="21000" y="47292"/>
                  <a:pt x="19500" y="46970"/>
                  <a:pt x="21000" y="43753"/>
                </a:cubicBezTo>
                <a:cubicBezTo>
                  <a:pt x="21000" y="41501"/>
                  <a:pt x="24000" y="42466"/>
                  <a:pt x="23250" y="40857"/>
                </a:cubicBezTo>
                <a:cubicBezTo>
                  <a:pt x="23250" y="39571"/>
                  <a:pt x="25500" y="38284"/>
                  <a:pt x="23250" y="38284"/>
                </a:cubicBezTo>
                <a:cubicBezTo>
                  <a:pt x="21000" y="38284"/>
                  <a:pt x="23250" y="37962"/>
                  <a:pt x="21750" y="36353"/>
                </a:cubicBezTo>
                <a:cubicBezTo>
                  <a:pt x="21000" y="35067"/>
                  <a:pt x="21000" y="34101"/>
                  <a:pt x="19500" y="32815"/>
                </a:cubicBezTo>
                <a:cubicBezTo>
                  <a:pt x="18750" y="32493"/>
                  <a:pt x="19500" y="30884"/>
                  <a:pt x="21000" y="29276"/>
                </a:cubicBezTo>
                <a:cubicBezTo>
                  <a:pt x="21750" y="27989"/>
                  <a:pt x="21750" y="28954"/>
                  <a:pt x="23250" y="28310"/>
                </a:cubicBezTo>
                <a:cubicBezTo>
                  <a:pt x="24000" y="27345"/>
                  <a:pt x="21000" y="25415"/>
                  <a:pt x="23250" y="24450"/>
                </a:cubicBezTo>
                <a:cubicBezTo>
                  <a:pt x="24000" y="23806"/>
                  <a:pt x="24000" y="21876"/>
                  <a:pt x="25500" y="21554"/>
                </a:cubicBezTo>
                <a:cubicBezTo>
                  <a:pt x="27750" y="20911"/>
                  <a:pt x="26250" y="21554"/>
                  <a:pt x="28500" y="18981"/>
                </a:cubicBezTo>
                <a:cubicBezTo>
                  <a:pt x="30000" y="16407"/>
                  <a:pt x="34500" y="18981"/>
                  <a:pt x="32250" y="16407"/>
                </a:cubicBezTo>
                <a:cubicBezTo>
                  <a:pt x="30000" y="14798"/>
                  <a:pt x="32250" y="10938"/>
                  <a:pt x="31500" y="10616"/>
                </a:cubicBezTo>
                <a:cubicBezTo>
                  <a:pt x="30000" y="9008"/>
                  <a:pt x="36000" y="8042"/>
                  <a:pt x="36750" y="8042"/>
                </a:cubicBezTo>
                <a:cubicBezTo>
                  <a:pt x="39000" y="7399"/>
                  <a:pt x="39000" y="6112"/>
                  <a:pt x="39000" y="4825"/>
                </a:cubicBezTo>
                <a:cubicBezTo>
                  <a:pt x="40500" y="4504"/>
                  <a:pt x="40500" y="3860"/>
                  <a:pt x="39000" y="3538"/>
                </a:cubicBezTo>
                <a:cubicBezTo>
                  <a:pt x="41250" y="2895"/>
                  <a:pt x="41250" y="1930"/>
                  <a:pt x="42750" y="1608"/>
                </a:cubicBezTo>
                <a:cubicBezTo>
                  <a:pt x="45000" y="965"/>
                  <a:pt x="43500" y="321"/>
                  <a:pt x="45000" y="0"/>
                </a:cubicBezTo>
                <a:cubicBezTo>
                  <a:pt x="45750" y="0"/>
                  <a:pt x="45750" y="1608"/>
                  <a:pt x="49500" y="1608"/>
                </a:cubicBezTo>
                <a:cubicBezTo>
                  <a:pt x="52500" y="965"/>
                  <a:pt x="54750" y="965"/>
                  <a:pt x="56250" y="3538"/>
                </a:cubicBezTo>
                <a:cubicBezTo>
                  <a:pt x="57750" y="1608"/>
                  <a:pt x="58500" y="965"/>
                  <a:pt x="60000" y="965"/>
                </a:cubicBezTo>
                <a:cubicBezTo>
                  <a:pt x="62250" y="965"/>
                  <a:pt x="63000" y="965"/>
                  <a:pt x="64500" y="965"/>
                </a:cubicBezTo>
                <a:cubicBezTo>
                  <a:pt x="65250" y="965"/>
                  <a:pt x="65250" y="1608"/>
                  <a:pt x="66750" y="1930"/>
                </a:cubicBezTo>
                <a:cubicBezTo>
                  <a:pt x="67500" y="2573"/>
                  <a:pt x="67500" y="1930"/>
                  <a:pt x="69000" y="3538"/>
                </a:cubicBezTo>
                <a:cubicBezTo>
                  <a:pt x="71250" y="5469"/>
                  <a:pt x="74250" y="5469"/>
                  <a:pt x="75750" y="6434"/>
                </a:cubicBezTo>
                <a:cubicBezTo>
                  <a:pt x="76500" y="7399"/>
                  <a:pt x="80250" y="7077"/>
                  <a:pt x="84000" y="8364"/>
                </a:cubicBezTo>
                <a:cubicBezTo>
                  <a:pt x="88500" y="9973"/>
                  <a:pt x="90750" y="10616"/>
                  <a:pt x="93000" y="10616"/>
                </a:cubicBezTo>
                <a:cubicBezTo>
                  <a:pt x="93750" y="10616"/>
                  <a:pt x="97500" y="11903"/>
                  <a:pt x="96000" y="12546"/>
                </a:cubicBezTo>
                <a:cubicBezTo>
                  <a:pt x="93750" y="13833"/>
                  <a:pt x="96000" y="13833"/>
                  <a:pt x="93750" y="14477"/>
                </a:cubicBezTo>
                <a:cubicBezTo>
                  <a:pt x="91500" y="14798"/>
                  <a:pt x="93750" y="15442"/>
                  <a:pt x="93000" y="16407"/>
                </a:cubicBezTo>
                <a:cubicBezTo>
                  <a:pt x="91500" y="17372"/>
                  <a:pt x="89250" y="17372"/>
                  <a:pt x="90750" y="18016"/>
                </a:cubicBezTo>
                <a:cubicBezTo>
                  <a:pt x="90750" y="18981"/>
                  <a:pt x="90750" y="18337"/>
                  <a:pt x="93750" y="18337"/>
                </a:cubicBezTo>
                <a:cubicBezTo>
                  <a:pt x="98250" y="18337"/>
                  <a:pt x="100500" y="19946"/>
                  <a:pt x="104250" y="18981"/>
                </a:cubicBezTo>
                <a:cubicBezTo>
                  <a:pt x="106500" y="17372"/>
                  <a:pt x="108000" y="19946"/>
                  <a:pt x="108750" y="18337"/>
                </a:cubicBezTo>
                <a:cubicBezTo>
                  <a:pt x="108750" y="17050"/>
                  <a:pt x="112500" y="17050"/>
                  <a:pt x="113250" y="15442"/>
                </a:cubicBezTo>
                <a:cubicBezTo>
                  <a:pt x="113250" y="13833"/>
                  <a:pt x="114750" y="14477"/>
                  <a:pt x="113250" y="12546"/>
                </a:cubicBezTo>
                <a:cubicBezTo>
                  <a:pt x="115500" y="12868"/>
                  <a:pt x="117000" y="10938"/>
                  <a:pt x="119250" y="13512"/>
                </a:cubicBezTo>
                <a:cubicBezTo>
                  <a:pt x="120000" y="15442"/>
                  <a:pt x="120000" y="17372"/>
                  <a:pt x="117000" y="18337"/>
                </a:cubicBezTo>
                <a:cubicBezTo>
                  <a:pt x="113250" y="19302"/>
                  <a:pt x="108750" y="20589"/>
                  <a:pt x="105000" y="22841"/>
                </a:cubicBezTo>
                <a:cubicBezTo>
                  <a:pt x="100500" y="25415"/>
                  <a:pt x="100500" y="26380"/>
                  <a:pt x="99750" y="26380"/>
                </a:cubicBezTo>
                <a:cubicBezTo>
                  <a:pt x="97500" y="27024"/>
                  <a:pt x="97500" y="27345"/>
                  <a:pt x="96000" y="27989"/>
                </a:cubicBezTo>
                <a:close/>
                <a:moveTo>
                  <a:pt x="31500" y="117747"/>
                </a:moveTo>
                <a:cubicBezTo>
                  <a:pt x="33750" y="117747"/>
                  <a:pt x="31500" y="117426"/>
                  <a:pt x="33750" y="117747"/>
                </a:cubicBezTo>
                <a:cubicBezTo>
                  <a:pt x="36000" y="117747"/>
                  <a:pt x="40500" y="117747"/>
                  <a:pt x="42750" y="118391"/>
                </a:cubicBezTo>
                <a:cubicBezTo>
                  <a:pt x="45000" y="119034"/>
                  <a:pt x="43500" y="118391"/>
                  <a:pt x="45000" y="118391"/>
                </a:cubicBezTo>
                <a:cubicBezTo>
                  <a:pt x="47250" y="118391"/>
                  <a:pt x="47250" y="117426"/>
                  <a:pt x="48000" y="117747"/>
                </a:cubicBezTo>
                <a:cubicBezTo>
                  <a:pt x="48000" y="118391"/>
                  <a:pt x="48000" y="117747"/>
                  <a:pt x="49500" y="117747"/>
                </a:cubicBezTo>
                <a:cubicBezTo>
                  <a:pt x="50250" y="117747"/>
                  <a:pt x="50250" y="117747"/>
                  <a:pt x="50250" y="117426"/>
                </a:cubicBezTo>
                <a:cubicBezTo>
                  <a:pt x="51750" y="116782"/>
                  <a:pt x="50250" y="116782"/>
                  <a:pt x="49500" y="116782"/>
                </a:cubicBezTo>
                <a:cubicBezTo>
                  <a:pt x="47250" y="117426"/>
                  <a:pt x="47250" y="116782"/>
                  <a:pt x="45000" y="116461"/>
                </a:cubicBezTo>
                <a:cubicBezTo>
                  <a:pt x="43500" y="116461"/>
                  <a:pt x="42750" y="115495"/>
                  <a:pt x="40500" y="114852"/>
                </a:cubicBezTo>
                <a:cubicBezTo>
                  <a:pt x="38250" y="114530"/>
                  <a:pt x="34500" y="112922"/>
                  <a:pt x="34500" y="112278"/>
                </a:cubicBezTo>
                <a:cubicBezTo>
                  <a:pt x="33750" y="111957"/>
                  <a:pt x="34500" y="111313"/>
                  <a:pt x="32250" y="111313"/>
                </a:cubicBezTo>
                <a:cubicBezTo>
                  <a:pt x="31500" y="111313"/>
                  <a:pt x="31500" y="111313"/>
                  <a:pt x="31500" y="110991"/>
                </a:cubicBezTo>
                <a:cubicBezTo>
                  <a:pt x="32250" y="110348"/>
                  <a:pt x="32250" y="110348"/>
                  <a:pt x="32250" y="110991"/>
                </a:cubicBezTo>
                <a:cubicBezTo>
                  <a:pt x="33750" y="110991"/>
                  <a:pt x="33750" y="110991"/>
                  <a:pt x="33750" y="110991"/>
                </a:cubicBezTo>
                <a:cubicBezTo>
                  <a:pt x="33750" y="110348"/>
                  <a:pt x="32250" y="110026"/>
                  <a:pt x="31500" y="108739"/>
                </a:cubicBezTo>
                <a:cubicBezTo>
                  <a:pt x="31500" y="117747"/>
                  <a:pt x="31500" y="117747"/>
                  <a:pt x="31500" y="117747"/>
                </a:cubicBezTo>
                <a:close/>
                <a:moveTo>
                  <a:pt x="54750" y="117747"/>
                </a:moveTo>
                <a:cubicBezTo>
                  <a:pt x="56250" y="117426"/>
                  <a:pt x="56250" y="117747"/>
                  <a:pt x="57750" y="117747"/>
                </a:cubicBezTo>
                <a:cubicBezTo>
                  <a:pt x="58500" y="117426"/>
                  <a:pt x="57750" y="117747"/>
                  <a:pt x="58500" y="117426"/>
                </a:cubicBezTo>
                <a:cubicBezTo>
                  <a:pt x="60000" y="117426"/>
                  <a:pt x="60000" y="116782"/>
                  <a:pt x="58500" y="117426"/>
                </a:cubicBezTo>
                <a:cubicBezTo>
                  <a:pt x="57750" y="117426"/>
                  <a:pt x="57750" y="116782"/>
                  <a:pt x="54750" y="117426"/>
                </a:cubicBezTo>
                <a:cubicBezTo>
                  <a:pt x="54750" y="117426"/>
                  <a:pt x="52500" y="117426"/>
                  <a:pt x="54000" y="117747"/>
                </a:cubicBezTo>
                <a:cubicBezTo>
                  <a:pt x="54750" y="117747"/>
                  <a:pt x="54750" y="117747"/>
                  <a:pt x="54750" y="117747"/>
                </a:cubicBezTo>
                <a:close/>
                <a:moveTo>
                  <a:pt x="36000" y="119356"/>
                </a:moveTo>
                <a:cubicBezTo>
                  <a:pt x="36750" y="119356"/>
                  <a:pt x="36000" y="119034"/>
                  <a:pt x="36750" y="119034"/>
                </a:cubicBezTo>
                <a:cubicBezTo>
                  <a:pt x="38250" y="119034"/>
                  <a:pt x="36750" y="119356"/>
                  <a:pt x="38250" y="119356"/>
                </a:cubicBezTo>
                <a:cubicBezTo>
                  <a:pt x="39000" y="119356"/>
                  <a:pt x="39000" y="119356"/>
                  <a:pt x="40500" y="119034"/>
                </a:cubicBezTo>
                <a:cubicBezTo>
                  <a:pt x="40500" y="118391"/>
                  <a:pt x="39000" y="118391"/>
                  <a:pt x="38250" y="118391"/>
                </a:cubicBezTo>
                <a:cubicBezTo>
                  <a:pt x="36750" y="118391"/>
                  <a:pt x="36000" y="117747"/>
                  <a:pt x="33750" y="117747"/>
                </a:cubicBezTo>
                <a:cubicBezTo>
                  <a:pt x="32250" y="117747"/>
                  <a:pt x="32250" y="118391"/>
                  <a:pt x="33750" y="118391"/>
                </a:cubicBezTo>
                <a:cubicBezTo>
                  <a:pt x="33750" y="118391"/>
                  <a:pt x="33750" y="118391"/>
                  <a:pt x="33750" y="119356"/>
                </a:cubicBezTo>
                <a:cubicBezTo>
                  <a:pt x="33750" y="119356"/>
                  <a:pt x="34500" y="119356"/>
                  <a:pt x="36000" y="119356"/>
                </a:cubicBezTo>
                <a:close/>
                <a:moveTo>
                  <a:pt x="40500" y="119356"/>
                </a:moveTo>
                <a:cubicBezTo>
                  <a:pt x="40500" y="119356"/>
                  <a:pt x="41250" y="119034"/>
                  <a:pt x="41250" y="119356"/>
                </a:cubicBezTo>
                <a:cubicBezTo>
                  <a:pt x="41250" y="119999"/>
                  <a:pt x="40500" y="119999"/>
                  <a:pt x="40500" y="119356"/>
                </a:cubicBezTo>
                <a:close/>
                <a:moveTo>
                  <a:pt x="42750" y="119356"/>
                </a:moveTo>
                <a:cubicBezTo>
                  <a:pt x="41250" y="119356"/>
                  <a:pt x="42750" y="119034"/>
                  <a:pt x="43500" y="119034"/>
                </a:cubicBezTo>
                <a:cubicBezTo>
                  <a:pt x="43500" y="119356"/>
                  <a:pt x="43500" y="119356"/>
                  <a:pt x="42750" y="119356"/>
                </a:cubicBezTo>
                <a:close/>
              </a:path>
            </a:pathLst>
          </a:custGeom>
          <a:solidFill>
            <a:srgbClr val="FFFFFF">
              <a:alpha val="35000"/>
            </a:srgbClr>
          </a:solidFill>
          <a:ln w="3175" cap="flat" cmpd="sng">
            <a:solidFill>
              <a:schemeClr val="bg1"/>
            </a:solidFill>
            <a:prstDash val="solid"/>
            <a:round/>
            <a:headEnd type="none" w="med" len="med"/>
            <a:tailEnd type="none" w="med" len="med"/>
          </a:ln>
        </p:spPr>
        <p:txBody>
          <a:bodyPr lIns="91344" tIns="45661" rIns="91344" bIns="45661" anchor="t" anchorCtr="0">
            <a:noAutofit/>
          </a:bodyPr>
          <a:lstStyle/>
          <a:p>
            <a:pPr defTabSz="1088089"/>
            <a:endParaRPr lang="en-US" sz="1998" kern="0" dirty="0">
              <a:solidFill>
                <a:srgbClr val="000000"/>
              </a:solidFill>
              <a:latin typeface="Arial" panose="020B0604020202020204" pitchFamily="34" charset="0"/>
              <a:ea typeface="Arial"/>
              <a:cs typeface="Arial" panose="020B0604020202020204" pitchFamily="34" charset="0"/>
              <a:sym typeface="Arial"/>
            </a:endParaRPr>
          </a:p>
        </p:txBody>
      </p:sp>
      <p:sp>
        <p:nvSpPr>
          <p:cNvPr id="264" name="Rechteck 263"/>
          <p:cNvSpPr/>
          <p:nvPr/>
        </p:nvSpPr>
        <p:spPr>
          <a:xfrm>
            <a:off x="2827520" y="5580000"/>
            <a:ext cx="1980000" cy="1080000"/>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en-US" sz="2400" b="1" dirty="0" smtClean="0">
                <a:solidFill>
                  <a:srgbClr val="FFFF00"/>
                </a:solidFill>
                <a:latin typeface="CorpoS" pitchFamily="2" charset="0"/>
              </a:rPr>
              <a:t>&gt;1,100 </a:t>
            </a:r>
          </a:p>
          <a:p>
            <a:pPr algn="ctr" defTabSz="1087306"/>
            <a:r>
              <a:rPr lang="ru-RU" b="1" dirty="0" smtClean="0">
                <a:solidFill>
                  <a:prstClr val="white"/>
                </a:solidFill>
                <a:latin typeface="CorpoS" pitchFamily="2" charset="0"/>
              </a:rPr>
              <a:t>ГОРОДОВ</a:t>
            </a:r>
            <a:endParaRPr lang="en-US" sz="2400" b="1" dirty="0">
              <a:solidFill>
                <a:prstClr val="white"/>
              </a:solidFill>
              <a:latin typeface="CorpoS" pitchFamily="2" charset="0"/>
            </a:endParaRPr>
          </a:p>
        </p:txBody>
      </p:sp>
      <p:sp>
        <p:nvSpPr>
          <p:cNvPr id="265" name="Rechteck 264"/>
          <p:cNvSpPr/>
          <p:nvPr/>
        </p:nvSpPr>
        <p:spPr>
          <a:xfrm>
            <a:off x="5246694" y="5580000"/>
            <a:ext cx="1980000" cy="1080000"/>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en-US" sz="2400" b="1" dirty="0" smtClean="0">
                <a:solidFill>
                  <a:srgbClr val="FFFF00"/>
                </a:solidFill>
                <a:latin typeface="CorpoS" pitchFamily="2" charset="0"/>
              </a:rPr>
              <a:t>&gt;30 </a:t>
            </a:r>
            <a:r>
              <a:rPr lang="ru-RU" sz="2400" b="1" dirty="0" smtClean="0">
                <a:solidFill>
                  <a:srgbClr val="FFFF00"/>
                </a:solidFill>
                <a:latin typeface="CorpoS" pitchFamily="2" charset="0"/>
              </a:rPr>
              <a:t>МЛН</a:t>
            </a:r>
            <a:r>
              <a:rPr lang="en-US" sz="2400" b="1" dirty="0" smtClean="0">
                <a:solidFill>
                  <a:srgbClr val="FFFF00"/>
                </a:solidFill>
                <a:latin typeface="CorpoS" pitchFamily="2" charset="0"/>
              </a:rPr>
              <a:t> </a:t>
            </a:r>
            <a:r>
              <a:rPr lang="ru-RU" b="1" dirty="0" smtClean="0">
                <a:solidFill>
                  <a:prstClr val="white"/>
                </a:solidFill>
                <a:latin typeface="CorpoS" pitchFamily="2" charset="0"/>
              </a:rPr>
              <a:t>КЛИЕНТОВ</a:t>
            </a:r>
            <a:endParaRPr lang="en-US" sz="2400" b="1" dirty="0">
              <a:solidFill>
                <a:prstClr val="white"/>
              </a:solidFill>
              <a:latin typeface="CorpoS" pitchFamily="2" charset="0"/>
            </a:endParaRPr>
          </a:p>
        </p:txBody>
      </p:sp>
      <p:sp>
        <p:nvSpPr>
          <p:cNvPr id="266" name="Rechteck 265"/>
          <p:cNvSpPr/>
          <p:nvPr/>
        </p:nvSpPr>
        <p:spPr>
          <a:xfrm>
            <a:off x="7665338" y="5580000"/>
            <a:ext cx="1980000" cy="1080000"/>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en-US" sz="2400" b="1" dirty="0" smtClean="0">
                <a:solidFill>
                  <a:srgbClr val="FFFF00"/>
                </a:solidFill>
                <a:latin typeface="CorpoS" pitchFamily="2" charset="0"/>
              </a:rPr>
              <a:t>100,000+</a:t>
            </a:r>
          </a:p>
          <a:p>
            <a:pPr algn="ctr" defTabSz="1087306"/>
            <a:r>
              <a:rPr lang="ru-RU" b="1" dirty="0" smtClean="0">
                <a:solidFill>
                  <a:prstClr val="white"/>
                </a:solidFill>
                <a:latin typeface="CorpoS" pitchFamily="2" charset="0"/>
              </a:rPr>
              <a:t>ТОЧЕК ЗАРЯДКИ</a:t>
            </a:r>
            <a:endParaRPr lang="en-US" sz="2400" b="1" dirty="0">
              <a:solidFill>
                <a:prstClr val="white"/>
              </a:solidFill>
              <a:latin typeface="CorpoS" pitchFamily="2" charset="0"/>
            </a:endParaRPr>
          </a:p>
        </p:txBody>
      </p:sp>
      <p:pic>
        <p:nvPicPr>
          <p:cNvPr id="2" name="Grafik 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864000" y="252000"/>
            <a:ext cx="2153789" cy="1206000"/>
          </a:xfrm>
          <a:prstGeom prst="rect">
            <a:avLst/>
          </a:prstGeom>
        </p:spPr>
      </p:pic>
    </p:spTree>
    <p:extLst>
      <p:ext uri="{BB962C8B-B14F-4D97-AF65-F5344CB8AC3E}">
        <p14:creationId xmlns:p14="http://schemas.microsoft.com/office/powerpoint/2010/main" val="2866660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5113" y="4563"/>
          <a:ext cx="1585" cy="1585"/>
        </p:xfrm>
        <a:graphic>
          <a:graphicData uri="http://schemas.openxmlformats.org/presentationml/2006/ole">
            <mc:AlternateContent xmlns:mc="http://schemas.openxmlformats.org/markup-compatibility/2006">
              <mc:Choice xmlns:v="urn:schemas-microsoft-com:vml" Requires="v">
                <p:oleObj spid="_x0000_s228428" name="think-cell Folie" r:id="rId6" imgW="216" imgH="216" progId="TCLayout.ActiveDocument.1">
                  <p:embed/>
                </p:oleObj>
              </mc:Choice>
              <mc:Fallback>
                <p:oleObj name="think-cell Folie" r:id="rId6" imgW="216" imgH="216" progId="TCLayout.ActiveDocument.1">
                  <p:embed/>
                  <p:pic>
                    <p:nvPicPr>
                      <p:cNvPr id="0" name=""/>
                      <p:cNvPicPr/>
                      <p:nvPr/>
                    </p:nvPicPr>
                    <p:blipFill>
                      <a:blip r:embed="rId7"/>
                      <a:stretch>
                        <a:fillRect/>
                      </a:stretch>
                    </p:blipFill>
                    <p:spPr>
                      <a:xfrm>
                        <a:off x="5113" y="4563"/>
                        <a:ext cx="1585" cy="1585"/>
                      </a:xfrm>
                      <a:prstGeom prst="rect">
                        <a:avLst/>
                      </a:prstGeom>
                    </p:spPr>
                  </p:pic>
                </p:oleObj>
              </mc:Fallback>
            </mc:AlternateContent>
          </a:graphicData>
        </a:graphic>
      </p:graphicFrame>
      <p:sp>
        <p:nvSpPr>
          <p:cNvPr id="5" name="Rechteck 4" hidden="1"/>
          <p:cNvSpPr/>
          <p:nvPr>
            <p:custDataLst>
              <p:tags r:id="rId3"/>
            </p:custDataLst>
          </p:nvPr>
        </p:nvSpPr>
        <p:spPr>
          <a:xfrm>
            <a:off x="3526" y="2976"/>
            <a:ext cx="158575" cy="158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087763">
              <a:lnSpc>
                <a:spcPct val="80000"/>
              </a:lnSpc>
              <a:spcBef>
                <a:spcPct val="0"/>
              </a:spcBef>
              <a:spcAft>
                <a:spcPct val="0"/>
              </a:spcAft>
            </a:pPr>
            <a:endParaRPr lang="en-US" sz="2799" b="1" dirty="0">
              <a:solidFill>
                <a:prstClr val="white"/>
              </a:solidFill>
              <a:sym typeface="CorpoS" pitchFamily="2" charset="0"/>
            </a:endParaRPr>
          </a:p>
        </p:txBody>
      </p:sp>
      <p:pic>
        <p:nvPicPr>
          <p:cNvPr id="3" name="Grafik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844" y="6938"/>
            <a:ext cx="12188474" cy="6850070"/>
          </a:xfrm>
          <a:prstGeom prst="rect">
            <a:avLst/>
          </a:prstGeom>
        </p:spPr>
      </p:pic>
      <p:sp>
        <p:nvSpPr>
          <p:cNvPr id="76" name="Rechteck 75"/>
          <p:cNvSpPr>
            <a:spLocks noChangeAspect="1"/>
          </p:cNvSpPr>
          <p:nvPr/>
        </p:nvSpPr>
        <p:spPr>
          <a:xfrm>
            <a:off x="6251391" y="2465758"/>
            <a:ext cx="1773363" cy="3470172"/>
          </a:xfrm>
          <a:prstGeom prst="rect">
            <a:avLst/>
          </a:prstGeom>
          <a:solidFill>
            <a:srgbClr val="FFFFFF">
              <a:alpha val="34902"/>
            </a:srgb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endParaRPr lang="de-DE" sz="1798">
              <a:solidFill>
                <a:prstClr val="white"/>
              </a:solidFill>
            </a:endParaRPr>
          </a:p>
        </p:txBody>
      </p:sp>
      <p:sp>
        <p:nvSpPr>
          <p:cNvPr id="48" name="Rechteck 47"/>
          <p:cNvSpPr>
            <a:spLocks noChangeAspect="1"/>
          </p:cNvSpPr>
          <p:nvPr/>
        </p:nvSpPr>
        <p:spPr>
          <a:xfrm>
            <a:off x="10152196" y="2465758"/>
            <a:ext cx="1773416" cy="3482209"/>
          </a:xfrm>
          <a:prstGeom prst="rect">
            <a:avLst/>
          </a:prstGeom>
          <a:solidFill>
            <a:srgbClr val="FFFFFF">
              <a:alpha val="34902"/>
            </a:srgb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endParaRPr lang="de-DE" sz="1798">
              <a:solidFill>
                <a:prstClr val="white"/>
              </a:solidFill>
            </a:endParaRPr>
          </a:p>
        </p:txBody>
      </p:sp>
      <p:sp>
        <p:nvSpPr>
          <p:cNvPr id="77" name="Rechteck 76"/>
          <p:cNvSpPr>
            <a:spLocks noChangeAspect="1"/>
          </p:cNvSpPr>
          <p:nvPr/>
        </p:nvSpPr>
        <p:spPr>
          <a:xfrm>
            <a:off x="4300952" y="2465758"/>
            <a:ext cx="1773459" cy="3482209"/>
          </a:xfrm>
          <a:prstGeom prst="rect">
            <a:avLst/>
          </a:prstGeom>
          <a:solidFill>
            <a:srgbClr val="FFFFFF">
              <a:alpha val="34902"/>
            </a:srgb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endParaRPr lang="de-DE" sz="1798">
              <a:solidFill>
                <a:prstClr val="white"/>
              </a:solidFill>
            </a:endParaRPr>
          </a:p>
        </p:txBody>
      </p:sp>
      <p:sp>
        <p:nvSpPr>
          <p:cNvPr id="78" name="Rechteck 77"/>
          <p:cNvSpPr>
            <a:spLocks noChangeAspect="1"/>
          </p:cNvSpPr>
          <p:nvPr/>
        </p:nvSpPr>
        <p:spPr>
          <a:xfrm>
            <a:off x="2197098" y="2465758"/>
            <a:ext cx="1916564" cy="3482209"/>
          </a:xfrm>
          <a:prstGeom prst="rect">
            <a:avLst/>
          </a:prstGeom>
          <a:solidFill>
            <a:srgbClr val="FFFFFF">
              <a:alpha val="34902"/>
            </a:srgb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endParaRPr lang="de-DE" sz="1798">
              <a:solidFill>
                <a:prstClr val="white"/>
              </a:solidFill>
            </a:endParaRPr>
          </a:p>
        </p:txBody>
      </p:sp>
      <p:sp>
        <p:nvSpPr>
          <p:cNvPr id="82" name="Rechteck 81"/>
          <p:cNvSpPr>
            <a:spLocks noChangeAspect="1"/>
          </p:cNvSpPr>
          <p:nvPr/>
        </p:nvSpPr>
        <p:spPr>
          <a:xfrm>
            <a:off x="8201779" y="2465758"/>
            <a:ext cx="1773416" cy="3482209"/>
          </a:xfrm>
          <a:prstGeom prst="rect">
            <a:avLst/>
          </a:prstGeom>
          <a:solidFill>
            <a:srgbClr val="FFFFFF">
              <a:alpha val="34902"/>
            </a:srgb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endParaRPr lang="de-DE" sz="1798">
              <a:solidFill>
                <a:prstClr val="white"/>
              </a:solidFill>
            </a:endParaRPr>
          </a:p>
        </p:txBody>
      </p:sp>
      <p:sp>
        <p:nvSpPr>
          <p:cNvPr id="88" name="TextBox 51"/>
          <p:cNvSpPr txBox="1"/>
          <p:nvPr/>
        </p:nvSpPr>
        <p:spPr bwMode="auto">
          <a:xfrm>
            <a:off x="5194834" y="3152447"/>
            <a:ext cx="673081" cy="430407"/>
          </a:xfrm>
          <a:prstGeom prst="rect">
            <a:avLst/>
          </a:prstGeom>
          <a:noFill/>
          <a:ln w="9525">
            <a:noFill/>
            <a:miter lim="800000"/>
            <a:headEnd/>
            <a:tailEnd/>
          </a:ln>
        </p:spPr>
        <p:txBody>
          <a:bodyPr wrap="square" lIns="0" tIns="0" rIns="0" bIns="0" rtlCol="0" anchor="t" anchorCtr="0">
            <a:spAutoFit/>
          </a:bodyPr>
          <a:lstStyle/>
          <a:p>
            <a:pPr algn="ctr" defTabSz="1088089" fontAlgn="base">
              <a:spcBef>
                <a:spcPct val="0"/>
              </a:spcBef>
              <a:spcAft>
                <a:spcPct val="0"/>
              </a:spcAft>
            </a:pPr>
            <a:r>
              <a:rPr lang="en-US" sz="1398" b="1" dirty="0">
                <a:solidFill>
                  <a:prstClr val="black"/>
                </a:solidFill>
              </a:rPr>
              <a:t>DMS</a:t>
            </a:r>
          </a:p>
          <a:p>
            <a:pPr algn="ctr" defTabSz="1088089" fontAlgn="base">
              <a:spcBef>
                <a:spcPct val="0"/>
              </a:spcBef>
              <a:spcAft>
                <a:spcPct val="0"/>
              </a:spcAft>
            </a:pPr>
            <a:r>
              <a:rPr lang="en-US" sz="1398" dirty="0">
                <a:solidFill>
                  <a:prstClr val="black"/>
                </a:solidFill>
              </a:rPr>
              <a:t>(China) </a:t>
            </a:r>
          </a:p>
        </p:txBody>
      </p:sp>
      <p:pic>
        <p:nvPicPr>
          <p:cNvPr id="12" name="Grafik 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385756" y="4573408"/>
            <a:ext cx="592004" cy="271253"/>
          </a:xfrm>
          <a:prstGeom prst="rect">
            <a:avLst/>
          </a:prstGeom>
        </p:spPr>
      </p:pic>
      <p:pic>
        <p:nvPicPr>
          <p:cNvPr id="13" name="Grafik 1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73239" y="4567861"/>
            <a:ext cx="999263" cy="293530"/>
          </a:xfrm>
          <a:prstGeom prst="rect">
            <a:avLst/>
          </a:prstGeom>
        </p:spPr>
      </p:pic>
      <p:pic>
        <p:nvPicPr>
          <p:cNvPr id="14" name="Grafik 1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362247" y="5012351"/>
            <a:ext cx="639021" cy="343355"/>
          </a:xfrm>
          <a:prstGeom prst="rect">
            <a:avLst/>
          </a:prstGeom>
        </p:spPr>
      </p:pic>
      <p:pic>
        <p:nvPicPr>
          <p:cNvPr id="15" name="Grafik 1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199529" y="4868411"/>
            <a:ext cx="746682" cy="746682"/>
          </a:xfrm>
          <a:prstGeom prst="rect">
            <a:avLst/>
          </a:prstGeom>
        </p:spPr>
      </p:pic>
      <p:pic>
        <p:nvPicPr>
          <p:cNvPr id="16" name="Grafik 15"/>
          <p:cNvPicPr>
            <a:picLocks noChangeAspect="1"/>
          </p:cNvPicPr>
          <p:nvPr/>
        </p:nvPicPr>
        <p:blipFill rotWithShape="1">
          <a:blip r:embed="rId13" cstate="print">
            <a:extLst>
              <a:ext uri="{28A0092B-C50C-407E-A947-70E740481C1C}">
                <a14:useLocalDpi xmlns:a14="http://schemas.microsoft.com/office/drawing/2010/main" val="0"/>
              </a:ext>
            </a:extLst>
          </a:blip>
          <a:srcRect t="31084" b="43539"/>
          <a:stretch/>
        </p:blipFill>
        <p:spPr>
          <a:xfrm>
            <a:off x="4429815" y="4632072"/>
            <a:ext cx="1506119" cy="229320"/>
          </a:xfrm>
          <a:prstGeom prst="rect">
            <a:avLst/>
          </a:prstGeom>
        </p:spPr>
      </p:pic>
      <p:pic>
        <p:nvPicPr>
          <p:cNvPr id="17" name="Grafik 1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485544" y="4508558"/>
            <a:ext cx="1305057" cy="476346"/>
          </a:xfrm>
          <a:prstGeom prst="rect">
            <a:avLst/>
          </a:prstGeom>
        </p:spPr>
      </p:pic>
      <p:pic>
        <p:nvPicPr>
          <p:cNvPr id="19" name="Grafik 1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411608" y="3050182"/>
            <a:ext cx="1019128" cy="636954"/>
          </a:xfrm>
          <a:prstGeom prst="rect">
            <a:avLst/>
          </a:prstGeom>
        </p:spPr>
      </p:pic>
      <p:sp>
        <p:nvSpPr>
          <p:cNvPr id="23" name="Rechteck 22"/>
          <p:cNvSpPr/>
          <p:nvPr/>
        </p:nvSpPr>
        <p:spPr>
          <a:xfrm>
            <a:off x="10152196" y="1918324"/>
            <a:ext cx="1773416" cy="504000"/>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5" tIns="45683" rIns="91365" bIns="45683" numCol="1" spcCol="0" rtlCol="0" fromWordArt="0" anchor="ctr" anchorCtr="0" forceAA="0" compatLnSpc="1">
            <a:prstTxWarp prst="textNoShape">
              <a:avLst/>
            </a:prstTxWarp>
            <a:noAutofit/>
          </a:bodyPr>
          <a:lstStyle/>
          <a:p>
            <a:pPr algn="ctr" defTabSz="1088089"/>
            <a:r>
              <a:rPr lang="ru-RU" b="1" dirty="0" smtClean="0">
                <a:solidFill>
                  <a:prstClr val="white"/>
                </a:solidFill>
                <a:latin typeface="CorpoS" pitchFamily="2" charset="0"/>
              </a:rPr>
              <a:t>ПАРКОВКА</a:t>
            </a:r>
          </a:p>
          <a:p>
            <a:pPr algn="ctr" defTabSz="1088089"/>
            <a:r>
              <a:rPr lang="ru-RU" b="1" dirty="0" smtClean="0">
                <a:solidFill>
                  <a:prstClr val="white"/>
                </a:solidFill>
                <a:latin typeface="CorpoS" pitchFamily="2" charset="0"/>
              </a:rPr>
              <a:t>ЗАРЯДКА</a:t>
            </a:r>
            <a:endParaRPr lang="ru-RU" b="1" dirty="0" smtClean="0">
              <a:solidFill>
                <a:prstClr val="white"/>
              </a:solidFill>
              <a:latin typeface="CorpoS" pitchFamily="2" charset="0"/>
            </a:endParaRPr>
          </a:p>
        </p:txBody>
      </p:sp>
      <p:sp>
        <p:nvSpPr>
          <p:cNvPr id="62" name="Rechteck 61"/>
          <p:cNvSpPr/>
          <p:nvPr/>
        </p:nvSpPr>
        <p:spPr>
          <a:xfrm>
            <a:off x="8201779" y="1918324"/>
            <a:ext cx="1773416" cy="504000"/>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5" tIns="45683" rIns="91365" bIns="45683" numCol="1" spcCol="0" rtlCol="0" fromWordArt="0" anchor="ctr" anchorCtr="0" forceAA="0" compatLnSpc="1">
            <a:prstTxWarp prst="textNoShape">
              <a:avLst/>
            </a:prstTxWarp>
            <a:noAutofit/>
          </a:bodyPr>
          <a:lstStyle/>
          <a:p>
            <a:pPr algn="ctr" defTabSz="1088089"/>
            <a:r>
              <a:rPr lang="ru-RU" sz="1400" b="1" dirty="0" smtClean="0">
                <a:solidFill>
                  <a:prstClr val="white"/>
                </a:solidFill>
                <a:latin typeface="CorpoS" pitchFamily="2" charset="0"/>
              </a:rPr>
              <a:t>МУЛЬТИ-</a:t>
            </a:r>
          </a:p>
          <a:p>
            <a:pPr algn="ctr" defTabSz="1088089"/>
            <a:r>
              <a:rPr lang="ru-RU" sz="1400" b="1" dirty="0" smtClean="0">
                <a:solidFill>
                  <a:prstClr val="white"/>
                </a:solidFill>
                <a:latin typeface="CorpoS" pitchFamily="2" charset="0"/>
              </a:rPr>
              <a:t>МОДАЛЬНОСТЬ</a:t>
            </a:r>
            <a:endParaRPr lang="de-DE" sz="1400" b="1" dirty="0">
              <a:solidFill>
                <a:prstClr val="white"/>
              </a:solidFill>
              <a:latin typeface="CorpoS" pitchFamily="2" charset="0"/>
            </a:endParaRPr>
          </a:p>
        </p:txBody>
      </p:sp>
      <p:sp>
        <p:nvSpPr>
          <p:cNvPr id="63" name="Rechteck 62"/>
          <p:cNvSpPr/>
          <p:nvPr/>
        </p:nvSpPr>
        <p:spPr>
          <a:xfrm>
            <a:off x="6251363" y="1918324"/>
            <a:ext cx="1773416" cy="504000"/>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5" tIns="45683" rIns="91365" bIns="45683" numCol="1" spcCol="0" rtlCol="0" fromWordArt="0" anchor="ctr" anchorCtr="0" forceAA="0" compatLnSpc="1">
            <a:prstTxWarp prst="textNoShape">
              <a:avLst/>
            </a:prstTxWarp>
            <a:noAutofit/>
          </a:bodyPr>
          <a:lstStyle/>
          <a:p>
            <a:pPr algn="ctr" defTabSz="1088089"/>
            <a:r>
              <a:rPr lang="ru-RU" b="1" dirty="0" smtClean="0">
                <a:solidFill>
                  <a:prstClr val="white"/>
                </a:solidFill>
                <a:latin typeface="CorpoS" pitchFamily="2" charset="0"/>
              </a:rPr>
              <a:t>КАРШЕРИНГ</a:t>
            </a:r>
            <a:endParaRPr lang="de-DE" b="1" dirty="0">
              <a:solidFill>
                <a:prstClr val="white"/>
              </a:solidFill>
              <a:latin typeface="CorpoS" pitchFamily="2" charset="0"/>
            </a:endParaRPr>
          </a:p>
        </p:txBody>
      </p:sp>
      <p:sp>
        <p:nvSpPr>
          <p:cNvPr id="64" name="Rechteck 63"/>
          <p:cNvSpPr/>
          <p:nvPr/>
        </p:nvSpPr>
        <p:spPr>
          <a:xfrm>
            <a:off x="4300975" y="1917620"/>
            <a:ext cx="1773416" cy="504000"/>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5" tIns="45683" rIns="91365" bIns="45683" numCol="1" spcCol="0" rtlCol="0" fromWordArt="0" anchor="ctr" anchorCtr="0" forceAA="0" compatLnSpc="1">
            <a:prstTxWarp prst="textNoShape">
              <a:avLst/>
            </a:prstTxWarp>
            <a:noAutofit/>
          </a:bodyPr>
          <a:lstStyle/>
          <a:p>
            <a:pPr algn="ctr" defTabSz="1088089"/>
            <a:r>
              <a:rPr lang="ru-RU" b="1" dirty="0" smtClean="0">
                <a:solidFill>
                  <a:prstClr val="white"/>
                </a:solidFill>
                <a:latin typeface="CorpoS" pitchFamily="2" charset="0"/>
              </a:rPr>
              <a:t>ТАКСИ </a:t>
            </a:r>
            <a:r>
              <a:rPr lang="ru-RU" sz="1200" b="1" dirty="0" smtClean="0">
                <a:solidFill>
                  <a:prstClr val="white"/>
                </a:solidFill>
                <a:latin typeface="CorpoS" pitchFamily="2" charset="0"/>
              </a:rPr>
              <a:t>(ПРЕМИУМ)</a:t>
            </a:r>
            <a:endParaRPr lang="de-DE" sz="1000" b="1" dirty="0">
              <a:solidFill>
                <a:prstClr val="white"/>
              </a:solidFill>
              <a:latin typeface="CorpoS" pitchFamily="2" charset="0"/>
            </a:endParaRPr>
          </a:p>
        </p:txBody>
      </p:sp>
      <p:sp>
        <p:nvSpPr>
          <p:cNvPr id="65" name="Rechteck 64"/>
          <p:cNvSpPr/>
          <p:nvPr/>
        </p:nvSpPr>
        <p:spPr>
          <a:xfrm>
            <a:off x="2207785" y="1917620"/>
            <a:ext cx="1916167" cy="504000"/>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5" tIns="45683" rIns="91365" bIns="45683" numCol="1" spcCol="0" rtlCol="0" fromWordArt="0" anchor="ctr" anchorCtr="0" forceAA="0" compatLnSpc="1">
            <a:prstTxWarp prst="textNoShape">
              <a:avLst/>
            </a:prstTxWarp>
            <a:noAutofit/>
          </a:bodyPr>
          <a:lstStyle/>
          <a:p>
            <a:pPr algn="ctr" defTabSz="1088089"/>
            <a:r>
              <a:rPr lang="ru-RU" b="1" dirty="0" smtClean="0">
                <a:solidFill>
                  <a:prstClr val="white"/>
                </a:solidFill>
                <a:latin typeface="CorpoS" pitchFamily="2" charset="0"/>
              </a:rPr>
              <a:t>ТАКСИ</a:t>
            </a:r>
            <a:endParaRPr lang="de-DE" sz="1200" b="1" dirty="0">
              <a:solidFill>
                <a:prstClr val="white"/>
              </a:solidFill>
              <a:latin typeface="CorpoS" pitchFamily="2" charset="0"/>
            </a:endParaRPr>
          </a:p>
        </p:txBody>
      </p:sp>
      <p:pic>
        <p:nvPicPr>
          <p:cNvPr id="7" name="Grafik 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545069" y="2855506"/>
            <a:ext cx="1137051" cy="636683"/>
          </a:xfrm>
          <a:prstGeom prst="rect">
            <a:avLst/>
          </a:prstGeom>
        </p:spPr>
      </p:pic>
      <p:pic>
        <p:nvPicPr>
          <p:cNvPr id="58" name="Picture 19"/>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612360" y="3585869"/>
            <a:ext cx="418137" cy="274777"/>
          </a:xfrm>
          <a:prstGeom prst="rect">
            <a:avLst/>
          </a:prstGeom>
          <a:solidFill>
            <a:schemeClr val="bg1">
              <a:alpha val="55000"/>
            </a:schemeClr>
          </a:solidFill>
          <a:ln>
            <a:noFill/>
          </a:ln>
        </p:spPr>
      </p:pic>
      <p:pic>
        <p:nvPicPr>
          <p:cNvPr id="59" name="Picture 22"/>
          <p:cNvPicPr>
            <a:picLocks noChangeAspect="1"/>
          </p:cNvPicPr>
          <p:nvPr/>
        </p:nvPicPr>
        <p:blipFill>
          <a:blip r:embed="rId18"/>
          <a:stretch>
            <a:fillRect/>
          </a:stretch>
        </p:blipFill>
        <p:spPr>
          <a:xfrm>
            <a:off x="7196691" y="3566212"/>
            <a:ext cx="274206" cy="314089"/>
          </a:xfrm>
          <a:prstGeom prst="rect">
            <a:avLst/>
          </a:prstGeom>
          <a:solidFill>
            <a:schemeClr val="bg1">
              <a:alpha val="55000"/>
            </a:schemeClr>
          </a:solidFill>
          <a:ln>
            <a:noFill/>
          </a:ln>
        </p:spPr>
      </p:pic>
      <p:sp>
        <p:nvSpPr>
          <p:cNvPr id="42" name="Abgerundetes Rechteck 41"/>
          <p:cNvSpPr/>
          <p:nvPr/>
        </p:nvSpPr>
        <p:spPr>
          <a:xfrm>
            <a:off x="6427866" y="2735373"/>
            <a:ext cx="1420413" cy="1322302"/>
          </a:xfrm>
          <a:prstGeom prst="roundRect">
            <a:avLst/>
          </a:prstGeom>
          <a:noFill/>
          <a:ln w="28575">
            <a:solidFill>
              <a:srgbClr val="9E9E9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de-DE" sz="1799">
              <a:solidFill>
                <a:prstClr val="white"/>
              </a:solidFill>
            </a:endParaRPr>
          </a:p>
        </p:txBody>
      </p:sp>
      <p:pic>
        <p:nvPicPr>
          <p:cNvPr id="8" name="Grafik 7"/>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519963" y="2889017"/>
            <a:ext cx="1137051" cy="636683"/>
          </a:xfrm>
          <a:prstGeom prst="rect">
            <a:avLst/>
          </a:prstGeom>
        </p:spPr>
      </p:pic>
      <p:pic>
        <p:nvPicPr>
          <p:cNvPr id="60" name="Picture 23"/>
          <p:cNvPicPr>
            <a:picLocks noChangeAspect="1"/>
          </p:cNvPicPr>
          <p:nvPr/>
        </p:nvPicPr>
        <p:blipFill>
          <a:blip r:embed="rId20"/>
          <a:stretch>
            <a:fillRect/>
          </a:stretch>
        </p:blipFill>
        <p:spPr>
          <a:xfrm>
            <a:off x="8906772" y="3686823"/>
            <a:ext cx="740143" cy="139886"/>
          </a:xfrm>
          <a:prstGeom prst="rect">
            <a:avLst/>
          </a:prstGeom>
          <a:solidFill>
            <a:schemeClr val="bg1">
              <a:alpha val="55000"/>
            </a:schemeClr>
          </a:solidFill>
          <a:ln>
            <a:noFill/>
          </a:ln>
        </p:spPr>
      </p:pic>
      <p:pic>
        <p:nvPicPr>
          <p:cNvPr id="61" name="Picture 24"/>
          <p:cNvPicPr>
            <a:picLocks noChangeAspect="1"/>
          </p:cNvPicPr>
          <p:nvPr/>
        </p:nvPicPr>
        <p:blipFill>
          <a:blip r:embed="rId21"/>
          <a:stretch>
            <a:fillRect/>
          </a:stretch>
        </p:blipFill>
        <p:spPr>
          <a:xfrm>
            <a:off x="8589204" y="3613677"/>
            <a:ext cx="246633" cy="286181"/>
          </a:xfrm>
          <a:prstGeom prst="rect">
            <a:avLst/>
          </a:prstGeom>
          <a:solidFill>
            <a:schemeClr val="bg1">
              <a:alpha val="55000"/>
            </a:schemeClr>
          </a:solidFill>
          <a:ln>
            <a:noFill/>
          </a:ln>
        </p:spPr>
      </p:pic>
      <p:sp>
        <p:nvSpPr>
          <p:cNvPr id="44" name="Abgerundetes Rechteck 43"/>
          <p:cNvSpPr/>
          <p:nvPr/>
        </p:nvSpPr>
        <p:spPr>
          <a:xfrm>
            <a:off x="8378282" y="2735373"/>
            <a:ext cx="1420413" cy="1322302"/>
          </a:xfrm>
          <a:prstGeom prst="roundRect">
            <a:avLst/>
          </a:prstGeom>
          <a:noFill/>
          <a:ln w="28575">
            <a:solidFill>
              <a:srgbClr val="9E9E9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de-DE" sz="1799">
              <a:solidFill>
                <a:prstClr val="white"/>
              </a:solidFill>
            </a:endParaRPr>
          </a:p>
        </p:txBody>
      </p:sp>
      <p:grpSp>
        <p:nvGrpSpPr>
          <p:cNvPr id="21" name="Gruppieren 20"/>
          <p:cNvGrpSpPr/>
          <p:nvPr/>
        </p:nvGrpSpPr>
        <p:grpSpPr>
          <a:xfrm>
            <a:off x="10328698" y="4350299"/>
            <a:ext cx="1420413" cy="1322302"/>
            <a:chOff x="10053797" y="4247105"/>
            <a:chExt cx="1421153" cy="1322991"/>
          </a:xfrm>
        </p:grpSpPr>
        <p:pic>
          <p:nvPicPr>
            <p:cNvPr id="57" name="Grafik 5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0198511" y="4398138"/>
              <a:ext cx="1052299" cy="589227"/>
            </a:xfrm>
            <a:prstGeom prst="rect">
              <a:avLst/>
            </a:prstGeom>
          </p:spPr>
        </p:pic>
        <p:sp>
          <p:nvSpPr>
            <p:cNvPr id="66" name="Abgerundetes Rechteck 65"/>
            <p:cNvSpPr/>
            <p:nvPr/>
          </p:nvSpPr>
          <p:spPr>
            <a:xfrm>
              <a:off x="10053797" y="4247105"/>
              <a:ext cx="1421153" cy="1322991"/>
            </a:xfrm>
            <a:prstGeom prst="roundRect">
              <a:avLst/>
            </a:prstGeom>
            <a:noFill/>
            <a:ln w="28575">
              <a:solidFill>
                <a:srgbClr val="9E9E9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de-DE" sz="1799">
                <a:solidFill>
                  <a:prstClr val="white"/>
                </a:solidFill>
              </a:endParaRPr>
            </a:p>
          </p:txBody>
        </p:sp>
        <p:pic>
          <p:nvPicPr>
            <p:cNvPr id="47" name="Picture 37"/>
            <p:cNvPicPr>
              <a:picLocks noChangeAspect="1"/>
            </p:cNvPicPr>
            <p:nvPr/>
          </p:nvPicPr>
          <p:blipFill>
            <a:blip r:embed="rId23"/>
            <a:stretch>
              <a:fillRect/>
            </a:stretch>
          </p:blipFill>
          <p:spPr>
            <a:xfrm>
              <a:off x="10502044" y="5075844"/>
              <a:ext cx="347538" cy="352913"/>
            </a:xfrm>
            <a:prstGeom prst="rect">
              <a:avLst/>
            </a:prstGeom>
          </p:spPr>
        </p:pic>
      </p:grpSp>
      <p:pic>
        <p:nvPicPr>
          <p:cNvPr id="2" name="Grafik 1"/>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2593142" y="2864462"/>
            <a:ext cx="1138778" cy="637652"/>
          </a:xfrm>
          <a:prstGeom prst="rect">
            <a:avLst/>
          </a:prstGeom>
        </p:spPr>
      </p:pic>
      <p:grpSp>
        <p:nvGrpSpPr>
          <p:cNvPr id="20" name="Gruppieren 19"/>
          <p:cNvGrpSpPr/>
          <p:nvPr/>
        </p:nvGrpSpPr>
        <p:grpSpPr>
          <a:xfrm>
            <a:off x="10328698" y="2735372"/>
            <a:ext cx="1420413" cy="1412604"/>
            <a:chOff x="10053798" y="2735805"/>
            <a:chExt cx="1421153" cy="1413340"/>
          </a:xfrm>
        </p:grpSpPr>
        <p:pic>
          <p:nvPicPr>
            <p:cNvPr id="4" name="Grafik 3"/>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0196723" y="2865404"/>
              <a:ext cx="1054087" cy="590230"/>
            </a:xfrm>
            <a:prstGeom prst="rect">
              <a:avLst/>
            </a:prstGeom>
          </p:spPr>
        </p:pic>
        <p:pic>
          <p:nvPicPr>
            <p:cNvPr id="50" name="Picture 38" descr="Image result for parknow logo"/>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0738964" y="3740865"/>
              <a:ext cx="633289" cy="225169"/>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44" descr="Related image"/>
            <p:cNvPicPr>
              <a:picLocks noChangeAspect="1" noChangeArrowheads="1"/>
            </p:cNvPicPr>
            <p:nvPr/>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27757" y="3558177"/>
              <a:ext cx="590968" cy="590968"/>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2" descr="Related image"/>
            <p:cNvPicPr>
              <a:picLocks noChangeAspect="1" noChangeArrowheads="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18724" y="3333858"/>
              <a:ext cx="673768" cy="673768"/>
            </a:xfrm>
            <a:prstGeom prst="rect">
              <a:avLst/>
            </a:prstGeom>
            <a:noFill/>
            <a:extLst>
              <a:ext uri="{909E8E84-426E-40DD-AFC4-6F175D3DCCD1}">
                <a14:hiddenFill xmlns:a14="http://schemas.microsoft.com/office/drawing/2010/main">
                  <a:solidFill>
                    <a:srgbClr val="FFFFFF"/>
                  </a:solidFill>
                </a14:hiddenFill>
              </a:ext>
            </a:extLst>
          </p:spPr>
        </p:pic>
        <p:pic>
          <p:nvPicPr>
            <p:cNvPr id="53" name="Grafik 52"/>
            <p:cNvPicPr>
              <a:picLocks noChangeAspect="1"/>
            </p:cNvPicPr>
            <p:nvPr/>
          </p:nvPicPr>
          <p:blipFill>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02282" y="3482664"/>
              <a:ext cx="751685" cy="131580"/>
            </a:xfrm>
            <a:prstGeom prst="rect">
              <a:avLst/>
            </a:prstGeom>
          </p:spPr>
        </p:pic>
        <p:sp>
          <p:nvSpPr>
            <p:cNvPr id="54" name="Abgerundetes Rechteck 53"/>
            <p:cNvSpPr/>
            <p:nvPr/>
          </p:nvSpPr>
          <p:spPr>
            <a:xfrm>
              <a:off x="10053798" y="2735805"/>
              <a:ext cx="1421153" cy="1322991"/>
            </a:xfrm>
            <a:prstGeom prst="roundRect">
              <a:avLst/>
            </a:prstGeom>
            <a:noFill/>
            <a:ln w="28575">
              <a:solidFill>
                <a:srgbClr val="9E9E9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de-DE" sz="1799">
                <a:solidFill>
                  <a:prstClr val="white"/>
                </a:solidFill>
              </a:endParaRPr>
            </a:p>
          </p:txBody>
        </p:sp>
      </p:grpSp>
      <p:sp>
        <p:nvSpPr>
          <p:cNvPr id="55" name="Rechteck 54"/>
          <p:cNvSpPr>
            <a:spLocks noChangeAspect="1"/>
          </p:cNvSpPr>
          <p:nvPr/>
        </p:nvSpPr>
        <p:spPr>
          <a:xfrm>
            <a:off x="213480" y="2465758"/>
            <a:ext cx="1773459" cy="3482209"/>
          </a:xfrm>
          <a:prstGeom prst="rect">
            <a:avLst/>
          </a:prstGeom>
          <a:solidFill>
            <a:srgbClr val="FFFFFF">
              <a:alpha val="34902"/>
            </a:srgb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endParaRPr lang="de-DE" sz="1798">
              <a:solidFill>
                <a:prstClr val="white"/>
              </a:solidFill>
            </a:endParaRPr>
          </a:p>
        </p:txBody>
      </p:sp>
      <p:sp>
        <p:nvSpPr>
          <p:cNvPr id="67" name="Rechteck 66"/>
          <p:cNvSpPr/>
          <p:nvPr/>
        </p:nvSpPr>
        <p:spPr>
          <a:xfrm>
            <a:off x="213504" y="1917620"/>
            <a:ext cx="1773416" cy="504000"/>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65" tIns="45683" rIns="91365" bIns="45683" numCol="1" spcCol="0" rtlCol="0" fromWordArt="0" anchor="ctr" anchorCtr="0" forceAA="0" compatLnSpc="1">
            <a:prstTxWarp prst="textNoShape">
              <a:avLst/>
            </a:prstTxWarp>
            <a:noAutofit/>
          </a:bodyPr>
          <a:lstStyle/>
          <a:p>
            <a:pPr algn="ctr" defTabSz="1088089"/>
            <a:r>
              <a:rPr lang="ru-RU" sz="1400" b="1" dirty="0" smtClean="0">
                <a:solidFill>
                  <a:prstClr val="white"/>
                </a:solidFill>
                <a:latin typeface="CorpoS" pitchFamily="2" charset="0"/>
              </a:rPr>
              <a:t>МИКРО</a:t>
            </a:r>
          </a:p>
          <a:p>
            <a:pPr algn="ctr" defTabSz="1088089"/>
            <a:r>
              <a:rPr lang="ru-RU" sz="1400" b="1" dirty="0" smtClean="0">
                <a:solidFill>
                  <a:prstClr val="white"/>
                </a:solidFill>
                <a:latin typeface="CorpoS" pitchFamily="2" charset="0"/>
              </a:rPr>
              <a:t>МОБИЛЬНОСТЬ</a:t>
            </a:r>
            <a:endParaRPr lang="de-DE" sz="1200" b="1" dirty="0">
              <a:solidFill>
                <a:prstClr val="white"/>
              </a:solidFill>
              <a:latin typeface="CorpoS" pitchFamily="2" charset="0"/>
            </a:endParaRPr>
          </a:p>
        </p:txBody>
      </p:sp>
      <p:sp>
        <p:nvSpPr>
          <p:cNvPr id="72" name="Abgerundetes Rechteck 71"/>
          <p:cNvSpPr/>
          <p:nvPr/>
        </p:nvSpPr>
        <p:spPr>
          <a:xfrm>
            <a:off x="2456829" y="2745294"/>
            <a:ext cx="1420413" cy="1322302"/>
          </a:xfrm>
          <a:prstGeom prst="roundRect">
            <a:avLst/>
          </a:prstGeom>
          <a:noFill/>
          <a:ln w="28575">
            <a:solidFill>
              <a:srgbClr val="9E9E9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de-DE" sz="1799">
              <a:solidFill>
                <a:prstClr val="white"/>
              </a:solidFill>
            </a:endParaRPr>
          </a:p>
        </p:txBody>
      </p:sp>
      <p:grpSp>
        <p:nvGrpSpPr>
          <p:cNvPr id="11" name="Gruppieren 10"/>
          <p:cNvGrpSpPr/>
          <p:nvPr/>
        </p:nvGrpSpPr>
        <p:grpSpPr>
          <a:xfrm>
            <a:off x="2564904" y="3577449"/>
            <a:ext cx="1188905" cy="294463"/>
            <a:chOff x="1439956" y="3569175"/>
            <a:chExt cx="1570696" cy="389023"/>
          </a:xfrm>
        </p:grpSpPr>
        <p:pic>
          <p:nvPicPr>
            <p:cNvPr id="37" name="Picture 8"/>
            <p:cNvPicPr>
              <a:picLocks noChangeAspect="1"/>
            </p:cNvPicPr>
            <p:nvPr/>
          </p:nvPicPr>
          <p:blipFill>
            <a:blip r:embed="rId30"/>
            <a:stretch>
              <a:fillRect/>
            </a:stretch>
          </p:blipFill>
          <p:spPr>
            <a:xfrm>
              <a:off x="1439956" y="3569175"/>
              <a:ext cx="366140" cy="389023"/>
            </a:xfrm>
            <a:prstGeom prst="rect">
              <a:avLst/>
            </a:prstGeom>
            <a:effectLst/>
          </p:spPr>
        </p:pic>
        <p:pic>
          <p:nvPicPr>
            <p:cNvPr id="38" name="Picture 10"/>
            <p:cNvPicPr>
              <a:picLocks noChangeAspect="1"/>
            </p:cNvPicPr>
            <p:nvPr/>
          </p:nvPicPr>
          <p:blipFill>
            <a:blip r:embed="rId31">
              <a:duotone>
                <a:schemeClr val="accent2">
                  <a:shade val="45000"/>
                  <a:satMod val="135000"/>
                </a:schemeClr>
                <a:prstClr val="white"/>
              </a:duotone>
            </a:blip>
            <a:stretch>
              <a:fillRect/>
            </a:stretch>
          </p:blipFill>
          <p:spPr>
            <a:xfrm>
              <a:off x="1824007" y="3579913"/>
              <a:ext cx="256859" cy="378285"/>
            </a:xfrm>
            <a:prstGeom prst="rect">
              <a:avLst/>
            </a:prstGeom>
            <a:effectLst/>
          </p:spPr>
        </p:pic>
        <p:pic>
          <p:nvPicPr>
            <p:cNvPr id="39" name="Picture 12"/>
            <p:cNvPicPr>
              <a:picLocks noChangeAspect="1"/>
            </p:cNvPicPr>
            <p:nvPr/>
          </p:nvPicPr>
          <p:blipFill>
            <a:blip r:embed="rId32"/>
            <a:stretch>
              <a:fillRect/>
            </a:stretch>
          </p:blipFill>
          <p:spPr>
            <a:xfrm>
              <a:off x="2164101" y="3609172"/>
              <a:ext cx="386043" cy="349026"/>
            </a:xfrm>
            <a:prstGeom prst="rect">
              <a:avLst/>
            </a:prstGeom>
            <a:effectLst/>
          </p:spPr>
        </p:pic>
        <p:pic>
          <p:nvPicPr>
            <p:cNvPr id="40" name="Picture 3"/>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2632209" y="3579755"/>
              <a:ext cx="378443" cy="378443"/>
            </a:xfrm>
            <a:prstGeom prst="roundRect">
              <a:avLst>
                <a:gd name="adj" fmla="val 16880"/>
              </a:avLst>
            </a:prstGeom>
            <a:ln>
              <a:noFill/>
            </a:ln>
            <a:effectLst/>
          </p:spPr>
        </p:pic>
      </p:grpSp>
      <p:pic>
        <p:nvPicPr>
          <p:cNvPr id="9" name="Grafik 8"/>
          <p:cNvPicPr>
            <a:picLocks noChangeAspect="1"/>
          </p:cNvPicPr>
          <p:nvPr/>
        </p:nvPicPr>
        <p:blipFill>
          <a:blip r:embed="rId34"/>
          <a:stretch>
            <a:fillRect/>
          </a:stretch>
        </p:blipFill>
        <p:spPr>
          <a:xfrm>
            <a:off x="2461194" y="5407893"/>
            <a:ext cx="324163" cy="324163"/>
          </a:xfrm>
          <a:prstGeom prst="rect">
            <a:avLst/>
          </a:prstGeom>
        </p:spPr>
      </p:pic>
      <p:sp>
        <p:nvSpPr>
          <p:cNvPr id="69" name="Abgerundetes Rechteck 68"/>
          <p:cNvSpPr/>
          <p:nvPr/>
        </p:nvSpPr>
        <p:spPr>
          <a:xfrm>
            <a:off x="451695" y="2736713"/>
            <a:ext cx="1420413" cy="1322302"/>
          </a:xfrm>
          <a:prstGeom prst="roundRect">
            <a:avLst/>
          </a:prstGeom>
          <a:noFill/>
          <a:ln w="28575">
            <a:solidFill>
              <a:srgbClr val="9E9E9E"/>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de-DE" sz="1799">
              <a:solidFill>
                <a:prstClr val="white"/>
              </a:solidFill>
            </a:endParaRPr>
          </a:p>
        </p:txBody>
      </p:sp>
      <p:pic>
        <p:nvPicPr>
          <p:cNvPr id="68" name="Grafik 67"/>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588008" y="2855881"/>
            <a:ext cx="1138778" cy="637652"/>
          </a:xfrm>
          <a:prstGeom prst="rect">
            <a:avLst/>
          </a:prstGeom>
        </p:spPr>
      </p:pic>
      <p:pic>
        <p:nvPicPr>
          <p:cNvPr id="70" name="Google Shape;162;p30">
            <a:extLst>
              <a:ext uri="{FF2B5EF4-FFF2-40B4-BE49-F238E27FC236}">
                <a16:creationId xmlns:a16="http://schemas.microsoft.com/office/drawing/2014/main" id="{50863E8D-6D70-47C4-B434-D58E9DDC9A3B}"/>
              </a:ext>
            </a:extLst>
          </p:cNvPr>
          <p:cNvPicPr preferRelativeResize="0"/>
          <p:nvPr/>
        </p:nvPicPr>
        <p:blipFill rotWithShape="1">
          <a:blip r:embed="rId35">
            <a:alphaModFix/>
          </a:blip>
          <a:srcRect t="19006" b="17589"/>
          <a:stretch/>
        </p:blipFill>
        <p:spPr>
          <a:xfrm>
            <a:off x="584431" y="3482244"/>
            <a:ext cx="1195359" cy="479664"/>
          </a:xfrm>
          <a:prstGeom prst="rect">
            <a:avLst/>
          </a:prstGeom>
          <a:noFill/>
          <a:ln>
            <a:noFill/>
          </a:ln>
        </p:spPr>
      </p:pic>
      <p:sp>
        <p:nvSpPr>
          <p:cNvPr id="71" name="Rechteck 70"/>
          <p:cNvSpPr/>
          <p:nvPr/>
        </p:nvSpPr>
        <p:spPr bwMode="gray">
          <a:xfrm>
            <a:off x="216000" y="432000"/>
            <a:ext cx="11528329" cy="828000"/>
          </a:xfrm>
          <a:prstGeom prst="rect">
            <a:avLst/>
          </a:prstGeom>
          <a:solidFill>
            <a:srgbClr val="005478">
              <a:alpha val="90000"/>
            </a:srgbClr>
          </a:solidFill>
          <a:ln w="12700" cap="flat" cmpd="sng" algn="ctr">
            <a:noFill/>
            <a:prstDash val="solid"/>
            <a:miter lim="800000"/>
          </a:ln>
          <a:effectLst/>
          <a:extLst/>
        </p:spPr>
        <p:txBody>
          <a:bodyPr rtlCol="0" anchor="ctr"/>
          <a:lstStyle/>
          <a:p>
            <a:r>
              <a:rPr lang="ru-RU" sz="2800" b="1" kern="0" dirty="0" smtClean="0">
                <a:solidFill>
                  <a:prstClr val="white"/>
                </a:solidFill>
                <a:latin typeface="CorpoS" pitchFamily="2" charset="0"/>
                <a:ea typeface="MS Mincho" panose="02020609040205080304" pitchFamily="49" charset="-128"/>
                <a:cs typeface="Helvetica" panose="020B0604020202020204" pitchFamily="34" charset="0"/>
              </a:rPr>
              <a:t>МЫ ПОСТРОИЛИ ВСЕОБЪЕМЛЮЩЕЕ ПОРТФОЛИО МОБИЛЬНОСТИ ВО ВСЕХ ПРОФИЛЬНЫХ СЕГМЕНТАХ</a:t>
            </a:r>
            <a:endParaRPr lang="de-DE" sz="2800" b="1" dirty="0">
              <a:solidFill>
                <a:schemeClr val="bg1"/>
              </a:solidFill>
              <a:latin typeface="CorpoS" pitchFamily="2" charset="0"/>
              <a:ea typeface="CorporateS-Regular" charset="0"/>
              <a:cs typeface="CorporateS-Regular" charset="0"/>
            </a:endParaRPr>
          </a:p>
        </p:txBody>
      </p:sp>
    </p:spTree>
    <p:extLst>
      <p:ext uri="{BB962C8B-B14F-4D97-AF65-F5344CB8AC3E}">
        <p14:creationId xmlns:p14="http://schemas.microsoft.com/office/powerpoint/2010/main" val="1147493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31B90452-B37A-6849-AF06-95F1CD25C5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64" y="1984"/>
            <a:ext cx="12201174" cy="6857208"/>
          </a:xfrm>
          <a:prstGeom prst="rect">
            <a:avLst/>
          </a:prstGeom>
        </p:spPr>
      </p:pic>
      <p:pic>
        <p:nvPicPr>
          <p:cNvPr id="5" name="Grafik 4">
            <a:extLst>
              <a:ext uri="{FF2B5EF4-FFF2-40B4-BE49-F238E27FC236}">
                <a16:creationId xmlns:a16="http://schemas.microsoft.com/office/drawing/2014/main" id="{73C960C6-00C8-A042-AF4F-CFF40CD2360F}"/>
              </a:ext>
            </a:extLst>
          </p:cNvPr>
          <p:cNvPicPr>
            <a:picLocks noChangeAspect="1"/>
          </p:cNvPicPr>
          <p:nvPr/>
        </p:nvPicPr>
        <p:blipFill rotWithShape="1">
          <a:blip r:embed="rId3">
            <a:extLst>
              <a:ext uri="{28A0092B-C50C-407E-A947-70E740481C1C}">
                <a14:useLocalDpi xmlns:a14="http://schemas.microsoft.com/office/drawing/2010/main" val="0"/>
              </a:ext>
            </a:extLst>
          </a:blip>
          <a:srcRect l="55903" t="7986"/>
          <a:stretch/>
        </p:blipFill>
        <p:spPr>
          <a:xfrm>
            <a:off x="6822597" y="549602"/>
            <a:ext cx="5380340" cy="6309590"/>
          </a:xfrm>
          <a:prstGeom prst="rect">
            <a:avLst/>
          </a:prstGeom>
        </p:spPr>
      </p:pic>
      <p:sp>
        <p:nvSpPr>
          <p:cNvPr id="6" name="Rechteck 5"/>
          <p:cNvSpPr/>
          <p:nvPr/>
        </p:nvSpPr>
        <p:spPr bwMode="gray">
          <a:xfrm>
            <a:off x="216000" y="431999"/>
            <a:ext cx="11528329" cy="828000"/>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7306"/>
            <a:r>
              <a:rPr lang="ru-RU" sz="2800" b="1" dirty="0" smtClean="0">
                <a:solidFill>
                  <a:prstClr val="white"/>
                </a:solidFill>
                <a:latin typeface="CorpoS" pitchFamily="2" charset="0"/>
                <a:ea typeface="MS Mincho" panose="02020609040205080304" pitchFamily="49" charset="-128"/>
                <a:cs typeface="Helvetica" panose="020B0604020202020204" pitchFamily="34" charset="0"/>
              </a:rPr>
              <a:t>ОХВАТ </a:t>
            </a:r>
            <a:r>
              <a:rPr lang="de-DE" sz="2800" b="1" dirty="0" smtClean="0">
                <a:solidFill>
                  <a:prstClr val="white"/>
                </a:solidFill>
                <a:latin typeface="CorpoS" pitchFamily="2" charset="0"/>
                <a:ea typeface="MS Mincho" panose="02020609040205080304" pitchFamily="49" charset="-128"/>
                <a:cs typeface="Helvetica" panose="020B0604020202020204" pitchFamily="34" charset="0"/>
              </a:rPr>
              <a:t>DAIMLER</a:t>
            </a:r>
            <a:endParaRPr lang="de-DE" sz="2800" b="1" dirty="0">
              <a:solidFill>
                <a:srgbClr val="FFFF00"/>
              </a:solidFill>
              <a:latin typeface="CorpoS" pitchFamily="2" charset="0"/>
              <a:ea typeface="MS Mincho" panose="02020609040205080304" pitchFamily="49" charset="-128"/>
              <a:cs typeface="Helvetica" panose="020B0604020202020204" pitchFamily="34" charset="0"/>
            </a:endParaRPr>
          </a:p>
        </p:txBody>
      </p:sp>
      <p:sp>
        <p:nvSpPr>
          <p:cNvPr id="7" name="Eine Ecke des Rechtecks schneiden 6"/>
          <p:cNvSpPr/>
          <p:nvPr/>
        </p:nvSpPr>
        <p:spPr>
          <a:xfrm>
            <a:off x="400051" y="2036454"/>
            <a:ext cx="6422545" cy="1066405"/>
          </a:xfrm>
          <a:prstGeom prst="snip1Rect">
            <a:avLst>
              <a:gd name="adj" fmla="val 50000"/>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1087306"/>
            <a:r>
              <a:rPr lang="ru-RU" b="1" dirty="0" smtClean="0">
                <a:solidFill>
                  <a:srgbClr val="FFFF00"/>
                </a:solidFill>
                <a:latin typeface="CorpoS" pitchFamily="2" charset="0"/>
                <a:ea typeface="MS Mincho" panose="02020609040205080304" pitchFamily="49" charset="-128"/>
                <a:cs typeface="Helvetica" panose="020B0604020202020204" pitchFamily="34" charset="0"/>
              </a:rPr>
              <a:t>ПРОДУКТЫ И СВЯЗАННЫЕ СЕРВИСЫ ДЛЯ ГОРОДОВ</a:t>
            </a:r>
            <a:r>
              <a:rPr lang="en-US" b="1" dirty="0" smtClean="0">
                <a:solidFill>
                  <a:srgbClr val="FFFF00"/>
                </a:solidFill>
                <a:latin typeface="CorpoS" pitchFamily="2" charset="0"/>
                <a:ea typeface="MS Mincho" panose="02020609040205080304" pitchFamily="49" charset="-128"/>
                <a:cs typeface="Helvetica" panose="020B0604020202020204" pitchFamily="34" charset="0"/>
              </a:rPr>
              <a:t> </a:t>
            </a:r>
            <a:r>
              <a:rPr lang="en-US" b="1" dirty="0" smtClean="0">
                <a:solidFill>
                  <a:prstClr val="white"/>
                </a:solidFill>
                <a:latin typeface="CorpoS" pitchFamily="2" charset="0"/>
                <a:ea typeface="MS Mincho" panose="02020609040205080304" pitchFamily="49" charset="-128"/>
                <a:cs typeface="Helvetica" panose="020B0604020202020204" pitchFamily="34" charset="0"/>
              </a:rPr>
              <a:t>– </a:t>
            </a:r>
            <a:r>
              <a:rPr lang="ru-RU" b="1" dirty="0" smtClean="0">
                <a:solidFill>
                  <a:prstClr val="white"/>
                </a:solidFill>
                <a:latin typeface="CorpoS" pitchFamily="2" charset="0"/>
                <a:ea typeface="MS Mincho" panose="02020609040205080304" pitchFamily="49" charset="-128"/>
                <a:cs typeface="Helvetica" panose="020B0604020202020204" pitchFamily="34" charset="0"/>
              </a:rPr>
              <a:t>ФОКУС НА УЛУЧШЕНИИ КАЧЕСТВА ЖИЗНИ ПРЕДОСТАВЛЯЯ ЭКОЛОГИЧНЫЙ ТРАНСПОРТ</a:t>
            </a:r>
            <a:endParaRPr lang="en-US" b="1" dirty="0">
              <a:solidFill>
                <a:prstClr val="white"/>
              </a:solidFill>
              <a:latin typeface="CorpoS" pitchFamily="2" charset="0"/>
              <a:ea typeface="MS Mincho" panose="02020609040205080304" pitchFamily="49" charset="-128"/>
              <a:cs typeface="Helvetica" panose="020B0604020202020204" pitchFamily="34" charset="0"/>
            </a:endParaRPr>
          </a:p>
        </p:txBody>
      </p:sp>
      <p:sp>
        <p:nvSpPr>
          <p:cNvPr id="8" name="Eine Ecke des Rechtecks schneiden 7"/>
          <p:cNvSpPr/>
          <p:nvPr/>
        </p:nvSpPr>
        <p:spPr>
          <a:xfrm>
            <a:off x="400049" y="3169717"/>
            <a:ext cx="7009744" cy="1155541"/>
          </a:xfrm>
          <a:prstGeom prst="snip1Rect">
            <a:avLst>
              <a:gd name="adj" fmla="val 50000"/>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1087306"/>
            <a:r>
              <a:rPr lang="ru-RU" b="1" dirty="0" smtClean="0">
                <a:solidFill>
                  <a:srgbClr val="FFFF00"/>
                </a:solidFill>
                <a:latin typeface="CorpoS" pitchFamily="2" charset="0"/>
                <a:ea typeface="MS Mincho" panose="02020609040205080304" pitchFamily="49" charset="-128"/>
                <a:cs typeface="Helvetica" panose="020B0604020202020204" pitchFamily="34" charset="0"/>
              </a:rPr>
              <a:t>УСЛУГИ МОБИЛЬНОСТИ НЕ ОГРАНИЧЕННЫЕ ВЛАДЕНИЕМ МАШИНОЙ </a:t>
            </a:r>
            <a:r>
              <a:rPr lang="en-US" b="1" dirty="0" smtClean="0">
                <a:solidFill>
                  <a:prstClr val="white"/>
                </a:solidFill>
                <a:latin typeface="CorpoS" pitchFamily="2" charset="0"/>
                <a:ea typeface="MS Mincho" panose="02020609040205080304" pitchFamily="49" charset="-128"/>
                <a:cs typeface="Helvetica" panose="020B0604020202020204" pitchFamily="34" charset="0"/>
              </a:rPr>
              <a:t>– </a:t>
            </a:r>
            <a:r>
              <a:rPr lang="ru-RU" b="1" dirty="0" smtClean="0">
                <a:solidFill>
                  <a:prstClr val="white"/>
                </a:solidFill>
                <a:latin typeface="CorpoS" pitchFamily="2" charset="0"/>
                <a:ea typeface="MS Mincho" panose="02020609040205080304" pitchFamily="49" charset="-128"/>
                <a:cs typeface="Helvetica" panose="020B0604020202020204" pitchFamily="34" charset="0"/>
              </a:rPr>
              <a:t>ФОКУС НА УЛУЧШЕНИЕ КАЧЕСТВА ЖИЗНИ ПУТЕМ СОЗДАНИЯ СОВМЕСТНОЙ МОБИЛЬНОСТИ</a:t>
            </a:r>
            <a:endParaRPr lang="en-US" b="1" dirty="0">
              <a:solidFill>
                <a:prstClr val="white"/>
              </a:solidFill>
              <a:latin typeface="CorpoS" pitchFamily="2" charset="0"/>
              <a:ea typeface="MS Mincho" panose="02020609040205080304" pitchFamily="49" charset="-128"/>
              <a:cs typeface="Helvetica" panose="020B0604020202020204" pitchFamily="34" charset="0"/>
            </a:endParaRPr>
          </a:p>
        </p:txBody>
      </p:sp>
      <p:sp>
        <p:nvSpPr>
          <p:cNvPr id="9" name="Eine Ecke des Rechtecks schneiden 8"/>
          <p:cNvSpPr/>
          <p:nvPr/>
        </p:nvSpPr>
        <p:spPr>
          <a:xfrm>
            <a:off x="400051" y="4481252"/>
            <a:ext cx="7560000" cy="1137228"/>
          </a:xfrm>
          <a:prstGeom prst="snip1Rect">
            <a:avLst>
              <a:gd name="adj" fmla="val 50000"/>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1087306"/>
            <a:r>
              <a:rPr lang="ru-RU" b="1" dirty="0" smtClean="0">
                <a:solidFill>
                  <a:srgbClr val="FFFF00"/>
                </a:solidFill>
                <a:latin typeface="CorpoS" pitchFamily="2" charset="0"/>
                <a:ea typeface="MS Mincho" panose="02020609040205080304" pitchFamily="49" charset="-128"/>
                <a:cs typeface="Helvetica" panose="020B0604020202020204" pitchFamily="34" charset="0"/>
              </a:rPr>
              <a:t>РЕШЕНИЯ ДЛЯ УМНЫХ ГОРОДОВ</a:t>
            </a:r>
            <a:r>
              <a:rPr lang="en-US" b="1" dirty="0" smtClean="0">
                <a:solidFill>
                  <a:srgbClr val="FFFF00"/>
                </a:solidFill>
                <a:latin typeface="CorpoS" pitchFamily="2" charset="0"/>
                <a:ea typeface="MS Mincho" panose="02020609040205080304" pitchFamily="49" charset="-128"/>
                <a:cs typeface="Helvetica" panose="020B0604020202020204" pitchFamily="34" charset="0"/>
              </a:rPr>
              <a:t> </a:t>
            </a:r>
            <a:r>
              <a:rPr lang="en-US" b="1" dirty="0" smtClean="0">
                <a:solidFill>
                  <a:prstClr val="white"/>
                </a:solidFill>
                <a:latin typeface="CorpoS" pitchFamily="2" charset="0"/>
                <a:ea typeface="MS Mincho" panose="02020609040205080304" pitchFamily="49" charset="-128"/>
                <a:cs typeface="Helvetica" panose="020B0604020202020204" pitchFamily="34" charset="0"/>
              </a:rPr>
              <a:t>– </a:t>
            </a:r>
            <a:r>
              <a:rPr lang="ru-RU" b="1" dirty="0" smtClean="0">
                <a:solidFill>
                  <a:prstClr val="white"/>
                </a:solidFill>
                <a:latin typeface="CorpoS" pitchFamily="2" charset="0"/>
                <a:ea typeface="MS Mincho" panose="02020609040205080304" pitchFamily="49" charset="-128"/>
                <a:cs typeface="Helvetica" panose="020B0604020202020204" pitchFamily="34" charset="0"/>
              </a:rPr>
              <a:t>ФОКУС НА СОЗДАНИЕ МЕЖДИСЦИПЛИНАРНОЙ КОМАНДЫ </a:t>
            </a:r>
            <a:r>
              <a:rPr lang="en-US" b="1" dirty="0" smtClean="0">
                <a:solidFill>
                  <a:prstClr val="white"/>
                </a:solidFill>
                <a:latin typeface="CorpoS" pitchFamily="2" charset="0"/>
                <a:ea typeface="MS Mincho" panose="02020609040205080304" pitchFamily="49" charset="-128"/>
                <a:cs typeface="Helvetica" panose="020B0604020202020204" pitchFamily="34" charset="0"/>
              </a:rPr>
              <a:t>DAIMLER </a:t>
            </a:r>
            <a:r>
              <a:rPr lang="ru-RU" b="1" dirty="0" smtClean="0">
                <a:solidFill>
                  <a:prstClr val="white"/>
                </a:solidFill>
                <a:latin typeface="CorpoS" pitchFamily="2" charset="0"/>
                <a:ea typeface="MS Mincho" panose="02020609040205080304" pitchFamily="49" charset="-128"/>
                <a:cs typeface="Helvetica" panose="020B0604020202020204" pitchFamily="34" charset="0"/>
              </a:rPr>
              <a:t>ДЛЯ ЛУЧШЕГО ПОНИМАНИЯ НУЖД ГОРОДОВ, ПАКЕТОВ РЕШЕНИЙ И РАЗРАБОТКИ ДОПОЛНИТЕЛЬНЫХ ПРЕДЛОЖЕНИЙ</a:t>
            </a:r>
            <a:endParaRPr lang="en-US" b="1" dirty="0">
              <a:solidFill>
                <a:prstClr val="white"/>
              </a:solidFill>
              <a:latin typeface="CorpoS" pitchFamily="2" charset="0"/>
              <a:ea typeface="MS Mincho" panose="02020609040205080304" pitchFamily="49" charset="-128"/>
              <a:cs typeface="Helvetica" panose="020B0604020202020204" pitchFamily="34" charset="0"/>
            </a:endParaRPr>
          </a:p>
        </p:txBody>
      </p:sp>
    </p:spTree>
    <p:extLst>
      <p:ext uri="{BB962C8B-B14F-4D97-AF65-F5344CB8AC3E}">
        <p14:creationId xmlns:p14="http://schemas.microsoft.com/office/powerpoint/2010/main" val="383499509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171989"/>
            <a:ext cx="12192000" cy="8128625"/>
          </a:xfrm>
          <a:prstGeom prst="rect">
            <a:avLst/>
          </a:prstGeom>
        </p:spPr>
      </p:pic>
      <p:sp>
        <p:nvSpPr>
          <p:cNvPr id="10" name="Rechteck 9"/>
          <p:cNvSpPr/>
          <p:nvPr/>
        </p:nvSpPr>
        <p:spPr>
          <a:xfrm>
            <a:off x="7728689" y="4707226"/>
            <a:ext cx="4471172" cy="754088"/>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latin typeface="CorpoS" pitchFamily="2" charset="0"/>
              </a:rPr>
              <a:t>ЗАЩИТИМ</a:t>
            </a:r>
            <a:endParaRPr lang="de-DE" sz="2400" dirty="0" smtClean="0">
              <a:latin typeface="CorpoS" pitchFamily="2" charset="0"/>
            </a:endParaRPr>
          </a:p>
          <a:p>
            <a:pPr algn="ctr"/>
            <a:r>
              <a:rPr lang="ru-RU" sz="2400" b="1" dirty="0" smtClean="0">
                <a:solidFill>
                  <a:srgbClr val="FFFF00"/>
                </a:solidFill>
                <a:latin typeface="CorpoS" pitchFamily="2" charset="0"/>
              </a:rPr>
              <a:t>ОКРУЖАЮЩУЮ СРЕДУ</a:t>
            </a:r>
            <a:endParaRPr lang="de-DE" sz="2400" b="1" dirty="0">
              <a:solidFill>
                <a:srgbClr val="FFFF00"/>
              </a:solidFill>
              <a:latin typeface="CorpoS" pitchFamily="2" charset="0"/>
            </a:endParaRPr>
          </a:p>
        </p:txBody>
      </p:sp>
      <p:sp>
        <p:nvSpPr>
          <p:cNvPr id="15" name="Rechteck 14"/>
          <p:cNvSpPr/>
          <p:nvPr/>
        </p:nvSpPr>
        <p:spPr>
          <a:xfrm>
            <a:off x="7720828" y="3789915"/>
            <a:ext cx="4471172" cy="754088"/>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latin typeface="CorpoS" pitchFamily="2" charset="0"/>
              </a:rPr>
              <a:t>УМЕНЬШИМ</a:t>
            </a:r>
            <a:endParaRPr lang="de-DE" sz="2400" dirty="0" smtClean="0">
              <a:latin typeface="CorpoS" pitchFamily="2" charset="0"/>
            </a:endParaRPr>
          </a:p>
          <a:p>
            <a:pPr algn="ctr"/>
            <a:r>
              <a:rPr lang="ru-RU" sz="2400" b="1" dirty="0" smtClean="0">
                <a:solidFill>
                  <a:srgbClr val="FFFF00"/>
                </a:solidFill>
                <a:latin typeface="CorpoS" pitchFamily="2" charset="0"/>
              </a:rPr>
              <a:t>ПРОБКИ</a:t>
            </a:r>
            <a:endParaRPr lang="de-DE" sz="2400" b="1" dirty="0">
              <a:solidFill>
                <a:srgbClr val="FFFF00"/>
              </a:solidFill>
              <a:latin typeface="CorpoS" pitchFamily="2" charset="0"/>
            </a:endParaRPr>
          </a:p>
        </p:txBody>
      </p:sp>
      <p:sp>
        <p:nvSpPr>
          <p:cNvPr id="14" name="Rechteck 13"/>
          <p:cNvSpPr/>
          <p:nvPr/>
        </p:nvSpPr>
        <p:spPr>
          <a:xfrm>
            <a:off x="7720828" y="2888211"/>
            <a:ext cx="4471172" cy="754088"/>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latin typeface="CorpoS" pitchFamily="2" charset="0"/>
              </a:rPr>
              <a:t>ОПТИМИЗИРУЕМ</a:t>
            </a:r>
            <a:endParaRPr lang="de-DE" sz="2400" dirty="0" smtClean="0">
              <a:latin typeface="CorpoS" pitchFamily="2" charset="0"/>
            </a:endParaRPr>
          </a:p>
          <a:p>
            <a:pPr algn="ctr"/>
            <a:r>
              <a:rPr lang="ru-RU" sz="2400" b="1" dirty="0" smtClean="0">
                <a:solidFill>
                  <a:srgbClr val="FFFF00"/>
                </a:solidFill>
                <a:latin typeface="CorpoS" pitchFamily="2" charset="0"/>
              </a:rPr>
              <a:t>МОБИЛЬНОСТЬ</a:t>
            </a:r>
            <a:endParaRPr lang="de-DE" sz="2400" b="1" dirty="0">
              <a:solidFill>
                <a:srgbClr val="FFFF00"/>
              </a:solidFill>
              <a:latin typeface="CorpoS" pitchFamily="2" charset="0"/>
            </a:endParaRPr>
          </a:p>
        </p:txBody>
      </p:sp>
      <p:sp>
        <p:nvSpPr>
          <p:cNvPr id="11" name="Rechteck 10"/>
          <p:cNvSpPr/>
          <p:nvPr/>
        </p:nvSpPr>
        <p:spPr>
          <a:xfrm>
            <a:off x="0" y="3789915"/>
            <a:ext cx="5117428" cy="754088"/>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b="1" dirty="0" smtClean="0">
                <a:solidFill>
                  <a:srgbClr val="FFFF00"/>
                </a:solidFill>
                <a:latin typeface="CorpoS" pitchFamily="2" charset="0"/>
              </a:rPr>
              <a:t>ВМЕСТЕ МЫ:</a:t>
            </a:r>
            <a:endParaRPr lang="de-DE" sz="2400" b="1" dirty="0">
              <a:solidFill>
                <a:srgbClr val="FFFF00"/>
              </a:solidFill>
              <a:latin typeface="CorpoS" pitchFamily="2" charset="0"/>
            </a:endParaRPr>
          </a:p>
        </p:txBody>
      </p:sp>
      <p:sp>
        <p:nvSpPr>
          <p:cNvPr id="8" name="Rechteck 7">
            <a:extLst>
              <a:ext uri="{FF2B5EF4-FFF2-40B4-BE49-F238E27FC236}">
                <a16:creationId xmlns:a16="http://schemas.microsoft.com/office/drawing/2014/main" id="{4CEFE4FA-A7BC-6A4D-9657-6EB6877AA931}"/>
              </a:ext>
            </a:extLst>
          </p:cNvPr>
          <p:cNvSpPr/>
          <p:nvPr/>
        </p:nvSpPr>
        <p:spPr>
          <a:xfrm>
            <a:off x="898384" y="1881708"/>
            <a:ext cx="2628000" cy="660694"/>
          </a:xfrm>
          <a:prstGeom prst="rect">
            <a:avLst/>
          </a:prstGeom>
          <a:solidFill>
            <a:srgbClr val="FFFF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15"/>
            <a:r>
              <a:rPr lang="ru-RU" sz="2400" b="1" dirty="0" smtClean="0">
                <a:solidFill>
                  <a:schemeClr val="tx1"/>
                </a:solidFill>
                <a:latin typeface="CorpoS" pitchFamily="2" charset="0"/>
                <a:ea typeface="CorporateS-Regular" charset="0"/>
                <a:cs typeface="CorporateS-Regular" charset="0"/>
              </a:rPr>
              <a:t>ИНДУСТРИЯ</a:t>
            </a:r>
            <a:endParaRPr lang="de-DE" sz="2400" b="1" dirty="0">
              <a:solidFill>
                <a:schemeClr val="tx1"/>
              </a:solidFill>
              <a:latin typeface="CorpoS" pitchFamily="2" charset="0"/>
              <a:ea typeface="CorporateS-Regular" charset="0"/>
              <a:cs typeface="CorporateS-Regular" charset="0"/>
            </a:endParaRPr>
          </a:p>
        </p:txBody>
      </p:sp>
      <p:sp>
        <p:nvSpPr>
          <p:cNvPr id="12" name="Rechteck 11">
            <a:extLst>
              <a:ext uri="{FF2B5EF4-FFF2-40B4-BE49-F238E27FC236}">
                <a16:creationId xmlns:a16="http://schemas.microsoft.com/office/drawing/2014/main" id="{4CEFE4FA-A7BC-6A4D-9657-6EB6877AA931}"/>
              </a:ext>
            </a:extLst>
          </p:cNvPr>
          <p:cNvSpPr/>
          <p:nvPr/>
        </p:nvSpPr>
        <p:spPr>
          <a:xfrm>
            <a:off x="4923119" y="1881708"/>
            <a:ext cx="2628000" cy="660694"/>
          </a:xfrm>
          <a:prstGeom prst="rect">
            <a:avLst/>
          </a:prstGeom>
          <a:solidFill>
            <a:srgbClr val="FFFF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15"/>
            <a:r>
              <a:rPr lang="ru-RU" sz="2000" b="1" dirty="0" smtClean="0">
                <a:solidFill>
                  <a:schemeClr val="tx1"/>
                </a:solidFill>
                <a:latin typeface="CorpoS" pitchFamily="2" charset="0"/>
                <a:ea typeface="CorporateS-Regular" charset="0"/>
                <a:cs typeface="CorporateS-Regular" charset="0"/>
              </a:rPr>
              <a:t>ОБЩЕСТВЕННЫЙ ТРАНСПОРТ</a:t>
            </a:r>
            <a:endParaRPr lang="de-DE" sz="2000" b="1" dirty="0">
              <a:solidFill>
                <a:schemeClr val="tx1"/>
              </a:solidFill>
              <a:latin typeface="CorpoS" pitchFamily="2" charset="0"/>
              <a:ea typeface="CorporateS-Regular" charset="0"/>
              <a:cs typeface="CorporateS-Regular" charset="0"/>
            </a:endParaRPr>
          </a:p>
        </p:txBody>
      </p:sp>
      <p:sp>
        <p:nvSpPr>
          <p:cNvPr id="13" name="Rechteck 12">
            <a:extLst>
              <a:ext uri="{FF2B5EF4-FFF2-40B4-BE49-F238E27FC236}">
                <a16:creationId xmlns:a16="http://schemas.microsoft.com/office/drawing/2014/main" id="{4CEFE4FA-A7BC-6A4D-9657-6EB6877AA931}"/>
              </a:ext>
            </a:extLst>
          </p:cNvPr>
          <p:cNvSpPr/>
          <p:nvPr/>
        </p:nvSpPr>
        <p:spPr>
          <a:xfrm>
            <a:off x="8947854" y="1881708"/>
            <a:ext cx="2628000" cy="660694"/>
          </a:xfrm>
          <a:prstGeom prst="rect">
            <a:avLst/>
          </a:prstGeom>
          <a:solidFill>
            <a:srgbClr val="FFFF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15"/>
            <a:r>
              <a:rPr lang="ru-RU" sz="2400" b="1" dirty="0" smtClean="0">
                <a:solidFill>
                  <a:schemeClr val="tx1"/>
                </a:solidFill>
                <a:latin typeface="CorpoS" pitchFamily="2" charset="0"/>
                <a:ea typeface="CorporateS-Regular" charset="0"/>
                <a:cs typeface="CorporateS-Regular" charset="0"/>
              </a:rPr>
              <a:t>ГОРОДА</a:t>
            </a:r>
            <a:endParaRPr lang="de-DE" sz="2400" b="1" dirty="0">
              <a:solidFill>
                <a:schemeClr val="tx1"/>
              </a:solidFill>
              <a:latin typeface="CorpoS" pitchFamily="2" charset="0"/>
              <a:ea typeface="CorporateS-Regular" charset="0"/>
              <a:cs typeface="CorporateS-Regular" charset="0"/>
            </a:endParaRPr>
          </a:p>
        </p:txBody>
      </p:sp>
      <p:sp>
        <p:nvSpPr>
          <p:cNvPr id="16" name="Rechteck 15"/>
          <p:cNvSpPr/>
          <p:nvPr/>
        </p:nvSpPr>
        <p:spPr bwMode="gray">
          <a:xfrm>
            <a:off x="216000" y="431999"/>
            <a:ext cx="11528329" cy="828000"/>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7306"/>
            <a:r>
              <a:rPr lang="ru-RU" sz="2800" b="1" dirty="0" smtClean="0">
                <a:solidFill>
                  <a:schemeClr val="bg1"/>
                </a:solidFill>
                <a:latin typeface="CorpoS" pitchFamily="2" charset="0"/>
                <a:ea typeface="MS Mincho" panose="02020609040205080304" pitchFamily="49" charset="-128"/>
                <a:cs typeface="Helvetica" panose="020B0604020202020204" pitchFamily="34" charset="0"/>
              </a:rPr>
              <a:t>МОБИЛЬНОСТЬ БУДУЩЕГО ТРЕБУЕТ СОВМЕСТНЫХ ДЕЙСТВИЙ ПАРТНЕРОВ</a:t>
            </a:r>
            <a:endParaRPr lang="de-DE" sz="2800" b="1" dirty="0">
              <a:solidFill>
                <a:srgbClr val="FFFF00"/>
              </a:solidFill>
              <a:latin typeface="CorpoS" pitchFamily="2" charset="0"/>
              <a:ea typeface="MS Mincho" panose="02020609040205080304" pitchFamily="49" charset="-128"/>
              <a:cs typeface="Helvetica" panose="020B0604020202020204" pitchFamily="34" charset="0"/>
            </a:endParaRPr>
          </a:p>
        </p:txBody>
      </p:sp>
    </p:spTree>
    <p:extLst>
      <p:ext uri="{BB962C8B-B14F-4D97-AF65-F5344CB8AC3E}">
        <p14:creationId xmlns:p14="http://schemas.microsoft.com/office/powerpoint/2010/main" val="4089211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ettyImages-905193708_1_1">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39716" y="-381000"/>
            <a:ext cx="13411200" cy="7543800"/>
          </a:xfrm>
          <a:prstGeom prst="rect">
            <a:avLst/>
          </a:prstGeom>
        </p:spPr>
      </p:pic>
      <p:sp>
        <p:nvSpPr>
          <p:cNvPr id="5" name="Rechteck 4"/>
          <p:cNvSpPr/>
          <p:nvPr/>
        </p:nvSpPr>
        <p:spPr>
          <a:xfrm>
            <a:off x="3697128" y="2755351"/>
            <a:ext cx="4813713" cy="1293822"/>
          </a:xfrm>
          <a:prstGeom prst="rect">
            <a:avLst/>
          </a:prstGeom>
          <a:solidFill>
            <a:srgbClr val="005478">
              <a:alpha val="90000"/>
            </a:srgbClr>
          </a:solidFill>
        </p:spPr>
        <p:txBody>
          <a:bodyPr wrap="square" anchor="ctr">
            <a:noAutofit/>
          </a:bodyPr>
          <a:lstStyle/>
          <a:p>
            <a:pPr algn="ctr" defTabSz="483583"/>
            <a:r>
              <a:rPr lang="en-US" sz="3200" b="1" dirty="0" smtClean="0">
                <a:solidFill>
                  <a:srgbClr val="FFFF00"/>
                </a:solidFill>
                <a:latin typeface="CorpoS" pitchFamily="2" charset="0"/>
                <a:cs typeface="Consolas" panose="020B0609020204030204" pitchFamily="49" charset="0"/>
              </a:rPr>
              <a:t>DAIMLER MOBILITY AG</a:t>
            </a:r>
            <a:r>
              <a:rPr lang="en-US" sz="2400" dirty="0">
                <a:solidFill>
                  <a:srgbClr val="FFFF00"/>
                </a:solidFill>
                <a:latin typeface="CorpoS" pitchFamily="2" charset="0"/>
                <a:cs typeface="Consolas" panose="020B0609020204030204" pitchFamily="49" charset="0"/>
              </a:rPr>
              <a:t/>
            </a:r>
            <a:br>
              <a:rPr lang="en-US" sz="2400" dirty="0">
                <a:solidFill>
                  <a:srgbClr val="FFFF00"/>
                </a:solidFill>
                <a:latin typeface="CorpoS" pitchFamily="2" charset="0"/>
                <a:cs typeface="Consolas" panose="020B0609020204030204" pitchFamily="49" charset="0"/>
              </a:rPr>
            </a:br>
            <a:r>
              <a:rPr lang="en-US" sz="2400" dirty="0" smtClean="0">
                <a:solidFill>
                  <a:schemeClr val="bg1"/>
                </a:solidFill>
                <a:latin typeface="CorpoS" pitchFamily="2" charset="0"/>
                <a:cs typeface="Consolas" panose="020B0609020204030204" pitchFamily="49" charset="0"/>
              </a:rPr>
              <a:t>WE/MOVE/YOU</a:t>
            </a:r>
            <a:endParaRPr lang="en-US" sz="3200" b="1" dirty="0">
              <a:solidFill>
                <a:schemeClr val="bg1"/>
              </a:solidFill>
              <a:latin typeface="CorpoS" pitchFamily="2" charset="0"/>
              <a:cs typeface="Consolas" panose="020B0609020204030204" pitchFamily="49" charset="0"/>
            </a:endParaRPr>
          </a:p>
        </p:txBody>
      </p:sp>
      <p:sp>
        <p:nvSpPr>
          <p:cNvPr id="9" name="Rechteck 8"/>
          <p:cNvSpPr/>
          <p:nvPr/>
        </p:nvSpPr>
        <p:spPr bwMode="gray">
          <a:xfrm>
            <a:off x="216000" y="431999"/>
            <a:ext cx="11528329" cy="828000"/>
          </a:xfrm>
          <a:prstGeom prst="rect">
            <a:avLst/>
          </a:prstGeom>
          <a:solidFill>
            <a:srgbClr val="005478">
              <a:alpha val="90000"/>
            </a:srgbClr>
          </a:solidFill>
          <a:ln w="12700" cap="flat" cmpd="sng" algn="ctr">
            <a:noFill/>
            <a:prstDash val="solid"/>
            <a:miter lim="800000"/>
          </a:ln>
          <a:effectLst/>
          <a:extLst/>
        </p:spPr>
        <p:txBody>
          <a:bodyPr rtlCol="0" anchor="ctr"/>
          <a:lstStyle/>
          <a:p>
            <a:pPr defTabSz="1087306"/>
            <a:r>
              <a:rPr lang="ru-RU" sz="2800" b="1" kern="0" dirty="0" smtClean="0">
                <a:solidFill>
                  <a:prstClr val="white"/>
                </a:solidFill>
                <a:latin typeface="CorpoS" pitchFamily="2" charset="0"/>
                <a:ea typeface="MS Mincho" panose="02020609040205080304" pitchFamily="49" charset="-128"/>
                <a:cs typeface="Helvetica" panose="020B0604020202020204" pitchFamily="34" charset="0"/>
              </a:rPr>
              <a:t>ЧТОБЫ ПОДЧЕРКНУТЬ НАШИ АМБИЦИИ</a:t>
            </a:r>
            <a:r>
              <a:rPr lang="ru-RU" sz="2800" b="1" kern="0" dirty="0">
                <a:solidFill>
                  <a:prstClr val="white"/>
                </a:solidFill>
                <a:latin typeface="CorpoS" pitchFamily="2" charset="0"/>
                <a:ea typeface="MS Mincho" panose="02020609040205080304" pitchFamily="49" charset="-128"/>
                <a:cs typeface="Helvetica" panose="020B0604020202020204" pitchFamily="34" charset="0"/>
              </a:rPr>
              <a:t> </a:t>
            </a:r>
            <a:r>
              <a:rPr lang="ru-RU" sz="2800" b="1" kern="0" dirty="0" smtClean="0">
                <a:solidFill>
                  <a:srgbClr val="FFFF00"/>
                </a:solidFill>
                <a:latin typeface="CorpoS" pitchFamily="2" charset="0"/>
                <a:ea typeface="MS Mincho" panose="02020609040205080304" pitchFamily="49" charset="-128"/>
                <a:cs typeface="Helvetica" panose="020B0604020202020204" pitchFamily="34" charset="0"/>
              </a:rPr>
              <a:t>МЫ ПОМЕНЯЕМ НАШЕ ИМЯ</a:t>
            </a:r>
            <a:endParaRPr lang="de-DE" sz="2800" b="1" kern="0" dirty="0">
              <a:solidFill>
                <a:srgbClr val="FFFF00"/>
              </a:solidFill>
              <a:latin typeface="CorpoS" pitchFamily="2" charset="0"/>
              <a:ea typeface="MS Mincho" panose="02020609040205080304" pitchFamily="49" charset="-128"/>
              <a:cs typeface="Helvetica" panose="020B0604020202020204" pitchFamily="34" charset="0"/>
            </a:endParaRPr>
          </a:p>
        </p:txBody>
      </p:sp>
    </p:spTree>
    <p:extLst>
      <p:ext uri="{BB962C8B-B14F-4D97-AF65-F5344CB8AC3E}">
        <p14:creationId xmlns:p14="http://schemas.microsoft.com/office/powerpoint/2010/main" val="714298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594" fill="hold"/>
                                        <p:tgtEl>
                                          <p:spTgt spid="6"/>
                                        </p:tgtEl>
                                      </p:cBhvr>
                                    </p:cmd>
                                  </p:childTnLst>
                                </p:cTn>
                              </p:par>
                              <p:par>
                                <p:cTn id="7" presetID="22" presetClass="entr" presetSubtype="8" fill="hold" grpId="0" nodeType="withEffect">
                                  <p:stCondLst>
                                    <p:cond delay="750"/>
                                  </p:stCondLst>
                                  <p:childTnLst>
                                    <p:set>
                                      <p:cBhvr>
                                        <p:cTn id="8" dur="1" fill="hold">
                                          <p:stCondLst>
                                            <p:cond delay="0"/>
                                          </p:stCondLst>
                                        </p:cTn>
                                        <p:tgtEl>
                                          <p:spTgt spid="5"/>
                                        </p:tgtEl>
                                        <p:attrNameLst>
                                          <p:attrName>style.visibility</p:attrName>
                                        </p:attrNameLst>
                                      </p:cBhvr>
                                      <p:to>
                                        <p:strVal val="visible"/>
                                      </p:to>
                                    </p:set>
                                    <p:animEffect transition="in" filter="wipe(left)">
                                      <p:cBhvr>
                                        <p:cTn id="9"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0" repeatCount="indefinite" fill="hold" display="0">
                  <p:stCondLst>
                    <p:cond delay="indefinite"/>
                  </p:stCondLst>
                </p:cTn>
                <p:tgtEl>
                  <p:spTgt spid="6"/>
                </p:tgtEl>
              </p:cMediaNode>
            </p:video>
            <p:seq concurrent="1" nextAc="seek">
              <p:cTn id="11" restart="whenNotActive" fill="hold" evtFilter="cancelBubble" nodeType="interactiveSeq">
                <p:stCondLst>
                  <p:cond evt="onClick" delay="0">
                    <p:tgtEl>
                      <p:spTgt spid="6"/>
                    </p:tgtEl>
                  </p:cond>
                </p:stCondLst>
                <p:endSync evt="end" delay="0">
                  <p:rtn val="all"/>
                </p:endSync>
                <p:childTnLst>
                  <p:par>
                    <p:cTn id="12" fill="hold">
                      <p:stCondLst>
                        <p:cond delay="0"/>
                      </p:stCondLst>
                      <p:childTnLst>
                        <p:par>
                          <p:cTn id="13" fill="hold">
                            <p:stCondLst>
                              <p:cond delay="0"/>
                            </p:stCondLst>
                            <p:childTnLst>
                              <p:par>
                                <p:cTn id="14" presetID="2" presetClass="mediacall" presetSubtype="0" fill="hold" nodeType="clickEffect">
                                  <p:stCondLst>
                                    <p:cond delay="0"/>
                                  </p:stCondLst>
                                  <p:childTnLst>
                                    <p:cmd type="call" cmd="togglePause">
                                      <p:cBhvr>
                                        <p:cTn id="15" dur="1" fill="hold"/>
                                        <p:tgtEl>
                                          <p:spTgt spid="6"/>
                                        </p:tgtEl>
                                      </p:cBhvr>
                                    </p:cmd>
                                  </p:childTnLst>
                                </p:cTn>
                              </p:par>
                            </p:childTnLst>
                          </p:cTn>
                        </p:par>
                      </p:childTnLst>
                    </p:cTn>
                  </p:par>
                </p:childTnLst>
              </p:cTn>
              <p:nextCondLst>
                <p:cond evt="onClick" delay="0">
                  <p:tgtEl>
                    <p:spTgt spid="6"/>
                  </p:tgtEl>
                </p:cond>
              </p:nextCondLst>
            </p:seq>
          </p:childTnLst>
        </p:cTn>
      </p:par>
    </p:tnLst>
    <p:bldLst>
      <p:bldP spid="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 y="-1230725"/>
            <a:ext cx="12214541" cy="8151459"/>
          </a:xfrm>
          <a:prstGeom prst="rect">
            <a:avLst/>
          </a:prstGeom>
        </p:spPr>
      </p:pic>
      <p:sp>
        <p:nvSpPr>
          <p:cNvPr id="8" name="Rechteck 7"/>
          <p:cNvSpPr/>
          <p:nvPr/>
        </p:nvSpPr>
        <p:spPr>
          <a:xfrm>
            <a:off x="832369" y="4045927"/>
            <a:ext cx="4174290" cy="1785380"/>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ru-RU" sz="4000" b="1" dirty="0" smtClean="0">
                <a:solidFill>
                  <a:srgbClr val="FFFF00"/>
                </a:solidFill>
                <a:latin typeface="CorpoS" pitchFamily="2" charset="0"/>
              </a:rPr>
              <a:t>ФИНАНСОВЫЕ УСЛУГИ</a:t>
            </a:r>
            <a:endParaRPr lang="de-DE" sz="2400" dirty="0">
              <a:solidFill>
                <a:srgbClr val="FFFFFF"/>
              </a:solidFill>
              <a:latin typeface="CorpoS" pitchFamily="2" charset="0"/>
            </a:endParaRPr>
          </a:p>
        </p:txBody>
      </p:sp>
      <p:sp>
        <p:nvSpPr>
          <p:cNvPr id="9" name="Rechteck 8"/>
          <p:cNvSpPr/>
          <p:nvPr/>
        </p:nvSpPr>
        <p:spPr>
          <a:xfrm>
            <a:off x="5178913" y="4045928"/>
            <a:ext cx="1609369" cy="1785380"/>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de-DE" sz="13793" b="1" dirty="0">
                <a:solidFill>
                  <a:srgbClr val="FFFFFF"/>
                </a:solidFill>
                <a:latin typeface="CorpoS" pitchFamily="2" charset="0"/>
              </a:rPr>
              <a:t>&amp; </a:t>
            </a:r>
            <a:endParaRPr lang="de-DE" sz="4398" b="1" dirty="0">
              <a:solidFill>
                <a:srgbClr val="FFFFFF"/>
              </a:solidFill>
              <a:latin typeface="CorpoS" pitchFamily="2" charset="0"/>
            </a:endParaRPr>
          </a:p>
        </p:txBody>
      </p:sp>
      <p:sp>
        <p:nvSpPr>
          <p:cNvPr id="10" name="Rechteck 9"/>
          <p:cNvSpPr/>
          <p:nvPr/>
        </p:nvSpPr>
        <p:spPr>
          <a:xfrm>
            <a:off x="6960536" y="4034204"/>
            <a:ext cx="4174290" cy="1785380"/>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ru-RU" sz="3600" b="1" dirty="0" smtClean="0">
                <a:solidFill>
                  <a:srgbClr val="FFFF00"/>
                </a:solidFill>
                <a:latin typeface="CorpoS" pitchFamily="2" charset="0"/>
              </a:rPr>
              <a:t>УСЛУГИ МОБИЛЬНОСТИ</a:t>
            </a:r>
            <a:endParaRPr lang="de-DE" sz="2000" dirty="0">
              <a:solidFill>
                <a:srgbClr val="FFFFFF"/>
              </a:solidFill>
              <a:latin typeface="CorpoS" pitchFamily="2" charset="0"/>
            </a:endParaRPr>
          </a:p>
        </p:txBody>
      </p:sp>
      <p:cxnSp>
        <p:nvCxnSpPr>
          <p:cNvPr id="12" name="Gerader Verbinder 11"/>
          <p:cNvCxnSpPr/>
          <p:nvPr/>
        </p:nvCxnSpPr>
        <p:spPr>
          <a:xfrm flipH="1" flipV="1">
            <a:off x="647700" y="2728630"/>
            <a:ext cx="10695590" cy="1"/>
          </a:xfrm>
          <a:prstGeom prst="line">
            <a:avLst/>
          </a:prstGeom>
          <a:ln w="57150">
            <a:solidFill>
              <a:srgbClr val="FFFFFF"/>
            </a:solidFill>
          </a:ln>
        </p:spPr>
        <p:style>
          <a:lnRef idx="1">
            <a:schemeClr val="accent1"/>
          </a:lnRef>
          <a:fillRef idx="0">
            <a:schemeClr val="accent1"/>
          </a:fillRef>
          <a:effectRef idx="0">
            <a:schemeClr val="accent1"/>
          </a:effectRef>
          <a:fontRef idx="minor">
            <a:schemeClr val="tx1"/>
          </a:fontRef>
        </p:style>
      </p:cxnSp>
      <p:sp>
        <p:nvSpPr>
          <p:cNvPr id="11" name="Rechteck 10"/>
          <p:cNvSpPr/>
          <p:nvPr/>
        </p:nvSpPr>
        <p:spPr>
          <a:xfrm>
            <a:off x="647700" y="2739141"/>
            <a:ext cx="10706099" cy="895373"/>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endParaRPr lang="de-DE" sz="3500" b="1" dirty="0">
              <a:solidFill>
                <a:schemeClr val="bg1"/>
              </a:solidFill>
              <a:latin typeface="Arial monospaced for SAP" panose="020B0609020202030204" pitchFamily="49" charset="0"/>
              <a:ea typeface="MS Mincho" panose="02020609040205080304" pitchFamily="49" charset="-128"/>
              <a:cs typeface="Helvetica" panose="020B0604020202020204" pitchFamily="34" charset="0"/>
            </a:endParaRPr>
          </a:p>
        </p:txBody>
      </p:sp>
      <p:sp>
        <p:nvSpPr>
          <p:cNvPr id="5" name="Titel 1"/>
          <p:cNvSpPr txBox="1">
            <a:spLocks/>
          </p:cNvSpPr>
          <p:nvPr/>
        </p:nvSpPr>
        <p:spPr>
          <a:xfrm>
            <a:off x="647700" y="2845005"/>
            <a:ext cx="10706099" cy="683644"/>
          </a:xfrm>
          <a:prstGeom prst="rect">
            <a:avLst/>
          </a:prstGeom>
          <a:noFill/>
        </p:spPr>
        <p:txBody>
          <a:bodyPr vert="horz" lIns="0" tIns="0" rIns="0" bIns="0" rtlCol="0" anchor="ctr" anchorCtr="0">
            <a:noAutofit/>
          </a:bodyPr>
          <a:lstStyle>
            <a:lvl1pPr marL="0" indent="0" algn="l" defTabSz="1086997" rtl="0" eaLnBrk="1" latinLnBrk="0" hangingPunct="1">
              <a:lnSpc>
                <a:spcPts val="4000"/>
              </a:lnSpc>
              <a:spcBef>
                <a:spcPts val="0"/>
              </a:spcBef>
              <a:buFont typeface="Arial" panose="020B0604020202020204" pitchFamily="34" charset="0"/>
              <a:buNone/>
              <a:defRPr sz="3500" kern="1200" baseline="0">
                <a:solidFill>
                  <a:schemeClr val="tx1"/>
                </a:solidFill>
                <a:latin typeface="+mn-lt"/>
                <a:ea typeface="+mj-ea"/>
                <a:cs typeface="+mj-cs"/>
              </a:defRPr>
            </a:lvl1pPr>
          </a:lstStyle>
          <a:p>
            <a:pPr algn="ctr"/>
            <a:r>
              <a:rPr lang="ru-RU" sz="3198" b="1" dirty="0" smtClean="0">
                <a:solidFill>
                  <a:srgbClr val="FFFF00"/>
                </a:solidFill>
                <a:latin typeface="CorpoS" pitchFamily="2" charset="0"/>
              </a:rPr>
              <a:t>НАШ УСПЕХ ПОСТРОЕН НА ДВУХ ОСНОВАНИЯХ</a:t>
            </a:r>
            <a:endParaRPr lang="de-DE" sz="3198" b="1" dirty="0">
              <a:solidFill>
                <a:srgbClr val="FFFF00"/>
              </a:solidFill>
              <a:latin typeface="CorpoS" pitchFamily="2" charset="0"/>
            </a:endParaRPr>
          </a:p>
        </p:txBody>
      </p:sp>
    </p:spTree>
    <p:extLst>
      <p:ext uri="{BB962C8B-B14F-4D97-AF65-F5344CB8AC3E}">
        <p14:creationId xmlns:p14="http://schemas.microsoft.com/office/powerpoint/2010/main" val="27042795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75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250" fill="hold"/>
                                        <p:tgtEl>
                                          <p:spTgt spid="8"/>
                                        </p:tgtEl>
                                        <p:attrNameLst>
                                          <p:attrName>ppt_x</p:attrName>
                                        </p:attrNameLst>
                                      </p:cBhvr>
                                      <p:tavLst>
                                        <p:tav tm="0">
                                          <p:val>
                                            <p:strVal val="0-#ppt_w/2"/>
                                          </p:val>
                                        </p:tav>
                                        <p:tav tm="100000">
                                          <p:val>
                                            <p:strVal val="#ppt_x"/>
                                          </p:val>
                                        </p:tav>
                                      </p:tavLst>
                                    </p:anim>
                                    <p:anim calcmode="lin" valueType="num">
                                      <p:cBhvr additive="base">
                                        <p:cTn id="8" dur="12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7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250" fill="hold"/>
                                        <p:tgtEl>
                                          <p:spTgt spid="10"/>
                                        </p:tgtEl>
                                        <p:attrNameLst>
                                          <p:attrName>ppt_x</p:attrName>
                                        </p:attrNameLst>
                                      </p:cBhvr>
                                      <p:tavLst>
                                        <p:tav tm="0">
                                          <p:val>
                                            <p:strVal val="1+#ppt_w/2"/>
                                          </p:val>
                                        </p:tav>
                                        <p:tav tm="100000">
                                          <p:val>
                                            <p:strVal val="#ppt_x"/>
                                          </p:val>
                                        </p:tav>
                                      </p:tavLst>
                                    </p:anim>
                                    <p:anim calcmode="lin" valueType="num">
                                      <p:cBhvr additive="base">
                                        <p:cTn id="12" dur="125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4"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250" fill="hold"/>
                                        <p:tgtEl>
                                          <p:spTgt spid="9"/>
                                        </p:tgtEl>
                                        <p:attrNameLst>
                                          <p:attrName>ppt_x</p:attrName>
                                        </p:attrNameLst>
                                      </p:cBhvr>
                                      <p:tavLst>
                                        <p:tav tm="0">
                                          <p:val>
                                            <p:strVal val="#ppt_x"/>
                                          </p:val>
                                        </p:tav>
                                        <p:tav tm="100000">
                                          <p:val>
                                            <p:strVal val="#ppt_x"/>
                                          </p:val>
                                        </p:tav>
                                      </p:tavLst>
                                    </p:anim>
                                    <p:anim calcmode="lin" valueType="num">
                                      <p:cBhvr additive="base">
                                        <p:cTn id="16" dur="125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991"/>
            <a:ext cx="12192000" cy="6846608"/>
          </a:xfrm>
          <a:prstGeom prst="rect">
            <a:avLst/>
          </a:prstGeom>
        </p:spPr>
      </p:pic>
      <p:pic>
        <p:nvPicPr>
          <p:cNvPr id="26" name="Wortmarke DAIMLER" descr="Daimler_RGB_100mm.png">
            <a:extLst>
              <a:ext uri="{FF2B5EF4-FFF2-40B4-BE49-F238E27FC236}">
                <a16:creationId xmlns:a16="http://schemas.microsoft.com/office/drawing/2014/main" id="{5B94C94C-DBDE-4A21-A9C3-B648BFAB179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370659" y="5825787"/>
            <a:ext cx="2568603" cy="347614"/>
          </a:xfrm>
          <a:prstGeom prst="rect">
            <a:avLst/>
          </a:prstGeom>
        </p:spPr>
      </p:pic>
      <p:cxnSp>
        <p:nvCxnSpPr>
          <p:cNvPr id="28" name="Gerader Verbinder 27">
            <a:extLst>
              <a:ext uri="{FF2B5EF4-FFF2-40B4-BE49-F238E27FC236}">
                <a16:creationId xmlns:a16="http://schemas.microsoft.com/office/drawing/2014/main" id="{18FE1D07-BE42-4526-8BB4-05BABB178F47}"/>
              </a:ext>
            </a:extLst>
          </p:cNvPr>
          <p:cNvCxnSpPr>
            <a:cxnSpLocks/>
          </p:cNvCxnSpPr>
          <p:nvPr/>
        </p:nvCxnSpPr>
        <p:spPr bwMode="auto">
          <a:xfrm flipH="1">
            <a:off x="9370659" y="6289011"/>
            <a:ext cx="2543216" cy="0"/>
          </a:xfrm>
          <a:prstGeom prst="line">
            <a:avLst/>
          </a:prstGeom>
          <a:solidFill>
            <a:schemeClr val="bg1"/>
          </a:solidFill>
          <a:ln w="12700"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0" name="Textfeld 9">
            <a:extLst>
              <a:ext uri="{FF2B5EF4-FFF2-40B4-BE49-F238E27FC236}">
                <a16:creationId xmlns:a16="http://schemas.microsoft.com/office/drawing/2014/main" id="{79DA7B81-7A92-45A5-90BD-57AEDA95830F}"/>
              </a:ext>
            </a:extLst>
          </p:cNvPr>
          <p:cNvSpPr txBox="1"/>
          <p:nvPr/>
        </p:nvSpPr>
        <p:spPr bwMode="auto">
          <a:xfrm>
            <a:off x="9370659" y="6354420"/>
            <a:ext cx="2543216" cy="261474"/>
          </a:xfrm>
          <a:prstGeom prst="rect">
            <a:avLst/>
          </a:prstGeom>
          <a:noFill/>
          <a:ln w="9525">
            <a:noFill/>
            <a:miter lim="800000"/>
            <a:headEnd/>
            <a:tailEnd/>
          </a:ln>
        </p:spPr>
        <p:txBody>
          <a:bodyPr wrap="square" lIns="0" tIns="0" rIns="0" bIns="0" rtlCol="0" anchor="t" anchorCtr="0">
            <a:spAutoFit/>
          </a:bodyPr>
          <a:lstStyle/>
          <a:p>
            <a:pPr algn="ctr" defTabSz="1088415" fontAlgn="base">
              <a:spcBef>
                <a:spcPct val="0"/>
              </a:spcBef>
              <a:spcAft>
                <a:spcPct val="0"/>
              </a:spcAft>
            </a:pPr>
            <a:r>
              <a:rPr lang="de-DE" sz="1699" b="1" dirty="0">
                <a:solidFill>
                  <a:prstClr val="black"/>
                </a:solidFill>
                <a:ea typeface="CorporateS-Regular" charset="0"/>
                <a:cs typeface="CorporateS-Regular" charset="0"/>
              </a:rPr>
              <a:t>Daimler Financial Services</a:t>
            </a:r>
          </a:p>
        </p:txBody>
      </p:sp>
      <p:sp>
        <p:nvSpPr>
          <p:cNvPr id="19" name="Rechteck 18"/>
          <p:cNvSpPr/>
          <p:nvPr/>
        </p:nvSpPr>
        <p:spPr>
          <a:xfrm>
            <a:off x="319314" y="232229"/>
            <a:ext cx="6360886" cy="1872342"/>
          </a:xfrm>
          <a:prstGeom prst="rect">
            <a:avLst/>
          </a:prstGeom>
          <a:solidFill>
            <a:srgbClr val="005478">
              <a:alpha val="9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21" name="Title 6">
            <a:extLst>
              <a:ext uri="{FF2B5EF4-FFF2-40B4-BE49-F238E27FC236}">
                <a16:creationId xmlns:a16="http://schemas.microsoft.com/office/drawing/2014/main" id="{61B7A580-1E10-4301-BAC2-B0F77502CE9E}"/>
              </a:ext>
            </a:extLst>
          </p:cNvPr>
          <p:cNvSpPr txBox="1">
            <a:spLocks/>
          </p:cNvSpPr>
          <p:nvPr/>
        </p:nvSpPr>
        <p:spPr>
          <a:xfrm>
            <a:off x="464337" y="773719"/>
            <a:ext cx="10937875" cy="1441489"/>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vert="horz" wrap="square" lIns="0" tIns="0" rIns="0" bIns="0" rtlCol="0" anchor="t" anchorCtr="0">
            <a:noAutofit/>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bg1"/>
                </a:solidFill>
                <a:latin typeface="+mn-lt"/>
                <a:ea typeface="+mj-ea"/>
                <a:cs typeface="+mj-cs"/>
              </a:defRPr>
            </a:lvl1pPr>
          </a:lstStyle>
          <a:p>
            <a:pPr defTabSz="1088415">
              <a:lnSpc>
                <a:spcPct val="72000"/>
              </a:lnSpc>
              <a:defRPr/>
            </a:pPr>
            <a:r>
              <a:rPr lang="ru-RU" sz="6000" b="1" cap="all" dirty="0" smtClean="0">
                <a:solidFill>
                  <a:prstClr val="white"/>
                </a:solidFill>
                <a:ea typeface="CorporateS-Regular" charset="0"/>
                <a:cs typeface="CorporateS-Regular" charset="0"/>
              </a:rPr>
              <a:t>СПАСИБО</a:t>
            </a:r>
            <a:r>
              <a:rPr lang="de-DE" sz="6000" b="1" cap="all" dirty="0" smtClean="0">
                <a:solidFill>
                  <a:prstClr val="white"/>
                </a:solidFill>
                <a:ea typeface="CorporateS-Regular" charset="0"/>
                <a:cs typeface="CorporateS-Regular" charset="0"/>
              </a:rPr>
              <a:t>!</a:t>
            </a:r>
            <a:endParaRPr lang="de-DE" sz="4400" cap="all" dirty="0">
              <a:solidFill>
                <a:srgbClr val="007A93"/>
              </a:solidFill>
              <a:ea typeface="CorporateS-Regular" charset="0"/>
              <a:cs typeface="CorporateS-Regular" charset="0"/>
            </a:endParaRPr>
          </a:p>
        </p:txBody>
      </p:sp>
      <p:sp>
        <p:nvSpPr>
          <p:cNvPr id="22" name="Title 6">
            <a:extLst>
              <a:ext uri="{FF2B5EF4-FFF2-40B4-BE49-F238E27FC236}">
                <a16:creationId xmlns:a16="http://schemas.microsoft.com/office/drawing/2014/main" id="{61B7A580-1E10-4301-BAC2-B0F77502CE9E}"/>
              </a:ext>
            </a:extLst>
          </p:cNvPr>
          <p:cNvSpPr txBox="1">
            <a:spLocks/>
          </p:cNvSpPr>
          <p:nvPr/>
        </p:nvSpPr>
        <p:spPr>
          <a:xfrm>
            <a:off x="464336" y="319618"/>
            <a:ext cx="10937875" cy="2801263"/>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vert="horz" wrap="square" lIns="0" tIns="0" rIns="0" bIns="0" rtlCol="0" anchor="t" anchorCtr="0">
            <a:noAutofit/>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bg1"/>
                </a:solidFill>
                <a:latin typeface="+mn-lt"/>
                <a:ea typeface="+mj-ea"/>
                <a:cs typeface="+mj-cs"/>
              </a:defRPr>
            </a:lvl1pPr>
          </a:lstStyle>
          <a:p>
            <a:pPr defTabSz="1088415">
              <a:lnSpc>
                <a:spcPct val="80000"/>
              </a:lnSpc>
              <a:defRPr/>
            </a:pPr>
            <a:endParaRPr lang="de-DE" sz="4400" cap="all" dirty="0">
              <a:solidFill>
                <a:srgbClr val="FFFF00"/>
              </a:solidFill>
              <a:ea typeface="CorporateS-Regular" charset="0"/>
              <a:cs typeface="CorporateS-Regular" charset="0"/>
            </a:endParaRPr>
          </a:p>
        </p:txBody>
      </p:sp>
      <p:cxnSp>
        <p:nvCxnSpPr>
          <p:cNvPr id="23" name="Gerader Verbinder 22"/>
          <p:cNvCxnSpPr/>
          <p:nvPr/>
        </p:nvCxnSpPr>
        <p:spPr>
          <a:xfrm>
            <a:off x="6680200" y="226317"/>
            <a:ext cx="0" cy="1895669"/>
          </a:xfrm>
          <a:prstGeom prst="line">
            <a:avLst/>
          </a:prstGeom>
          <a:noFill/>
          <a:ln w="57150" cap="flat" cmpd="sng" algn="ctr">
            <a:solidFill>
              <a:srgbClr val="FFFFFF"/>
            </a:solidFill>
            <a:prstDash val="solid"/>
            <a:miter lim="800000"/>
          </a:ln>
          <a:effectLst/>
        </p:spPr>
      </p:cxnSp>
      <p:cxnSp>
        <p:nvCxnSpPr>
          <p:cNvPr id="24" name="Gerader Verbinder 23"/>
          <p:cNvCxnSpPr/>
          <p:nvPr/>
        </p:nvCxnSpPr>
        <p:spPr>
          <a:xfrm>
            <a:off x="319314" y="226317"/>
            <a:ext cx="0" cy="9579777"/>
          </a:xfrm>
          <a:prstGeom prst="line">
            <a:avLst/>
          </a:prstGeom>
          <a:noFill/>
          <a:ln w="57150" cap="flat" cmpd="sng" algn="ctr">
            <a:solidFill>
              <a:srgbClr val="FFFFFF"/>
            </a:solidFill>
            <a:prstDash val="solid"/>
            <a:miter lim="800000"/>
          </a:ln>
          <a:effectLst/>
        </p:spPr>
      </p:cxnSp>
      <p:cxnSp>
        <p:nvCxnSpPr>
          <p:cNvPr id="25" name="Gerader Verbinder 24"/>
          <p:cNvCxnSpPr/>
          <p:nvPr/>
        </p:nvCxnSpPr>
        <p:spPr>
          <a:xfrm rot="5400000">
            <a:off x="7517237" y="-6947989"/>
            <a:ext cx="4154" cy="14400000"/>
          </a:xfrm>
          <a:prstGeom prst="line">
            <a:avLst/>
          </a:prstGeom>
          <a:noFill/>
          <a:ln w="57150" cap="flat" cmpd="sng" algn="ctr">
            <a:solidFill>
              <a:srgbClr val="FFFFFF"/>
            </a:solidFill>
            <a:prstDash val="solid"/>
            <a:miter lim="800000"/>
          </a:ln>
          <a:effectLst/>
        </p:spPr>
      </p:cxnSp>
      <p:cxnSp>
        <p:nvCxnSpPr>
          <p:cNvPr id="27" name="Gerader Verbinder 26"/>
          <p:cNvCxnSpPr/>
          <p:nvPr/>
        </p:nvCxnSpPr>
        <p:spPr>
          <a:xfrm flipH="1">
            <a:off x="319316" y="2104571"/>
            <a:ext cx="6360884" cy="0"/>
          </a:xfrm>
          <a:prstGeom prst="line">
            <a:avLst/>
          </a:prstGeom>
          <a:noFill/>
          <a:ln w="57150" cap="flat" cmpd="sng" algn="ctr">
            <a:solidFill>
              <a:srgbClr val="FFFFFF"/>
            </a:solidFill>
            <a:prstDash val="solid"/>
            <a:miter lim="800000"/>
          </a:ln>
          <a:effectLst/>
        </p:spPr>
      </p:cxnSp>
    </p:spTree>
    <p:extLst>
      <p:ext uri="{BB962C8B-B14F-4D97-AF65-F5344CB8AC3E}">
        <p14:creationId xmlns:p14="http://schemas.microsoft.com/office/powerpoint/2010/main" val="20268589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p:cNvSpPr txBox="1">
            <a:spLocks/>
          </p:cNvSpPr>
          <p:nvPr/>
        </p:nvSpPr>
        <p:spPr bwMode="gray">
          <a:xfrm>
            <a:off x="628323" y="286593"/>
            <a:ext cx="10302272" cy="683857"/>
          </a:xfrm>
          <a:prstGeom prst="rect">
            <a:avLst/>
          </a:prstGeom>
        </p:spPr>
        <p:txBody>
          <a:bodyPr vert="horz" lIns="0" tIns="0" rIns="0" bIns="0" rtlCol="0" anchor="t" anchorCtr="0">
            <a:noAutofit/>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tx1"/>
                </a:solidFill>
                <a:latin typeface="+mn-lt"/>
                <a:ea typeface="+mj-ea"/>
                <a:cs typeface="+mj-cs"/>
              </a:defRPr>
            </a:lvl1pPr>
          </a:lstStyle>
          <a:p>
            <a:r>
              <a:rPr lang="de-DE" sz="3498" dirty="0">
                <a:solidFill>
                  <a:prstClr val="white"/>
                </a:solidFill>
              </a:rPr>
              <a:t>Unsere Unternehmenswerte</a:t>
            </a:r>
          </a:p>
        </p:txBody>
      </p:sp>
      <p:sp>
        <p:nvSpPr>
          <p:cNvPr id="23" name="Titel 1"/>
          <p:cNvSpPr txBox="1">
            <a:spLocks/>
          </p:cNvSpPr>
          <p:nvPr/>
        </p:nvSpPr>
        <p:spPr bwMode="gray">
          <a:xfrm>
            <a:off x="2029666" y="2097546"/>
            <a:ext cx="3293934" cy="683857"/>
          </a:xfrm>
          <a:prstGeom prst="rect">
            <a:avLst/>
          </a:prstGeom>
        </p:spPr>
        <p:txBody>
          <a:bodyPr vert="horz" lIns="0" tIns="0" rIns="0" bIns="0" rtlCol="0" anchor="t" anchorCtr="0">
            <a:noAutofit/>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tx1"/>
                </a:solidFill>
                <a:latin typeface="+mn-lt"/>
                <a:ea typeface="+mj-ea"/>
                <a:cs typeface="+mj-cs"/>
              </a:defRPr>
            </a:lvl1pPr>
          </a:lstStyle>
          <a:p>
            <a:pPr>
              <a:lnSpc>
                <a:spcPct val="100000"/>
              </a:lnSpc>
            </a:pPr>
            <a:r>
              <a:rPr lang="de-DE" sz="1799" dirty="0">
                <a:solidFill>
                  <a:prstClr val="white"/>
                </a:solidFill>
              </a:rPr>
              <a:t>Finanzielle &amp; soziale</a:t>
            </a:r>
            <a:br>
              <a:rPr lang="de-DE" sz="1799" dirty="0">
                <a:solidFill>
                  <a:prstClr val="white"/>
                </a:solidFill>
              </a:rPr>
            </a:br>
            <a:r>
              <a:rPr lang="de-DE" sz="1799" dirty="0">
                <a:solidFill>
                  <a:prstClr val="white"/>
                </a:solidFill>
              </a:rPr>
              <a:t>Verantwortung</a:t>
            </a:r>
          </a:p>
        </p:txBody>
      </p:sp>
      <p:sp>
        <p:nvSpPr>
          <p:cNvPr id="24" name="Titel 1"/>
          <p:cNvSpPr txBox="1">
            <a:spLocks/>
          </p:cNvSpPr>
          <p:nvPr/>
        </p:nvSpPr>
        <p:spPr bwMode="gray">
          <a:xfrm>
            <a:off x="6881079" y="2097546"/>
            <a:ext cx="3293934" cy="683857"/>
          </a:xfrm>
          <a:prstGeom prst="rect">
            <a:avLst/>
          </a:prstGeom>
        </p:spPr>
        <p:txBody>
          <a:bodyPr vert="horz" lIns="0" tIns="0" rIns="0" bIns="0" rtlCol="0" anchor="t" anchorCtr="0">
            <a:noAutofit/>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tx1"/>
                </a:solidFill>
                <a:latin typeface="+mn-lt"/>
                <a:ea typeface="+mj-ea"/>
                <a:cs typeface="+mj-cs"/>
              </a:defRPr>
            </a:lvl1pPr>
          </a:lstStyle>
          <a:p>
            <a:pPr algn="r">
              <a:lnSpc>
                <a:spcPct val="100000"/>
              </a:lnSpc>
            </a:pPr>
            <a:r>
              <a:rPr lang="de-DE" sz="1799" dirty="0">
                <a:solidFill>
                  <a:prstClr val="white"/>
                </a:solidFill>
              </a:rPr>
              <a:t>Kundenorientierung</a:t>
            </a:r>
          </a:p>
        </p:txBody>
      </p:sp>
      <p:sp>
        <p:nvSpPr>
          <p:cNvPr id="25" name="Titel 1"/>
          <p:cNvSpPr txBox="1">
            <a:spLocks/>
          </p:cNvSpPr>
          <p:nvPr/>
        </p:nvSpPr>
        <p:spPr bwMode="gray">
          <a:xfrm>
            <a:off x="2029666" y="4275731"/>
            <a:ext cx="3293934" cy="683857"/>
          </a:xfrm>
          <a:prstGeom prst="rect">
            <a:avLst/>
          </a:prstGeom>
        </p:spPr>
        <p:txBody>
          <a:bodyPr vert="horz" lIns="0" tIns="0" rIns="0" bIns="0" rtlCol="0" anchor="t" anchorCtr="0">
            <a:noAutofit/>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tx1"/>
                </a:solidFill>
                <a:latin typeface="+mn-lt"/>
                <a:ea typeface="+mj-ea"/>
                <a:cs typeface="+mj-cs"/>
              </a:defRPr>
            </a:lvl1pPr>
          </a:lstStyle>
          <a:p>
            <a:pPr>
              <a:lnSpc>
                <a:spcPct val="100000"/>
              </a:lnSpc>
            </a:pPr>
            <a:r>
              <a:rPr lang="de-DE" sz="1799" dirty="0">
                <a:solidFill>
                  <a:prstClr val="white"/>
                </a:solidFill>
              </a:rPr>
              <a:t>Begeisterte, motivierte &amp;</a:t>
            </a:r>
            <a:br>
              <a:rPr lang="de-DE" sz="1799" dirty="0">
                <a:solidFill>
                  <a:prstClr val="white"/>
                </a:solidFill>
              </a:rPr>
            </a:br>
            <a:r>
              <a:rPr lang="de-DE" sz="1799" dirty="0">
                <a:solidFill>
                  <a:prstClr val="white"/>
                </a:solidFill>
              </a:rPr>
              <a:t>vielfältige Belegschaft</a:t>
            </a:r>
          </a:p>
        </p:txBody>
      </p:sp>
      <p:sp>
        <p:nvSpPr>
          <p:cNvPr id="26" name="Titel 1"/>
          <p:cNvSpPr txBox="1">
            <a:spLocks/>
          </p:cNvSpPr>
          <p:nvPr/>
        </p:nvSpPr>
        <p:spPr bwMode="gray">
          <a:xfrm>
            <a:off x="6881079" y="4275731"/>
            <a:ext cx="3293934" cy="683857"/>
          </a:xfrm>
          <a:prstGeom prst="rect">
            <a:avLst/>
          </a:prstGeom>
        </p:spPr>
        <p:txBody>
          <a:bodyPr vert="horz" lIns="0" tIns="0" rIns="0" bIns="0" rtlCol="0" anchor="t" anchorCtr="0">
            <a:noAutofit/>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tx1"/>
                </a:solidFill>
                <a:latin typeface="+mn-lt"/>
                <a:ea typeface="+mj-ea"/>
                <a:cs typeface="+mj-cs"/>
              </a:defRPr>
            </a:lvl1pPr>
          </a:lstStyle>
          <a:p>
            <a:pPr algn="r">
              <a:lnSpc>
                <a:spcPct val="100000"/>
              </a:lnSpc>
            </a:pPr>
            <a:r>
              <a:rPr lang="de-DE" sz="1799" dirty="0">
                <a:solidFill>
                  <a:prstClr val="white"/>
                </a:solidFill>
              </a:rPr>
              <a:t>Kultur der</a:t>
            </a:r>
            <a:br>
              <a:rPr lang="de-DE" sz="1799" dirty="0">
                <a:solidFill>
                  <a:prstClr val="white"/>
                </a:solidFill>
              </a:rPr>
            </a:br>
            <a:r>
              <a:rPr lang="de-DE" sz="1799" dirty="0">
                <a:solidFill>
                  <a:prstClr val="white"/>
                </a:solidFill>
              </a:rPr>
              <a:t>Spitzenleistung</a:t>
            </a:r>
          </a:p>
        </p:txBody>
      </p:sp>
      <p:sp>
        <p:nvSpPr>
          <p:cNvPr id="27" name="Titel 1"/>
          <p:cNvSpPr txBox="1">
            <a:spLocks/>
          </p:cNvSpPr>
          <p:nvPr/>
        </p:nvSpPr>
        <p:spPr bwMode="gray">
          <a:xfrm>
            <a:off x="4449033" y="1132291"/>
            <a:ext cx="3293934" cy="683857"/>
          </a:xfrm>
          <a:prstGeom prst="rect">
            <a:avLst/>
          </a:prstGeom>
        </p:spPr>
        <p:txBody>
          <a:bodyPr vert="horz" lIns="0" tIns="0" rIns="0" bIns="0" rtlCol="0" anchor="t" anchorCtr="0">
            <a:noAutofit/>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tx1"/>
                </a:solidFill>
                <a:latin typeface="+mn-lt"/>
                <a:ea typeface="+mj-ea"/>
                <a:cs typeface="+mj-cs"/>
              </a:defRPr>
            </a:lvl1pPr>
          </a:lstStyle>
          <a:p>
            <a:pPr algn="ctr">
              <a:lnSpc>
                <a:spcPct val="100000"/>
              </a:lnSpc>
            </a:pPr>
            <a:r>
              <a:rPr lang="de-DE" sz="2399" dirty="0">
                <a:solidFill>
                  <a:prstClr val="white"/>
                </a:solidFill>
              </a:rPr>
              <a:t>Integrität, Offenheit &amp; Respekt</a:t>
            </a:r>
          </a:p>
        </p:txBody>
      </p:sp>
      <p:pic>
        <p:nvPicPr>
          <p:cNvPr id="29" name="Grafik 28"/>
          <p:cNvPicPr>
            <a:picLocks noChangeAspect="1"/>
          </p:cNvPicPr>
          <p:nvPr/>
        </p:nvPicPr>
        <p:blipFill>
          <a:blip r:embed="rId4"/>
          <a:stretch>
            <a:fillRect/>
          </a:stretch>
        </p:blipFill>
        <p:spPr bwMode="gray">
          <a:xfrm>
            <a:off x="4941714" y="5645091"/>
            <a:ext cx="2308573" cy="156718"/>
          </a:xfrm>
          <a:prstGeom prst="rect">
            <a:avLst/>
          </a:prstGeom>
        </p:spPr>
      </p:pic>
      <p:sp>
        <p:nvSpPr>
          <p:cNvPr id="13" name="Titel 1"/>
          <p:cNvSpPr txBox="1">
            <a:spLocks/>
          </p:cNvSpPr>
          <p:nvPr/>
        </p:nvSpPr>
        <p:spPr>
          <a:xfrm>
            <a:off x="629671" y="286890"/>
            <a:ext cx="10931106" cy="683644"/>
          </a:xfrm>
          <a:prstGeom prst="rect">
            <a:avLst/>
          </a:prstGeom>
        </p:spPr>
        <p:txBody>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tx1"/>
                </a:solidFill>
                <a:latin typeface="+mn-lt"/>
                <a:ea typeface="+mj-ea"/>
                <a:cs typeface="+mj-cs"/>
              </a:defRPr>
            </a:lvl1pPr>
          </a:lstStyle>
          <a:p>
            <a:r>
              <a:rPr lang="ru-RU" sz="3498" dirty="0" smtClean="0">
                <a:solidFill>
                  <a:prstClr val="black"/>
                </a:solidFill>
              </a:rPr>
              <a:t>Отказ от ответственности</a:t>
            </a:r>
            <a:endParaRPr lang="de-DE" sz="3498" dirty="0">
              <a:solidFill>
                <a:prstClr val="black"/>
              </a:solidFill>
            </a:endParaRPr>
          </a:p>
        </p:txBody>
      </p:sp>
      <p:sp>
        <p:nvSpPr>
          <p:cNvPr id="14" name="Inhaltsplatzhalter 4"/>
          <p:cNvSpPr txBox="1">
            <a:spLocks/>
          </p:cNvSpPr>
          <p:nvPr/>
        </p:nvSpPr>
        <p:spPr>
          <a:xfrm>
            <a:off x="628323" y="970450"/>
            <a:ext cx="10930832" cy="5253116"/>
          </a:xfrm>
          <a:prstGeom prst="rect">
            <a:avLst/>
          </a:prstGeom>
        </p:spPr>
        <p:txBody>
          <a:bodyPr/>
          <a:lstStyle>
            <a:lvl1pPr marL="237600" indent="-237600" algn="l" defTabSz="1088959" rtl="0" eaLnBrk="1" latinLnBrk="0" hangingPunct="1">
              <a:lnSpc>
                <a:spcPts val="3200"/>
              </a:lnSpc>
              <a:spcBef>
                <a:spcPts val="0"/>
              </a:spcBef>
              <a:buSzPct val="80000"/>
              <a:buFont typeface="Arial" panose="020B0604020202020204" pitchFamily="34" charset="0"/>
              <a:buChar char="•"/>
              <a:defRPr sz="2400" kern="1200" baseline="0">
                <a:solidFill>
                  <a:schemeClr val="tx1"/>
                </a:solidFill>
                <a:latin typeface="+mn-lt"/>
                <a:ea typeface="+mn-ea"/>
                <a:cs typeface="+mn-cs"/>
              </a:defRPr>
            </a:lvl1pPr>
            <a:lvl2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2pPr>
            <a:lvl3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3pPr>
            <a:lvl4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4pPr>
            <a:lvl5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5pPr>
            <a:lvl6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a:lstStyle>
          <a:p>
            <a:pPr marL="0" indent="0" algn="just">
              <a:lnSpc>
                <a:spcPct val="150000"/>
              </a:lnSpc>
              <a:buNone/>
            </a:pPr>
            <a:r>
              <a:rPr lang="ru-RU" sz="1199" b="1" dirty="0" smtClean="0">
                <a:solidFill>
                  <a:prstClr val="black"/>
                </a:solidFill>
              </a:rPr>
              <a:t>Заявления о будущем</a:t>
            </a:r>
            <a:r>
              <a:rPr lang="en-US" sz="1199" b="1" dirty="0" smtClean="0">
                <a:solidFill>
                  <a:prstClr val="black"/>
                </a:solidFill>
              </a:rPr>
              <a:t>: </a:t>
            </a:r>
            <a:endParaRPr lang="en-US" sz="1199" b="1" dirty="0">
              <a:solidFill>
                <a:prstClr val="black"/>
              </a:solidFill>
            </a:endParaRPr>
          </a:p>
          <a:p>
            <a:pPr marL="0" indent="0" algn="just">
              <a:lnSpc>
                <a:spcPct val="150000"/>
              </a:lnSpc>
              <a:buNone/>
            </a:pPr>
            <a:r>
              <a:rPr lang="ru-RU" sz="1199" dirty="0">
                <a:solidFill>
                  <a:prstClr val="black"/>
                </a:solidFill>
              </a:rPr>
              <a:t>Этот документ содержит прогнозные заявления, которые отражают наши нынешние взгляды на будущие события. Слова «предвидеть», «предполагать», «верить», «оценивать», «ожидать», «намереваться», «возможно», «могут», «могут», «могли», «планировать», «проектировать», «должны» и аналогичные выражения используются для определения прогнозных заявлений. Эти заявления подвержены многим рискам и неопределенностям, включая неблагоприятное развитие глобальных экономических условий, в частности снижение спроса на наших наиболее важных рынках; ухудшение наших возможностей рефинансирования на кредитном и финансовом рынках; форс-мажорные обстоятельства, включая стихийные бедствия, террористические акты, политические беспорядки, вооруженные конфликты, промышленные аварии и их влияние на нашу деятельность по продаже, закупкам, производству или оказанию финансовых услуг; изменение курсов валют и тарифных правил; изменение потребительских предпочтений в сторону меньших автомобилей с более низкой маржей; возможное отсутствие принятия наших продуктов или услуг, что ограничивает нашу способность достигать цены и адекватно использовать наши производственные мощности; рост цен на топливо или сырье; прекращение производства из-за нехватки материалов, забастовок или несостоятельности поставщиков; снижение цен перепродажи подержанных автомобилей; эффективная реализация мер по снижению затрат и оптимизации эффективности; перспективы бизнеса для компаний, в которых мы имеем значительную долю участия; успешная реализация стратегического сотрудничества и совместных предприятий; изменения в законах, правилах и политике правительства, особенно в отношении выбросов транспортных средств, экономии топлива и безопасности; разрешение ожидающих правительственных расследований или расследований, запрошенных правительствами, и заключение ожидающих или находящихся под угрозой будущих судебных разбирательств; и другие риски и неопределенности, некоторые из которых мы описываем под заголовком «Отчет о рисках и возможностях» в текущем Годовом отчете. Если какой-либо из этих рисков и неопределенностей материализуется или предположения, лежащие в основе любого из наших прогнозных заявлений, окажутся неверными, фактические результаты могут существенно отличаться от тех, которые мы выражаем или подразумеваем в таких заявлениях. Мы не намерены и не берем на себя никаких обязательств по обновлению этих прогнозных заявлений, поскольку они основаны исключительно на обстоятельствах на дату публикации.</a:t>
            </a:r>
            <a:endParaRPr lang="de-DE" sz="900" dirty="0">
              <a:solidFill>
                <a:prstClr val="black"/>
              </a:solidFill>
            </a:endParaRPr>
          </a:p>
        </p:txBody>
      </p:sp>
    </p:spTree>
    <p:custDataLst>
      <p:tags r:id="rId1"/>
    </p:custDataLst>
    <p:extLst>
      <p:ext uri="{BB962C8B-B14F-4D97-AF65-F5344CB8AC3E}">
        <p14:creationId xmlns:p14="http://schemas.microsoft.com/office/powerpoint/2010/main" val="239962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75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75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750"/>
                                        <p:tgtEl>
                                          <p:spTgt spid="2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750"/>
                                        <p:tgtEl>
                                          <p:spTgt spid="2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7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25" grpId="0"/>
      <p:bldP spid="26" grpId="0"/>
      <p:bldP spid="2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 name="Bild 1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0272" y="-267311"/>
            <a:ext cx="13425950" cy="7138134"/>
          </a:xfrm>
          <a:prstGeom prst="rect">
            <a:avLst/>
          </a:prstGeom>
        </p:spPr>
      </p:pic>
      <p:sp>
        <p:nvSpPr>
          <p:cNvPr id="114" name="Freihandform 113">
            <a:extLst>
              <a:ext uri="{FF2B5EF4-FFF2-40B4-BE49-F238E27FC236}">
                <a16:creationId xmlns:a16="http://schemas.microsoft.com/office/drawing/2014/main" id="{EBCD6A32-C105-5547-8922-F81DB9562D46}"/>
              </a:ext>
            </a:extLst>
          </p:cNvPr>
          <p:cNvSpPr/>
          <p:nvPr/>
        </p:nvSpPr>
        <p:spPr>
          <a:xfrm>
            <a:off x="708312" y="1989223"/>
            <a:ext cx="10746000" cy="4881600"/>
          </a:xfrm>
          <a:custGeom>
            <a:avLst/>
            <a:gdLst>
              <a:gd name="connsiteX0" fmla="*/ 5373094 w 10746188"/>
              <a:gd name="connsiteY0" fmla="*/ 0 h 4883742"/>
              <a:gd name="connsiteX1" fmla="*/ 10743332 w 10746188"/>
              <a:gd name="connsiteY1" fmla="*/ 4846183 h 4883742"/>
              <a:gd name="connsiteX2" fmla="*/ 10746188 w 10746188"/>
              <a:gd name="connsiteY2" fmla="*/ 4883742 h 4883742"/>
              <a:gd name="connsiteX3" fmla="*/ 0 w 10746188"/>
              <a:gd name="connsiteY3" fmla="*/ 4883742 h 4883742"/>
              <a:gd name="connsiteX4" fmla="*/ 2856 w 10746188"/>
              <a:gd name="connsiteY4" fmla="*/ 4846183 h 4883742"/>
              <a:gd name="connsiteX5" fmla="*/ 5373094 w 10746188"/>
              <a:gd name="connsiteY5" fmla="*/ 0 h 488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46188" h="4883742">
                <a:moveTo>
                  <a:pt x="5373094" y="0"/>
                </a:moveTo>
                <a:cubicBezTo>
                  <a:pt x="8168056" y="0"/>
                  <a:pt x="10466895" y="2124154"/>
                  <a:pt x="10743332" y="4846183"/>
                </a:cubicBezTo>
                <a:lnTo>
                  <a:pt x="10746188" y="4883742"/>
                </a:lnTo>
                <a:lnTo>
                  <a:pt x="0" y="4883742"/>
                </a:lnTo>
                <a:lnTo>
                  <a:pt x="2856" y="4846183"/>
                </a:lnTo>
                <a:cubicBezTo>
                  <a:pt x="279293" y="2124154"/>
                  <a:pt x="2578132" y="0"/>
                  <a:pt x="5373094" y="0"/>
                </a:cubicBezTo>
                <a:close/>
              </a:path>
            </a:pathLst>
          </a:custGeom>
          <a:solidFill>
            <a:srgbClr val="005478">
              <a:alpha val="8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endParaRPr lang="en-US" sz="3598" dirty="0">
              <a:solidFill>
                <a:srgbClr val="FFFFFF"/>
              </a:solidFill>
              <a:latin typeface="Arial monospaced for SAP" panose="020B0609020202030204" pitchFamily="49" charset="0"/>
            </a:endParaRPr>
          </a:p>
        </p:txBody>
      </p:sp>
      <p:sp>
        <p:nvSpPr>
          <p:cNvPr id="97" name="Rectangle 71"/>
          <p:cNvSpPr/>
          <p:nvPr/>
        </p:nvSpPr>
        <p:spPr bwMode="gray">
          <a:xfrm>
            <a:off x="3187727" y="2961742"/>
            <a:ext cx="1846582" cy="425571"/>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88633">
              <a:lnSpc>
                <a:spcPct val="80000"/>
              </a:lnSpc>
            </a:pPr>
            <a:r>
              <a:rPr lang="de-DE" sz="3199" b="1" kern="0" dirty="0">
                <a:solidFill>
                  <a:schemeClr val="bg1"/>
                </a:solidFill>
                <a:latin typeface="CorpoS"/>
                <a:ea typeface="CorporateS-Regular" charset="0"/>
                <a:cs typeface="CorporateS-Regular" charset="0"/>
              </a:rPr>
              <a:t>0.4 </a:t>
            </a:r>
            <a:r>
              <a:rPr lang="ru-RU" sz="3199" b="1" kern="0" dirty="0" smtClean="0">
                <a:solidFill>
                  <a:schemeClr val="bg1"/>
                </a:solidFill>
                <a:latin typeface="CorpoS"/>
                <a:ea typeface="CorporateS-Regular" charset="0"/>
                <a:cs typeface="CorporateS-Regular" charset="0"/>
              </a:rPr>
              <a:t>М</a:t>
            </a:r>
            <a:endParaRPr lang="de-DE" sz="3199" b="1" kern="0" dirty="0">
              <a:solidFill>
                <a:schemeClr val="bg1"/>
              </a:solidFill>
              <a:latin typeface="CorpoS"/>
              <a:ea typeface="CorporateS-Regular" charset="0"/>
              <a:cs typeface="CorporateS-Regular" charset="0"/>
            </a:endParaRPr>
          </a:p>
        </p:txBody>
      </p:sp>
      <p:sp>
        <p:nvSpPr>
          <p:cNvPr id="98" name="Rectangle 72"/>
          <p:cNvSpPr/>
          <p:nvPr/>
        </p:nvSpPr>
        <p:spPr bwMode="gray">
          <a:xfrm>
            <a:off x="3193732" y="3313768"/>
            <a:ext cx="2050930" cy="219986"/>
          </a:xfrm>
          <a:prstGeom prst="rect">
            <a:avLst/>
          </a:prstGeom>
          <a:noFill/>
          <a:ln w="25400" cap="flat" cmpd="sng" algn="ctr">
            <a:noFill/>
            <a:prstDash val="solid"/>
          </a:ln>
          <a:effectLst/>
        </p:spPr>
        <p:txBody>
          <a:bodyPr lIns="0" tIns="0" rIns="0" bIns="0" rtlCol="0" anchor="t"/>
          <a:lstStyle/>
          <a:p>
            <a:pPr marL="0" marR="0" lvl="0" indent="0" defTabSz="1088633" eaLnBrk="1" fontAlgn="auto" latinLnBrk="0" hangingPunct="1">
              <a:lnSpc>
                <a:spcPct val="80000"/>
              </a:lnSpc>
              <a:spcBef>
                <a:spcPts val="0"/>
              </a:spcBef>
              <a:spcAft>
                <a:spcPts val="0"/>
              </a:spcAft>
              <a:buClrTx/>
              <a:buSzTx/>
              <a:buFontTx/>
              <a:buNone/>
              <a:tabLst/>
              <a:defRPr/>
            </a:pPr>
            <a:r>
              <a:rPr lang="ru-RU" kern="0" dirty="0" smtClean="0">
                <a:solidFill>
                  <a:prstClr val="white"/>
                </a:solidFill>
                <a:latin typeface="CorpoS"/>
                <a:ea typeface="CorporateS-Regular" charset="0"/>
                <a:cs typeface="CorporateS-Regular" charset="0"/>
              </a:rPr>
              <a:t>БАНКОВСКИХ КЛИЕНТОВ</a:t>
            </a:r>
            <a:endParaRPr kumimoji="0" lang="de-DE" b="0" i="0" u="none" strike="noStrike" kern="0" cap="none" spc="0" normalizeH="0" baseline="0" noProof="0" dirty="0">
              <a:ln>
                <a:noFill/>
              </a:ln>
              <a:solidFill>
                <a:prstClr val="white"/>
              </a:solidFill>
              <a:effectLst/>
              <a:uLnTx/>
              <a:uFillTx/>
              <a:latin typeface="CorpoS"/>
              <a:ea typeface="CorporateS-Regular" charset="0"/>
              <a:cs typeface="CorporateS-Regular" charset="0"/>
            </a:endParaRPr>
          </a:p>
        </p:txBody>
      </p:sp>
      <p:sp>
        <p:nvSpPr>
          <p:cNvPr id="99" name="Rectangle 65"/>
          <p:cNvSpPr/>
          <p:nvPr/>
        </p:nvSpPr>
        <p:spPr bwMode="gray">
          <a:xfrm>
            <a:off x="1734575" y="5410517"/>
            <a:ext cx="1409771" cy="425571"/>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defTabSz="1088633" eaLnBrk="1" fontAlgn="auto" latinLnBrk="0" hangingPunct="1">
              <a:lnSpc>
                <a:spcPct val="80000"/>
              </a:lnSpc>
              <a:spcBef>
                <a:spcPts val="0"/>
              </a:spcBef>
              <a:spcAft>
                <a:spcPts val="0"/>
              </a:spcAft>
              <a:buClrTx/>
              <a:buSzTx/>
              <a:buFontTx/>
              <a:buNone/>
              <a:tabLst/>
              <a:defRPr/>
            </a:pPr>
            <a:r>
              <a:rPr kumimoji="0" lang="de-DE" sz="3199" b="1" i="0" u="none" strike="noStrike" kern="0" cap="none" spc="0" normalizeH="0" baseline="0" noProof="0" dirty="0" smtClean="0">
                <a:ln>
                  <a:noFill/>
                </a:ln>
                <a:solidFill>
                  <a:schemeClr val="bg1"/>
                </a:solidFill>
                <a:effectLst/>
                <a:uLnTx/>
                <a:uFillTx/>
                <a:latin typeface="CorpoS"/>
                <a:ea typeface="CorporateS-Regular" charset="0"/>
                <a:cs typeface="CorporateS-Regular" charset="0"/>
              </a:rPr>
              <a:t>5.3 </a:t>
            </a:r>
            <a:r>
              <a:rPr kumimoji="0" lang="de-DE" sz="3199" b="1" i="0" u="none" strike="noStrike" kern="0" cap="none" spc="0" normalizeH="0" baseline="0" noProof="0" dirty="0" err="1">
                <a:ln>
                  <a:noFill/>
                </a:ln>
                <a:solidFill>
                  <a:schemeClr val="bg1"/>
                </a:solidFill>
                <a:effectLst/>
                <a:uLnTx/>
                <a:uFillTx/>
                <a:latin typeface="CorpoS"/>
                <a:ea typeface="CorporateS-Regular" charset="0"/>
                <a:cs typeface="CorporateS-Regular" charset="0"/>
              </a:rPr>
              <a:t>mn</a:t>
            </a:r>
            <a:endParaRPr kumimoji="0" lang="de-DE" sz="3199" b="1" i="0" u="none" strike="noStrike" kern="0" cap="none" spc="0" normalizeH="0" baseline="0" noProof="0" dirty="0">
              <a:ln>
                <a:noFill/>
              </a:ln>
              <a:solidFill>
                <a:schemeClr val="bg1"/>
              </a:solidFill>
              <a:effectLst/>
              <a:uLnTx/>
              <a:uFillTx/>
              <a:latin typeface="CorpoS"/>
              <a:ea typeface="CorporateS-Regular" charset="0"/>
              <a:cs typeface="CorporateS-Regular" charset="0"/>
            </a:endParaRPr>
          </a:p>
        </p:txBody>
      </p:sp>
      <p:sp>
        <p:nvSpPr>
          <p:cNvPr id="100" name="Rectangle 66"/>
          <p:cNvSpPr/>
          <p:nvPr/>
        </p:nvSpPr>
        <p:spPr bwMode="gray">
          <a:xfrm>
            <a:off x="1730756" y="5776531"/>
            <a:ext cx="1811230" cy="425571"/>
          </a:xfrm>
          <a:prstGeom prst="rect">
            <a:avLst/>
          </a:prstGeom>
          <a:noFill/>
          <a:ln w="25400" cap="flat" cmpd="sng" algn="ctr">
            <a:noFill/>
            <a:prstDash val="solid"/>
          </a:ln>
          <a:effectLst/>
        </p:spPr>
        <p:txBody>
          <a:bodyPr lIns="0" tIns="0" rIns="0" bIns="0" rtlCol="0" anchor="t"/>
          <a:lstStyle/>
          <a:p>
            <a:pPr marL="0" marR="0" lvl="0" indent="0" defTabSz="1088633" eaLnBrk="1" fontAlgn="auto" latinLnBrk="0" hangingPunct="1">
              <a:lnSpc>
                <a:spcPct val="80000"/>
              </a:lnSpc>
              <a:spcBef>
                <a:spcPts val="0"/>
              </a:spcBef>
              <a:spcAft>
                <a:spcPts val="0"/>
              </a:spcAft>
              <a:buClrTx/>
              <a:buSzTx/>
              <a:buFontTx/>
              <a:buNone/>
              <a:tabLst/>
              <a:defRPr/>
            </a:pPr>
            <a:r>
              <a:rPr kumimoji="0" lang="ru-RU" b="0" i="0" u="none" strike="noStrike" kern="0" cap="none" spc="0" normalizeH="0" baseline="0" noProof="0" dirty="0" smtClean="0">
                <a:ln>
                  <a:noFill/>
                </a:ln>
                <a:solidFill>
                  <a:prstClr val="white"/>
                </a:solidFill>
                <a:effectLst/>
                <a:uLnTx/>
                <a:uFillTx/>
                <a:latin typeface="CorpoS"/>
                <a:ea typeface="CorporateS-Regular" charset="0"/>
                <a:cs typeface="CorporateS-Regular" charset="0"/>
              </a:rPr>
              <a:t>ФИНАНСИРОВАННЫХ МАШИН И МАШИН В ЛИЗИНГЕ</a:t>
            </a:r>
            <a:endParaRPr kumimoji="0" lang="de-DE" sz="1600" b="0" i="0" u="none" strike="noStrike" kern="0" cap="none" spc="0" normalizeH="0" baseline="0" noProof="0" dirty="0">
              <a:ln>
                <a:noFill/>
              </a:ln>
              <a:solidFill>
                <a:prstClr val="white"/>
              </a:solidFill>
              <a:effectLst/>
              <a:uLnTx/>
              <a:uFillTx/>
              <a:latin typeface="CorpoS"/>
              <a:ea typeface="CorporateS-Regular" charset="0"/>
              <a:cs typeface="CorporateS-Regular" charset="0"/>
            </a:endParaRPr>
          </a:p>
        </p:txBody>
      </p:sp>
      <p:sp>
        <p:nvSpPr>
          <p:cNvPr id="101" name="Rectangle 68"/>
          <p:cNvSpPr/>
          <p:nvPr/>
        </p:nvSpPr>
        <p:spPr bwMode="gray">
          <a:xfrm>
            <a:off x="2467359" y="4191914"/>
            <a:ext cx="1572038" cy="425571"/>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defTabSz="1088633">
              <a:lnSpc>
                <a:spcPct val="80000"/>
              </a:lnSpc>
            </a:pPr>
            <a:r>
              <a:rPr lang="de-DE" sz="3199" b="1" kern="0" dirty="0">
                <a:solidFill>
                  <a:schemeClr val="bg1"/>
                </a:solidFill>
                <a:latin typeface="CorpoS"/>
                <a:ea typeface="CorporateS-Regular" charset="0"/>
                <a:cs typeface="CorporateS-Regular" charset="0"/>
              </a:rPr>
              <a:t>5.0 </a:t>
            </a:r>
            <a:r>
              <a:rPr lang="ru-RU" sz="3199" b="1" kern="0" dirty="0">
                <a:solidFill>
                  <a:schemeClr val="bg1"/>
                </a:solidFill>
                <a:latin typeface="CorpoS"/>
                <a:ea typeface="CorporateS-Regular" charset="0"/>
                <a:cs typeface="CorporateS-Regular" charset="0"/>
              </a:rPr>
              <a:t>М</a:t>
            </a:r>
            <a:endParaRPr lang="de-DE" sz="3199" b="1" kern="0" dirty="0">
              <a:solidFill>
                <a:schemeClr val="bg1"/>
              </a:solidFill>
              <a:latin typeface="CorpoS"/>
              <a:ea typeface="CorporateS-Regular" charset="0"/>
              <a:cs typeface="CorporateS-Regular" charset="0"/>
            </a:endParaRPr>
          </a:p>
        </p:txBody>
      </p:sp>
      <p:sp>
        <p:nvSpPr>
          <p:cNvPr id="102" name="Rectangle 69"/>
          <p:cNvSpPr/>
          <p:nvPr/>
        </p:nvSpPr>
        <p:spPr bwMode="gray">
          <a:xfrm>
            <a:off x="2478563" y="4588399"/>
            <a:ext cx="1837552" cy="425571"/>
          </a:xfrm>
          <a:prstGeom prst="rect">
            <a:avLst/>
          </a:prstGeom>
          <a:noFill/>
          <a:ln w="25400" cap="flat" cmpd="sng" algn="ctr">
            <a:noFill/>
            <a:prstDash val="solid"/>
          </a:ln>
          <a:effectLst/>
        </p:spPr>
        <p:txBody>
          <a:bodyPr lIns="0" tIns="0" rIns="0" bIns="0" rtlCol="0" anchor="t"/>
          <a:lstStyle/>
          <a:p>
            <a:pPr marL="0" marR="0" lvl="0" indent="0" defTabSz="1088633" eaLnBrk="1" fontAlgn="auto" latinLnBrk="0" hangingPunct="1">
              <a:lnSpc>
                <a:spcPct val="80000"/>
              </a:lnSpc>
              <a:spcBef>
                <a:spcPts val="0"/>
              </a:spcBef>
              <a:spcAft>
                <a:spcPts val="0"/>
              </a:spcAft>
              <a:buClrTx/>
              <a:buSzTx/>
              <a:buFontTx/>
              <a:buNone/>
              <a:tabLst/>
              <a:defRPr/>
            </a:pPr>
            <a:r>
              <a:rPr kumimoji="0" lang="ru-RU" b="0" i="0" u="none" strike="noStrike" kern="0" cap="none" spc="0" normalizeH="0" baseline="0" noProof="0" dirty="0" smtClean="0">
                <a:ln>
                  <a:noFill/>
                </a:ln>
                <a:solidFill>
                  <a:prstClr val="white"/>
                </a:solidFill>
                <a:effectLst/>
                <a:uLnTx/>
                <a:uFillTx/>
                <a:latin typeface="CorpoS"/>
                <a:ea typeface="CorporateS-Regular" charset="0"/>
                <a:cs typeface="CorporateS-Regular" charset="0"/>
              </a:rPr>
              <a:t>СТРАХОВОК</a:t>
            </a:r>
            <a:endParaRPr kumimoji="0" lang="de-DE" b="0" i="0" u="none" strike="noStrike" kern="0" cap="none" spc="0" normalizeH="0" baseline="0" noProof="0" dirty="0">
              <a:ln>
                <a:noFill/>
              </a:ln>
              <a:solidFill>
                <a:prstClr val="white"/>
              </a:solidFill>
              <a:effectLst/>
              <a:uLnTx/>
              <a:uFillTx/>
              <a:latin typeface="CorpoS"/>
              <a:ea typeface="CorporateS-Regular" charset="0"/>
              <a:cs typeface="CorporateS-Regular" charset="0"/>
            </a:endParaRPr>
          </a:p>
        </p:txBody>
      </p:sp>
      <p:pic>
        <p:nvPicPr>
          <p:cNvPr id="104" name="Picture 8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gray">
          <a:xfrm>
            <a:off x="2361831" y="1708674"/>
            <a:ext cx="1428595" cy="1428595"/>
          </a:xfrm>
          <a:prstGeom prst="rect">
            <a:avLst/>
          </a:prstGeom>
        </p:spPr>
      </p:pic>
      <p:pic>
        <p:nvPicPr>
          <p:cNvPr id="105" name="Picture 2" descr="P:\Projekte\Daimler\60_DFS_CAPITAL_MARKET_DAY\02_UMSETZUNG\_Data\vertrag_PMA.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9649" y="4728333"/>
            <a:ext cx="2219227" cy="1893804"/>
          </a:xfrm>
          <a:prstGeom prst="rect">
            <a:avLst/>
          </a:prstGeom>
          <a:noFill/>
          <a:extLst>
            <a:ext uri="{909E8E84-426E-40DD-AFC4-6F175D3DCCD1}">
              <a14:hiddenFill xmlns:a14="http://schemas.microsoft.com/office/drawing/2010/main">
                <a:solidFill>
                  <a:srgbClr val="FFFFFF"/>
                </a:solidFill>
              </a14:hiddenFill>
            </a:ext>
          </a:extLst>
        </p:spPr>
      </p:pic>
      <p:sp>
        <p:nvSpPr>
          <p:cNvPr id="106" name="Rechteck 105"/>
          <p:cNvSpPr/>
          <p:nvPr/>
        </p:nvSpPr>
        <p:spPr>
          <a:xfrm>
            <a:off x="1045672" y="3295504"/>
            <a:ext cx="1522299" cy="1383908"/>
          </a:xfrm>
          <a:prstGeom prst="rect">
            <a:avLst/>
          </a:prstGeom>
          <a:blipFill>
            <a:blip r:embed="rId6" cstate="print">
              <a:extLst>
                <a:ext uri="{28A0092B-C50C-407E-A947-70E740481C1C}">
                  <a14:useLocalDpi xmlns:a14="http://schemas.microsoft.com/office/drawing/2010/main"/>
                </a:ext>
              </a:extLst>
            </a:blip>
            <a:stretch>
              <a:fillRect/>
            </a:stretch>
          </a:blipFill>
          <a:ln w="25400" cap="flat" cmpd="sng" algn="ctr">
            <a:noFill/>
            <a:prstDash val="solid"/>
          </a:ln>
          <a:effectLst/>
        </p:spPr>
        <p:txBody>
          <a:bodyPr rtlCol="0" anchor="ctr"/>
          <a:lstStyle/>
          <a:p>
            <a:pPr marL="0" marR="0" lvl="0" indent="0" algn="ctr" defTabSz="1088959" eaLnBrk="1" fontAlgn="auto" latinLnBrk="0" hangingPunct="1">
              <a:lnSpc>
                <a:spcPct val="100000"/>
              </a:lnSpc>
              <a:spcBef>
                <a:spcPts val="0"/>
              </a:spcBef>
              <a:spcAft>
                <a:spcPts val="0"/>
              </a:spcAft>
              <a:buClrTx/>
              <a:buSzTx/>
              <a:buFontTx/>
              <a:buNone/>
              <a:tabLst/>
              <a:defRPr/>
            </a:pPr>
            <a:endParaRPr kumimoji="0" lang="de-DE" sz="2100" b="0" i="0" u="none" strike="noStrike" kern="0" cap="none" spc="0" normalizeH="0" baseline="0" noProof="0" dirty="0" smtClean="0">
              <a:ln>
                <a:noFill/>
              </a:ln>
              <a:solidFill>
                <a:prstClr val="white"/>
              </a:solidFill>
              <a:effectLst/>
              <a:uLnTx/>
              <a:uFillTx/>
              <a:latin typeface="CorpoS"/>
              <a:ea typeface="CorporateS-Regular" charset="0"/>
              <a:cs typeface="CorporateS-Regular" charset="0"/>
            </a:endParaRPr>
          </a:p>
        </p:txBody>
      </p:sp>
      <p:pic>
        <p:nvPicPr>
          <p:cNvPr id="107" name="Picture 61"/>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bwMode="gray">
          <a:xfrm>
            <a:off x="1375671" y="4185794"/>
            <a:ext cx="966811" cy="797970"/>
          </a:xfrm>
          <a:prstGeom prst="rect">
            <a:avLst/>
          </a:prstGeom>
        </p:spPr>
      </p:pic>
      <p:sp>
        <p:nvSpPr>
          <p:cNvPr id="115" name="Rechteck 114"/>
          <p:cNvSpPr/>
          <p:nvPr/>
        </p:nvSpPr>
        <p:spPr bwMode="gray">
          <a:xfrm>
            <a:off x="216000" y="431999"/>
            <a:ext cx="11528329" cy="828000"/>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7306"/>
            <a:r>
              <a:rPr lang="ru-RU" sz="2800" b="1" dirty="0" smtClean="0">
                <a:solidFill>
                  <a:schemeClr val="bg1"/>
                </a:solidFill>
                <a:latin typeface="CorpoS" pitchFamily="2" charset="0"/>
                <a:ea typeface="MS Mincho" panose="02020609040205080304" pitchFamily="49" charset="-128"/>
                <a:cs typeface="Helvetica" panose="020B0604020202020204" pitchFamily="34" charset="0"/>
              </a:rPr>
              <a:t>МЫ ПРЕДЛАГАЕМ ШИРОКИЙ НАБОР ФИНАНСОВЫХ УСЛУГ И УСЛУГ МОБИЛЬНОСТИ</a:t>
            </a:r>
            <a:endParaRPr lang="de-DE" sz="2800" b="1" dirty="0">
              <a:solidFill>
                <a:srgbClr val="FFFF00"/>
              </a:solidFill>
              <a:latin typeface="CorpoS" pitchFamily="2" charset="0"/>
              <a:ea typeface="MS Mincho" panose="02020609040205080304" pitchFamily="49" charset="-128"/>
              <a:cs typeface="Helvetica" panose="020B0604020202020204" pitchFamily="34" charset="0"/>
            </a:endParaRPr>
          </a:p>
        </p:txBody>
      </p:sp>
      <p:sp>
        <p:nvSpPr>
          <p:cNvPr id="116" name="Kreis 115">
            <a:extLst>
              <a:ext uri="{FF2B5EF4-FFF2-40B4-BE49-F238E27FC236}">
                <a16:creationId xmlns:a16="http://schemas.microsoft.com/office/drawing/2014/main" id="{C94B41A1-EFEF-F14F-93AD-1ADD8CF17E43}"/>
              </a:ext>
            </a:extLst>
          </p:cNvPr>
          <p:cNvSpPr>
            <a:spLocks noChangeAspect="1"/>
          </p:cNvSpPr>
          <p:nvPr/>
        </p:nvSpPr>
        <p:spPr>
          <a:xfrm>
            <a:off x="686531" y="1995353"/>
            <a:ext cx="10800000" cy="10800000"/>
          </a:xfrm>
          <a:prstGeom prst="pie">
            <a:avLst>
              <a:gd name="adj1" fmla="val 17119608"/>
              <a:gd name="adj2" fmla="val 402827"/>
            </a:avLst>
          </a:prstGeom>
          <a:solidFill>
            <a:srgbClr val="FFFF00">
              <a:alpha val="1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2" name="Rectangle 74"/>
          <p:cNvSpPr/>
          <p:nvPr/>
        </p:nvSpPr>
        <p:spPr bwMode="gray">
          <a:xfrm>
            <a:off x="4993592" y="2133650"/>
            <a:ext cx="2209576" cy="425571"/>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1088633">
              <a:lnSpc>
                <a:spcPct val="80000"/>
              </a:lnSpc>
            </a:pPr>
            <a:r>
              <a:rPr lang="de-DE" sz="3199" b="1" kern="0" dirty="0">
                <a:solidFill>
                  <a:schemeClr val="bg1"/>
                </a:solidFill>
                <a:latin typeface="CorpoS"/>
                <a:ea typeface="CorporateS-Regular" charset="0"/>
                <a:cs typeface="CorporateS-Regular" charset="0"/>
              </a:rPr>
              <a:t>0.4 </a:t>
            </a:r>
            <a:r>
              <a:rPr lang="ru-RU" sz="3199" b="1" kern="0" dirty="0">
                <a:solidFill>
                  <a:schemeClr val="bg1"/>
                </a:solidFill>
                <a:latin typeface="CorpoS"/>
                <a:ea typeface="CorporateS-Regular" charset="0"/>
                <a:cs typeface="CorporateS-Regular" charset="0"/>
              </a:rPr>
              <a:t>М</a:t>
            </a:r>
            <a:endParaRPr lang="de-DE" sz="3199" b="1" kern="0" dirty="0">
              <a:solidFill>
                <a:schemeClr val="bg1"/>
              </a:solidFill>
              <a:latin typeface="CorpoS"/>
              <a:ea typeface="CorporateS-Regular" charset="0"/>
              <a:cs typeface="CorporateS-Regular" charset="0"/>
            </a:endParaRPr>
          </a:p>
        </p:txBody>
      </p:sp>
      <p:sp>
        <p:nvSpPr>
          <p:cNvPr id="93" name="Rectangle 75"/>
          <p:cNvSpPr/>
          <p:nvPr/>
        </p:nvSpPr>
        <p:spPr bwMode="gray">
          <a:xfrm>
            <a:off x="4993323" y="2507294"/>
            <a:ext cx="2210117" cy="207220"/>
          </a:xfrm>
          <a:prstGeom prst="rect">
            <a:avLst/>
          </a:prstGeom>
          <a:noFill/>
          <a:ln w="25400" cap="flat" cmpd="sng" algn="ctr">
            <a:noFill/>
            <a:prstDash val="solid"/>
          </a:ln>
          <a:effectLst/>
        </p:spPr>
        <p:txBody>
          <a:bodyPr lIns="0" tIns="0" rIns="0" bIns="0" rtlCol="0" anchor="t"/>
          <a:lstStyle/>
          <a:p>
            <a:pPr marL="0" marR="0" lvl="0" indent="0" algn="ctr" defTabSz="1088633" eaLnBrk="1" fontAlgn="auto" latinLnBrk="0" hangingPunct="1">
              <a:lnSpc>
                <a:spcPct val="80000"/>
              </a:lnSpc>
              <a:spcBef>
                <a:spcPts val="0"/>
              </a:spcBef>
              <a:spcAft>
                <a:spcPts val="0"/>
              </a:spcAft>
              <a:buClrTx/>
              <a:buSzTx/>
              <a:buFontTx/>
              <a:buNone/>
              <a:tabLst/>
              <a:defRPr/>
            </a:pPr>
            <a:r>
              <a:rPr lang="ru-RU" kern="0" noProof="0" dirty="0" smtClean="0">
                <a:solidFill>
                  <a:prstClr val="white"/>
                </a:solidFill>
                <a:latin typeface="CorpoS"/>
                <a:ea typeface="CorporateS-Regular" charset="0"/>
                <a:cs typeface="CorporateS-Regular" charset="0"/>
              </a:rPr>
              <a:t>МАШИН В ПАРКЕ</a:t>
            </a:r>
            <a:endParaRPr kumimoji="0" lang="de-DE" b="0" i="0" u="none" strike="noStrike" kern="0" cap="none" spc="0" normalizeH="0" baseline="0" noProof="0" dirty="0">
              <a:ln>
                <a:noFill/>
              </a:ln>
              <a:solidFill>
                <a:prstClr val="white"/>
              </a:solidFill>
              <a:effectLst/>
              <a:uLnTx/>
              <a:uFillTx/>
              <a:latin typeface="CorpoS"/>
              <a:ea typeface="CorporateS-Regular" charset="0"/>
              <a:cs typeface="CorporateS-Regular" charset="0"/>
            </a:endParaRPr>
          </a:p>
        </p:txBody>
      </p:sp>
      <p:pic>
        <p:nvPicPr>
          <p:cNvPr id="103" name="Picture 2" descr="P:\Projekte\Daimler\60_DFS_CAPITAL_MARKET_DAY\02_UMSETZUNG\_Data\Fleet.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gray">
          <a:xfrm>
            <a:off x="4167157" y="310757"/>
            <a:ext cx="3862449" cy="2083418"/>
          </a:xfrm>
          <a:prstGeom prst="rect">
            <a:avLst/>
          </a:prstGeom>
          <a:noFill/>
          <a:ln w="25400" cap="flat" cmpd="sng" algn="ctr">
            <a:noFill/>
            <a:prstDash val="solid"/>
          </a:ln>
          <a:effectLst/>
          <a:extLst>
            <a:ext uri="{909E8E84-426E-40DD-AFC4-6F175D3DCCD1}">
              <a14:hiddenFill xmlns:a14="http://schemas.microsoft.com/office/drawing/2010/main">
                <a:solidFill>
                  <a:srgbClr val="FFFFFF"/>
                </a:solidFill>
              </a14:hiddenFill>
            </a:ext>
          </a:extLst>
        </p:spPr>
      </p:pic>
      <p:sp>
        <p:nvSpPr>
          <p:cNvPr id="112" name="Textfeld 111"/>
          <p:cNvSpPr txBox="1"/>
          <p:nvPr/>
        </p:nvSpPr>
        <p:spPr bwMode="auto">
          <a:xfrm>
            <a:off x="5465423" y="6476831"/>
            <a:ext cx="5858270" cy="138499"/>
          </a:xfrm>
          <a:prstGeom prst="rect">
            <a:avLst/>
          </a:prstGeom>
          <a:noFill/>
          <a:ln w="9525">
            <a:noFill/>
            <a:miter lim="800000"/>
            <a:headEnd/>
            <a:tailEnd/>
          </a:ln>
        </p:spPr>
        <p:txBody>
          <a:bodyPr wrap="square" lIns="0" tIns="0" rIns="0" bIns="0" rtlCol="0" anchor="t" anchorCtr="0">
            <a:spAutoFit/>
          </a:bodyPr>
          <a:lstStyle/>
          <a:p>
            <a:pPr algn="r" defTabSz="913943" fontAlgn="base">
              <a:spcBef>
                <a:spcPct val="0"/>
              </a:spcBef>
              <a:spcAft>
                <a:spcPct val="0"/>
              </a:spcAft>
            </a:pPr>
            <a:r>
              <a:rPr lang="en-US" sz="900" b="1" dirty="0" smtClean="0">
                <a:solidFill>
                  <a:prstClr val="white">
                    <a:alpha val="61000"/>
                  </a:prstClr>
                </a:solidFill>
                <a:latin typeface="CorpoS"/>
                <a:cs typeface="Daimler CS"/>
              </a:rPr>
              <a:t>YTD DECEMBER 2018</a:t>
            </a:r>
            <a:endParaRPr lang="en-US" sz="900" b="1" dirty="0">
              <a:solidFill>
                <a:prstClr val="white">
                  <a:alpha val="61000"/>
                </a:prstClr>
              </a:solidFill>
              <a:latin typeface="CorpoS"/>
              <a:cs typeface="Daimler CS"/>
            </a:endParaRPr>
          </a:p>
        </p:txBody>
      </p:sp>
      <p:pic>
        <p:nvPicPr>
          <p:cNvPr id="118" name="Grafik 117"/>
          <p:cNvPicPr>
            <a:picLocks noChangeAspect="1"/>
          </p:cNvPicPr>
          <p:nvPr/>
        </p:nvPicPr>
        <p:blipFill>
          <a:blip r:embed="rId9" cstate="print">
            <a:extLst>
              <a:ext uri="{BEBA8EAE-BF5A-486C-A8C5-ECC9F3942E4B}">
                <a14:imgProps xmlns:a14="http://schemas.microsoft.com/office/drawing/2010/main">
                  <a14:imgLayer r:embed="rId10">
                    <a14:imgEffect>
                      <a14:backgroundRemoval t="0" b="99571" l="0" r="96222">
                        <a14:foregroundMark x1="44556" y1="97000" x2="54333" y2="97000"/>
                      </a14:backgroundRemoval>
                    </a14:imgEffect>
                  </a14:imgLayer>
                </a14:imgProps>
              </a:ext>
              <a:ext uri="{28A0092B-C50C-407E-A947-70E740481C1C}">
                <a14:useLocalDpi xmlns:a14="http://schemas.microsoft.com/office/drawing/2010/main" val="0"/>
              </a:ext>
            </a:extLst>
          </a:blip>
          <a:stretch>
            <a:fillRect/>
          </a:stretch>
        </p:blipFill>
        <p:spPr>
          <a:xfrm>
            <a:off x="4500069" y="4321065"/>
            <a:ext cx="3305070" cy="2570611"/>
          </a:xfrm>
          <a:prstGeom prst="rect">
            <a:avLst/>
          </a:prstGeom>
        </p:spPr>
      </p:pic>
      <p:pic>
        <p:nvPicPr>
          <p:cNvPr id="30" name="Grafik 2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041051" y="5311824"/>
            <a:ext cx="1052055" cy="589091"/>
          </a:xfrm>
          <a:prstGeom prst="rect">
            <a:avLst/>
          </a:prstGeom>
        </p:spPr>
      </p:pic>
      <p:pic>
        <p:nvPicPr>
          <p:cNvPr id="31" name="Grafik 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958109" y="2268386"/>
            <a:ext cx="1139107" cy="637836"/>
          </a:xfrm>
          <a:prstGeom prst="rect">
            <a:avLst/>
          </a:prstGeom>
        </p:spPr>
      </p:pic>
      <p:pic>
        <p:nvPicPr>
          <p:cNvPr id="32" name="Grafik 3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616642" y="4476038"/>
            <a:ext cx="1053843" cy="590093"/>
          </a:xfrm>
          <a:prstGeom prst="rect">
            <a:avLst/>
          </a:prstGeom>
        </p:spPr>
      </p:pic>
      <p:pic>
        <p:nvPicPr>
          <p:cNvPr id="33" name="Grafik 3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151271" y="2913485"/>
            <a:ext cx="1137380" cy="636868"/>
          </a:xfrm>
          <a:prstGeom prst="rect">
            <a:avLst/>
          </a:prstGeom>
        </p:spPr>
      </p:pic>
      <p:pic>
        <p:nvPicPr>
          <p:cNvPr id="34" name="Grafik 3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950356" y="3624441"/>
            <a:ext cx="1137380" cy="636868"/>
          </a:xfrm>
          <a:prstGeom prst="rect">
            <a:avLst/>
          </a:prstGeom>
        </p:spPr>
      </p:pic>
      <p:sp>
        <p:nvSpPr>
          <p:cNvPr id="35" name="Textfeld 34"/>
          <p:cNvSpPr txBox="1"/>
          <p:nvPr/>
        </p:nvSpPr>
        <p:spPr>
          <a:xfrm>
            <a:off x="7220414" y="4282162"/>
            <a:ext cx="3313074" cy="1138773"/>
          </a:xfrm>
          <a:prstGeom prst="rect">
            <a:avLst/>
          </a:prstGeom>
          <a:noFill/>
        </p:spPr>
        <p:txBody>
          <a:bodyPr wrap="square" rtlCol="0">
            <a:spAutoFit/>
          </a:bodyPr>
          <a:lstStyle/>
          <a:p>
            <a:pPr algn="ctr"/>
            <a:r>
              <a:rPr lang="de-DE" sz="3200" b="1" dirty="0" smtClean="0">
                <a:solidFill>
                  <a:srgbClr val="FFFF00"/>
                </a:solidFill>
                <a:latin typeface="CorpoS" pitchFamily="2" charset="0"/>
              </a:rPr>
              <a:t>~60 </a:t>
            </a:r>
            <a:r>
              <a:rPr lang="ru-RU" sz="3200" b="1" dirty="0" smtClean="0">
                <a:solidFill>
                  <a:srgbClr val="FFFF00"/>
                </a:solidFill>
                <a:latin typeface="CorpoS" pitchFamily="2" charset="0"/>
              </a:rPr>
              <a:t>МЛН</a:t>
            </a:r>
            <a:r>
              <a:rPr lang="de-DE" sz="3200" b="1" dirty="0" smtClean="0">
                <a:solidFill>
                  <a:srgbClr val="FFFF00"/>
                </a:solidFill>
                <a:latin typeface="CorpoS" pitchFamily="2" charset="0"/>
              </a:rPr>
              <a:t> </a:t>
            </a:r>
            <a:endParaRPr lang="de-DE" sz="3200" b="1" dirty="0" smtClean="0">
              <a:solidFill>
                <a:srgbClr val="FFFF00"/>
              </a:solidFill>
              <a:latin typeface="CorpoS" pitchFamily="2" charset="0"/>
            </a:endParaRPr>
          </a:p>
          <a:p>
            <a:pPr algn="ctr"/>
            <a:r>
              <a:rPr lang="ru-RU" dirty="0" smtClean="0">
                <a:solidFill>
                  <a:schemeClr val="bg1"/>
                </a:solidFill>
                <a:latin typeface="CorpoS" pitchFamily="2" charset="0"/>
              </a:rPr>
              <a:t>КЛИЕНТОВ МОБИЛЬНОСТИ</a:t>
            </a:r>
            <a:r>
              <a:rPr lang="de-DE" dirty="0" smtClean="0">
                <a:solidFill>
                  <a:schemeClr val="bg1"/>
                </a:solidFill>
                <a:latin typeface="CorpoS" pitchFamily="2" charset="0"/>
              </a:rPr>
              <a:t>*</a:t>
            </a:r>
            <a:endParaRPr lang="de-DE" dirty="0">
              <a:solidFill>
                <a:schemeClr val="bg1"/>
              </a:solidFill>
              <a:latin typeface="CorpoS" pitchFamily="2" charset="0"/>
            </a:endParaRPr>
          </a:p>
        </p:txBody>
      </p:sp>
      <p:sp>
        <p:nvSpPr>
          <p:cNvPr id="28" name="Textfeld 27"/>
          <p:cNvSpPr txBox="1"/>
          <p:nvPr/>
        </p:nvSpPr>
        <p:spPr bwMode="auto">
          <a:xfrm>
            <a:off x="5465423" y="6657355"/>
            <a:ext cx="5858270" cy="138499"/>
          </a:xfrm>
          <a:prstGeom prst="rect">
            <a:avLst/>
          </a:prstGeom>
          <a:noFill/>
          <a:ln w="9525">
            <a:noFill/>
            <a:miter lim="800000"/>
            <a:headEnd/>
            <a:tailEnd/>
          </a:ln>
        </p:spPr>
        <p:txBody>
          <a:bodyPr wrap="square" lIns="0" tIns="0" rIns="0" bIns="0" rtlCol="0" anchor="t" anchorCtr="0">
            <a:spAutoFit/>
          </a:bodyPr>
          <a:lstStyle/>
          <a:p>
            <a:pPr algn="r" defTabSz="913943" fontAlgn="base">
              <a:spcBef>
                <a:spcPct val="0"/>
              </a:spcBef>
              <a:spcAft>
                <a:spcPct val="0"/>
              </a:spcAft>
            </a:pPr>
            <a:r>
              <a:rPr lang="en-US" sz="900" b="1" dirty="0" smtClean="0">
                <a:solidFill>
                  <a:prstClr val="white">
                    <a:alpha val="61000"/>
                  </a:prstClr>
                </a:solidFill>
                <a:latin typeface="CorpoS"/>
                <a:cs typeface="Daimler CS"/>
              </a:rPr>
              <a:t>*JOINT VENTURE WITH BMW</a:t>
            </a:r>
            <a:endParaRPr lang="en-US" sz="900" b="1" dirty="0">
              <a:solidFill>
                <a:prstClr val="white">
                  <a:alpha val="61000"/>
                </a:prstClr>
              </a:solidFill>
              <a:latin typeface="CorpoS"/>
              <a:cs typeface="Daimler CS"/>
            </a:endParaRPr>
          </a:p>
        </p:txBody>
      </p:sp>
    </p:spTree>
    <p:extLst>
      <p:ext uri="{BB962C8B-B14F-4D97-AF65-F5344CB8AC3E}">
        <p14:creationId xmlns:p14="http://schemas.microsoft.com/office/powerpoint/2010/main" val="145349554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3" cstate="print">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val="0"/>
              </a:ext>
            </a:extLst>
          </a:blip>
          <a:stretch>
            <a:fillRect/>
          </a:stretch>
        </p:blipFill>
        <p:spPr>
          <a:xfrm>
            <a:off x="-76962" y="-775501"/>
            <a:ext cx="12291928" cy="8197012"/>
          </a:xfrm>
          <a:prstGeom prst="rect">
            <a:avLst/>
          </a:prstGeom>
        </p:spPr>
      </p:pic>
      <p:sp>
        <p:nvSpPr>
          <p:cNvPr id="17" name="Rechteck 16"/>
          <p:cNvSpPr/>
          <p:nvPr/>
        </p:nvSpPr>
        <p:spPr>
          <a:xfrm>
            <a:off x="1432560" y="4175720"/>
            <a:ext cx="4663440" cy="1981527"/>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ru-RU" sz="2400" b="1" dirty="0" smtClean="0">
                <a:solidFill>
                  <a:srgbClr val="FFFF00"/>
                </a:solidFill>
                <a:latin typeface="CorpoS" pitchFamily="2" charset="0"/>
              </a:rPr>
              <a:t>ФИНАНСОВЫЙ ПРОДУКТ НА КАЖДЫЙ ВТОРОЙ АВТОМОБИЛЬ</a:t>
            </a:r>
            <a:endParaRPr lang="en-US" sz="2400" b="1" dirty="0" smtClean="0">
              <a:solidFill>
                <a:srgbClr val="FFFF00"/>
              </a:solidFill>
              <a:latin typeface="CorpoS" pitchFamily="2" charset="0"/>
            </a:endParaRPr>
          </a:p>
          <a:p>
            <a:pPr algn="ctr" defTabSz="1087306"/>
            <a:r>
              <a:rPr lang="ru-RU" sz="2400" dirty="0" smtClean="0">
                <a:solidFill>
                  <a:schemeClr val="bg1"/>
                </a:solidFill>
                <a:latin typeface="CorpoS" pitchFamily="2" charset="0"/>
              </a:rPr>
              <a:t>ПРОДАННЫЙ </a:t>
            </a:r>
            <a:r>
              <a:rPr lang="en-US" sz="2400" dirty="0" smtClean="0">
                <a:solidFill>
                  <a:schemeClr val="bg1"/>
                </a:solidFill>
                <a:latin typeface="CorpoS" pitchFamily="2" charset="0"/>
              </a:rPr>
              <a:t>DAIMLER</a:t>
            </a:r>
            <a:endParaRPr lang="en-US" sz="2400" dirty="0">
              <a:solidFill>
                <a:schemeClr val="bg1"/>
              </a:solidFill>
              <a:latin typeface="CorpoS" pitchFamily="2" charset="0"/>
            </a:endParaRPr>
          </a:p>
        </p:txBody>
      </p:sp>
      <p:sp>
        <p:nvSpPr>
          <p:cNvPr id="18" name="Rechteck 17"/>
          <p:cNvSpPr/>
          <p:nvPr/>
        </p:nvSpPr>
        <p:spPr>
          <a:xfrm>
            <a:off x="7909561" y="3520440"/>
            <a:ext cx="3922600" cy="2301240"/>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ru-RU" sz="2400" b="1" dirty="0" smtClean="0">
                <a:solidFill>
                  <a:srgbClr val="FFFF00"/>
                </a:solidFill>
                <a:latin typeface="CorpoS" pitchFamily="2" charset="0"/>
              </a:rPr>
              <a:t>КРУПНЕЙШИЙ МИРОВОЙ ПОСТАВЩИК ФИНАНСОВЫХ ПРОДУКТОВ</a:t>
            </a:r>
            <a:endParaRPr lang="en-US" sz="2400" b="1" dirty="0" smtClean="0">
              <a:solidFill>
                <a:srgbClr val="FFFF00"/>
              </a:solidFill>
              <a:latin typeface="CorpoS" pitchFamily="2" charset="0"/>
            </a:endParaRPr>
          </a:p>
          <a:p>
            <a:pPr algn="ctr" defTabSz="1087306"/>
            <a:r>
              <a:rPr lang="ru-RU" sz="2400" dirty="0" smtClean="0">
                <a:solidFill>
                  <a:srgbClr val="FFFFFF"/>
                </a:solidFill>
                <a:latin typeface="CorpoS" pitchFamily="2" charset="0"/>
              </a:rPr>
              <a:t>ДЛЯ ГРУЗОВИКОВ И АВТОБУСОВ</a:t>
            </a:r>
            <a:endParaRPr lang="en-US" sz="2400" dirty="0" smtClean="0">
              <a:solidFill>
                <a:srgbClr val="FFFFFF"/>
              </a:solidFill>
              <a:latin typeface="CorpoS" pitchFamily="2" charset="0"/>
            </a:endParaRPr>
          </a:p>
        </p:txBody>
      </p:sp>
      <p:sp>
        <p:nvSpPr>
          <p:cNvPr id="35" name="Rechteck 34"/>
          <p:cNvSpPr/>
          <p:nvPr/>
        </p:nvSpPr>
        <p:spPr>
          <a:xfrm>
            <a:off x="3139257" y="729141"/>
            <a:ext cx="4735980" cy="1364012"/>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7306"/>
            <a:r>
              <a:rPr lang="ru-RU" sz="2400" b="1" dirty="0" smtClean="0">
                <a:solidFill>
                  <a:srgbClr val="FFFF00"/>
                </a:solidFill>
                <a:latin typeface="CorpoS" pitchFamily="2" charset="0"/>
              </a:rPr>
              <a:t>ДОВОЛЬНЫЕ СОТРУДНИКИ СОЗДАЮТ ЛУЧШИЙ КЛИЕНТСКИЙ ОПЫТ</a:t>
            </a:r>
            <a:endParaRPr lang="en-US" sz="2400" b="1" dirty="0">
              <a:solidFill>
                <a:srgbClr val="FFFF00"/>
              </a:solidFill>
              <a:latin typeface="CorpoS" pitchFamily="2" charset="0"/>
            </a:endParaRPr>
          </a:p>
        </p:txBody>
      </p:sp>
      <p:pic>
        <p:nvPicPr>
          <p:cNvPr id="9" name="Grafik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41790" y="407520"/>
            <a:ext cx="2029243" cy="2029243"/>
          </a:xfrm>
          <a:prstGeom prst="rect">
            <a:avLst/>
          </a:prstGeom>
        </p:spPr>
      </p:pic>
    </p:spTree>
    <p:extLst>
      <p:ext uri="{BB962C8B-B14F-4D97-AF65-F5344CB8AC3E}">
        <p14:creationId xmlns:p14="http://schemas.microsoft.com/office/powerpoint/2010/main" val="7774803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8" name="Objekt 147" hidden="1"/>
          <p:cNvGraphicFramePr>
            <a:graphicFrameLocks noChangeAspect="1"/>
          </p:cNvGraphicFramePr>
          <p:nvPr>
            <p:custDataLst>
              <p:tags r:id="rId2"/>
            </p:custDataLst>
            <p:extLst/>
          </p:nvPr>
        </p:nvGraphicFramePr>
        <p:xfrm>
          <a:off x="1589" y="2580"/>
          <a:ext cx="1586" cy="1586"/>
        </p:xfrm>
        <a:graphic>
          <a:graphicData uri="http://schemas.openxmlformats.org/presentationml/2006/ole">
            <mc:AlternateContent xmlns:mc="http://schemas.openxmlformats.org/markup-compatibility/2006">
              <mc:Choice xmlns:v="urn:schemas-microsoft-com:vml" Requires="v">
                <p:oleObj spid="_x0000_s229453" name="think-cell Folie" r:id="rId6" imgW="216" imgH="216" progId="TCLayout.ActiveDocument.1">
                  <p:embed/>
                </p:oleObj>
              </mc:Choice>
              <mc:Fallback>
                <p:oleObj name="think-cell Folie" r:id="rId6" imgW="216" imgH="216" progId="TCLayout.ActiveDocument.1">
                  <p:embed/>
                  <p:pic>
                    <p:nvPicPr>
                      <p:cNvPr id="0" name=""/>
                      <p:cNvPicPr/>
                      <p:nvPr/>
                    </p:nvPicPr>
                    <p:blipFill>
                      <a:blip r:embed="rId7"/>
                      <a:stretch>
                        <a:fillRect/>
                      </a:stretch>
                    </p:blipFill>
                    <p:spPr>
                      <a:xfrm>
                        <a:off x="1589" y="2580"/>
                        <a:ext cx="1586" cy="1586"/>
                      </a:xfrm>
                      <a:prstGeom prst="rect">
                        <a:avLst/>
                      </a:prstGeom>
                    </p:spPr>
                  </p:pic>
                </p:oleObj>
              </mc:Fallback>
            </mc:AlternateContent>
          </a:graphicData>
        </a:graphic>
      </p:graphicFrame>
      <p:sp>
        <p:nvSpPr>
          <p:cNvPr id="4" name="Rechteck 3" hidden="1"/>
          <p:cNvSpPr/>
          <p:nvPr>
            <p:custDataLst>
              <p:tags r:id="rId3"/>
            </p:custDataLst>
          </p:nvPr>
        </p:nvSpPr>
        <p:spPr>
          <a:xfrm>
            <a:off x="0" y="992"/>
            <a:ext cx="158667" cy="1586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3998"/>
              </a:lnSpc>
              <a:spcBef>
                <a:spcPct val="0"/>
              </a:spcBef>
              <a:spcAft>
                <a:spcPct val="0"/>
              </a:spcAft>
            </a:pPr>
            <a:endParaRPr lang="en-US" sz="3498" dirty="0">
              <a:latin typeface="CorpoS" pitchFamily="2" charset="0"/>
              <a:ea typeface="+mj-ea"/>
              <a:cs typeface="+mj-cs"/>
              <a:sym typeface="CorpoS" pitchFamily="2" charset="0"/>
            </a:endParaRPr>
          </a:p>
        </p:txBody>
      </p:sp>
      <p:sp>
        <p:nvSpPr>
          <p:cNvPr id="221" name="Rectangle 220"/>
          <p:cNvSpPr/>
          <p:nvPr/>
        </p:nvSpPr>
        <p:spPr bwMode="gray">
          <a:xfrm>
            <a:off x="-56193" y="3965"/>
            <a:ext cx="12192000" cy="6854035"/>
          </a:xfrm>
          <a:prstGeom prst="rect">
            <a:avLst/>
          </a:prstGeom>
          <a:solidFill>
            <a:schemeClr val="accent1">
              <a:lumMod val="20000"/>
              <a:lumOff val="80000"/>
            </a:schemeClr>
          </a:solidFill>
          <a:ln w="25400" cap="flat" cmpd="sng" algn="ctr">
            <a:noFill/>
            <a:prstDash val="solid"/>
          </a:ln>
          <a:effectLst/>
        </p:spPr>
        <p:txBody>
          <a:bodyPr lIns="91429" tIns="45714" rIns="91429" bIns="45714" rtlCol="0" anchor="ctr"/>
          <a:lstStyle/>
          <a:p>
            <a:pPr algn="ctr" defTabSz="1088306">
              <a:defRPr/>
            </a:pPr>
            <a:endParaRPr lang="en-US" sz="1799" kern="0" dirty="0">
              <a:solidFill>
                <a:prstClr val="white"/>
              </a:solidFill>
              <a:latin typeface="CorpoS"/>
            </a:endParaRPr>
          </a:p>
        </p:txBody>
      </p:sp>
      <p:sp>
        <p:nvSpPr>
          <p:cNvPr id="222" name="Freeform 10980"/>
          <p:cNvSpPr>
            <a:spLocks noEditPoints="1"/>
          </p:cNvSpPr>
          <p:nvPr/>
        </p:nvSpPr>
        <p:spPr bwMode="gray">
          <a:xfrm>
            <a:off x="1035997" y="672760"/>
            <a:ext cx="10120007" cy="5705807"/>
          </a:xfrm>
          <a:custGeom>
            <a:avLst/>
            <a:gdLst>
              <a:gd name="T0" fmla="*/ 2440 w 3133"/>
              <a:gd name="T1" fmla="*/ 1168 h 1767"/>
              <a:gd name="T2" fmla="*/ 2535 w 3133"/>
              <a:gd name="T3" fmla="*/ 1187 h 1767"/>
              <a:gd name="T4" fmla="*/ 2520 w 3133"/>
              <a:gd name="T5" fmla="*/ 1231 h 1767"/>
              <a:gd name="T6" fmla="*/ 2779 w 3133"/>
              <a:gd name="T7" fmla="*/ 1193 h 1767"/>
              <a:gd name="T8" fmla="*/ 2778 w 3133"/>
              <a:gd name="T9" fmla="*/ 1233 h 1767"/>
              <a:gd name="T10" fmla="*/ 2767 w 3133"/>
              <a:gd name="T11" fmla="*/ 1564 h 1767"/>
              <a:gd name="T12" fmla="*/ 2481 w 3133"/>
              <a:gd name="T13" fmla="*/ 1351 h 1767"/>
              <a:gd name="T14" fmla="*/ 2982 w 3133"/>
              <a:gd name="T15" fmla="*/ 1572 h 1767"/>
              <a:gd name="T16" fmla="*/ 2538 w 3133"/>
              <a:gd name="T17" fmla="*/ 1075 h 1767"/>
              <a:gd name="T18" fmla="*/ 2531 w 3133"/>
              <a:gd name="T19" fmla="*/ 956 h 1767"/>
              <a:gd name="T20" fmla="*/ 2551 w 3133"/>
              <a:gd name="T21" fmla="*/ 1016 h 1767"/>
              <a:gd name="T22" fmla="*/ 2624 w 3133"/>
              <a:gd name="T23" fmla="*/ 799 h 1767"/>
              <a:gd name="T24" fmla="*/ 2703 w 3133"/>
              <a:gd name="T25" fmla="*/ 699 h 1767"/>
              <a:gd name="T26" fmla="*/ 2713 w 3133"/>
              <a:gd name="T27" fmla="*/ 595 h 1767"/>
              <a:gd name="T28" fmla="*/ 2794 w 3133"/>
              <a:gd name="T29" fmla="*/ 259 h 1767"/>
              <a:gd name="T30" fmla="*/ 1723 w 3133"/>
              <a:gd name="T31" fmla="*/ 294 h 1767"/>
              <a:gd name="T32" fmla="*/ 1575 w 3133"/>
              <a:gd name="T33" fmla="*/ 506 h 1767"/>
              <a:gd name="T34" fmla="*/ 1530 w 3133"/>
              <a:gd name="T35" fmla="*/ 549 h 1767"/>
              <a:gd name="T36" fmla="*/ 1596 w 3133"/>
              <a:gd name="T37" fmla="*/ 709 h 1767"/>
              <a:gd name="T38" fmla="*/ 1726 w 3133"/>
              <a:gd name="T39" fmla="*/ 654 h 1767"/>
              <a:gd name="T40" fmla="*/ 1585 w 3133"/>
              <a:gd name="T41" fmla="*/ 797 h 1767"/>
              <a:gd name="T42" fmla="*/ 1679 w 3133"/>
              <a:gd name="T43" fmla="*/ 1496 h 1767"/>
              <a:gd name="T44" fmla="*/ 1867 w 3133"/>
              <a:gd name="T45" fmla="*/ 1009 h 1767"/>
              <a:gd name="T46" fmla="*/ 2104 w 3133"/>
              <a:gd name="T47" fmla="*/ 960 h 1767"/>
              <a:gd name="T48" fmla="*/ 2342 w 3133"/>
              <a:gd name="T49" fmla="*/ 1006 h 1767"/>
              <a:gd name="T50" fmla="*/ 2572 w 3133"/>
              <a:gd name="T51" fmla="*/ 751 h 1767"/>
              <a:gd name="T52" fmla="*/ 1927 w 3133"/>
              <a:gd name="T53" fmla="*/ 717 h 1767"/>
              <a:gd name="T54" fmla="*/ 2281 w 3133"/>
              <a:gd name="T55" fmla="*/ 97 h 1767"/>
              <a:gd name="T56" fmla="*/ 1904 w 3133"/>
              <a:gd name="T57" fmla="*/ 79 h 1767"/>
              <a:gd name="T58" fmla="*/ 1628 w 3133"/>
              <a:gd name="T59" fmla="*/ 144 h 1767"/>
              <a:gd name="T60" fmla="*/ 1560 w 3133"/>
              <a:gd name="T61" fmla="*/ 114 h 1767"/>
              <a:gd name="T62" fmla="*/ 1475 w 3133"/>
              <a:gd name="T63" fmla="*/ 555 h 1767"/>
              <a:gd name="T64" fmla="*/ 1272 w 3133"/>
              <a:gd name="T65" fmla="*/ 384 h 1767"/>
              <a:gd name="T66" fmla="*/ 847 w 3133"/>
              <a:gd name="T67" fmla="*/ 942 h 1767"/>
              <a:gd name="T68" fmla="*/ 938 w 3133"/>
              <a:gd name="T69" fmla="*/ 1058 h 1767"/>
              <a:gd name="T70" fmla="*/ 613 w 3133"/>
              <a:gd name="T71" fmla="*/ 916 h 1767"/>
              <a:gd name="T72" fmla="*/ 858 w 3133"/>
              <a:gd name="T73" fmla="*/ 698 h 1767"/>
              <a:gd name="T74" fmla="*/ 813 w 3133"/>
              <a:gd name="T75" fmla="*/ 422 h 1767"/>
              <a:gd name="T76" fmla="*/ 670 w 3133"/>
              <a:gd name="T77" fmla="*/ 305 h 1767"/>
              <a:gd name="T78" fmla="*/ 117 w 3133"/>
              <a:gd name="T79" fmla="*/ 281 h 1767"/>
              <a:gd name="T80" fmla="*/ 80 w 3133"/>
              <a:gd name="T81" fmla="*/ 517 h 1767"/>
              <a:gd name="T82" fmla="*/ 501 w 3133"/>
              <a:gd name="T83" fmla="*/ 906 h 1767"/>
              <a:gd name="T84" fmla="*/ 789 w 3133"/>
              <a:gd name="T85" fmla="*/ 1091 h 1767"/>
              <a:gd name="T86" fmla="*/ 877 w 3133"/>
              <a:gd name="T87" fmla="*/ 1766 h 1767"/>
              <a:gd name="T88" fmla="*/ 1141 w 3133"/>
              <a:gd name="T89" fmla="*/ 1265 h 1767"/>
              <a:gd name="T90" fmla="*/ 760 w 3133"/>
              <a:gd name="T91" fmla="*/ 1182 h 1767"/>
              <a:gd name="T92" fmla="*/ 434 w 3133"/>
              <a:gd name="T93" fmla="*/ 270 h 1767"/>
              <a:gd name="T94" fmla="*/ 515 w 3133"/>
              <a:gd name="T95" fmla="*/ 167 h 1767"/>
              <a:gd name="T96" fmla="*/ 616 w 3133"/>
              <a:gd name="T97" fmla="*/ 241 h 1767"/>
              <a:gd name="T98" fmla="*/ 632 w 3133"/>
              <a:gd name="T99" fmla="*/ 258 h 1767"/>
              <a:gd name="T100" fmla="*/ 685 w 3133"/>
              <a:gd name="T101" fmla="*/ 188 h 1767"/>
              <a:gd name="T102" fmla="*/ 689 w 3133"/>
              <a:gd name="T103" fmla="*/ 128 h 1767"/>
              <a:gd name="T104" fmla="*/ 748 w 3133"/>
              <a:gd name="T105" fmla="*/ 413 h 1767"/>
              <a:gd name="T106" fmla="*/ 684 w 3133"/>
              <a:gd name="T107" fmla="*/ 278 h 1767"/>
              <a:gd name="T108" fmla="*/ 780 w 3133"/>
              <a:gd name="T109" fmla="*/ 406 h 1767"/>
              <a:gd name="T110" fmla="*/ 813 w 3133"/>
              <a:gd name="T111" fmla="*/ 109 h 1767"/>
              <a:gd name="T112" fmla="*/ 1293 w 3133"/>
              <a:gd name="T113" fmla="*/ 171 h 1767"/>
              <a:gd name="T114" fmla="*/ 911 w 3133"/>
              <a:gd name="T115" fmla="*/ 61 h 1767"/>
              <a:gd name="T116" fmla="*/ 1094 w 3133"/>
              <a:gd name="T117" fmla="*/ 445 h 1767"/>
              <a:gd name="T118" fmla="*/ 999 w 3133"/>
              <a:gd name="T119" fmla="*/ 615 h 1767"/>
              <a:gd name="T120" fmla="*/ 114 w 3133"/>
              <a:gd name="T121" fmla="*/ 497 h 1767"/>
              <a:gd name="T122" fmla="*/ 1626 w 3133"/>
              <a:gd name="T123" fmla="*/ 497 h 1767"/>
              <a:gd name="T124" fmla="*/ 2704 w 3133"/>
              <a:gd name="T125" fmla="*/ 210 h 1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33" h="1767">
                <a:moveTo>
                  <a:pt x="1906" y="1285"/>
                </a:moveTo>
                <a:cubicBezTo>
                  <a:pt x="1904" y="1275"/>
                  <a:pt x="1903" y="1264"/>
                  <a:pt x="1895" y="1263"/>
                </a:cubicBezTo>
                <a:cubicBezTo>
                  <a:pt x="1895" y="1263"/>
                  <a:pt x="1895" y="1263"/>
                  <a:pt x="1895" y="1263"/>
                </a:cubicBezTo>
                <a:cubicBezTo>
                  <a:pt x="1894" y="1263"/>
                  <a:pt x="1894" y="1263"/>
                  <a:pt x="1894" y="1263"/>
                </a:cubicBezTo>
                <a:cubicBezTo>
                  <a:pt x="1894" y="1264"/>
                  <a:pt x="1894" y="1266"/>
                  <a:pt x="1894" y="1268"/>
                </a:cubicBezTo>
                <a:cubicBezTo>
                  <a:pt x="1894" y="1270"/>
                  <a:pt x="1893" y="1272"/>
                  <a:pt x="1893" y="1273"/>
                </a:cubicBezTo>
                <a:cubicBezTo>
                  <a:pt x="1891" y="1275"/>
                  <a:pt x="1890" y="1277"/>
                  <a:pt x="1888" y="1279"/>
                </a:cubicBezTo>
                <a:cubicBezTo>
                  <a:pt x="1883" y="1285"/>
                  <a:pt x="1876" y="1293"/>
                  <a:pt x="1871" y="1296"/>
                </a:cubicBezTo>
                <a:cubicBezTo>
                  <a:pt x="1869" y="1298"/>
                  <a:pt x="1867" y="1299"/>
                  <a:pt x="1864" y="1300"/>
                </a:cubicBezTo>
                <a:cubicBezTo>
                  <a:pt x="1857" y="1303"/>
                  <a:pt x="1851" y="1306"/>
                  <a:pt x="1851" y="1319"/>
                </a:cubicBezTo>
                <a:cubicBezTo>
                  <a:pt x="1851" y="1322"/>
                  <a:pt x="1852" y="1326"/>
                  <a:pt x="1854" y="1330"/>
                </a:cubicBezTo>
                <a:cubicBezTo>
                  <a:pt x="1855" y="1333"/>
                  <a:pt x="1856" y="1335"/>
                  <a:pt x="1856" y="1337"/>
                </a:cubicBezTo>
                <a:cubicBezTo>
                  <a:pt x="1856" y="1338"/>
                  <a:pt x="1852" y="1347"/>
                  <a:pt x="1850" y="1352"/>
                </a:cubicBezTo>
                <a:cubicBezTo>
                  <a:pt x="1848" y="1353"/>
                  <a:pt x="1843" y="1358"/>
                  <a:pt x="1843" y="1360"/>
                </a:cubicBezTo>
                <a:cubicBezTo>
                  <a:pt x="1843" y="1365"/>
                  <a:pt x="1843" y="1370"/>
                  <a:pt x="1847" y="1374"/>
                </a:cubicBezTo>
                <a:cubicBezTo>
                  <a:pt x="1847" y="1375"/>
                  <a:pt x="1847" y="1376"/>
                  <a:pt x="1847" y="1377"/>
                </a:cubicBezTo>
                <a:cubicBezTo>
                  <a:pt x="1847" y="1378"/>
                  <a:pt x="1846" y="1380"/>
                  <a:pt x="1846" y="1382"/>
                </a:cubicBezTo>
                <a:cubicBezTo>
                  <a:pt x="1846" y="1391"/>
                  <a:pt x="1853" y="1402"/>
                  <a:pt x="1861" y="1402"/>
                </a:cubicBezTo>
                <a:cubicBezTo>
                  <a:pt x="1877" y="1402"/>
                  <a:pt x="1882" y="1386"/>
                  <a:pt x="1886" y="1372"/>
                </a:cubicBezTo>
                <a:cubicBezTo>
                  <a:pt x="1887" y="1368"/>
                  <a:pt x="1888" y="1365"/>
                  <a:pt x="1889" y="1363"/>
                </a:cubicBezTo>
                <a:cubicBezTo>
                  <a:pt x="1891" y="1356"/>
                  <a:pt x="1891" y="1356"/>
                  <a:pt x="1891" y="1356"/>
                </a:cubicBezTo>
                <a:cubicBezTo>
                  <a:pt x="1897" y="1339"/>
                  <a:pt x="1902" y="1323"/>
                  <a:pt x="1903" y="1300"/>
                </a:cubicBezTo>
                <a:cubicBezTo>
                  <a:pt x="1903" y="1300"/>
                  <a:pt x="1906" y="1301"/>
                  <a:pt x="1907" y="1302"/>
                </a:cubicBezTo>
                <a:cubicBezTo>
                  <a:pt x="1908" y="1302"/>
                  <a:pt x="1908" y="1302"/>
                  <a:pt x="1908" y="1302"/>
                </a:cubicBezTo>
                <a:cubicBezTo>
                  <a:pt x="1908" y="1296"/>
                  <a:pt x="1908" y="1296"/>
                  <a:pt x="1908" y="1296"/>
                </a:cubicBezTo>
                <a:cubicBezTo>
                  <a:pt x="1908" y="1296"/>
                  <a:pt x="1908" y="1296"/>
                  <a:pt x="1908" y="1296"/>
                </a:cubicBezTo>
                <a:cubicBezTo>
                  <a:pt x="1907" y="1293"/>
                  <a:pt x="1906" y="1290"/>
                  <a:pt x="1906" y="1285"/>
                </a:cubicBezTo>
                <a:close/>
                <a:moveTo>
                  <a:pt x="2169" y="1042"/>
                </a:moveTo>
                <a:cubicBezTo>
                  <a:pt x="2168" y="1040"/>
                  <a:pt x="2168" y="1040"/>
                  <a:pt x="2168" y="1040"/>
                </a:cubicBezTo>
                <a:cubicBezTo>
                  <a:pt x="2168" y="1042"/>
                  <a:pt x="2168" y="1042"/>
                  <a:pt x="2168" y="1042"/>
                </a:cubicBezTo>
                <a:cubicBezTo>
                  <a:pt x="2168" y="1047"/>
                  <a:pt x="2167" y="1052"/>
                  <a:pt x="2166" y="1056"/>
                </a:cubicBezTo>
                <a:cubicBezTo>
                  <a:pt x="2165" y="1060"/>
                  <a:pt x="2164" y="1065"/>
                  <a:pt x="2164" y="1070"/>
                </a:cubicBezTo>
                <a:cubicBezTo>
                  <a:pt x="2164" y="1075"/>
                  <a:pt x="2167" y="1080"/>
                  <a:pt x="2172" y="1080"/>
                </a:cubicBezTo>
                <a:cubicBezTo>
                  <a:pt x="2178" y="1080"/>
                  <a:pt x="2182" y="1072"/>
                  <a:pt x="2182" y="1065"/>
                </a:cubicBezTo>
                <a:cubicBezTo>
                  <a:pt x="2182" y="1058"/>
                  <a:pt x="2178" y="1054"/>
                  <a:pt x="2174" y="1049"/>
                </a:cubicBezTo>
                <a:cubicBezTo>
                  <a:pt x="2172" y="1047"/>
                  <a:pt x="2170" y="1044"/>
                  <a:pt x="2169" y="1042"/>
                </a:cubicBezTo>
                <a:close/>
                <a:moveTo>
                  <a:pt x="2145" y="1058"/>
                </a:moveTo>
                <a:cubicBezTo>
                  <a:pt x="2145" y="1058"/>
                  <a:pt x="2145" y="1058"/>
                  <a:pt x="2145" y="1058"/>
                </a:cubicBezTo>
                <a:cubicBezTo>
                  <a:pt x="2145" y="1058"/>
                  <a:pt x="2145" y="1058"/>
                  <a:pt x="2145" y="1058"/>
                </a:cubicBezTo>
                <a:close/>
                <a:moveTo>
                  <a:pt x="2393" y="1191"/>
                </a:moveTo>
                <a:cubicBezTo>
                  <a:pt x="2393" y="1191"/>
                  <a:pt x="2393" y="1190"/>
                  <a:pt x="2393" y="1189"/>
                </a:cubicBezTo>
                <a:cubicBezTo>
                  <a:pt x="2393" y="1186"/>
                  <a:pt x="2392" y="1183"/>
                  <a:pt x="2394" y="1182"/>
                </a:cubicBezTo>
                <a:cubicBezTo>
                  <a:pt x="2395" y="1182"/>
                  <a:pt x="2395" y="1182"/>
                  <a:pt x="2395" y="1182"/>
                </a:cubicBezTo>
                <a:cubicBezTo>
                  <a:pt x="2395" y="1167"/>
                  <a:pt x="2395" y="1167"/>
                  <a:pt x="2395" y="1167"/>
                </a:cubicBezTo>
                <a:cubicBezTo>
                  <a:pt x="2395" y="1164"/>
                  <a:pt x="2392" y="1163"/>
                  <a:pt x="2391" y="1162"/>
                </a:cubicBezTo>
                <a:cubicBezTo>
                  <a:pt x="2390" y="1161"/>
                  <a:pt x="2389" y="1160"/>
                  <a:pt x="2388" y="1160"/>
                </a:cubicBezTo>
                <a:cubicBezTo>
                  <a:pt x="2388" y="1159"/>
                  <a:pt x="2387" y="1158"/>
                  <a:pt x="2386" y="1158"/>
                </a:cubicBezTo>
                <a:cubicBezTo>
                  <a:pt x="2384" y="1155"/>
                  <a:pt x="2381" y="1153"/>
                  <a:pt x="2381" y="1147"/>
                </a:cubicBezTo>
                <a:cubicBezTo>
                  <a:pt x="2381" y="1146"/>
                  <a:pt x="2381" y="1146"/>
                  <a:pt x="2381" y="1146"/>
                </a:cubicBezTo>
                <a:cubicBezTo>
                  <a:pt x="2381" y="1146"/>
                  <a:pt x="2381" y="1146"/>
                  <a:pt x="2381" y="1146"/>
                </a:cubicBezTo>
                <a:cubicBezTo>
                  <a:pt x="2377" y="1146"/>
                  <a:pt x="2375" y="1145"/>
                  <a:pt x="2375" y="1141"/>
                </a:cubicBezTo>
                <a:cubicBezTo>
                  <a:pt x="2377" y="1138"/>
                  <a:pt x="2377" y="1138"/>
                  <a:pt x="2377" y="1138"/>
                </a:cubicBezTo>
                <a:cubicBezTo>
                  <a:pt x="2377" y="1138"/>
                  <a:pt x="2377" y="1138"/>
                  <a:pt x="2377" y="1138"/>
                </a:cubicBezTo>
                <a:cubicBezTo>
                  <a:pt x="2377" y="1138"/>
                  <a:pt x="2377" y="1138"/>
                  <a:pt x="2377" y="1138"/>
                </a:cubicBezTo>
                <a:cubicBezTo>
                  <a:pt x="2376" y="1136"/>
                  <a:pt x="2375" y="1134"/>
                  <a:pt x="2374" y="1134"/>
                </a:cubicBezTo>
                <a:cubicBezTo>
                  <a:pt x="2372" y="1134"/>
                  <a:pt x="2372" y="1134"/>
                  <a:pt x="2372" y="1134"/>
                </a:cubicBezTo>
                <a:cubicBezTo>
                  <a:pt x="2372" y="1134"/>
                  <a:pt x="2372" y="1134"/>
                  <a:pt x="2372" y="1134"/>
                </a:cubicBezTo>
                <a:cubicBezTo>
                  <a:pt x="2372" y="1133"/>
                  <a:pt x="2372" y="1133"/>
                  <a:pt x="2372" y="1133"/>
                </a:cubicBezTo>
                <a:cubicBezTo>
                  <a:pt x="2372" y="1127"/>
                  <a:pt x="2367" y="1126"/>
                  <a:pt x="2363" y="1124"/>
                </a:cubicBezTo>
                <a:cubicBezTo>
                  <a:pt x="2362" y="1124"/>
                  <a:pt x="2362" y="1124"/>
                  <a:pt x="2362" y="1124"/>
                </a:cubicBezTo>
                <a:cubicBezTo>
                  <a:pt x="2354" y="1121"/>
                  <a:pt x="2351" y="1117"/>
                  <a:pt x="2346" y="1111"/>
                </a:cubicBezTo>
                <a:cubicBezTo>
                  <a:pt x="2344" y="1109"/>
                  <a:pt x="2344" y="1109"/>
                  <a:pt x="2344" y="1109"/>
                </a:cubicBezTo>
                <a:cubicBezTo>
                  <a:pt x="2343" y="1109"/>
                  <a:pt x="2343" y="1108"/>
                  <a:pt x="2342" y="1107"/>
                </a:cubicBezTo>
                <a:cubicBezTo>
                  <a:pt x="2340" y="1104"/>
                  <a:pt x="2338" y="1101"/>
                  <a:pt x="2334" y="1100"/>
                </a:cubicBezTo>
                <a:cubicBezTo>
                  <a:pt x="2333" y="1100"/>
                  <a:pt x="2333" y="1100"/>
                  <a:pt x="2333" y="1100"/>
                </a:cubicBezTo>
                <a:cubicBezTo>
                  <a:pt x="2332" y="1100"/>
                  <a:pt x="2331" y="1100"/>
                  <a:pt x="2331" y="1098"/>
                </a:cubicBezTo>
                <a:cubicBezTo>
                  <a:pt x="2331" y="1098"/>
                  <a:pt x="2331" y="1098"/>
                  <a:pt x="2331" y="1098"/>
                </a:cubicBezTo>
                <a:cubicBezTo>
                  <a:pt x="2328" y="1093"/>
                  <a:pt x="2326" y="1087"/>
                  <a:pt x="2319" y="1085"/>
                </a:cubicBezTo>
                <a:cubicBezTo>
                  <a:pt x="2319" y="1085"/>
                  <a:pt x="2319" y="1085"/>
                  <a:pt x="2319" y="1085"/>
                </a:cubicBezTo>
                <a:cubicBezTo>
                  <a:pt x="2309" y="1085"/>
                  <a:pt x="2309" y="1085"/>
                  <a:pt x="2309" y="1085"/>
                </a:cubicBezTo>
                <a:cubicBezTo>
                  <a:pt x="2309" y="1084"/>
                  <a:pt x="2308" y="1084"/>
                  <a:pt x="2307" y="1084"/>
                </a:cubicBezTo>
                <a:cubicBezTo>
                  <a:pt x="2306" y="1083"/>
                  <a:pt x="2305" y="1082"/>
                  <a:pt x="2303" y="1082"/>
                </a:cubicBezTo>
                <a:cubicBezTo>
                  <a:pt x="2301" y="1082"/>
                  <a:pt x="2301" y="1082"/>
                  <a:pt x="2301" y="1082"/>
                </a:cubicBezTo>
                <a:cubicBezTo>
                  <a:pt x="2301" y="1085"/>
                  <a:pt x="2301" y="1085"/>
                  <a:pt x="2301" y="1085"/>
                </a:cubicBezTo>
                <a:cubicBezTo>
                  <a:pt x="2301" y="1085"/>
                  <a:pt x="2301" y="1085"/>
                  <a:pt x="2301" y="1085"/>
                </a:cubicBezTo>
                <a:cubicBezTo>
                  <a:pt x="2302" y="1089"/>
                  <a:pt x="2307" y="1099"/>
                  <a:pt x="2309" y="1099"/>
                </a:cubicBezTo>
                <a:cubicBezTo>
                  <a:pt x="2310" y="1100"/>
                  <a:pt x="2311" y="1100"/>
                  <a:pt x="2312" y="1100"/>
                </a:cubicBezTo>
                <a:cubicBezTo>
                  <a:pt x="2314" y="1100"/>
                  <a:pt x="2315" y="1100"/>
                  <a:pt x="2316" y="1102"/>
                </a:cubicBezTo>
                <a:cubicBezTo>
                  <a:pt x="2320" y="1110"/>
                  <a:pt x="2320" y="1110"/>
                  <a:pt x="2320" y="1110"/>
                </a:cubicBezTo>
                <a:cubicBezTo>
                  <a:pt x="2321" y="1113"/>
                  <a:pt x="2321" y="1113"/>
                  <a:pt x="2321" y="1113"/>
                </a:cubicBezTo>
                <a:cubicBezTo>
                  <a:pt x="2322" y="1115"/>
                  <a:pt x="2324" y="1116"/>
                  <a:pt x="2326" y="1117"/>
                </a:cubicBezTo>
                <a:cubicBezTo>
                  <a:pt x="2328" y="1118"/>
                  <a:pt x="2331" y="1120"/>
                  <a:pt x="2332" y="1124"/>
                </a:cubicBezTo>
                <a:cubicBezTo>
                  <a:pt x="2332" y="1124"/>
                  <a:pt x="2335" y="1135"/>
                  <a:pt x="2337" y="1137"/>
                </a:cubicBezTo>
                <a:cubicBezTo>
                  <a:pt x="2337" y="1137"/>
                  <a:pt x="2338" y="1137"/>
                  <a:pt x="2339" y="1138"/>
                </a:cubicBezTo>
                <a:cubicBezTo>
                  <a:pt x="2340" y="1138"/>
                  <a:pt x="2341" y="1138"/>
                  <a:pt x="2342" y="1138"/>
                </a:cubicBezTo>
                <a:cubicBezTo>
                  <a:pt x="2342" y="1138"/>
                  <a:pt x="2342" y="1138"/>
                  <a:pt x="2342" y="1138"/>
                </a:cubicBezTo>
                <a:cubicBezTo>
                  <a:pt x="2342" y="1138"/>
                  <a:pt x="2342" y="1138"/>
                  <a:pt x="2342" y="1138"/>
                </a:cubicBezTo>
                <a:cubicBezTo>
                  <a:pt x="2342" y="1140"/>
                  <a:pt x="2342" y="1140"/>
                  <a:pt x="2342" y="1140"/>
                </a:cubicBezTo>
                <a:cubicBezTo>
                  <a:pt x="2342" y="1141"/>
                  <a:pt x="2342" y="1142"/>
                  <a:pt x="2343" y="1142"/>
                </a:cubicBezTo>
                <a:cubicBezTo>
                  <a:pt x="2343" y="1142"/>
                  <a:pt x="2343" y="1142"/>
                  <a:pt x="2343" y="1142"/>
                </a:cubicBezTo>
                <a:cubicBezTo>
                  <a:pt x="2344" y="1142"/>
                  <a:pt x="2347" y="1148"/>
                  <a:pt x="2348" y="1150"/>
                </a:cubicBezTo>
                <a:cubicBezTo>
                  <a:pt x="2348" y="1151"/>
                  <a:pt x="2348" y="1151"/>
                  <a:pt x="2348" y="1151"/>
                </a:cubicBezTo>
                <a:cubicBezTo>
                  <a:pt x="2351" y="1159"/>
                  <a:pt x="2354" y="1165"/>
                  <a:pt x="2360" y="1171"/>
                </a:cubicBezTo>
                <a:cubicBezTo>
                  <a:pt x="2363" y="1175"/>
                  <a:pt x="2365" y="1177"/>
                  <a:pt x="2368" y="1179"/>
                </a:cubicBezTo>
                <a:cubicBezTo>
                  <a:pt x="2371" y="1181"/>
                  <a:pt x="2374" y="1184"/>
                  <a:pt x="2377" y="1187"/>
                </a:cubicBezTo>
                <a:cubicBezTo>
                  <a:pt x="2377" y="1188"/>
                  <a:pt x="2377" y="1188"/>
                  <a:pt x="2377" y="1188"/>
                </a:cubicBezTo>
                <a:cubicBezTo>
                  <a:pt x="2381" y="1194"/>
                  <a:pt x="2383" y="1197"/>
                  <a:pt x="2384" y="1197"/>
                </a:cubicBezTo>
                <a:cubicBezTo>
                  <a:pt x="2386" y="1197"/>
                  <a:pt x="2393" y="1196"/>
                  <a:pt x="2393" y="1191"/>
                </a:cubicBezTo>
                <a:close/>
                <a:moveTo>
                  <a:pt x="2422" y="1127"/>
                </a:moveTo>
                <a:cubicBezTo>
                  <a:pt x="2421" y="1128"/>
                  <a:pt x="2421" y="1129"/>
                  <a:pt x="2421" y="1130"/>
                </a:cubicBezTo>
                <a:cubicBezTo>
                  <a:pt x="2421" y="1131"/>
                  <a:pt x="2424" y="1145"/>
                  <a:pt x="2426" y="1145"/>
                </a:cubicBezTo>
                <a:cubicBezTo>
                  <a:pt x="2427" y="1145"/>
                  <a:pt x="2427" y="1145"/>
                  <a:pt x="2427" y="1145"/>
                </a:cubicBezTo>
                <a:cubicBezTo>
                  <a:pt x="2428" y="1145"/>
                  <a:pt x="2429" y="1146"/>
                  <a:pt x="2430" y="1147"/>
                </a:cubicBezTo>
                <a:cubicBezTo>
                  <a:pt x="2429" y="1148"/>
                  <a:pt x="2429" y="1148"/>
                  <a:pt x="2429" y="1148"/>
                </a:cubicBezTo>
                <a:cubicBezTo>
                  <a:pt x="2429" y="1149"/>
                  <a:pt x="2429" y="1149"/>
                  <a:pt x="2429" y="1149"/>
                </a:cubicBezTo>
                <a:cubicBezTo>
                  <a:pt x="2429" y="1149"/>
                  <a:pt x="2429" y="1149"/>
                  <a:pt x="2429" y="1149"/>
                </a:cubicBezTo>
                <a:cubicBezTo>
                  <a:pt x="2429" y="1149"/>
                  <a:pt x="2429" y="1149"/>
                  <a:pt x="2429" y="1149"/>
                </a:cubicBezTo>
                <a:cubicBezTo>
                  <a:pt x="2431" y="1151"/>
                  <a:pt x="2431" y="1154"/>
                  <a:pt x="2431" y="1157"/>
                </a:cubicBezTo>
                <a:cubicBezTo>
                  <a:pt x="2432" y="1163"/>
                  <a:pt x="2432" y="1168"/>
                  <a:pt x="2440" y="1168"/>
                </a:cubicBezTo>
                <a:cubicBezTo>
                  <a:pt x="2441" y="1168"/>
                  <a:pt x="2442" y="1168"/>
                  <a:pt x="2443" y="1167"/>
                </a:cubicBezTo>
                <a:cubicBezTo>
                  <a:pt x="2444" y="1167"/>
                  <a:pt x="2445" y="1166"/>
                  <a:pt x="2446" y="1166"/>
                </a:cubicBezTo>
                <a:cubicBezTo>
                  <a:pt x="2446" y="1167"/>
                  <a:pt x="2446" y="1168"/>
                  <a:pt x="2446" y="1168"/>
                </a:cubicBezTo>
                <a:cubicBezTo>
                  <a:pt x="2446" y="1170"/>
                  <a:pt x="2446" y="1172"/>
                  <a:pt x="2447" y="1172"/>
                </a:cubicBezTo>
                <a:cubicBezTo>
                  <a:pt x="2448" y="1172"/>
                  <a:pt x="2448" y="1172"/>
                  <a:pt x="2448" y="1172"/>
                </a:cubicBezTo>
                <a:cubicBezTo>
                  <a:pt x="2449" y="1173"/>
                  <a:pt x="2449" y="1173"/>
                  <a:pt x="2450" y="1173"/>
                </a:cubicBezTo>
                <a:cubicBezTo>
                  <a:pt x="2452" y="1173"/>
                  <a:pt x="2453" y="1172"/>
                  <a:pt x="2454" y="1171"/>
                </a:cubicBezTo>
                <a:cubicBezTo>
                  <a:pt x="2455" y="1170"/>
                  <a:pt x="2456" y="1170"/>
                  <a:pt x="2457" y="1170"/>
                </a:cubicBezTo>
                <a:cubicBezTo>
                  <a:pt x="2460" y="1170"/>
                  <a:pt x="2463" y="1171"/>
                  <a:pt x="2465" y="1172"/>
                </a:cubicBezTo>
                <a:cubicBezTo>
                  <a:pt x="2467" y="1173"/>
                  <a:pt x="2469" y="1174"/>
                  <a:pt x="2471" y="1175"/>
                </a:cubicBezTo>
                <a:cubicBezTo>
                  <a:pt x="2471" y="1177"/>
                  <a:pt x="2472" y="1180"/>
                  <a:pt x="2475" y="1180"/>
                </a:cubicBezTo>
                <a:cubicBezTo>
                  <a:pt x="2477" y="1180"/>
                  <a:pt x="2478" y="1179"/>
                  <a:pt x="2480" y="1177"/>
                </a:cubicBezTo>
                <a:cubicBezTo>
                  <a:pt x="2481" y="1176"/>
                  <a:pt x="2482" y="1175"/>
                  <a:pt x="2484" y="1174"/>
                </a:cubicBezTo>
                <a:cubicBezTo>
                  <a:pt x="2485" y="1174"/>
                  <a:pt x="2485" y="1174"/>
                  <a:pt x="2485" y="1174"/>
                </a:cubicBezTo>
                <a:cubicBezTo>
                  <a:pt x="2485" y="1174"/>
                  <a:pt x="2485" y="1174"/>
                  <a:pt x="2485" y="1174"/>
                </a:cubicBezTo>
                <a:cubicBezTo>
                  <a:pt x="2485" y="1172"/>
                  <a:pt x="2486" y="1170"/>
                  <a:pt x="2487" y="1167"/>
                </a:cubicBezTo>
                <a:cubicBezTo>
                  <a:pt x="2488" y="1165"/>
                  <a:pt x="2488" y="1164"/>
                  <a:pt x="2488" y="1162"/>
                </a:cubicBezTo>
                <a:cubicBezTo>
                  <a:pt x="2488" y="1161"/>
                  <a:pt x="2488" y="1161"/>
                  <a:pt x="2488" y="1160"/>
                </a:cubicBezTo>
                <a:cubicBezTo>
                  <a:pt x="2487" y="1159"/>
                  <a:pt x="2487" y="1158"/>
                  <a:pt x="2487" y="1157"/>
                </a:cubicBezTo>
                <a:cubicBezTo>
                  <a:pt x="2487" y="1155"/>
                  <a:pt x="2490" y="1150"/>
                  <a:pt x="2493" y="1150"/>
                </a:cubicBezTo>
                <a:cubicBezTo>
                  <a:pt x="2494" y="1150"/>
                  <a:pt x="2494" y="1150"/>
                  <a:pt x="2494" y="1150"/>
                </a:cubicBezTo>
                <a:cubicBezTo>
                  <a:pt x="2494" y="1149"/>
                  <a:pt x="2494" y="1149"/>
                  <a:pt x="2494" y="1149"/>
                </a:cubicBezTo>
                <a:cubicBezTo>
                  <a:pt x="2494" y="1146"/>
                  <a:pt x="2494" y="1144"/>
                  <a:pt x="2495" y="1141"/>
                </a:cubicBezTo>
                <a:cubicBezTo>
                  <a:pt x="2496" y="1139"/>
                  <a:pt x="2497" y="1137"/>
                  <a:pt x="2498" y="1134"/>
                </a:cubicBezTo>
                <a:cubicBezTo>
                  <a:pt x="2499" y="1130"/>
                  <a:pt x="2499" y="1130"/>
                  <a:pt x="2499" y="1130"/>
                </a:cubicBezTo>
                <a:cubicBezTo>
                  <a:pt x="2500" y="1130"/>
                  <a:pt x="2501" y="1130"/>
                  <a:pt x="2502" y="1130"/>
                </a:cubicBezTo>
                <a:cubicBezTo>
                  <a:pt x="2503" y="1130"/>
                  <a:pt x="2503" y="1130"/>
                  <a:pt x="2504" y="1130"/>
                </a:cubicBezTo>
                <a:cubicBezTo>
                  <a:pt x="2506" y="1130"/>
                  <a:pt x="2508" y="1130"/>
                  <a:pt x="2509" y="1126"/>
                </a:cubicBezTo>
                <a:cubicBezTo>
                  <a:pt x="2509" y="1125"/>
                  <a:pt x="2509" y="1125"/>
                  <a:pt x="2509" y="1125"/>
                </a:cubicBezTo>
                <a:cubicBezTo>
                  <a:pt x="2509" y="1125"/>
                  <a:pt x="2509" y="1125"/>
                  <a:pt x="2509" y="1125"/>
                </a:cubicBezTo>
                <a:cubicBezTo>
                  <a:pt x="2503" y="1125"/>
                  <a:pt x="2495" y="1108"/>
                  <a:pt x="2495" y="1103"/>
                </a:cubicBezTo>
                <a:cubicBezTo>
                  <a:pt x="2495" y="1102"/>
                  <a:pt x="2496" y="1101"/>
                  <a:pt x="2497" y="1101"/>
                </a:cubicBezTo>
                <a:cubicBezTo>
                  <a:pt x="2497" y="1101"/>
                  <a:pt x="2497" y="1101"/>
                  <a:pt x="2497" y="1101"/>
                </a:cubicBezTo>
                <a:cubicBezTo>
                  <a:pt x="2497" y="1101"/>
                  <a:pt x="2497" y="1101"/>
                  <a:pt x="2497" y="1101"/>
                </a:cubicBezTo>
                <a:cubicBezTo>
                  <a:pt x="2497" y="1100"/>
                  <a:pt x="2497" y="1099"/>
                  <a:pt x="2497" y="1099"/>
                </a:cubicBezTo>
                <a:cubicBezTo>
                  <a:pt x="2496" y="1098"/>
                  <a:pt x="2496" y="1098"/>
                  <a:pt x="2496" y="1098"/>
                </a:cubicBezTo>
                <a:cubicBezTo>
                  <a:pt x="2498" y="1097"/>
                  <a:pt x="2504" y="1094"/>
                  <a:pt x="2505" y="1093"/>
                </a:cubicBezTo>
                <a:cubicBezTo>
                  <a:pt x="2505" y="1092"/>
                  <a:pt x="2505" y="1092"/>
                  <a:pt x="2505" y="1092"/>
                </a:cubicBezTo>
                <a:cubicBezTo>
                  <a:pt x="2505" y="1092"/>
                  <a:pt x="2505" y="1092"/>
                  <a:pt x="2505" y="1092"/>
                </a:cubicBezTo>
                <a:cubicBezTo>
                  <a:pt x="2504" y="1091"/>
                  <a:pt x="2504" y="1091"/>
                  <a:pt x="2504" y="1091"/>
                </a:cubicBezTo>
                <a:cubicBezTo>
                  <a:pt x="2504" y="1090"/>
                  <a:pt x="2505" y="1090"/>
                  <a:pt x="2507" y="1089"/>
                </a:cubicBezTo>
                <a:cubicBezTo>
                  <a:pt x="2509" y="1089"/>
                  <a:pt x="2511" y="1089"/>
                  <a:pt x="2511" y="1087"/>
                </a:cubicBezTo>
                <a:cubicBezTo>
                  <a:pt x="2511" y="1083"/>
                  <a:pt x="2507" y="1082"/>
                  <a:pt x="2504" y="1081"/>
                </a:cubicBezTo>
                <a:cubicBezTo>
                  <a:pt x="2501" y="1081"/>
                  <a:pt x="2498" y="1080"/>
                  <a:pt x="2498" y="1077"/>
                </a:cubicBezTo>
                <a:cubicBezTo>
                  <a:pt x="2498" y="1075"/>
                  <a:pt x="2498" y="1075"/>
                  <a:pt x="2498" y="1075"/>
                </a:cubicBezTo>
                <a:cubicBezTo>
                  <a:pt x="2498" y="1072"/>
                  <a:pt x="2498" y="1070"/>
                  <a:pt x="2497" y="1069"/>
                </a:cubicBezTo>
                <a:cubicBezTo>
                  <a:pt x="2496" y="1068"/>
                  <a:pt x="2495" y="1067"/>
                  <a:pt x="2493" y="1067"/>
                </a:cubicBezTo>
                <a:cubicBezTo>
                  <a:pt x="2487" y="1067"/>
                  <a:pt x="2479" y="1085"/>
                  <a:pt x="2478" y="1087"/>
                </a:cubicBezTo>
                <a:cubicBezTo>
                  <a:pt x="2478" y="1088"/>
                  <a:pt x="2476" y="1088"/>
                  <a:pt x="2474" y="1088"/>
                </a:cubicBezTo>
                <a:cubicBezTo>
                  <a:pt x="2471" y="1089"/>
                  <a:pt x="2469" y="1089"/>
                  <a:pt x="2467" y="1091"/>
                </a:cubicBezTo>
                <a:cubicBezTo>
                  <a:pt x="2467" y="1092"/>
                  <a:pt x="2467" y="1092"/>
                  <a:pt x="2467" y="1092"/>
                </a:cubicBezTo>
                <a:cubicBezTo>
                  <a:pt x="2466" y="1093"/>
                  <a:pt x="2466" y="1093"/>
                  <a:pt x="2465" y="1093"/>
                </a:cubicBezTo>
                <a:cubicBezTo>
                  <a:pt x="2465" y="1094"/>
                  <a:pt x="2464" y="1094"/>
                  <a:pt x="2464" y="1095"/>
                </a:cubicBezTo>
                <a:cubicBezTo>
                  <a:pt x="2464" y="1095"/>
                  <a:pt x="2463" y="1095"/>
                  <a:pt x="2462" y="1096"/>
                </a:cubicBezTo>
                <a:cubicBezTo>
                  <a:pt x="2462" y="1096"/>
                  <a:pt x="2462" y="1096"/>
                  <a:pt x="2462" y="1096"/>
                </a:cubicBezTo>
                <a:cubicBezTo>
                  <a:pt x="2462" y="1096"/>
                  <a:pt x="2462" y="1096"/>
                  <a:pt x="2462" y="1096"/>
                </a:cubicBezTo>
                <a:cubicBezTo>
                  <a:pt x="2462" y="1096"/>
                  <a:pt x="2460" y="1098"/>
                  <a:pt x="2460" y="1100"/>
                </a:cubicBezTo>
                <a:cubicBezTo>
                  <a:pt x="2460" y="1100"/>
                  <a:pt x="2460" y="1100"/>
                  <a:pt x="2460" y="1100"/>
                </a:cubicBezTo>
                <a:cubicBezTo>
                  <a:pt x="2459" y="1101"/>
                  <a:pt x="2459" y="1102"/>
                  <a:pt x="2458" y="1103"/>
                </a:cubicBezTo>
                <a:cubicBezTo>
                  <a:pt x="2457" y="1105"/>
                  <a:pt x="2456" y="1107"/>
                  <a:pt x="2453" y="1107"/>
                </a:cubicBezTo>
                <a:cubicBezTo>
                  <a:pt x="2453" y="1107"/>
                  <a:pt x="2452" y="1108"/>
                  <a:pt x="2451" y="1108"/>
                </a:cubicBezTo>
                <a:cubicBezTo>
                  <a:pt x="2449" y="1108"/>
                  <a:pt x="2446" y="1108"/>
                  <a:pt x="2444" y="1111"/>
                </a:cubicBezTo>
                <a:cubicBezTo>
                  <a:pt x="2443" y="1112"/>
                  <a:pt x="2442" y="1115"/>
                  <a:pt x="2441" y="1117"/>
                </a:cubicBezTo>
                <a:cubicBezTo>
                  <a:pt x="2440" y="1122"/>
                  <a:pt x="2438" y="1126"/>
                  <a:pt x="2432" y="1126"/>
                </a:cubicBezTo>
                <a:cubicBezTo>
                  <a:pt x="2431" y="1126"/>
                  <a:pt x="2430" y="1126"/>
                  <a:pt x="2429" y="1126"/>
                </a:cubicBezTo>
                <a:cubicBezTo>
                  <a:pt x="2426" y="1126"/>
                  <a:pt x="2423" y="1125"/>
                  <a:pt x="2422" y="1127"/>
                </a:cubicBezTo>
                <a:close/>
                <a:moveTo>
                  <a:pt x="2527" y="1135"/>
                </a:moveTo>
                <a:cubicBezTo>
                  <a:pt x="2528" y="1135"/>
                  <a:pt x="2529" y="1135"/>
                  <a:pt x="2530" y="1135"/>
                </a:cubicBezTo>
                <a:cubicBezTo>
                  <a:pt x="2532" y="1135"/>
                  <a:pt x="2534" y="1134"/>
                  <a:pt x="2536" y="1134"/>
                </a:cubicBezTo>
                <a:cubicBezTo>
                  <a:pt x="2538" y="1134"/>
                  <a:pt x="2539" y="1133"/>
                  <a:pt x="2541" y="1133"/>
                </a:cubicBezTo>
                <a:cubicBezTo>
                  <a:pt x="2543" y="1133"/>
                  <a:pt x="2545" y="1134"/>
                  <a:pt x="2547" y="1134"/>
                </a:cubicBezTo>
                <a:cubicBezTo>
                  <a:pt x="2548" y="1135"/>
                  <a:pt x="2550" y="1136"/>
                  <a:pt x="2552" y="1136"/>
                </a:cubicBezTo>
                <a:cubicBezTo>
                  <a:pt x="2557" y="1136"/>
                  <a:pt x="2560" y="1132"/>
                  <a:pt x="2562" y="1124"/>
                </a:cubicBezTo>
                <a:cubicBezTo>
                  <a:pt x="2562" y="1124"/>
                  <a:pt x="2563" y="1123"/>
                  <a:pt x="2563" y="1122"/>
                </a:cubicBezTo>
                <a:cubicBezTo>
                  <a:pt x="2563" y="1121"/>
                  <a:pt x="2563" y="1121"/>
                  <a:pt x="2563" y="1121"/>
                </a:cubicBezTo>
                <a:cubicBezTo>
                  <a:pt x="2563" y="1121"/>
                  <a:pt x="2563" y="1121"/>
                  <a:pt x="2563" y="1121"/>
                </a:cubicBezTo>
                <a:cubicBezTo>
                  <a:pt x="2561" y="1121"/>
                  <a:pt x="2561" y="1121"/>
                  <a:pt x="2561" y="1121"/>
                </a:cubicBezTo>
                <a:cubicBezTo>
                  <a:pt x="2561" y="1121"/>
                  <a:pt x="2561" y="1121"/>
                  <a:pt x="2561" y="1121"/>
                </a:cubicBezTo>
                <a:cubicBezTo>
                  <a:pt x="2559" y="1122"/>
                  <a:pt x="2559" y="1122"/>
                  <a:pt x="2559" y="1122"/>
                </a:cubicBezTo>
                <a:cubicBezTo>
                  <a:pt x="2556" y="1125"/>
                  <a:pt x="2553" y="1127"/>
                  <a:pt x="2551" y="1129"/>
                </a:cubicBezTo>
                <a:cubicBezTo>
                  <a:pt x="2549" y="1129"/>
                  <a:pt x="2549" y="1129"/>
                  <a:pt x="2549" y="1129"/>
                </a:cubicBezTo>
                <a:cubicBezTo>
                  <a:pt x="2527" y="1125"/>
                  <a:pt x="2527" y="1125"/>
                  <a:pt x="2527" y="1125"/>
                </a:cubicBezTo>
                <a:cubicBezTo>
                  <a:pt x="2527" y="1125"/>
                  <a:pt x="2527" y="1125"/>
                  <a:pt x="2527" y="1125"/>
                </a:cubicBezTo>
                <a:cubicBezTo>
                  <a:pt x="2527" y="1125"/>
                  <a:pt x="2527" y="1125"/>
                  <a:pt x="2527" y="1125"/>
                </a:cubicBezTo>
                <a:cubicBezTo>
                  <a:pt x="2523" y="1125"/>
                  <a:pt x="2520" y="1127"/>
                  <a:pt x="2518" y="1132"/>
                </a:cubicBezTo>
                <a:cubicBezTo>
                  <a:pt x="2516" y="1135"/>
                  <a:pt x="2515" y="1140"/>
                  <a:pt x="2515" y="1145"/>
                </a:cubicBezTo>
                <a:cubicBezTo>
                  <a:pt x="2515" y="1146"/>
                  <a:pt x="2514" y="1147"/>
                  <a:pt x="2514" y="1148"/>
                </a:cubicBezTo>
                <a:cubicBezTo>
                  <a:pt x="2513" y="1149"/>
                  <a:pt x="2513" y="1149"/>
                  <a:pt x="2512" y="1150"/>
                </a:cubicBezTo>
                <a:cubicBezTo>
                  <a:pt x="2512" y="1153"/>
                  <a:pt x="2511" y="1155"/>
                  <a:pt x="2510" y="1158"/>
                </a:cubicBezTo>
                <a:cubicBezTo>
                  <a:pt x="2508" y="1161"/>
                  <a:pt x="2507" y="1164"/>
                  <a:pt x="2507" y="1169"/>
                </a:cubicBezTo>
                <a:cubicBezTo>
                  <a:pt x="2507" y="1173"/>
                  <a:pt x="2510" y="1174"/>
                  <a:pt x="2512" y="1174"/>
                </a:cubicBezTo>
                <a:cubicBezTo>
                  <a:pt x="2513" y="1174"/>
                  <a:pt x="2513" y="1174"/>
                  <a:pt x="2513" y="1174"/>
                </a:cubicBezTo>
                <a:cubicBezTo>
                  <a:pt x="2513" y="1190"/>
                  <a:pt x="2513" y="1190"/>
                  <a:pt x="2513" y="1190"/>
                </a:cubicBezTo>
                <a:cubicBezTo>
                  <a:pt x="2513" y="1193"/>
                  <a:pt x="2516" y="1195"/>
                  <a:pt x="2518" y="1195"/>
                </a:cubicBezTo>
                <a:cubicBezTo>
                  <a:pt x="2522" y="1195"/>
                  <a:pt x="2523" y="1182"/>
                  <a:pt x="2523" y="1181"/>
                </a:cubicBezTo>
                <a:cubicBezTo>
                  <a:pt x="2523" y="1179"/>
                  <a:pt x="2523" y="1177"/>
                  <a:pt x="2522" y="1175"/>
                </a:cubicBezTo>
                <a:cubicBezTo>
                  <a:pt x="2521" y="1173"/>
                  <a:pt x="2520" y="1172"/>
                  <a:pt x="2520" y="1169"/>
                </a:cubicBezTo>
                <a:cubicBezTo>
                  <a:pt x="2520" y="1167"/>
                  <a:pt x="2523" y="1166"/>
                  <a:pt x="2525" y="1166"/>
                </a:cubicBezTo>
                <a:cubicBezTo>
                  <a:pt x="2526" y="1166"/>
                  <a:pt x="2526" y="1166"/>
                  <a:pt x="2526" y="1166"/>
                </a:cubicBezTo>
                <a:cubicBezTo>
                  <a:pt x="2526" y="1166"/>
                  <a:pt x="2526" y="1166"/>
                  <a:pt x="2527" y="1166"/>
                </a:cubicBezTo>
                <a:cubicBezTo>
                  <a:pt x="2526" y="1173"/>
                  <a:pt x="2526" y="1173"/>
                  <a:pt x="2526" y="1173"/>
                </a:cubicBezTo>
                <a:cubicBezTo>
                  <a:pt x="2526" y="1173"/>
                  <a:pt x="2526" y="1173"/>
                  <a:pt x="2526" y="1173"/>
                </a:cubicBezTo>
                <a:cubicBezTo>
                  <a:pt x="2526" y="1173"/>
                  <a:pt x="2526" y="1173"/>
                  <a:pt x="2526" y="1173"/>
                </a:cubicBezTo>
                <a:cubicBezTo>
                  <a:pt x="2526" y="1175"/>
                  <a:pt x="2527" y="1177"/>
                  <a:pt x="2528" y="1178"/>
                </a:cubicBezTo>
                <a:cubicBezTo>
                  <a:pt x="2529" y="1180"/>
                  <a:pt x="2531" y="1181"/>
                  <a:pt x="2531" y="1183"/>
                </a:cubicBezTo>
                <a:cubicBezTo>
                  <a:pt x="2531" y="1184"/>
                  <a:pt x="2531" y="1184"/>
                  <a:pt x="2531" y="1184"/>
                </a:cubicBezTo>
                <a:cubicBezTo>
                  <a:pt x="2531" y="1185"/>
                  <a:pt x="2531" y="1186"/>
                  <a:pt x="2531" y="1186"/>
                </a:cubicBezTo>
                <a:cubicBezTo>
                  <a:pt x="2530" y="1187"/>
                  <a:pt x="2530" y="1187"/>
                  <a:pt x="2530" y="1187"/>
                </a:cubicBezTo>
                <a:cubicBezTo>
                  <a:pt x="2535" y="1187"/>
                  <a:pt x="2535" y="1187"/>
                  <a:pt x="2535" y="1187"/>
                </a:cubicBezTo>
                <a:cubicBezTo>
                  <a:pt x="2535" y="1187"/>
                  <a:pt x="2535" y="1187"/>
                  <a:pt x="2535" y="1187"/>
                </a:cubicBezTo>
                <a:cubicBezTo>
                  <a:pt x="2535" y="1185"/>
                  <a:pt x="2537" y="1184"/>
                  <a:pt x="2538" y="1183"/>
                </a:cubicBezTo>
                <a:cubicBezTo>
                  <a:pt x="2540" y="1182"/>
                  <a:pt x="2542" y="1181"/>
                  <a:pt x="2542" y="1179"/>
                </a:cubicBezTo>
                <a:cubicBezTo>
                  <a:pt x="2542" y="1179"/>
                  <a:pt x="2542" y="1179"/>
                  <a:pt x="2542" y="1179"/>
                </a:cubicBezTo>
                <a:cubicBezTo>
                  <a:pt x="2542" y="1179"/>
                  <a:pt x="2542" y="1179"/>
                  <a:pt x="2542" y="1179"/>
                </a:cubicBezTo>
                <a:cubicBezTo>
                  <a:pt x="2541" y="1179"/>
                  <a:pt x="2538" y="1175"/>
                  <a:pt x="2538" y="1173"/>
                </a:cubicBezTo>
                <a:cubicBezTo>
                  <a:pt x="2538" y="1172"/>
                  <a:pt x="2538" y="1172"/>
                  <a:pt x="2538" y="1172"/>
                </a:cubicBezTo>
                <a:cubicBezTo>
                  <a:pt x="2539" y="1171"/>
                  <a:pt x="2539" y="1171"/>
                  <a:pt x="2539" y="1171"/>
                </a:cubicBezTo>
                <a:cubicBezTo>
                  <a:pt x="2539" y="1171"/>
                  <a:pt x="2539" y="1171"/>
                  <a:pt x="2539" y="1171"/>
                </a:cubicBezTo>
                <a:cubicBezTo>
                  <a:pt x="2539" y="1170"/>
                  <a:pt x="2539" y="1170"/>
                  <a:pt x="2539" y="1170"/>
                </a:cubicBezTo>
                <a:cubicBezTo>
                  <a:pt x="2537" y="1170"/>
                  <a:pt x="2532" y="1159"/>
                  <a:pt x="2531" y="1157"/>
                </a:cubicBezTo>
                <a:cubicBezTo>
                  <a:pt x="2536" y="1156"/>
                  <a:pt x="2539" y="1154"/>
                  <a:pt x="2541" y="1151"/>
                </a:cubicBezTo>
                <a:cubicBezTo>
                  <a:pt x="2543" y="1149"/>
                  <a:pt x="2544" y="1147"/>
                  <a:pt x="2547" y="1146"/>
                </a:cubicBezTo>
                <a:cubicBezTo>
                  <a:pt x="2548" y="1146"/>
                  <a:pt x="2548" y="1146"/>
                  <a:pt x="2548" y="1146"/>
                </a:cubicBezTo>
                <a:cubicBezTo>
                  <a:pt x="2548" y="1143"/>
                  <a:pt x="2548" y="1143"/>
                  <a:pt x="2548" y="1143"/>
                </a:cubicBezTo>
                <a:cubicBezTo>
                  <a:pt x="2547" y="1143"/>
                  <a:pt x="2547" y="1143"/>
                  <a:pt x="2547" y="1143"/>
                </a:cubicBezTo>
                <a:cubicBezTo>
                  <a:pt x="2546" y="1143"/>
                  <a:pt x="2534" y="1146"/>
                  <a:pt x="2530" y="1149"/>
                </a:cubicBezTo>
                <a:cubicBezTo>
                  <a:pt x="2530" y="1148"/>
                  <a:pt x="2530" y="1148"/>
                  <a:pt x="2530" y="1148"/>
                </a:cubicBezTo>
                <a:cubicBezTo>
                  <a:pt x="2529" y="1148"/>
                  <a:pt x="2529" y="1148"/>
                  <a:pt x="2529" y="1148"/>
                </a:cubicBezTo>
                <a:cubicBezTo>
                  <a:pt x="2528" y="1149"/>
                  <a:pt x="2528" y="1149"/>
                  <a:pt x="2528" y="1149"/>
                </a:cubicBezTo>
                <a:cubicBezTo>
                  <a:pt x="2528" y="1150"/>
                  <a:pt x="2527" y="1151"/>
                  <a:pt x="2526" y="1151"/>
                </a:cubicBezTo>
                <a:cubicBezTo>
                  <a:pt x="2521" y="1151"/>
                  <a:pt x="2520" y="1144"/>
                  <a:pt x="2520" y="1140"/>
                </a:cubicBezTo>
                <a:cubicBezTo>
                  <a:pt x="2520" y="1138"/>
                  <a:pt x="2520" y="1137"/>
                  <a:pt x="2521" y="1136"/>
                </a:cubicBezTo>
                <a:cubicBezTo>
                  <a:pt x="2522" y="1134"/>
                  <a:pt x="2525" y="1134"/>
                  <a:pt x="2527" y="1135"/>
                </a:cubicBezTo>
                <a:close/>
                <a:moveTo>
                  <a:pt x="2471" y="1227"/>
                </a:moveTo>
                <a:cubicBezTo>
                  <a:pt x="2471" y="1226"/>
                  <a:pt x="2471" y="1226"/>
                  <a:pt x="2471" y="1226"/>
                </a:cubicBezTo>
                <a:cubicBezTo>
                  <a:pt x="2470" y="1224"/>
                  <a:pt x="2470" y="1223"/>
                  <a:pt x="2471" y="1223"/>
                </a:cubicBezTo>
                <a:cubicBezTo>
                  <a:pt x="2471" y="1223"/>
                  <a:pt x="2471" y="1223"/>
                  <a:pt x="2471" y="1223"/>
                </a:cubicBezTo>
                <a:cubicBezTo>
                  <a:pt x="2472" y="1223"/>
                  <a:pt x="2473" y="1224"/>
                  <a:pt x="2474" y="1224"/>
                </a:cubicBezTo>
                <a:cubicBezTo>
                  <a:pt x="2475" y="1225"/>
                  <a:pt x="2475" y="1225"/>
                  <a:pt x="2477" y="1225"/>
                </a:cubicBezTo>
                <a:cubicBezTo>
                  <a:pt x="2478" y="1225"/>
                  <a:pt x="2480" y="1223"/>
                  <a:pt x="2481" y="1221"/>
                </a:cubicBezTo>
                <a:cubicBezTo>
                  <a:pt x="2481" y="1221"/>
                  <a:pt x="2481" y="1221"/>
                  <a:pt x="2481" y="1221"/>
                </a:cubicBezTo>
                <a:cubicBezTo>
                  <a:pt x="2481" y="1221"/>
                  <a:pt x="2481" y="1221"/>
                  <a:pt x="2481" y="1221"/>
                </a:cubicBezTo>
                <a:cubicBezTo>
                  <a:pt x="2480" y="1220"/>
                  <a:pt x="2479" y="1220"/>
                  <a:pt x="2479" y="1219"/>
                </a:cubicBezTo>
                <a:cubicBezTo>
                  <a:pt x="2478" y="1219"/>
                  <a:pt x="2477" y="1218"/>
                  <a:pt x="2476" y="1218"/>
                </a:cubicBezTo>
                <a:cubicBezTo>
                  <a:pt x="2474" y="1217"/>
                  <a:pt x="2473" y="1217"/>
                  <a:pt x="2472" y="1218"/>
                </a:cubicBezTo>
                <a:cubicBezTo>
                  <a:pt x="2471" y="1218"/>
                  <a:pt x="2469" y="1218"/>
                  <a:pt x="2468" y="1217"/>
                </a:cubicBezTo>
                <a:cubicBezTo>
                  <a:pt x="2468" y="1216"/>
                  <a:pt x="2468" y="1216"/>
                  <a:pt x="2468" y="1216"/>
                </a:cubicBezTo>
                <a:cubicBezTo>
                  <a:pt x="2468" y="1215"/>
                  <a:pt x="2467" y="1214"/>
                  <a:pt x="2466" y="1214"/>
                </a:cubicBezTo>
                <a:cubicBezTo>
                  <a:pt x="2461" y="1214"/>
                  <a:pt x="2457" y="1213"/>
                  <a:pt x="2454" y="1210"/>
                </a:cubicBezTo>
                <a:cubicBezTo>
                  <a:pt x="2456" y="1210"/>
                  <a:pt x="2462" y="1209"/>
                  <a:pt x="2464" y="1208"/>
                </a:cubicBezTo>
                <a:cubicBezTo>
                  <a:pt x="2464" y="1208"/>
                  <a:pt x="2464" y="1208"/>
                  <a:pt x="2464" y="1207"/>
                </a:cubicBezTo>
                <a:cubicBezTo>
                  <a:pt x="2465" y="1207"/>
                  <a:pt x="2465" y="1207"/>
                  <a:pt x="2465" y="1207"/>
                </a:cubicBezTo>
                <a:cubicBezTo>
                  <a:pt x="2462" y="1207"/>
                  <a:pt x="2462" y="1207"/>
                  <a:pt x="2462" y="1207"/>
                </a:cubicBezTo>
                <a:cubicBezTo>
                  <a:pt x="2462" y="1207"/>
                  <a:pt x="2462" y="1207"/>
                  <a:pt x="2462" y="1207"/>
                </a:cubicBezTo>
                <a:cubicBezTo>
                  <a:pt x="2452" y="1208"/>
                  <a:pt x="2452" y="1208"/>
                  <a:pt x="2452" y="1208"/>
                </a:cubicBezTo>
                <a:cubicBezTo>
                  <a:pt x="2450" y="1208"/>
                  <a:pt x="2448" y="1207"/>
                  <a:pt x="2446" y="1205"/>
                </a:cubicBezTo>
                <a:cubicBezTo>
                  <a:pt x="2444" y="1204"/>
                  <a:pt x="2442" y="1202"/>
                  <a:pt x="2439" y="1202"/>
                </a:cubicBezTo>
                <a:cubicBezTo>
                  <a:pt x="2437" y="1202"/>
                  <a:pt x="2435" y="1203"/>
                  <a:pt x="2434" y="1204"/>
                </a:cubicBezTo>
                <a:cubicBezTo>
                  <a:pt x="2433" y="1206"/>
                  <a:pt x="2432" y="1207"/>
                  <a:pt x="2429" y="1207"/>
                </a:cubicBezTo>
                <a:cubicBezTo>
                  <a:pt x="2424" y="1207"/>
                  <a:pt x="2421" y="1204"/>
                  <a:pt x="2417" y="1201"/>
                </a:cubicBezTo>
                <a:cubicBezTo>
                  <a:pt x="2414" y="1199"/>
                  <a:pt x="2411" y="1196"/>
                  <a:pt x="2406" y="1196"/>
                </a:cubicBezTo>
                <a:cubicBezTo>
                  <a:pt x="2405" y="1196"/>
                  <a:pt x="2404" y="1196"/>
                  <a:pt x="2403" y="1197"/>
                </a:cubicBezTo>
                <a:cubicBezTo>
                  <a:pt x="2402" y="1198"/>
                  <a:pt x="2402" y="1198"/>
                  <a:pt x="2401" y="1198"/>
                </a:cubicBezTo>
                <a:cubicBezTo>
                  <a:pt x="2400" y="1197"/>
                  <a:pt x="2400" y="1197"/>
                  <a:pt x="2400" y="1197"/>
                </a:cubicBezTo>
                <a:cubicBezTo>
                  <a:pt x="2400" y="1197"/>
                  <a:pt x="2399" y="1197"/>
                  <a:pt x="2399" y="1197"/>
                </a:cubicBezTo>
                <a:cubicBezTo>
                  <a:pt x="2396" y="1197"/>
                  <a:pt x="2391" y="1203"/>
                  <a:pt x="2390" y="1204"/>
                </a:cubicBezTo>
                <a:cubicBezTo>
                  <a:pt x="2390" y="1205"/>
                  <a:pt x="2390" y="1205"/>
                  <a:pt x="2390" y="1205"/>
                </a:cubicBezTo>
                <a:cubicBezTo>
                  <a:pt x="2391" y="1205"/>
                  <a:pt x="2391" y="1205"/>
                  <a:pt x="2391" y="1205"/>
                </a:cubicBezTo>
                <a:cubicBezTo>
                  <a:pt x="2394" y="1205"/>
                  <a:pt x="2397" y="1208"/>
                  <a:pt x="2399" y="1210"/>
                </a:cubicBezTo>
                <a:cubicBezTo>
                  <a:pt x="2400" y="1211"/>
                  <a:pt x="2400" y="1212"/>
                  <a:pt x="2401" y="1212"/>
                </a:cubicBezTo>
                <a:cubicBezTo>
                  <a:pt x="2403" y="1214"/>
                  <a:pt x="2405" y="1214"/>
                  <a:pt x="2407" y="1214"/>
                </a:cubicBezTo>
                <a:cubicBezTo>
                  <a:pt x="2409" y="1214"/>
                  <a:pt x="2411" y="1213"/>
                  <a:pt x="2413" y="1214"/>
                </a:cubicBezTo>
                <a:cubicBezTo>
                  <a:pt x="2419" y="1216"/>
                  <a:pt x="2424" y="1217"/>
                  <a:pt x="2430" y="1217"/>
                </a:cubicBezTo>
                <a:cubicBezTo>
                  <a:pt x="2432" y="1217"/>
                  <a:pt x="2432" y="1218"/>
                  <a:pt x="2433" y="1219"/>
                </a:cubicBezTo>
                <a:cubicBezTo>
                  <a:pt x="2435" y="1220"/>
                  <a:pt x="2436" y="1221"/>
                  <a:pt x="2438" y="1221"/>
                </a:cubicBezTo>
                <a:cubicBezTo>
                  <a:pt x="2451" y="1221"/>
                  <a:pt x="2461" y="1222"/>
                  <a:pt x="2470" y="1226"/>
                </a:cubicBezTo>
                <a:lnTo>
                  <a:pt x="2471" y="1227"/>
                </a:lnTo>
                <a:close/>
                <a:moveTo>
                  <a:pt x="2535" y="1227"/>
                </a:moveTo>
                <a:cubicBezTo>
                  <a:pt x="2539" y="1226"/>
                  <a:pt x="2542" y="1225"/>
                  <a:pt x="2544" y="1220"/>
                </a:cubicBezTo>
                <a:cubicBezTo>
                  <a:pt x="2545" y="1219"/>
                  <a:pt x="2545" y="1219"/>
                  <a:pt x="2545" y="1219"/>
                </a:cubicBezTo>
                <a:cubicBezTo>
                  <a:pt x="2544" y="1220"/>
                  <a:pt x="2544" y="1220"/>
                  <a:pt x="2544" y="1220"/>
                </a:cubicBezTo>
                <a:cubicBezTo>
                  <a:pt x="2543" y="1220"/>
                  <a:pt x="2543" y="1220"/>
                  <a:pt x="2542" y="1221"/>
                </a:cubicBezTo>
                <a:cubicBezTo>
                  <a:pt x="2540" y="1222"/>
                  <a:pt x="2538" y="1223"/>
                  <a:pt x="2535" y="1223"/>
                </a:cubicBezTo>
                <a:cubicBezTo>
                  <a:pt x="2533" y="1223"/>
                  <a:pt x="2531" y="1223"/>
                  <a:pt x="2530" y="1222"/>
                </a:cubicBezTo>
                <a:cubicBezTo>
                  <a:pt x="2528" y="1221"/>
                  <a:pt x="2526" y="1221"/>
                  <a:pt x="2523" y="1221"/>
                </a:cubicBezTo>
                <a:cubicBezTo>
                  <a:pt x="2522" y="1221"/>
                  <a:pt x="2522" y="1221"/>
                  <a:pt x="2522" y="1221"/>
                </a:cubicBezTo>
                <a:cubicBezTo>
                  <a:pt x="2521" y="1221"/>
                  <a:pt x="2519" y="1221"/>
                  <a:pt x="2518" y="1222"/>
                </a:cubicBezTo>
                <a:cubicBezTo>
                  <a:pt x="2517" y="1222"/>
                  <a:pt x="2517" y="1223"/>
                  <a:pt x="2517" y="1224"/>
                </a:cubicBezTo>
                <a:cubicBezTo>
                  <a:pt x="2517" y="1225"/>
                  <a:pt x="2517" y="1225"/>
                  <a:pt x="2518" y="1226"/>
                </a:cubicBezTo>
                <a:cubicBezTo>
                  <a:pt x="2519" y="1228"/>
                  <a:pt x="2522" y="1227"/>
                  <a:pt x="2524" y="1227"/>
                </a:cubicBezTo>
                <a:cubicBezTo>
                  <a:pt x="2524" y="1227"/>
                  <a:pt x="2524" y="1227"/>
                  <a:pt x="2524" y="1227"/>
                </a:cubicBezTo>
                <a:cubicBezTo>
                  <a:pt x="2535" y="1227"/>
                  <a:pt x="2535" y="1227"/>
                  <a:pt x="2535" y="1227"/>
                </a:cubicBezTo>
                <a:close/>
                <a:moveTo>
                  <a:pt x="2510" y="1221"/>
                </a:moveTo>
                <a:cubicBezTo>
                  <a:pt x="2510" y="1221"/>
                  <a:pt x="2510" y="1221"/>
                  <a:pt x="2510" y="1221"/>
                </a:cubicBezTo>
                <a:cubicBezTo>
                  <a:pt x="2502" y="1221"/>
                  <a:pt x="2502" y="1221"/>
                  <a:pt x="2502" y="1221"/>
                </a:cubicBezTo>
                <a:cubicBezTo>
                  <a:pt x="2502" y="1221"/>
                  <a:pt x="2502" y="1221"/>
                  <a:pt x="2502" y="1221"/>
                </a:cubicBezTo>
                <a:cubicBezTo>
                  <a:pt x="2501" y="1223"/>
                  <a:pt x="2501" y="1223"/>
                  <a:pt x="2501" y="1223"/>
                </a:cubicBezTo>
                <a:cubicBezTo>
                  <a:pt x="2501" y="1223"/>
                  <a:pt x="2501" y="1223"/>
                  <a:pt x="2501" y="1224"/>
                </a:cubicBezTo>
                <a:cubicBezTo>
                  <a:pt x="2500" y="1223"/>
                  <a:pt x="2498" y="1222"/>
                  <a:pt x="2496" y="1222"/>
                </a:cubicBezTo>
                <a:cubicBezTo>
                  <a:pt x="2495" y="1222"/>
                  <a:pt x="2495" y="1222"/>
                  <a:pt x="2495" y="1222"/>
                </a:cubicBezTo>
                <a:cubicBezTo>
                  <a:pt x="2494" y="1222"/>
                  <a:pt x="2492" y="1222"/>
                  <a:pt x="2491" y="1223"/>
                </a:cubicBezTo>
                <a:cubicBezTo>
                  <a:pt x="2490" y="1224"/>
                  <a:pt x="2490" y="1225"/>
                  <a:pt x="2490" y="1226"/>
                </a:cubicBezTo>
                <a:cubicBezTo>
                  <a:pt x="2490" y="1228"/>
                  <a:pt x="2494" y="1229"/>
                  <a:pt x="2497" y="1229"/>
                </a:cubicBezTo>
                <a:cubicBezTo>
                  <a:pt x="2499" y="1229"/>
                  <a:pt x="2500" y="1228"/>
                  <a:pt x="2501" y="1227"/>
                </a:cubicBezTo>
                <a:cubicBezTo>
                  <a:pt x="2502" y="1227"/>
                  <a:pt x="2503" y="1226"/>
                  <a:pt x="2504" y="1226"/>
                </a:cubicBezTo>
                <a:cubicBezTo>
                  <a:pt x="2506" y="1227"/>
                  <a:pt x="2506" y="1227"/>
                  <a:pt x="2506" y="1227"/>
                </a:cubicBezTo>
                <a:cubicBezTo>
                  <a:pt x="2506" y="1227"/>
                  <a:pt x="2506" y="1227"/>
                  <a:pt x="2506" y="1227"/>
                </a:cubicBezTo>
                <a:cubicBezTo>
                  <a:pt x="2510" y="1227"/>
                  <a:pt x="2510" y="1227"/>
                  <a:pt x="2510" y="1227"/>
                </a:cubicBezTo>
                <a:cubicBezTo>
                  <a:pt x="2510" y="1226"/>
                  <a:pt x="2510" y="1226"/>
                  <a:pt x="2510" y="1226"/>
                </a:cubicBezTo>
                <a:cubicBezTo>
                  <a:pt x="2509" y="1226"/>
                  <a:pt x="2509" y="1225"/>
                  <a:pt x="2510" y="1224"/>
                </a:cubicBezTo>
                <a:cubicBezTo>
                  <a:pt x="2510" y="1224"/>
                  <a:pt x="2510" y="1223"/>
                  <a:pt x="2510" y="1221"/>
                </a:cubicBezTo>
                <a:close/>
                <a:moveTo>
                  <a:pt x="2518" y="1238"/>
                </a:moveTo>
                <a:cubicBezTo>
                  <a:pt x="2518" y="1239"/>
                  <a:pt x="2519" y="1242"/>
                  <a:pt x="2520" y="1242"/>
                </a:cubicBezTo>
                <a:cubicBezTo>
                  <a:pt x="2522" y="1242"/>
                  <a:pt x="2522" y="1242"/>
                  <a:pt x="2522" y="1242"/>
                </a:cubicBezTo>
                <a:cubicBezTo>
                  <a:pt x="2523" y="1242"/>
                  <a:pt x="2524" y="1241"/>
                  <a:pt x="2524" y="1239"/>
                </a:cubicBezTo>
                <a:cubicBezTo>
                  <a:pt x="2524" y="1237"/>
                  <a:pt x="2523" y="1236"/>
                  <a:pt x="2522" y="1235"/>
                </a:cubicBezTo>
                <a:cubicBezTo>
                  <a:pt x="2521" y="1234"/>
                  <a:pt x="2520" y="1234"/>
                  <a:pt x="2520" y="1231"/>
                </a:cubicBezTo>
                <a:cubicBezTo>
                  <a:pt x="2520" y="1231"/>
                  <a:pt x="2520" y="1231"/>
                  <a:pt x="2520" y="1231"/>
                </a:cubicBezTo>
                <a:cubicBezTo>
                  <a:pt x="2516" y="1231"/>
                  <a:pt x="2516" y="1231"/>
                  <a:pt x="2516" y="1231"/>
                </a:cubicBezTo>
                <a:cubicBezTo>
                  <a:pt x="2515" y="1231"/>
                  <a:pt x="2515" y="1231"/>
                  <a:pt x="2515" y="1231"/>
                </a:cubicBezTo>
                <a:cubicBezTo>
                  <a:pt x="2514" y="1231"/>
                  <a:pt x="2512" y="1231"/>
                  <a:pt x="2511" y="1232"/>
                </a:cubicBezTo>
                <a:cubicBezTo>
                  <a:pt x="2510" y="1232"/>
                  <a:pt x="2510" y="1233"/>
                  <a:pt x="2510" y="1233"/>
                </a:cubicBezTo>
                <a:cubicBezTo>
                  <a:pt x="2510" y="1237"/>
                  <a:pt x="2516" y="1238"/>
                  <a:pt x="2518" y="1238"/>
                </a:cubicBezTo>
                <a:close/>
                <a:moveTo>
                  <a:pt x="2486" y="1221"/>
                </a:moveTo>
                <a:cubicBezTo>
                  <a:pt x="2483" y="1221"/>
                  <a:pt x="2483" y="1221"/>
                  <a:pt x="2483" y="1221"/>
                </a:cubicBezTo>
                <a:cubicBezTo>
                  <a:pt x="2483" y="1225"/>
                  <a:pt x="2483" y="1225"/>
                  <a:pt x="2483" y="1225"/>
                </a:cubicBezTo>
                <a:cubicBezTo>
                  <a:pt x="2483" y="1226"/>
                  <a:pt x="2485" y="1227"/>
                  <a:pt x="2486" y="1227"/>
                </a:cubicBezTo>
                <a:cubicBezTo>
                  <a:pt x="2488" y="1227"/>
                  <a:pt x="2489" y="1226"/>
                  <a:pt x="2489" y="1224"/>
                </a:cubicBezTo>
                <a:cubicBezTo>
                  <a:pt x="2489" y="1223"/>
                  <a:pt x="2489" y="1223"/>
                  <a:pt x="2489" y="1223"/>
                </a:cubicBezTo>
                <a:cubicBezTo>
                  <a:pt x="2489" y="1223"/>
                  <a:pt x="2489" y="1223"/>
                  <a:pt x="2489" y="1223"/>
                </a:cubicBezTo>
                <a:cubicBezTo>
                  <a:pt x="2488" y="1222"/>
                  <a:pt x="2488" y="1222"/>
                  <a:pt x="2488" y="1222"/>
                </a:cubicBezTo>
                <a:cubicBezTo>
                  <a:pt x="2488" y="1221"/>
                  <a:pt x="2487" y="1221"/>
                  <a:pt x="2486" y="1221"/>
                </a:cubicBezTo>
                <a:close/>
                <a:moveTo>
                  <a:pt x="2562" y="1232"/>
                </a:moveTo>
                <a:cubicBezTo>
                  <a:pt x="2567" y="1232"/>
                  <a:pt x="2578" y="1230"/>
                  <a:pt x="2581" y="1224"/>
                </a:cubicBezTo>
                <a:cubicBezTo>
                  <a:pt x="2581" y="1224"/>
                  <a:pt x="2581" y="1224"/>
                  <a:pt x="2581" y="1224"/>
                </a:cubicBezTo>
                <a:cubicBezTo>
                  <a:pt x="2581" y="1224"/>
                  <a:pt x="2581" y="1224"/>
                  <a:pt x="2581" y="1224"/>
                </a:cubicBezTo>
                <a:cubicBezTo>
                  <a:pt x="2578" y="1221"/>
                  <a:pt x="2564" y="1223"/>
                  <a:pt x="2561" y="1226"/>
                </a:cubicBezTo>
                <a:cubicBezTo>
                  <a:pt x="2560" y="1227"/>
                  <a:pt x="2560" y="1227"/>
                  <a:pt x="2560" y="1228"/>
                </a:cubicBezTo>
                <a:cubicBezTo>
                  <a:pt x="2560" y="1229"/>
                  <a:pt x="2560" y="1229"/>
                  <a:pt x="2559" y="1229"/>
                </a:cubicBezTo>
                <a:cubicBezTo>
                  <a:pt x="2559" y="1230"/>
                  <a:pt x="2558" y="1230"/>
                  <a:pt x="2557" y="1230"/>
                </a:cubicBezTo>
                <a:cubicBezTo>
                  <a:pt x="2553" y="1231"/>
                  <a:pt x="2549" y="1233"/>
                  <a:pt x="2549" y="1239"/>
                </a:cubicBezTo>
                <a:cubicBezTo>
                  <a:pt x="2549" y="1241"/>
                  <a:pt x="2550" y="1243"/>
                  <a:pt x="2551" y="1243"/>
                </a:cubicBezTo>
                <a:cubicBezTo>
                  <a:pt x="2555" y="1243"/>
                  <a:pt x="2560" y="1238"/>
                  <a:pt x="2562" y="1237"/>
                </a:cubicBezTo>
                <a:cubicBezTo>
                  <a:pt x="2562" y="1236"/>
                  <a:pt x="2562" y="1235"/>
                  <a:pt x="2562" y="1234"/>
                </a:cubicBezTo>
                <a:cubicBezTo>
                  <a:pt x="2562" y="1233"/>
                  <a:pt x="2562" y="1233"/>
                  <a:pt x="2562" y="1232"/>
                </a:cubicBezTo>
                <a:close/>
                <a:moveTo>
                  <a:pt x="2648" y="1197"/>
                </a:moveTo>
                <a:cubicBezTo>
                  <a:pt x="2648" y="1196"/>
                  <a:pt x="2647" y="1195"/>
                  <a:pt x="2647" y="1195"/>
                </a:cubicBezTo>
                <a:cubicBezTo>
                  <a:pt x="2647" y="1195"/>
                  <a:pt x="2647" y="1194"/>
                  <a:pt x="2646" y="1193"/>
                </a:cubicBezTo>
                <a:cubicBezTo>
                  <a:pt x="2646" y="1193"/>
                  <a:pt x="2646" y="1193"/>
                  <a:pt x="2646" y="1193"/>
                </a:cubicBezTo>
                <a:cubicBezTo>
                  <a:pt x="2646" y="1193"/>
                  <a:pt x="2646" y="1193"/>
                  <a:pt x="2646" y="1193"/>
                </a:cubicBezTo>
                <a:cubicBezTo>
                  <a:pt x="2644" y="1193"/>
                  <a:pt x="2644" y="1196"/>
                  <a:pt x="2644" y="1198"/>
                </a:cubicBezTo>
                <a:cubicBezTo>
                  <a:pt x="2644" y="1199"/>
                  <a:pt x="2644" y="1199"/>
                  <a:pt x="2644" y="1199"/>
                </a:cubicBezTo>
                <a:cubicBezTo>
                  <a:pt x="2644" y="1200"/>
                  <a:pt x="2643" y="1200"/>
                  <a:pt x="2643" y="1201"/>
                </a:cubicBezTo>
                <a:cubicBezTo>
                  <a:pt x="2642" y="1202"/>
                  <a:pt x="2641" y="1203"/>
                  <a:pt x="2641" y="1205"/>
                </a:cubicBezTo>
                <a:cubicBezTo>
                  <a:pt x="2641" y="1206"/>
                  <a:pt x="2642" y="1208"/>
                  <a:pt x="2643" y="1208"/>
                </a:cubicBezTo>
                <a:cubicBezTo>
                  <a:pt x="2644" y="1208"/>
                  <a:pt x="2644" y="1208"/>
                  <a:pt x="2644" y="1208"/>
                </a:cubicBezTo>
                <a:cubicBezTo>
                  <a:pt x="2645" y="1207"/>
                  <a:pt x="2645" y="1204"/>
                  <a:pt x="2645" y="1202"/>
                </a:cubicBezTo>
                <a:cubicBezTo>
                  <a:pt x="2645" y="1202"/>
                  <a:pt x="2645" y="1201"/>
                  <a:pt x="2645" y="1201"/>
                </a:cubicBezTo>
                <a:cubicBezTo>
                  <a:pt x="2647" y="1201"/>
                  <a:pt x="2648" y="1199"/>
                  <a:pt x="2648" y="1197"/>
                </a:cubicBezTo>
                <a:close/>
                <a:moveTo>
                  <a:pt x="2574" y="1168"/>
                </a:moveTo>
                <a:cubicBezTo>
                  <a:pt x="2572" y="1168"/>
                  <a:pt x="2571" y="1169"/>
                  <a:pt x="2571" y="1170"/>
                </a:cubicBezTo>
                <a:cubicBezTo>
                  <a:pt x="2571" y="1173"/>
                  <a:pt x="2575" y="1178"/>
                  <a:pt x="2577" y="1178"/>
                </a:cubicBezTo>
                <a:cubicBezTo>
                  <a:pt x="2578" y="1178"/>
                  <a:pt x="2580" y="1173"/>
                  <a:pt x="2580" y="1173"/>
                </a:cubicBezTo>
                <a:cubicBezTo>
                  <a:pt x="2580" y="1170"/>
                  <a:pt x="2576" y="1168"/>
                  <a:pt x="2574" y="1168"/>
                </a:cubicBezTo>
                <a:close/>
                <a:moveTo>
                  <a:pt x="2589" y="1167"/>
                </a:moveTo>
                <a:cubicBezTo>
                  <a:pt x="2589" y="1168"/>
                  <a:pt x="2589" y="1168"/>
                  <a:pt x="2589" y="1168"/>
                </a:cubicBezTo>
                <a:cubicBezTo>
                  <a:pt x="2588" y="1168"/>
                  <a:pt x="2587" y="1169"/>
                  <a:pt x="2587" y="1170"/>
                </a:cubicBezTo>
                <a:cubicBezTo>
                  <a:pt x="2587" y="1171"/>
                  <a:pt x="2587" y="1171"/>
                  <a:pt x="2587" y="1171"/>
                </a:cubicBezTo>
                <a:cubicBezTo>
                  <a:pt x="2587" y="1171"/>
                  <a:pt x="2587" y="1171"/>
                  <a:pt x="2587" y="1171"/>
                </a:cubicBezTo>
                <a:cubicBezTo>
                  <a:pt x="2587" y="1171"/>
                  <a:pt x="2591" y="1172"/>
                  <a:pt x="2593" y="1172"/>
                </a:cubicBezTo>
                <a:cubicBezTo>
                  <a:pt x="2600" y="1172"/>
                  <a:pt x="2600" y="1172"/>
                  <a:pt x="2600" y="1172"/>
                </a:cubicBezTo>
                <a:cubicBezTo>
                  <a:pt x="2602" y="1172"/>
                  <a:pt x="2603" y="1173"/>
                  <a:pt x="2605" y="1174"/>
                </a:cubicBezTo>
                <a:cubicBezTo>
                  <a:pt x="2607" y="1175"/>
                  <a:pt x="2608" y="1176"/>
                  <a:pt x="2611" y="1176"/>
                </a:cubicBezTo>
                <a:cubicBezTo>
                  <a:pt x="2611" y="1176"/>
                  <a:pt x="2613" y="1176"/>
                  <a:pt x="2613" y="1175"/>
                </a:cubicBezTo>
                <a:cubicBezTo>
                  <a:pt x="2613" y="1173"/>
                  <a:pt x="2612" y="1172"/>
                  <a:pt x="2611" y="1171"/>
                </a:cubicBezTo>
                <a:cubicBezTo>
                  <a:pt x="2610" y="1170"/>
                  <a:pt x="2609" y="1170"/>
                  <a:pt x="2609" y="1168"/>
                </a:cubicBezTo>
                <a:cubicBezTo>
                  <a:pt x="2609" y="1168"/>
                  <a:pt x="2609" y="1168"/>
                  <a:pt x="2609" y="1168"/>
                </a:cubicBezTo>
                <a:cubicBezTo>
                  <a:pt x="2609" y="1168"/>
                  <a:pt x="2609" y="1168"/>
                  <a:pt x="2609" y="1168"/>
                </a:cubicBezTo>
                <a:cubicBezTo>
                  <a:pt x="2608" y="1168"/>
                  <a:pt x="2608" y="1168"/>
                  <a:pt x="2608" y="1168"/>
                </a:cubicBezTo>
                <a:cubicBezTo>
                  <a:pt x="2606" y="1168"/>
                  <a:pt x="2606" y="1168"/>
                  <a:pt x="2606" y="1168"/>
                </a:cubicBezTo>
                <a:cubicBezTo>
                  <a:pt x="2605" y="1169"/>
                  <a:pt x="2604" y="1169"/>
                  <a:pt x="2604" y="1167"/>
                </a:cubicBezTo>
                <a:cubicBezTo>
                  <a:pt x="2604" y="1167"/>
                  <a:pt x="2604" y="1167"/>
                  <a:pt x="2604" y="1167"/>
                </a:cubicBezTo>
                <a:cubicBezTo>
                  <a:pt x="2589" y="1167"/>
                  <a:pt x="2589" y="1167"/>
                  <a:pt x="2589" y="1167"/>
                </a:cubicBezTo>
                <a:close/>
                <a:moveTo>
                  <a:pt x="2586" y="1115"/>
                </a:moveTo>
                <a:cubicBezTo>
                  <a:pt x="2586" y="1114"/>
                  <a:pt x="2586" y="1114"/>
                  <a:pt x="2586" y="1114"/>
                </a:cubicBezTo>
                <a:cubicBezTo>
                  <a:pt x="2586" y="1115"/>
                  <a:pt x="2586" y="1115"/>
                  <a:pt x="2586" y="1115"/>
                </a:cubicBezTo>
                <a:cubicBezTo>
                  <a:pt x="2583" y="1116"/>
                  <a:pt x="2583" y="1119"/>
                  <a:pt x="2583" y="1122"/>
                </a:cubicBezTo>
                <a:cubicBezTo>
                  <a:pt x="2583" y="1124"/>
                  <a:pt x="2584" y="1126"/>
                  <a:pt x="2584" y="1127"/>
                </a:cubicBezTo>
                <a:cubicBezTo>
                  <a:pt x="2585" y="1129"/>
                  <a:pt x="2585" y="1130"/>
                  <a:pt x="2585" y="1132"/>
                </a:cubicBezTo>
                <a:cubicBezTo>
                  <a:pt x="2585" y="1136"/>
                  <a:pt x="2585" y="1136"/>
                  <a:pt x="2585" y="1136"/>
                </a:cubicBezTo>
                <a:cubicBezTo>
                  <a:pt x="2585" y="1138"/>
                  <a:pt x="2586" y="1143"/>
                  <a:pt x="2590" y="1143"/>
                </a:cubicBezTo>
                <a:cubicBezTo>
                  <a:pt x="2590" y="1143"/>
                  <a:pt x="2590" y="1143"/>
                  <a:pt x="2590" y="1143"/>
                </a:cubicBezTo>
                <a:cubicBezTo>
                  <a:pt x="2590" y="1143"/>
                  <a:pt x="2590" y="1143"/>
                  <a:pt x="2590" y="1143"/>
                </a:cubicBezTo>
                <a:cubicBezTo>
                  <a:pt x="2589" y="1141"/>
                  <a:pt x="2588" y="1140"/>
                  <a:pt x="2588" y="1139"/>
                </a:cubicBezTo>
                <a:cubicBezTo>
                  <a:pt x="2587" y="1138"/>
                  <a:pt x="2587" y="1138"/>
                  <a:pt x="2587" y="1137"/>
                </a:cubicBezTo>
                <a:cubicBezTo>
                  <a:pt x="2587" y="1135"/>
                  <a:pt x="2587" y="1135"/>
                  <a:pt x="2587" y="1135"/>
                </a:cubicBezTo>
                <a:cubicBezTo>
                  <a:pt x="2589" y="1135"/>
                  <a:pt x="2592" y="1135"/>
                  <a:pt x="2593" y="1134"/>
                </a:cubicBezTo>
                <a:cubicBezTo>
                  <a:pt x="2594" y="1134"/>
                  <a:pt x="2594" y="1134"/>
                  <a:pt x="2594" y="1134"/>
                </a:cubicBezTo>
                <a:cubicBezTo>
                  <a:pt x="2594" y="1134"/>
                  <a:pt x="2594" y="1134"/>
                  <a:pt x="2594" y="1134"/>
                </a:cubicBezTo>
                <a:cubicBezTo>
                  <a:pt x="2594" y="1132"/>
                  <a:pt x="2593" y="1131"/>
                  <a:pt x="2592" y="1130"/>
                </a:cubicBezTo>
                <a:cubicBezTo>
                  <a:pt x="2592" y="1130"/>
                  <a:pt x="2591" y="1129"/>
                  <a:pt x="2591" y="1129"/>
                </a:cubicBezTo>
                <a:cubicBezTo>
                  <a:pt x="2591" y="1128"/>
                  <a:pt x="2592" y="1127"/>
                  <a:pt x="2593" y="1127"/>
                </a:cubicBezTo>
                <a:cubicBezTo>
                  <a:pt x="2593" y="1126"/>
                  <a:pt x="2594" y="1125"/>
                  <a:pt x="2594" y="1124"/>
                </a:cubicBezTo>
                <a:cubicBezTo>
                  <a:pt x="2594" y="1124"/>
                  <a:pt x="2594" y="1124"/>
                  <a:pt x="2594" y="1124"/>
                </a:cubicBezTo>
                <a:cubicBezTo>
                  <a:pt x="2594" y="1124"/>
                  <a:pt x="2594" y="1124"/>
                  <a:pt x="2594" y="1124"/>
                </a:cubicBezTo>
                <a:cubicBezTo>
                  <a:pt x="2589" y="1122"/>
                  <a:pt x="2587" y="1120"/>
                  <a:pt x="2586" y="1115"/>
                </a:cubicBezTo>
                <a:close/>
                <a:moveTo>
                  <a:pt x="2779" y="1193"/>
                </a:moveTo>
                <a:cubicBezTo>
                  <a:pt x="2778" y="1193"/>
                  <a:pt x="2778" y="1193"/>
                  <a:pt x="2778" y="1193"/>
                </a:cubicBezTo>
                <a:cubicBezTo>
                  <a:pt x="2769" y="1193"/>
                  <a:pt x="2769" y="1193"/>
                  <a:pt x="2769" y="1193"/>
                </a:cubicBezTo>
                <a:cubicBezTo>
                  <a:pt x="2769" y="1193"/>
                  <a:pt x="2769" y="1193"/>
                  <a:pt x="2769" y="1193"/>
                </a:cubicBezTo>
                <a:cubicBezTo>
                  <a:pt x="2769" y="1196"/>
                  <a:pt x="2772" y="1197"/>
                  <a:pt x="2774" y="1198"/>
                </a:cubicBezTo>
                <a:cubicBezTo>
                  <a:pt x="2775" y="1198"/>
                  <a:pt x="2777" y="1199"/>
                  <a:pt x="2778" y="1200"/>
                </a:cubicBezTo>
                <a:cubicBezTo>
                  <a:pt x="2778" y="1200"/>
                  <a:pt x="2778" y="1200"/>
                  <a:pt x="2778" y="1200"/>
                </a:cubicBezTo>
                <a:cubicBezTo>
                  <a:pt x="2778" y="1200"/>
                  <a:pt x="2778" y="1200"/>
                  <a:pt x="2778" y="1200"/>
                </a:cubicBezTo>
                <a:cubicBezTo>
                  <a:pt x="2779" y="1201"/>
                  <a:pt x="2781" y="1202"/>
                  <a:pt x="2782" y="1202"/>
                </a:cubicBezTo>
                <a:cubicBezTo>
                  <a:pt x="2786" y="1202"/>
                  <a:pt x="2789" y="1201"/>
                  <a:pt x="2791" y="1200"/>
                </a:cubicBezTo>
                <a:cubicBezTo>
                  <a:pt x="2793" y="1199"/>
                  <a:pt x="2795" y="1198"/>
                  <a:pt x="2797" y="1197"/>
                </a:cubicBezTo>
                <a:cubicBezTo>
                  <a:pt x="2797" y="1197"/>
                  <a:pt x="2797" y="1197"/>
                  <a:pt x="2797" y="1197"/>
                </a:cubicBezTo>
                <a:cubicBezTo>
                  <a:pt x="2797" y="1197"/>
                  <a:pt x="2797" y="1197"/>
                  <a:pt x="2797" y="1197"/>
                </a:cubicBezTo>
                <a:cubicBezTo>
                  <a:pt x="2797" y="1194"/>
                  <a:pt x="2799" y="1193"/>
                  <a:pt x="2800" y="1191"/>
                </a:cubicBezTo>
                <a:cubicBezTo>
                  <a:pt x="2802" y="1190"/>
                  <a:pt x="2804" y="1188"/>
                  <a:pt x="2804" y="1184"/>
                </a:cubicBezTo>
                <a:cubicBezTo>
                  <a:pt x="2804" y="1182"/>
                  <a:pt x="2803" y="1179"/>
                  <a:pt x="2801" y="1179"/>
                </a:cubicBezTo>
                <a:cubicBezTo>
                  <a:pt x="2798" y="1179"/>
                  <a:pt x="2797" y="1181"/>
                  <a:pt x="2797" y="1184"/>
                </a:cubicBezTo>
                <a:cubicBezTo>
                  <a:pt x="2796" y="1186"/>
                  <a:pt x="2796" y="1188"/>
                  <a:pt x="2794" y="1189"/>
                </a:cubicBezTo>
                <a:cubicBezTo>
                  <a:pt x="2792" y="1190"/>
                  <a:pt x="2791" y="1190"/>
                  <a:pt x="2789" y="1190"/>
                </a:cubicBezTo>
                <a:cubicBezTo>
                  <a:pt x="2786" y="1190"/>
                  <a:pt x="2784" y="1191"/>
                  <a:pt x="2782" y="1192"/>
                </a:cubicBezTo>
                <a:cubicBezTo>
                  <a:pt x="2780" y="1192"/>
                  <a:pt x="2779" y="1193"/>
                  <a:pt x="2779" y="1193"/>
                </a:cubicBezTo>
                <a:close/>
                <a:moveTo>
                  <a:pt x="2630" y="1178"/>
                </a:moveTo>
                <a:cubicBezTo>
                  <a:pt x="2630" y="1178"/>
                  <a:pt x="2630" y="1178"/>
                  <a:pt x="2630" y="1178"/>
                </a:cubicBezTo>
                <a:cubicBezTo>
                  <a:pt x="2630" y="1178"/>
                  <a:pt x="2630" y="1178"/>
                  <a:pt x="2630" y="1178"/>
                </a:cubicBezTo>
                <a:close/>
                <a:moveTo>
                  <a:pt x="2758" y="1196"/>
                </a:moveTo>
                <a:cubicBezTo>
                  <a:pt x="2756" y="1196"/>
                  <a:pt x="2755" y="1196"/>
                  <a:pt x="2754" y="1196"/>
                </a:cubicBezTo>
                <a:cubicBezTo>
                  <a:pt x="2751" y="1194"/>
                  <a:pt x="2749" y="1191"/>
                  <a:pt x="2747" y="1188"/>
                </a:cubicBezTo>
                <a:cubicBezTo>
                  <a:pt x="2745" y="1185"/>
                  <a:pt x="2743" y="1181"/>
                  <a:pt x="2737" y="1179"/>
                </a:cubicBezTo>
                <a:cubicBezTo>
                  <a:pt x="2737" y="1179"/>
                  <a:pt x="2737" y="1179"/>
                  <a:pt x="2737" y="1179"/>
                </a:cubicBezTo>
                <a:cubicBezTo>
                  <a:pt x="2737" y="1179"/>
                  <a:pt x="2737" y="1179"/>
                  <a:pt x="2737" y="1179"/>
                </a:cubicBezTo>
                <a:cubicBezTo>
                  <a:pt x="2737" y="1179"/>
                  <a:pt x="2737" y="1179"/>
                  <a:pt x="2737" y="1179"/>
                </a:cubicBezTo>
                <a:cubicBezTo>
                  <a:pt x="2735" y="1178"/>
                  <a:pt x="2733" y="1178"/>
                  <a:pt x="2733" y="1176"/>
                </a:cubicBezTo>
                <a:cubicBezTo>
                  <a:pt x="2733" y="1175"/>
                  <a:pt x="2733" y="1175"/>
                  <a:pt x="2733" y="1175"/>
                </a:cubicBezTo>
                <a:cubicBezTo>
                  <a:pt x="2733" y="1175"/>
                  <a:pt x="2733" y="1175"/>
                  <a:pt x="2733" y="1175"/>
                </a:cubicBezTo>
                <a:cubicBezTo>
                  <a:pt x="2731" y="1175"/>
                  <a:pt x="2730" y="1174"/>
                  <a:pt x="2728" y="1173"/>
                </a:cubicBezTo>
                <a:cubicBezTo>
                  <a:pt x="2727" y="1172"/>
                  <a:pt x="2726" y="1170"/>
                  <a:pt x="2724" y="1170"/>
                </a:cubicBezTo>
                <a:cubicBezTo>
                  <a:pt x="2717" y="1170"/>
                  <a:pt x="2708" y="1167"/>
                  <a:pt x="2703" y="1163"/>
                </a:cubicBezTo>
                <a:cubicBezTo>
                  <a:pt x="2703" y="1163"/>
                  <a:pt x="2703" y="1163"/>
                  <a:pt x="2703" y="1163"/>
                </a:cubicBezTo>
                <a:cubicBezTo>
                  <a:pt x="2703" y="1163"/>
                  <a:pt x="2703" y="1163"/>
                  <a:pt x="2703" y="1163"/>
                </a:cubicBezTo>
                <a:cubicBezTo>
                  <a:pt x="2703" y="1163"/>
                  <a:pt x="2702" y="1163"/>
                  <a:pt x="2702" y="1163"/>
                </a:cubicBezTo>
                <a:cubicBezTo>
                  <a:pt x="2702" y="1162"/>
                  <a:pt x="2702" y="1162"/>
                  <a:pt x="2701" y="1162"/>
                </a:cubicBezTo>
                <a:cubicBezTo>
                  <a:pt x="2701" y="1162"/>
                  <a:pt x="2701" y="1162"/>
                  <a:pt x="2701" y="1162"/>
                </a:cubicBezTo>
                <a:cubicBezTo>
                  <a:pt x="2700" y="1162"/>
                  <a:pt x="2698" y="1161"/>
                  <a:pt x="2697" y="1160"/>
                </a:cubicBezTo>
                <a:cubicBezTo>
                  <a:pt x="2697" y="1160"/>
                  <a:pt x="2697" y="1160"/>
                  <a:pt x="2697" y="1160"/>
                </a:cubicBezTo>
                <a:cubicBezTo>
                  <a:pt x="2688" y="1160"/>
                  <a:pt x="2688" y="1160"/>
                  <a:pt x="2688" y="1160"/>
                </a:cubicBezTo>
                <a:cubicBezTo>
                  <a:pt x="2688" y="1159"/>
                  <a:pt x="2687" y="1158"/>
                  <a:pt x="2686" y="1158"/>
                </a:cubicBezTo>
                <a:cubicBezTo>
                  <a:pt x="2685" y="1156"/>
                  <a:pt x="2683" y="1154"/>
                  <a:pt x="2680" y="1153"/>
                </a:cubicBezTo>
                <a:cubicBezTo>
                  <a:pt x="2679" y="1153"/>
                  <a:pt x="2679" y="1153"/>
                  <a:pt x="2679" y="1153"/>
                </a:cubicBezTo>
                <a:cubicBezTo>
                  <a:pt x="2678" y="1153"/>
                  <a:pt x="2677" y="1152"/>
                  <a:pt x="2677" y="1152"/>
                </a:cubicBezTo>
                <a:cubicBezTo>
                  <a:pt x="2677" y="1151"/>
                  <a:pt x="2677" y="1151"/>
                  <a:pt x="2677" y="1151"/>
                </a:cubicBezTo>
                <a:cubicBezTo>
                  <a:pt x="2676" y="1151"/>
                  <a:pt x="2676" y="1151"/>
                  <a:pt x="2676" y="1151"/>
                </a:cubicBezTo>
                <a:cubicBezTo>
                  <a:pt x="2674" y="1152"/>
                  <a:pt x="2672" y="1154"/>
                  <a:pt x="2670" y="1156"/>
                </a:cubicBezTo>
                <a:cubicBezTo>
                  <a:pt x="2669" y="1157"/>
                  <a:pt x="2667" y="1159"/>
                  <a:pt x="2666" y="1159"/>
                </a:cubicBezTo>
                <a:cubicBezTo>
                  <a:pt x="2662" y="1161"/>
                  <a:pt x="2661" y="1161"/>
                  <a:pt x="2659" y="1164"/>
                </a:cubicBezTo>
                <a:cubicBezTo>
                  <a:pt x="2658" y="1165"/>
                  <a:pt x="2658" y="1165"/>
                  <a:pt x="2658" y="1165"/>
                </a:cubicBezTo>
                <a:cubicBezTo>
                  <a:pt x="2657" y="1166"/>
                  <a:pt x="2655" y="1170"/>
                  <a:pt x="2653" y="1170"/>
                </a:cubicBezTo>
                <a:cubicBezTo>
                  <a:pt x="2652" y="1170"/>
                  <a:pt x="2648" y="1164"/>
                  <a:pt x="2648" y="1163"/>
                </a:cubicBezTo>
                <a:cubicBezTo>
                  <a:pt x="2648" y="1163"/>
                  <a:pt x="2648" y="1163"/>
                  <a:pt x="2648" y="1163"/>
                </a:cubicBezTo>
                <a:cubicBezTo>
                  <a:pt x="2647" y="1163"/>
                  <a:pt x="2647" y="1163"/>
                  <a:pt x="2647" y="1163"/>
                </a:cubicBezTo>
                <a:cubicBezTo>
                  <a:pt x="2645" y="1163"/>
                  <a:pt x="2643" y="1162"/>
                  <a:pt x="2643" y="1160"/>
                </a:cubicBezTo>
                <a:cubicBezTo>
                  <a:pt x="2643" y="1147"/>
                  <a:pt x="2643" y="1147"/>
                  <a:pt x="2643" y="1147"/>
                </a:cubicBezTo>
                <a:cubicBezTo>
                  <a:pt x="2643" y="1147"/>
                  <a:pt x="2643" y="1147"/>
                  <a:pt x="2643" y="1147"/>
                </a:cubicBezTo>
                <a:cubicBezTo>
                  <a:pt x="2640" y="1146"/>
                  <a:pt x="2638" y="1145"/>
                  <a:pt x="2636" y="1144"/>
                </a:cubicBezTo>
                <a:cubicBezTo>
                  <a:pt x="2633" y="1142"/>
                  <a:pt x="2631" y="1140"/>
                  <a:pt x="2628" y="1140"/>
                </a:cubicBezTo>
                <a:cubicBezTo>
                  <a:pt x="2625" y="1140"/>
                  <a:pt x="2623" y="1142"/>
                  <a:pt x="2621" y="1144"/>
                </a:cubicBezTo>
                <a:cubicBezTo>
                  <a:pt x="2619" y="1145"/>
                  <a:pt x="2618" y="1146"/>
                  <a:pt x="2616" y="1146"/>
                </a:cubicBezTo>
                <a:cubicBezTo>
                  <a:pt x="2615" y="1146"/>
                  <a:pt x="2612" y="1147"/>
                  <a:pt x="2612" y="1150"/>
                </a:cubicBezTo>
                <a:cubicBezTo>
                  <a:pt x="2612" y="1152"/>
                  <a:pt x="2614" y="1153"/>
                  <a:pt x="2616" y="1154"/>
                </a:cubicBezTo>
                <a:cubicBezTo>
                  <a:pt x="2618" y="1155"/>
                  <a:pt x="2620" y="1155"/>
                  <a:pt x="2621" y="1157"/>
                </a:cubicBezTo>
                <a:cubicBezTo>
                  <a:pt x="2621" y="1157"/>
                  <a:pt x="2621" y="1157"/>
                  <a:pt x="2621" y="1157"/>
                </a:cubicBezTo>
                <a:cubicBezTo>
                  <a:pt x="2622" y="1159"/>
                  <a:pt x="2623" y="1160"/>
                  <a:pt x="2623" y="1161"/>
                </a:cubicBezTo>
                <a:cubicBezTo>
                  <a:pt x="2623" y="1161"/>
                  <a:pt x="2623" y="1161"/>
                  <a:pt x="2623" y="1161"/>
                </a:cubicBezTo>
                <a:cubicBezTo>
                  <a:pt x="2623" y="1161"/>
                  <a:pt x="2623" y="1161"/>
                  <a:pt x="2623" y="1161"/>
                </a:cubicBezTo>
                <a:cubicBezTo>
                  <a:pt x="2624" y="1161"/>
                  <a:pt x="2625" y="1161"/>
                  <a:pt x="2625" y="1161"/>
                </a:cubicBezTo>
                <a:cubicBezTo>
                  <a:pt x="2626" y="1162"/>
                  <a:pt x="2627" y="1162"/>
                  <a:pt x="2628" y="1162"/>
                </a:cubicBezTo>
                <a:cubicBezTo>
                  <a:pt x="2631" y="1162"/>
                  <a:pt x="2633" y="1162"/>
                  <a:pt x="2637" y="1160"/>
                </a:cubicBezTo>
                <a:cubicBezTo>
                  <a:pt x="2638" y="1160"/>
                  <a:pt x="2638" y="1160"/>
                  <a:pt x="2638" y="1160"/>
                </a:cubicBezTo>
                <a:cubicBezTo>
                  <a:pt x="2636" y="1162"/>
                  <a:pt x="2633" y="1163"/>
                  <a:pt x="2630" y="1164"/>
                </a:cubicBezTo>
                <a:cubicBezTo>
                  <a:pt x="2627" y="1164"/>
                  <a:pt x="2625" y="1165"/>
                  <a:pt x="2623" y="1166"/>
                </a:cubicBezTo>
                <a:cubicBezTo>
                  <a:pt x="2623" y="1166"/>
                  <a:pt x="2623" y="1166"/>
                  <a:pt x="2623" y="1166"/>
                </a:cubicBezTo>
                <a:cubicBezTo>
                  <a:pt x="2623" y="1166"/>
                  <a:pt x="2623" y="1166"/>
                  <a:pt x="2623" y="1166"/>
                </a:cubicBezTo>
                <a:cubicBezTo>
                  <a:pt x="2623" y="1168"/>
                  <a:pt x="2624" y="1168"/>
                  <a:pt x="2626" y="1168"/>
                </a:cubicBezTo>
                <a:cubicBezTo>
                  <a:pt x="2627" y="1169"/>
                  <a:pt x="2628" y="1169"/>
                  <a:pt x="2628" y="1170"/>
                </a:cubicBezTo>
                <a:cubicBezTo>
                  <a:pt x="2629" y="1172"/>
                  <a:pt x="2629" y="1173"/>
                  <a:pt x="2629" y="1174"/>
                </a:cubicBezTo>
                <a:cubicBezTo>
                  <a:pt x="2629" y="1175"/>
                  <a:pt x="2629" y="1176"/>
                  <a:pt x="2630" y="1178"/>
                </a:cubicBezTo>
                <a:cubicBezTo>
                  <a:pt x="2630" y="1179"/>
                  <a:pt x="2632" y="1179"/>
                  <a:pt x="2633" y="1179"/>
                </a:cubicBezTo>
                <a:cubicBezTo>
                  <a:pt x="2636" y="1179"/>
                  <a:pt x="2637" y="1177"/>
                  <a:pt x="2638" y="1175"/>
                </a:cubicBezTo>
                <a:cubicBezTo>
                  <a:pt x="2638" y="1176"/>
                  <a:pt x="2638" y="1176"/>
                  <a:pt x="2638" y="1176"/>
                </a:cubicBezTo>
                <a:cubicBezTo>
                  <a:pt x="2638" y="1176"/>
                  <a:pt x="2638" y="1176"/>
                  <a:pt x="2638" y="1176"/>
                </a:cubicBezTo>
                <a:cubicBezTo>
                  <a:pt x="2641" y="1175"/>
                  <a:pt x="2642" y="1177"/>
                  <a:pt x="2644" y="1180"/>
                </a:cubicBezTo>
                <a:cubicBezTo>
                  <a:pt x="2646" y="1181"/>
                  <a:pt x="2647" y="1183"/>
                  <a:pt x="2649" y="1183"/>
                </a:cubicBezTo>
                <a:cubicBezTo>
                  <a:pt x="2654" y="1183"/>
                  <a:pt x="2663" y="1185"/>
                  <a:pt x="2666" y="1187"/>
                </a:cubicBezTo>
                <a:cubicBezTo>
                  <a:pt x="2666" y="1187"/>
                  <a:pt x="2667" y="1188"/>
                  <a:pt x="2668" y="1188"/>
                </a:cubicBezTo>
                <a:cubicBezTo>
                  <a:pt x="2671" y="1190"/>
                  <a:pt x="2678" y="1193"/>
                  <a:pt x="2679" y="1196"/>
                </a:cubicBezTo>
                <a:cubicBezTo>
                  <a:pt x="2679" y="1198"/>
                  <a:pt x="2679" y="1200"/>
                  <a:pt x="2679" y="1202"/>
                </a:cubicBezTo>
                <a:cubicBezTo>
                  <a:pt x="2680" y="1205"/>
                  <a:pt x="2680" y="1208"/>
                  <a:pt x="2682" y="1211"/>
                </a:cubicBezTo>
                <a:cubicBezTo>
                  <a:pt x="2682" y="1211"/>
                  <a:pt x="2682" y="1211"/>
                  <a:pt x="2681" y="1212"/>
                </a:cubicBezTo>
                <a:cubicBezTo>
                  <a:pt x="2679" y="1213"/>
                  <a:pt x="2675" y="1215"/>
                  <a:pt x="2675" y="1218"/>
                </a:cubicBezTo>
                <a:cubicBezTo>
                  <a:pt x="2675" y="1222"/>
                  <a:pt x="2678" y="1222"/>
                  <a:pt x="2680" y="1222"/>
                </a:cubicBezTo>
                <a:cubicBezTo>
                  <a:pt x="2687" y="1222"/>
                  <a:pt x="2687" y="1222"/>
                  <a:pt x="2687" y="1222"/>
                </a:cubicBezTo>
                <a:cubicBezTo>
                  <a:pt x="2687" y="1221"/>
                  <a:pt x="2687" y="1221"/>
                  <a:pt x="2687" y="1221"/>
                </a:cubicBezTo>
                <a:cubicBezTo>
                  <a:pt x="2687" y="1220"/>
                  <a:pt x="2690" y="1219"/>
                  <a:pt x="2691" y="1219"/>
                </a:cubicBezTo>
                <a:cubicBezTo>
                  <a:pt x="2695" y="1219"/>
                  <a:pt x="2698" y="1222"/>
                  <a:pt x="2700" y="1225"/>
                </a:cubicBezTo>
                <a:cubicBezTo>
                  <a:pt x="2703" y="1227"/>
                  <a:pt x="2705" y="1230"/>
                  <a:pt x="2709" y="1230"/>
                </a:cubicBezTo>
                <a:cubicBezTo>
                  <a:pt x="2722" y="1230"/>
                  <a:pt x="2722" y="1230"/>
                  <a:pt x="2722" y="1230"/>
                </a:cubicBezTo>
                <a:cubicBezTo>
                  <a:pt x="2722" y="1230"/>
                  <a:pt x="2722" y="1230"/>
                  <a:pt x="2722" y="1230"/>
                </a:cubicBezTo>
                <a:cubicBezTo>
                  <a:pt x="2722" y="1229"/>
                  <a:pt x="2722" y="1228"/>
                  <a:pt x="2722" y="1228"/>
                </a:cubicBezTo>
                <a:cubicBezTo>
                  <a:pt x="2723" y="1226"/>
                  <a:pt x="2724" y="1224"/>
                  <a:pt x="2723" y="1222"/>
                </a:cubicBezTo>
                <a:cubicBezTo>
                  <a:pt x="2725" y="1221"/>
                  <a:pt x="2726" y="1219"/>
                  <a:pt x="2726" y="1218"/>
                </a:cubicBezTo>
                <a:cubicBezTo>
                  <a:pt x="2728" y="1215"/>
                  <a:pt x="2729" y="1213"/>
                  <a:pt x="2734" y="1213"/>
                </a:cubicBezTo>
                <a:cubicBezTo>
                  <a:pt x="2742" y="1213"/>
                  <a:pt x="2747" y="1219"/>
                  <a:pt x="2752" y="1226"/>
                </a:cubicBezTo>
                <a:cubicBezTo>
                  <a:pt x="2753" y="1227"/>
                  <a:pt x="2755" y="1228"/>
                  <a:pt x="2756" y="1230"/>
                </a:cubicBezTo>
                <a:cubicBezTo>
                  <a:pt x="2757" y="1231"/>
                  <a:pt x="2757" y="1231"/>
                  <a:pt x="2757" y="1231"/>
                </a:cubicBezTo>
                <a:cubicBezTo>
                  <a:pt x="2758" y="1231"/>
                  <a:pt x="2759" y="1232"/>
                  <a:pt x="2759" y="1232"/>
                </a:cubicBezTo>
                <a:cubicBezTo>
                  <a:pt x="2759" y="1237"/>
                  <a:pt x="2766" y="1240"/>
                  <a:pt x="2771" y="1241"/>
                </a:cubicBezTo>
                <a:cubicBezTo>
                  <a:pt x="2771" y="1241"/>
                  <a:pt x="2771" y="1241"/>
                  <a:pt x="2771" y="1241"/>
                </a:cubicBezTo>
                <a:cubicBezTo>
                  <a:pt x="2779" y="1241"/>
                  <a:pt x="2779" y="1241"/>
                  <a:pt x="2779" y="1241"/>
                </a:cubicBezTo>
                <a:cubicBezTo>
                  <a:pt x="2779" y="1242"/>
                  <a:pt x="2784" y="1246"/>
                  <a:pt x="2785" y="1246"/>
                </a:cubicBezTo>
                <a:cubicBezTo>
                  <a:pt x="2787" y="1246"/>
                  <a:pt x="2787" y="1246"/>
                  <a:pt x="2787" y="1246"/>
                </a:cubicBezTo>
                <a:cubicBezTo>
                  <a:pt x="2787" y="1245"/>
                  <a:pt x="2787" y="1245"/>
                  <a:pt x="2787" y="1245"/>
                </a:cubicBezTo>
                <a:cubicBezTo>
                  <a:pt x="2787" y="1243"/>
                  <a:pt x="2789" y="1241"/>
                  <a:pt x="2791" y="1240"/>
                </a:cubicBezTo>
                <a:cubicBezTo>
                  <a:pt x="2791" y="1239"/>
                  <a:pt x="2791" y="1239"/>
                  <a:pt x="2791" y="1239"/>
                </a:cubicBezTo>
                <a:cubicBezTo>
                  <a:pt x="2791" y="1239"/>
                  <a:pt x="2791" y="1239"/>
                  <a:pt x="2791" y="1239"/>
                </a:cubicBezTo>
                <a:cubicBezTo>
                  <a:pt x="2790" y="1239"/>
                  <a:pt x="2790" y="1239"/>
                  <a:pt x="2789" y="1239"/>
                </a:cubicBezTo>
                <a:cubicBezTo>
                  <a:pt x="2787" y="1239"/>
                  <a:pt x="2785" y="1239"/>
                  <a:pt x="2785" y="1238"/>
                </a:cubicBezTo>
                <a:cubicBezTo>
                  <a:pt x="2784" y="1237"/>
                  <a:pt x="2784" y="1237"/>
                  <a:pt x="2784" y="1237"/>
                </a:cubicBezTo>
                <a:cubicBezTo>
                  <a:pt x="2784" y="1236"/>
                  <a:pt x="2783" y="1234"/>
                  <a:pt x="2781" y="1234"/>
                </a:cubicBezTo>
                <a:cubicBezTo>
                  <a:pt x="2781" y="1233"/>
                  <a:pt x="2780" y="1234"/>
                  <a:pt x="2780" y="1234"/>
                </a:cubicBezTo>
                <a:cubicBezTo>
                  <a:pt x="2779" y="1234"/>
                  <a:pt x="2778" y="1234"/>
                  <a:pt x="2778" y="1233"/>
                </a:cubicBezTo>
                <a:cubicBezTo>
                  <a:pt x="2778" y="1233"/>
                  <a:pt x="2778" y="1233"/>
                  <a:pt x="2778" y="1233"/>
                </a:cubicBezTo>
                <a:cubicBezTo>
                  <a:pt x="2777" y="1231"/>
                  <a:pt x="2776" y="1229"/>
                  <a:pt x="2775" y="1229"/>
                </a:cubicBezTo>
                <a:cubicBezTo>
                  <a:pt x="2773" y="1229"/>
                  <a:pt x="2769" y="1227"/>
                  <a:pt x="2769" y="1226"/>
                </a:cubicBezTo>
                <a:cubicBezTo>
                  <a:pt x="2768" y="1224"/>
                  <a:pt x="2767" y="1223"/>
                  <a:pt x="2767" y="1221"/>
                </a:cubicBezTo>
                <a:cubicBezTo>
                  <a:pt x="2766" y="1219"/>
                  <a:pt x="2765" y="1218"/>
                  <a:pt x="2764" y="1216"/>
                </a:cubicBezTo>
                <a:cubicBezTo>
                  <a:pt x="2763" y="1215"/>
                  <a:pt x="2763" y="1215"/>
                  <a:pt x="2763" y="1215"/>
                </a:cubicBezTo>
                <a:cubicBezTo>
                  <a:pt x="2758" y="1209"/>
                  <a:pt x="2758" y="1208"/>
                  <a:pt x="2758" y="1207"/>
                </a:cubicBezTo>
                <a:cubicBezTo>
                  <a:pt x="2758" y="1206"/>
                  <a:pt x="2759" y="1206"/>
                  <a:pt x="2760" y="1205"/>
                </a:cubicBezTo>
                <a:cubicBezTo>
                  <a:pt x="2762" y="1205"/>
                  <a:pt x="2764" y="1204"/>
                  <a:pt x="2764" y="1202"/>
                </a:cubicBezTo>
                <a:cubicBezTo>
                  <a:pt x="2764" y="1200"/>
                  <a:pt x="2763" y="1199"/>
                  <a:pt x="2763" y="1198"/>
                </a:cubicBezTo>
                <a:cubicBezTo>
                  <a:pt x="2761" y="1196"/>
                  <a:pt x="2759" y="1196"/>
                  <a:pt x="2758" y="1196"/>
                </a:cubicBezTo>
                <a:close/>
                <a:moveTo>
                  <a:pt x="2808" y="1175"/>
                </a:moveTo>
                <a:cubicBezTo>
                  <a:pt x="2807" y="1175"/>
                  <a:pt x="2806" y="1174"/>
                  <a:pt x="2805" y="1173"/>
                </a:cubicBezTo>
                <a:cubicBezTo>
                  <a:pt x="2805" y="1173"/>
                  <a:pt x="2804" y="1172"/>
                  <a:pt x="2804" y="1172"/>
                </a:cubicBezTo>
                <a:cubicBezTo>
                  <a:pt x="2801" y="1168"/>
                  <a:pt x="2798" y="1165"/>
                  <a:pt x="2793" y="1163"/>
                </a:cubicBezTo>
                <a:cubicBezTo>
                  <a:pt x="2793" y="1163"/>
                  <a:pt x="2793" y="1163"/>
                  <a:pt x="2793" y="1163"/>
                </a:cubicBezTo>
                <a:cubicBezTo>
                  <a:pt x="2793" y="1164"/>
                  <a:pt x="2793" y="1164"/>
                  <a:pt x="2793" y="1164"/>
                </a:cubicBezTo>
                <a:cubicBezTo>
                  <a:pt x="2794" y="1166"/>
                  <a:pt x="2795" y="1166"/>
                  <a:pt x="2796" y="1167"/>
                </a:cubicBezTo>
                <a:cubicBezTo>
                  <a:pt x="2797" y="1167"/>
                  <a:pt x="2798" y="1167"/>
                  <a:pt x="2799" y="1168"/>
                </a:cubicBezTo>
                <a:cubicBezTo>
                  <a:pt x="2800" y="1169"/>
                  <a:pt x="2801" y="1171"/>
                  <a:pt x="2802" y="1172"/>
                </a:cubicBezTo>
                <a:cubicBezTo>
                  <a:pt x="2803" y="1174"/>
                  <a:pt x="2804" y="1176"/>
                  <a:pt x="2806" y="1177"/>
                </a:cubicBezTo>
                <a:cubicBezTo>
                  <a:pt x="2805" y="1179"/>
                  <a:pt x="2805" y="1180"/>
                  <a:pt x="2806" y="1182"/>
                </a:cubicBezTo>
                <a:cubicBezTo>
                  <a:pt x="2807" y="1183"/>
                  <a:pt x="2808" y="1183"/>
                  <a:pt x="2809" y="1183"/>
                </a:cubicBezTo>
                <a:cubicBezTo>
                  <a:pt x="2809" y="1183"/>
                  <a:pt x="2809" y="1183"/>
                  <a:pt x="2809" y="1183"/>
                </a:cubicBezTo>
                <a:cubicBezTo>
                  <a:pt x="2810" y="1184"/>
                  <a:pt x="2810" y="1184"/>
                  <a:pt x="2811" y="1184"/>
                </a:cubicBezTo>
                <a:cubicBezTo>
                  <a:pt x="2811" y="1183"/>
                  <a:pt x="2811" y="1183"/>
                  <a:pt x="2811" y="1183"/>
                </a:cubicBezTo>
                <a:cubicBezTo>
                  <a:pt x="2812" y="1183"/>
                  <a:pt x="2812" y="1183"/>
                  <a:pt x="2812" y="1183"/>
                </a:cubicBezTo>
                <a:cubicBezTo>
                  <a:pt x="2811" y="1183"/>
                  <a:pt x="2811" y="1183"/>
                  <a:pt x="2811" y="1183"/>
                </a:cubicBezTo>
                <a:cubicBezTo>
                  <a:pt x="2811" y="1181"/>
                  <a:pt x="2811" y="1181"/>
                  <a:pt x="2811" y="1181"/>
                </a:cubicBezTo>
                <a:cubicBezTo>
                  <a:pt x="2811" y="1181"/>
                  <a:pt x="2811" y="1181"/>
                  <a:pt x="2811" y="1181"/>
                </a:cubicBezTo>
                <a:cubicBezTo>
                  <a:pt x="2811" y="1177"/>
                  <a:pt x="2810" y="1176"/>
                  <a:pt x="2808" y="1175"/>
                </a:cubicBezTo>
                <a:close/>
                <a:moveTo>
                  <a:pt x="2825" y="1192"/>
                </a:moveTo>
                <a:cubicBezTo>
                  <a:pt x="2825" y="1191"/>
                  <a:pt x="2825" y="1191"/>
                  <a:pt x="2825" y="1191"/>
                </a:cubicBezTo>
                <a:cubicBezTo>
                  <a:pt x="2825" y="1192"/>
                  <a:pt x="2825" y="1192"/>
                  <a:pt x="2825" y="1192"/>
                </a:cubicBezTo>
                <a:cubicBezTo>
                  <a:pt x="2824" y="1194"/>
                  <a:pt x="2825" y="1196"/>
                  <a:pt x="2826" y="1198"/>
                </a:cubicBezTo>
                <a:cubicBezTo>
                  <a:pt x="2826" y="1199"/>
                  <a:pt x="2828" y="1200"/>
                  <a:pt x="2829" y="1200"/>
                </a:cubicBezTo>
                <a:cubicBezTo>
                  <a:pt x="2829" y="1203"/>
                  <a:pt x="2829" y="1203"/>
                  <a:pt x="2829" y="1203"/>
                </a:cubicBezTo>
                <a:cubicBezTo>
                  <a:pt x="2829" y="1204"/>
                  <a:pt x="2830" y="1205"/>
                  <a:pt x="2831" y="1205"/>
                </a:cubicBezTo>
                <a:cubicBezTo>
                  <a:pt x="2833" y="1205"/>
                  <a:pt x="2834" y="1203"/>
                  <a:pt x="2834" y="1202"/>
                </a:cubicBezTo>
                <a:cubicBezTo>
                  <a:pt x="2834" y="1201"/>
                  <a:pt x="2827" y="1193"/>
                  <a:pt x="2825" y="1192"/>
                </a:cubicBezTo>
                <a:close/>
                <a:moveTo>
                  <a:pt x="2890" y="1245"/>
                </a:moveTo>
                <a:cubicBezTo>
                  <a:pt x="2890" y="1244"/>
                  <a:pt x="2890" y="1244"/>
                  <a:pt x="2890" y="1244"/>
                </a:cubicBezTo>
                <a:cubicBezTo>
                  <a:pt x="2890" y="1242"/>
                  <a:pt x="2888" y="1241"/>
                  <a:pt x="2886" y="1240"/>
                </a:cubicBezTo>
                <a:cubicBezTo>
                  <a:pt x="2886" y="1239"/>
                  <a:pt x="2885" y="1239"/>
                  <a:pt x="2885" y="1239"/>
                </a:cubicBezTo>
                <a:cubicBezTo>
                  <a:pt x="2884" y="1238"/>
                  <a:pt x="2884" y="1238"/>
                  <a:pt x="2884" y="1238"/>
                </a:cubicBezTo>
                <a:cubicBezTo>
                  <a:pt x="2884" y="1239"/>
                  <a:pt x="2884" y="1239"/>
                  <a:pt x="2884" y="1239"/>
                </a:cubicBezTo>
                <a:cubicBezTo>
                  <a:pt x="2884" y="1240"/>
                  <a:pt x="2885" y="1243"/>
                  <a:pt x="2886" y="1245"/>
                </a:cubicBezTo>
                <a:cubicBezTo>
                  <a:pt x="2887" y="1246"/>
                  <a:pt x="2888" y="1247"/>
                  <a:pt x="2890" y="1247"/>
                </a:cubicBezTo>
                <a:cubicBezTo>
                  <a:pt x="2890" y="1247"/>
                  <a:pt x="2890" y="1247"/>
                  <a:pt x="2890" y="1247"/>
                </a:cubicBezTo>
                <a:cubicBezTo>
                  <a:pt x="2890" y="1246"/>
                  <a:pt x="2890" y="1246"/>
                  <a:pt x="2890" y="1246"/>
                </a:cubicBezTo>
                <a:lnTo>
                  <a:pt x="2890" y="1245"/>
                </a:lnTo>
                <a:close/>
                <a:moveTo>
                  <a:pt x="2871" y="1233"/>
                </a:moveTo>
                <a:cubicBezTo>
                  <a:pt x="2871" y="1233"/>
                  <a:pt x="2871" y="1233"/>
                  <a:pt x="2871" y="1233"/>
                </a:cubicBezTo>
                <a:cubicBezTo>
                  <a:pt x="2871" y="1233"/>
                  <a:pt x="2871" y="1233"/>
                  <a:pt x="2871" y="1233"/>
                </a:cubicBezTo>
                <a:cubicBezTo>
                  <a:pt x="2871" y="1237"/>
                  <a:pt x="2875" y="1239"/>
                  <a:pt x="2880" y="1239"/>
                </a:cubicBezTo>
                <a:cubicBezTo>
                  <a:pt x="2881" y="1239"/>
                  <a:pt x="2881" y="1239"/>
                  <a:pt x="2881" y="1239"/>
                </a:cubicBezTo>
                <a:cubicBezTo>
                  <a:pt x="2881" y="1239"/>
                  <a:pt x="2881" y="1239"/>
                  <a:pt x="2881" y="1239"/>
                </a:cubicBezTo>
                <a:cubicBezTo>
                  <a:pt x="2882" y="1239"/>
                  <a:pt x="2882" y="1239"/>
                  <a:pt x="2882" y="1239"/>
                </a:cubicBezTo>
                <a:cubicBezTo>
                  <a:pt x="2882" y="1238"/>
                  <a:pt x="2882" y="1238"/>
                  <a:pt x="2882" y="1238"/>
                </a:cubicBezTo>
                <a:cubicBezTo>
                  <a:pt x="2879" y="1234"/>
                  <a:pt x="2876" y="1233"/>
                  <a:pt x="2871" y="1233"/>
                </a:cubicBezTo>
                <a:close/>
                <a:moveTo>
                  <a:pt x="2873" y="1219"/>
                </a:moveTo>
                <a:cubicBezTo>
                  <a:pt x="2872" y="1219"/>
                  <a:pt x="2872" y="1219"/>
                  <a:pt x="2872" y="1219"/>
                </a:cubicBezTo>
                <a:cubicBezTo>
                  <a:pt x="2872" y="1220"/>
                  <a:pt x="2872" y="1220"/>
                  <a:pt x="2872" y="1220"/>
                </a:cubicBezTo>
                <a:cubicBezTo>
                  <a:pt x="2873" y="1223"/>
                  <a:pt x="2878" y="1231"/>
                  <a:pt x="2882" y="1231"/>
                </a:cubicBezTo>
                <a:cubicBezTo>
                  <a:pt x="2882" y="1231"/>
                  <a:pt x="2882" y="1231"/>
                  <a:pt x="2882" y="1231"/>
                </a:cubicBezTo>
                <a:cubicBezTo>
                  <a:pt x="2882" y="1231"/>
                  <a:pt x="2882" y="1231"/>
                  <a:pt x="2882" y="1231"/>
                </a:cubicBezTo>
                <a:cubicBezTo>
                  <a:pt x="2881" y="1226"/>
                  <a:pt x="2878" y="1223"/>
                  <a:pt x="2873" y="1219"/>
                </a:cubicBezTo>
                <a:close/>
                <a:moveTo>
                  <a:pt x="2858" y="1213"/>
                </a:moveTo>
                <a:cubicBezTo>
                  <a:pt x="2857" y="1212"/>
                  <a:pt x="2856" y="1211"/>
                  <a:pt x="2855" y="1211"/>
                </a:cubicBezTo>
                <a:cubicBezTo>
                  <a:pt x="2855" y="1211"/>
                  <a:pt x="2855" y="1211"/>
                  <a:pt x="2855" y="1211"/>
                </a:cubicBezTo>
                <a:cubicBezTo>
                  <a:pt x="2855" y="1211"/>
                  <a:pt x="2855" y="1211"/>
                  <a:pt x="2855" y="1211"/>
                </a:cubicBezTo>
                <a:cubicBezTo>
                  <a:pt x="2854" y="1212"/>
                  <a:pt x="2854" y="1212"/>
                  <a:pt x="2854" y="1212"/>
                </a:cubicBezTo>
                <a:cubicBezTo>
                  <a:pt x="2853" y="1212"/>
                  <a:pt x="2853" y="1212"/>
                  <a:pt x="2853" y="1212"/>
                </a:cubicBezTo>
                <a:cubicBezTo>
                  <a:pt x="2853" y="1212"/>
                  <a:pt x="2853" y="1212"/>
                  <a:pt x="2853" y="1212"/>
                </a:cubicBezTo>
                <a:cubicBezTo>
                  <a:pt x="2853" y="1217"/>
                  <a:pt x="2861" y="1219"/>
                  <a:pt x="2863" y="1219"/>
                </a:cubicBezTo>
                <a:cubicBezTo>
                  <a:pt x="2865" y="1219"/>
                  <a:pt x="2866" y="1219"/>
                  <a:pt x="2866" y="1219"/>
                </a:cubicBezTo>
                <a:cubicBezTo>
                  <a:pt x="2866" y="1218"/>
                  <a:pt x="2866" y="1218"/>
                  <a:pt x="2866" y="1218"/>
                </a:cubicBezTo>
                <a:cubicBezTo>
                  <a:pt x="2866" y="1218"/>
                  <a:pt x="2866" y="1218"/>
                  <a:pt x="2866" y="1218"/>
                </a:cubicBezTo>
                <a:cubicBezTo>
                  <a:pt x="2865" y="1216"/>
                  <a:pt x="2861" y="1214"/>
                  <a:pt x="2858" y="1213"/>
                </a:cubicBezTo>
                <a:close/>
                <a:moveTo>
                  <a:pt x="2844" y="1204"/>
                </a:moveTo>
                <a:cubicBezTo>
                  <a:pt x="2843" y="1204"/>
                  <a:pt x="2842" y="1203"/>
                  <a:pt x="2840" y="1202"/>
                </a:cubicBezTo>
                <a:cubicBezTo>
                  <a:pt x="2840" y="1202"/>
                  <a:pt x="2840" y="1202"/>
                  <a:pt x="2840" y="1202"/>
                </a:cubicBezTo>
                <a:cubicBezTo>
                  <a:pt x="2840" y="1203"/>
                  <a:pt x="2840" y="1203"/>
                  <a:pt x="2840" y="1203"/>
                </a:cubicBezTo>
                <a:cubicBezTo>
                  <a:pt x="2840" y="1203"/>
                  <a:pt x="2840" y="1203"/>
                  <a:pt x="2840" y="1203"/>
                </a:cubicBezTo>
                <a:cubicBezTo>
                  <a:pt x="2840" y="1203"/>
                  <a:pt x="2840" y="1203"/>
                  <a:pt x="2840" y="1203"/>
                </a:cubicBezTo>
                <a:cubicBezTo>
                  <a:pt x="2841" y="1204"/>
                  <a:pt x="2841" y="1204"/>
                  <a:pt x="2841" y="1204"/>
                </a:cubicBezTo>
                <a:cubicBezTo>
                  <a:pt x="2840" y="1204"/>
                  <a:pt x="2840" y="1204"/>
                  <a:pt x="2840" y="1204"/>
                </a:cubicBezTo>
                <a:cubicBezTo>
                  <a:pt x="2839" y="1204"/>
                  <a:pt x="2839" y="1204"/>
                  <a:pt x="2839" y="1204"/>
                </a:cubicBezTo>
                <a:cubicBezTo>
                  <a:pt x="2840" y="1204"/>
                  <a:pt x="2840" y="1204"/>
                  <a:pt x="2840" y="1204"/>
                </a:cubicBezTo>
                <a:cubicBezTo>
                  <a:pt x="2844" y="1208"/>
                  <a:pt x="2844" y="1208"/>
                  <a:pt x="2844" y="1208"/>
                </a:cubicBezTo>
                <a:cubicBezTo>
                  <a:pt x="2845" y="1208"/>
                  <a:pt x="2845" y="1208"/>
                  <a:pt x="2845" y="1208"/>
                </a:cubicBezTo>
                <a:cubicBezTo>
                  <a:pt x="2848" y="1208"/>
                  <a:pt x="2848" y="1208"/>
                  <a:pt x="2848" y="1208"/>
                </a:cubicBezTo>
                <a:cubicBezTo>
                  <a:pt x="2848" y="1207"/>
                  <a:pt x="2848" y="1207"/>
                  <a:pt x="2848" y="1207"/>
                </a:cubicBezTo>
                <a:cubicBezTo>
                  <a:pt x="2847" y="1205"/>
                  <a:pt x="2845" y="1205"/>
                  <a:pt x="2844" y="1204"/>
                </a:cubicBezTo>
                <a:close/>
                <a:moveTo>
                  <a:pt x="2765" y="1567"/>
                </a:moveTo>
                <a:cubicBezTo>
                  <a:pt x="2765" y="1567"/>
                  <a:pt x="2765" y="1567"/>
                  <a:pt x="2765" y="1567"/>
                </a:cubicBezTo>
                <a:cubicBezTo>
                  <a:pt x="2764" y="1567"/>
                  <a:pt x="2764" y="1567"/>
                  <a:pt x="2764" y="1567"/>
                </a:cubicBezTo>
                <a:cubicBezTo>
                  <a:pt x="2762" y="1568"/>
                  <a:pt x="2762" y="1568"/>
                  <a:pt x="2762" y="1568"/>
                </a:cubicBezTo>
                <a:cubicBezTo>
                  <a:pt x="2758" y="1569"/>
                  <a:pt x="2754" y="1570"/>
                  <a:pt x="2751" y="1570"/>
                </a:cubicBezTo>
                <a:cubicBezTo>
                  <a:pt x="2750" y="1570"/>
                  <a:pt x="2750" y="1570"/>
                  <a:pt x="2750" y="1570"/>
                </a:cubicBezTo>
                <a:cubicBezTo>
                  <a:pt x="2742" y="1568"/>
                  <a:pt x="2736" y="1567"/>
                  <a:pt x="2735" y="1569"/>
                </a:cubicBezTo>
                <a:cubicBezTo>
                  <a:pt x="2734" y="1569"/>
                  <a:pt x="2734" y="1570"/>
                  <a:pt x="2734" y="1571"/>
                </a:cubicBezTo>
                <a:cubicBezTo>
                  <a:pt x="2734" y="1578"/>
                  <a:pt x="2744" y="1604"/>
                  <a:pt x="2753" y="1604"/>
                </a:cubicBezTo>
                <a:cubicBezTo>
                  <a:pt x="2758" y="1604"/>
                  <a:pt x="2762" y="1597"/>
                  <a:pt x="2763" y="1594"/>
                </a:cubicBezTo>
                <a:cubicBezTo>
                  <a:pt x="2766" y="1588"/>
                  <a:pt x="2768" y="1582"/>
                  <a:pt x="2768" y="1578"/>
                </a:cubicBezTo>
                <a:cubicBezTo>
                  <a:pt x="2768" y="1575"/>
                  <a:pt x="2767" y="1573"/>
                  <a:pt x="2767" y="1572"/>
                </a:cubicBezTo>
                <a:cubicBezTo>
                  <a:pt x="2766" y="1570"/>
                  <a:pt x="2765" y="1569"/>
                  <a:pt x="2765" y="1567"/>
                </a:cubicBezTo>
                <a:close/>
                <a:moveTo>
                  <a:pt x="2766" y="1564"/>
                </a:moveTo>
                <a:cubicBezTo>
                  <a:pt x="2767" y="1564"/>
                  <a:pt x="2767" y="1564"/>
                  <a:pt x="2767" y="1564"/>
                </a:cubicBezTo>
                <a:cubicBezTo>
                  <a:pt x="2767" y="1564"/>
                  <a:pt x="2767" y="1564"/>
                  <a:pt x="2767" y="1564"/>
                </a:cubicBezTo>
                <a:cubicBezTo>
                  <a:pt x="2767" y="1563"/>
                  <a:pt x="2767" y="1563"/>
                  <a:pt x="2767" y="1563"/>
                </a:cubicBezTo>
                <a:cubicBezTo>
                  <a:pt x="2767" y="1561"/>
                  <a:pt x="2768" y="1560"/>
                  <a:pt x="2768" y="1558"/>
                </a:cubicBezTo>
                <a:cubicBezTo>
                  <a:pt x="2768" y="1557"/>
                  <a:pt x="2768" y="1557"/>
                  <a:pt x="2768" y="1557"/>
                </a:cubicBezTo>
                <a:cubicBezTo>
                  <a:pt x="2767" y="1557"/>
                  <a:pt x="2767" y="1557"/>
                  <a:pt x="2767" y="1557"/>
                </a:cubicBezTo>
                <a:cubicBezTo>
                  <a:pt x="2766" y="1558"/>
                  <a:pt x="2765" y="1558"/>
                  <a:pt x="2763" y="1557"/>
                </a:cubicBezTo>
                <a:cubicBezTo>
                  <a:pt x="2763" y="1557"/>
                  <a:pt x="2763" y="1557"/>
                  <a:pt x="2763" y="1557"/>
                </a:cubicBezTo>
                <a:cubicBezTo>
                  <a:pt x="2763" y="1558"/>
                  <a:pt x="2763" y="1558"/>
                  <a:pt x="2763" y="1558"/>
                </a:cubicBezTo>
                <a:cubicBezTo>
                  <a:pt x="2763" y="1560"/>
                  <a:pt x="2763" y="1563"/>
                  <a:pt x="2766" y="1564"/>
                </a:cubicBezTo>
                <a:close/>
                <a:moveTo>
                  <a:pt x="2674" y="1512"/>
                </a:moveTo>
                <a:cubicBezTo>
                  <a:pt x="2670" y="1510"/>
                  <a:pt x="2669" y="1509"/>
                  <a:pt x="2663" y="1512"/>
                </a:cubicBezTo>
                <a:cubicBezTo>
                  <a:pt x="2663" y="1512"/>
                  <a:pt x="2663" y="1512"/>
                  <a:pt x="2663" y="1512"/>
                </a:cubicBezTo>
                <a:cubicBezTo>
                  <a:pt x="2663" y="1513"/>
                  <a:pt x="2663" y="1513"/>
                  <a:pt x="2663" y="1513"/>
                </a:cubicBezTo>
                <a:cubicBezTo>
                  <a:pt x="2666" y="1516"/>
                  <a:pt x="2671" y="1515"/>
                  <a:pt x="2674" y="1513"/>
                </a:cubicBezTo>
                <a:cubicBezTo>
                  <a:pt x="2675" y="1512"/>
                  <a:pt x="2675" y="1512"/>
                  <a:pt x="2675" y="1512"/>
                </a:cubicBezTo>
                <a:cubicBezTo>
                  <a:pt x="2674" y="1512"/>
                  <a:pt x="2674" y="1512"/>
                  <a:pt x="2674" y="1512"/>
                </a:cubicBezTo>
                <a:close/>
                <a:moveTo>
                  <a:pt x="2607" y="1252"/>
                </a:moveTo>
                <a:cubicBezTo>
                  <a:pt x="2606" y="1253"/>
                  <a:pt x="2606" y="1253"/>
                  <a:pt x="2606" y="1253"/>
                </a:cubicBezTo>
                <a:cubicBezTo>
                  <a:pt x="2605" y="1253"/>
                  <a:pt x="2605" y="1253"/>
                  <a:pt x="2605" y="1253"/>
                </a:cubicBezTo>
                <a:cubicBezTo>
                  <a:pt x="2605" y="1253"/>
                  <a:pt x="2605" y="1253"/>
                  <a:pt x="2605" y="1253"/>
                </a:cubicBezTo>
                <a:cubicBezTo>
                  <a:pt x="2607" y="1255"/>
                  <a:pt x="2611" y="1257"/>
                  <a:pt x="2615" y="1257"/>
                </a:cubicBezTo>
                <a:cubicBezTo>
                  <a:pt x="2618" y="1257"/>
                  <a:pt x="2618" y="1257"/>
                  <a:pt x="2618" y="1257"/>
                </a:cubicBezTo>
                <a:cubicBezTo>
                  <a:pt x="2618" y="1251"/>
                  <a:pt x="2618" y="1251"/>
                  <a:pt x="2618" y="1251"/>
                </a:cubicBezTo>
                <a:cubicBezTo>
                  <a:pt x="2618" y="1251"/>
                  <a:pt x="2618" y="1251"/>
                  <a:pt x="2618" y="1251"/>
                </a:cubicBezTo>
                <a:cubicBezTo>
                  <a:pt x="2614" y="1251"/>
                  <a:pt x="2612" y="1251"/>
                  <a:pt x="2607" y="1252"/>
                </a:cubicBezTo>
                <a:close/>
                <a:moveTo>
                  <a:pt x="2806" y="1393"/>
                </a:moveTo>
                <a:cubicBezTo>
                  <a:pt x="2806" y="1392"/>
                  <a:pt x="2806" y="1392"/>
                  <a:pt x="2806" y="1392"/>
                </a:cubicBezTo>
                <a:cubicBezTo>
                  <a:pt x="2805" y="1392"/>
                  <a:pt x="2805" y="1392"/>
                  <a:pt x="2805" y="1392"/>
                </a:cubicBezTo>
                <a:cubicBezTo>
                  <a:pt x="2804" y="1390"/>
                  <a:pt x="2802" y="1389"/>
                  <a:pt x="2800" y="1387"/>
                </a:cubicBezTo>
                <a:cubicBezTo>
                  <a:pt x="2795" y="1382"/>
                  <a:pt x="2788" y="1376"/>
                  <a:pt x="2788" y="1366"/>
                </a:cubicBezTo>
                <a:cubicBezTo>
                  <a:pt x="2788" y="1365"/>
                  <a:pt x="2788" y="1365"/>
                  <a:pt x="2788" y="1365"/>
                </a:cubicBezTo>
                <a:cubicBezTo>
                  <a:pt x="2788" y="1365"/>
                  <a:pt x="2788" y="1365"/>
                  <a:pt x="2788" y="1365"/>
                </a:cubicBezTo>
                <a:cubicBezTo>
                  <a:pt x="2784" y="1365"/>
                  <a:pt x="2779" y="1365"/>
                  <a:pt x="2778" y="1361"/>
                </a:cubicBezTo>
                <a:cubicBezTo>
                  <a:pt x="2778" y="1360"/>
                  <a:pt x="2777" y="1359"/>
                  <a:pt x="2777" y="1358"/>
                </a:cubicBezTo>
                <a:cubicBezTo>
                  <a:pt x="2776" y="1354"/>
                  <a:pt x="2775" y="1349"/>
                  <a:pt x="2772" y="1345"/>
                </a:cubicBezTo>
                <a:cubicBezTo>
                  <a:pt x="2770" y="1343"/>
                  <a:pt x="2767" y="1341"/>
                  <a:pt x="2763" y="1339"/>
                </a:cubicBezTo>
                <a:cubicBezTo>
                  <a:pt x="2758" y="1336"/>
                  <a:pt x="2753" y="1333"/>
                  <a:pt x="2751" y="1328"/>
                </a:cubicBezTo>
                <a:cubicBezTo>
                  <a:pt x="2750" y="1324"/>
                  <a:pt x="2749" y="1320"/>
                  <a:pt x="2748" y="1317"/>
                </a:cubicBezTo>
                <a:cubicBezTo>
                  <a:pt x="2746" y="1313"/>
                  <a:pt x="2745" y="1310"/>
                  <a:pt x="2744" y="1305"/>
                </a:cubicBezTo>
                <a:cubicBezTo>
                  <a:pt x="2743" y="1304"/>
                  <a:pt x="2743" y="1301"/>
                  <a:pt x="2743" y="1299"/>
                </a:cubicBezTo>
                <a:cubicBezTo>
                  <a:pt x="2742" y="1293"/>
                  <a:pt x="2741" y="1288"/>
                  <a:pt x="2738" y="1286"/>
                </a:cubicBezTo>
                <a:cubicBezTo>
                  <a:pt x="2738" y="1286"/>
                  <a:pt x="2738" y="1286"/>
                  <a:pt x="2738" y="1286"/>
                </a:cubicBezTo>
                <a:cubicBezTo>
                  <a:pt x="2738" y="1286"/>
                  <a:pt x="2738" y="1286"/>
                  <a:pt x="2738" y="1286"/>
                </a:cubicBezTo>
                <a:cubicBezTo>
                  <a:pt x="2737" y="1285"/>
                  <a:pt x="2731" y="1283"/>
                  <a:pt x="2728" y="1282"/>
                </a:cubicBezTo>
                <a:cubicBezTo>
                  <a:pt x="2726" y="1280"/>
                  <a:pt x="2726" y="1277"/>
                  <a:pt x="2726" y="1274"/>
                </a:cubicBezTo>
                <a:cubicBezTo>
                  <a:pt x="2726" y="1272"/>
                  <a:pt x="2726" y="1270"/>
                  <a:pt x="2725" y="1268"/>
                </a:cubicBezTo>
                <a:cubicBezTo>
                  <a:pt x="2725" y="1266"/>
                  <a:pt x="2724" y="1264"/>
                  <a:pt x="2723" y="1261"/>
                </a:cubicBezTo>
                <a:cubicBezTo>
                  <a:pt x="2721" y="1257"/>
                  <a:pt x="2719" y="1252"/>
                  <a:pt x="2718" y="1246"/>
                </a:cubicBezTo>
                <a:cubicBezTo>
                  <a:pt x="2718" y="1245"/>
                  <a:pt x="2718" y="1245"/>
                  <a:pt x="2718" y="1245"/>
                </a:cubicBezTo>
                <a:cubicBezTo>
                  <a:pt x="2718" y="1245"/>
                  <a:pt x="2718" y="1245"/>
                  <a:pt x="2718" y="1245"/>
                </a:cubicBezTo>
                <a:cubicBezTo>
                  <a:pt x="2715" y="1247"/>
                  <a:pt x="2714" y="1249"/>
                  <a:pt x="2713" y="1252"/>
                </a:cubicBezTo>
                <a:cubicBezTo>
                  <a:pt x="2712" y="1253"/>
                  <a:pt x="2711" y="1255"/>
                  <a:pt x="2709" y="1257"/>
                </a:cubicBezTo>
                <a:cubicBezTo>
                  <a:pt x="2709" y="1258"/>
                  <a:pt x="2709" y="1258"/>
                  <a:pt x="2709" y="1258"/>
                </a:cubicBezTo>
                <a:cubicBezTo>
                  <a:pt x="2709" y="1289"/>
                  <a:pt x="2709" y="1289"/>
                  <a:pt x="2709" y="1289"/>
                </a:cubicBezTo>
                <a:cubicBezTo>
                  <a:pt x="2709" y="1290"/>
                  <a:pt x="2709" y="1291"/>
                  <a:pt x="2708" y="1293"/>
                </a:cubicBezTo>
                <a:cubicBezTo>
                  <a:pt x="2707" y="1302"/>
                  <a:pt x="2704" y="1317"/>
                  <a:pt x="2697" y="1317"/>
                </a:cubicBezTo>
                <a:cubicBezTo>
                  <a:pt x="2693" y="1317"/>
                  <a:pt x="2691" y="1315"/>
                  <a:pt x="2690" y="1312"/>
                </a:cubicBezTo>
                <a:cubicBezTo>
                  <a:pt x="2688" y="1311"/>
                  <a:pt x="2687" y="1309"/>
                  <a:pt x="2685" y="1308"/>
                </a:cubicBezTo>
                <a:cubicBezTo>
                  <a:pt x="2680" y="1306"/>
                  <a:pt x="2676" y="1304"/>
                  <a:pt x="2671" y="1302"/>
                </a:cubicBezTo>
                <a:cubicBezTo>
                  <a:pt x="2664" y="1299"/>
                  <a:pt x="2664" y="1299"/>
                  <a:pt x="2664" y="1299"/>
                </a:cubicBezTo>
                <a:cubicBezTo>
                  <a:pt x="2664" y="1299"/>
                  <a:pt x="2664" y="1299"/>
                  <a:pt x="2664" y="1299"/>
                </a:cubicBezTo>
                <a:cubicBezTo>
                  <a:pt x="2664" y="1299"/>
                  <a:pt x="2664" y="1299"/>
                  <a:pt x="2664" y="1299"/>
                </a:cubicBezTo>
                <a:cubicBezTo>
                  <a:pt x="2664" y="1299"/>
                  <a:pt x="2664" y="1298"/>
                  <a:pt x="2663" y="1297"/>
                </a:cubicBezTo>
                <a:cubicBezTo>
                  <a:pt x="2663" y="1295"/>
                  <a:pt x="2662" y="1293"/>
                  <a:pt x="2661" y="1292"/>
                </a:cubicBezTo>
                <a:cubicBezTo>
                  <a:pt x="2661" y="1292"/>
                  <a:pt x="2659" y="1291"/>
                  <a:pt x="2658" y="1291"/>
                </a:cubicBezTo>
                <a:cubicBezTo>
                  <a:pt x="2657" y="1291"/>
                  <a:pt x="2655" y="1290"/>
                  <a:pt x="2655" y="1289"/>
                </a:cubicBezTo>
                <a:cubicBezTo>
                  <a:pt x="2659" y="1272"/>
                  <a:pt x="2659" y="1272"/>
                  <a:pt x="2659" y="1272"/>
                </a:cubicBezTo>
                <a:cubicBezTo>
                  <a:pt x="2660" y="1271"/>
                  <a:pt x="2661" y="1271"/>
                  <a:pt x="2661" y="1270"/>
                </a:cubicBezTo>
                <a:cubicBezTo>
                  <a:pt x="2664" y="1269"/>
                  <a:pt x="2666" y="1268"/>
                  <a:pt x="2666" y="1265"/>
                </a:cubicBezTo>
                <a:cubicBezTo>
                  <a:pt x="2666" y="1262"/>
                  <a:pt x="2661" y="1258"/>
                  <a:pt x="2660" y="1258"/>
                </a:cubicBezTo>
                <a:cubicBezTo>
                  <a:pt x="2658" y="1258"/>
                  <a:pt x="2657" y="1259"/>
                  <a:pt x="2655" y="1259"/>
                </a:cubicBezTo>
                <a:cubicBezTo>
                  <a:pt x="2654" y="1260"/>
                  <a:pt x="2653" y="1261"/>
                  <a:pt x="2651" y="1261"/>
                </a:cubicBezTo>
                <a:cubicBezTo>
                  <a:pt x="2642" y="1261"/>
                  <a:pt x="2637" y="1258"/>
                  <a:pt x="2630" y="1254"/>
                </a:cubicBezTo>
                <a:cubicBezTo>
                  <a:pt x="2628" y="1253"/>
                  <a:pt x="2626" y="1252"/>
                  <a:pt x="2623" y="1251"/>
                </a:cubicBezTo>
                <a:cubicBezTo>
                  <a:pt x="2623" y="1251"/>
                  <a:pt x="2623" y="1251"/>
                  <a:pt x="2623" y="1251"/>
                </a:cubicBezTo>
                <a:cubicBezTo>
                  <a:pt x="2623" y="1252"/>
                  <a:pt x="2623" y="1252"/>
                  <a:pt x="2623" y="1252"/>
                </a:cubicBezTo>
                <a:cubicBezTo>
                  <a:pt x="2623" y="1254"/>
                  <a:pt x="2625" y="1255"/>
                  <a:pt x="2626" y="1257"/>
                </a:cubicBezTo>
                <a:cubicBezTo>
                  <a:pt x="2627" y="1258"/>
                  <a:pt x="2628" y="1258"/>
                  <a:pt x="2628" y="1259"/>
                </a:cubicBezTo>
                <a:cubicBezTo>
                  <a:pt x="2628" y="1259"/>
                  <a:pt x="2628" y="1260"/>
                  <a:pt x="2627" y="1260"/>
                </a:cubicBezTo>
                <a:cubicBezTo>
                  <a:pt x="2626" y="1260"/>
                  <a:pt x="2625" y="1261"/>
                  <a:pt x="2623" y="1261"/>
                </a:cubicBezTo>
                <a:cubicBezTo>
                  <a:pt x="2618" y="1261"/>
                  <a:pt x="2605" y="1265"/>
                  <a:pt x="2605" y="1270"/>
                </a:cubicBezTo>
                <a:cubicBezTo>
                  <a:pt x="2605" y="1272"/>
                  <a:pt x="2604" y="1274"/>
                  <a:pt x="2603" y="1276"/>
                </a:cubicBezTo>
                <a:cubicBezTo>
                  <a:pt x="2602" y="1278"/>
                  <a:pt x="2601" y="1280"/>
                  <a:pt x="2601" y="1282"/>
                </a:cubicBezTo>
                <a:cubicBezTo>
                  <a:pt x="2601" y="1283"/>
                  <a:pt x="2601" y="1284"/>
                  <a:pt x="2601" y="1285"/>
                </a:cubicBezTo>
                <a:cubicBezTo>
                  <a:pt x="2601" y="1286"/>
                  <a:pt x="2601" y="1288"/>
                  <a:pt x="2600" y="1290"/>
                </a:cubicBezTo>
                <a:cubicBezTo>
                  <a:pt x="2600" y="1290"/>
                  <a:pt x="2600" y="1290"/>
                  <a:pt x="2600" y="1290"/>
                </a:cubicBezTo>
                <a:cubicBezTo>
                  <a:pt x="2598" y="1289"/>
                  <a:pt x="2597" y="1288"/>
                  <a:pt x="2596" y="1288"/>
                </a:cubicBezTo>
                <a:cubicBezTo>
                  <a:pt x="2593" y="1288"/>
                  <a:pt x="2591" y="1289"/>
                  <a:pt x="2589" y="1291"/>
                </a:cubicBezTo>
                <a:cubicBezTo>
                  <a:pt x="2588" y="1285"/>
                  <a:pt x="2585" y="1278"/>
                  <a:pt x="2580" y="1278"/>
                </a:cubicBezTo>
                <a:cubicBezTo>
                  <a:pt x="2576" y="1278"/>
                  <a:pt x="2574" y="1280"/>
                  <a:pt x="2572" y="1281"/>
                </a:cubicBezTo>
                <a:cubicBezTo>
                  <a:pt x="2570" y="1283"/>
                  <a:pt x="2568" y="1285"/>
                  <a:pt x="2563" y="1285"/>
                </a:cubicBezTo>
                <a:cubicBezTo>
                  <a:pt x="2563" y="1285"/>
                  <a:pt x="2563" y="1285"/>
                  <a:pt x="2563" y="1285"/>
                </a:cubicBezTo>
                <a:cubicBezTo>
                  <a:pt x="2563" y="1286"/>
                  <a:pt x="2563" y="1286"/>
                  <a:pt x="2563" y="1286"/>
                </a:cubicBezTo>
                <a:cubicBezTo>
                  <a:pt x="2563" y="1289"/>
                  <a:pt x="2561" y="1291"/>
                  <a:pt x="2560" y="1294"/>
                </a:cubicBezTo>
                <a:cubicBezTo>
                  <a:pt x="2558" y="1296"/>
                  <a:pt x="2556" y="1299"/>
                  <a:pt x="2556" y="1304"/>
                </a:cubicBezTo>
                <a:cubicBezTo>
                  <a:pt x="2554" y="1304"/>
                  <a:pt x="2553" y="1304"/>
                  <a:pt x="2552" y="1303"/>
                </a:cubicBezTo>
                <a:cubicBezTo>
                  <a:pt x="2551" y="1302"/>
                  <a:pt x="2551" y="1302"/>
                  <a:pt x="2550" y="1302"/>
                </a:cubicBezTo>
                <a:cubicBezTo>
                  <a:pt x="2550" y="1301"/>
                  <a:pt x="2550" y="1301"/>
                  <a:pt x="2550" y="1301"/>
                </a:cubicBezTo>
                <a:cubicBezTo>
                  <a:pt x="2550" y="1302"/>
                  <a:pt x="2550" y="1302"/>
                  <a:pt x="2550" y="1302"/>
                </a:cubicBezTo>
                <a:cubicBezTo>
                  <a:pt x="2549" y="1303"/>
                  <a:pt x="2549" y="1305"/>
                  <a:pt x="2549" y="1307"/>
                </a:cubicBezTo>
                <a:cubicBezTo>
                  <a:pt x="2549" y="1309"/>
                  <a:pt x="2548" y="1311"/>
                  <a:pt x="2547" y="1313"/>
                </a:cubicBezTo>
                <a:cubicBezTo>
                  <a:pt x="2546" y="1312"/>
                  <a:pt x="2545" y="1311"/>
                  <a:pt x="2545" y="1310"/>
                </a:cubicBezTo>
                <a:cubicBezTo>
                  <a:pt x="2544" y="1309"/>
                  <a:pt x="2543" y="1308"/>
                  <a:pt x="2542" y="1306"/>
                </a:cubicBezTo>
                <a:cubicBezTo>
                  <a:pt x="2542" y="1306"/>
                  <a:pt x="2542" y="1306"/>
                  <a:pt x="2542" y="1306"/>
                </a:cubicBezTo>
                <a:cubicBezTo>
                  <a:pt x="2542" y="1306"/>
                  <a:pt x="2542" y="1306"/>
                  <a:pt x="2542" y="1306"/>
                </a:cubicBezTo>
                <a:cubicBezTo>
                  <a:pt x="2539" y="1308"/>
                  <a:pt x="2538" y="1311"/>
                  <a:pt x="2538" y="1315"/>
                </a:cubicBezTo>
                <a:cubicBezTo>
                  <a:pt x="2538" y="1321"/>
                  <a:pt x="2538" y="1321"/>
                  <a:pt x="2538" y="1321"/>
                </a:cubicBezTo>
                <a:cubicBezTo>
                  <a:pt x="2538" y="1333"/>
                  <a:pt x="2512" y="1343"/>
                  <a:pt x="2502" y="1345"/>
                </a:cubicBezTo>
                <a:cubicBezTo>
                  <a:pt x="2500" y="1345"/>
                  <a:pt x="2499" y="1345"/>
                  <a:pt x="2498" y="1345"/>
                </a:cubicBezTo>
                <a:cubicBezTo>
                  <a:pt x="2491" y="1346"/>
                  <a:pt x="2484" y="1347"/>
                  <a:pt x="2481" y="1351"/>
                </a:cubicBezTo>
                <a:cubicBezTo>
                  <a:pt x="2480" y="1352"/>
                  <a:pt x="2480" y="1352"/>
                  <a:pt x="2480" y="1352"/>
                </a:cubicBezTo>
                <a:cubicBezTo>
                  <a:pt x="2476" y="1356"/>
                  <a:pt x="2470" y="1363"/>
                  <a:pt x="2465" y="1364"/>
                </a:cubicBezTo>
                <a:cubicBezTo>
                  <a:pt x="2465" y="1363"/>
                  <a:pt x="2465" y="1361"/>
                  <a:pt x="2465" y="1361"/>
                </a:cubicBezTo>
                <a:cubicBezTo>
                  <a:pt x="2465" y="1360"/>
                  <a:pt x="2465" y="1360"/>
                  <a:pt x="2465" y="1360"/>
                </a:cubicBezTo>
                <a:cubicBezTo>
                  <a:pt x="2464" y="1360"/>
                  <a:pt x="2464" y="1360"/>
                  <a:pt x="2464" y="1360"/>
                </a:cubicBezTo>
                <a:cubicBezTo>
                  <a:pt x="2464" y="1361"/>
                  <a:pt x="2464" y="1361"/>
                  <a:pt x="2464" y="1361"/>
                </a:cubicBezTo>
                <a:cubicBezTo>
                  <a:pt x="2462" y="1361"/>
                  <a:pt x="2461" y="1362"/>
                  <a:pt x="2461" y="1365"/>
                </a:cubicBezTo>
                <a:cubicBezTo>
                  <a:pt x="2461" y="1385"/>
                  <a:pt x="2461" y="1385"/>
                  <a:pt x="2461" y="1385"/>
                </a:cubicBezTo>
                <a:cubicBezTo>
                  <a:pt x="2461" y="1390"/>
                  <a:pt x="2462" y="1394"/>
                  <a:pt x="2463" y="1397"/>
                </a:cubicBezTo>
                <a:cubicBezTo>
                  <a:pt x="2464" y="1399"/>
                  <a:pt x="2464" y="1401"/>
                  <a:pt x="2464" y="1403"/>
                </a:cubicBezTo>
                <a:cubicBezTo>
                  <a:pt x="2464" y="1404"/>
                  <a:pt x="2464" y="1405"/>
                  <a:pt x="2465" y="1405"/>
                </a:cubicBezTo>
                <a:cubicBezTo>
                  <a:pt x="2465" y="1406"/>
                  <a:pt x="2465" y="1406"/>
                  <a:pt x="2465" y="1407"/>
                </a:cubicBezTo>
                <a:cubicBezTo>
                  <a:pt x="2464" y="1406"/>
                  <a:pt x="2463" y="1405"/>
                  <a:pt x="2462" y="1403"/>
                </a:cubicBezTo>
                <a:cubicBezTo>
                  <a:pt x="2462" y="1402"/>
                  <a:pt x="2462" y="1402"/>
                  <a:pt x="2462" y="1402"/>
                </a:cubicBezTo>
                <a:cubicBezTo>
                  <a:pt x="2462" y="1403"/>
                  <a:pt x="2462" y="1403"/>
                  <a:pt x="2462" y="1403"/>
                </a:cubicBezTo>
                <a:cubicBezTo>
                  <a:pt x="2461" y="1404"/>
                  <a:pt x="2461" y="1405"/>
                  <a:pt x="2460" y="1406"/>
                </a:cubicBezTo>
                <a:cubicBezTo>
                  <a:pt x="2460" y="1408"/>
                  <a:pt x="2460" y="1408"/>
                  <a:pt x="2460" y="1408"/>
                </a:cubicBezTo>
                <a:cubicBezTo>
                  <a:pt x="2460" y="1408"/>
                  <a:pt x="2460" y="1408"/>
                  <a:pt x="2460" y="1408"/>
                </a:cubicBezTo>
                <a:cubicBezTo>
                  <a:pt x="2460" y="1408"/>
                  <a:pt x="2460" y="1408"/>
                  <a:pt x="2460" y="1408"/>
                </a:cubicBezTo>
                <a:cubicBezTo>
                  <a:pt x="2459" y="1411"/>
                  <a:pt x="2461" y="1413"/>
                  <a:pt x="2463" y="1415"/>
                </a:cubicBezTo>
                <a:cubicBezTo>
                  <a:pt x="2464" y="1417"/>
                  <a:pt x="2465" y="1418"/>
                  <a:pt x="2466" y="1420"/>
                </a:cubicBezTo>
                <a:cubicBezTo>
                  <a:pt x="2469" y="1431"/>
                  <a:pt x="2470" y="1436"/>
                  <a:pt x="2472" y="1445"/>
                </a:cubicBezTo>
                <a:cubicBezTo>
                  <a:pt x="2474" y="1454"/>
                  <a:pt x="2474" y="1454"/>
                  <a:pt x="2474" y="1454"/>
                </a:cubicBezTo>
                <a:cubicBezTo>
                  <a:pt x="2475" y="1456"/>
                  <a:pt x="2476" y="1458"/>
                  <a:pt x="2477" y="1460"/>
                </a:cubicBezTo>
                <a:cubicBezTo>
                  <a:pt x="2479" y="1465"/>
                  <a:pt x="2481" y="1469"/>
                  <a:pt x="2481" y="1476"/>
                </a:cubicBezTo>
                <a:cubicBezTo>
                  <a:pt x="2481" y="1480"/>
                  <a:pt x="2478" y="1483"/>
                  <a:pt x="2477" y="1485"/>
                </a:cubicBezTo>
                <a:cubicBezTo>
                  <a:pt x="2475" y="1487"/>
                  <a:pt x="2474" y="1489"/>
                  <a:pt x="2474" y="1492"/>
                </a:cubicBezTo>
                <a:cubicBezTo>
                  <a:pt x="2474" y="1497"/>
                  <a:pt x="2489" y="1504"/>
                  <a:pt x="2494" y="1504"/>
                </a:cubicBezTo>
                <a:cubicBezTo>
                  <a:pt x="2501" y="1504"/>
                  <a:pt x="2506" y="1501"/>
                  <a:pt x="2511" y="1498"/>
                </a:cubicBezTo>
                <a:cubicBezTo>
                  <a:pt x="2515" y="1495"/>
                  <a:pt x="2518" y="1493"/>
                  <a:pt x="2523" y="1493"/>
                </a:cubicBezTo>
                <a:cubicBezTo>
                  <a:pt x="2525" y="1493"/>
                  <a:pt x="2525" y="1492"/>
                  <a:pt x="2526" y="1492"/>
                </a:cubicBezTo>
                <a:cubicBezTo>
                  <a:pt x="2528" y="1491"/>
                  <a:pt x="2529" y="1491"/>
                  <a:pt x="2532" y="1493"/>
                </a:cubicBezTo>
                <a:cubicBezTo>
                  <a:pt x="2532" y="1493"/>
                  <a:pt x="2532" y="1493"/>
                  <a:pt x="2532" y="1493"/>
                </a:cubicBezTo>
                <a:cubicBezTo>
                  <a:pt x="2532" y="1493"/>
                  <a:pt x="2532" y="1493"/>
                  <a:pt x="2532" y="1493"/>
                </a:cubicBezTo>
                <a:cubicBezTo>
                  <a:pt x="2536" y="1493"/>
                  <a:pt x="2540" y="1492"/>
                  <a:pt x="2543" y="1491"/>
                </a:cubicBezTo>
                <a:cubicBezTo>
                  <a:pt x="2546" y="1491"/>
                  <a:pt x="2548" y="1490"/>
                  <a:pt x="2550" y="1490"/>
                </a:cubicBezTo>
                <a:cubicBezTo>
                  <a:pt x="2551" y="1490"/>
                  <a:pt x="2551" y="1490"/>
                  <a:pt x="2551" y="1490"/>
                </a:cubicBezTo>
                <a:cubicBezTo>
                  <a:pt x="2551" y="1490"/>
                  <a:pt x="2551" y="1490"/>
                  <a:pt x="2551" y="1490"/>
                </a:cubicBezTo>
                <a:cubicBezTo>
                  <a:pt x="2552" y="1478"/>
                  <a:pt x="2561" y="1477"/>
                  <a:pt x="2572" y="1476"/>
                </a:cubicBezTo>
                <a:cubicBezTo>
                  <a:pt x="2577" y="1475"/>
                  <a:pt x="2583" y="1475"/>
                  <a:pt x="2588" y="1473"/>
                </a:cubicBezTo>
                <a:cubicBezTo>
                  <a:pt x="2590" y="1472"/>
                  <a:pt x="2592" y="1471"/>
                  <a:pt x="2594" y="1469"/>
                </a:cubicBezTo>
                <a:cubicBezTo>
                  <a:pt x="2597" y="1467"/>
                  <a:pt x="2601" y="1465"/>
                  <a:pt x="2608" y="1465"/>
                </a:cubicBezTo>
                <a:cubicBezTo>
                  <a:pt x="2618" y="1465"/>
                  <a:pt x="2636" y="1468"/>
                  <a:pt x="2641" y="1475"/>
                </a:cubicBezTo>
                <a:cubicBezTo>
                  <a:pt x="2642" y="1476"/>
                  <a:pt x="2643" y="1479"/>
                  <a:pt x="2645" y="1483"/>
                </a:cubicBezTo>
                <a:cubicBezTo>
                  <a:pt x="2648" y="1490"/>
                  <a:pt x="2651" y="1495"/>
                  <a:pt x="2652" y="1496"/>
                </a:cubicBezTo>
                <a:cubicBezTo>
                  <a:pt x="2652" y="1497"/>
                  <a:pt x="2652" y="1500"/>
                  <a:pt x="2653" y="1501"/>
                </a:cubicBezTo>
                <a:cubicBezTo>
                  <a:pt x="2653" y="1502"/>
                  <a:pt x="2654" y="1502"/>
                  <a:pt x="2655" y="1502"/>
                </a:cubicBezTo>
                <a:cubicBezTo>
                  <a:pt x="2659" y="1502"/>
                  <a:pt x="2664" y="1495"/>
                  <a:pt x="2669" y="1487"/>
                </a:cubicBezTo>
                <a:cubicBezTo>
                  <a:pt x="2671" y="1484"/>
                  <a:pt x="2673" y="1481"/>
                  <a:pt x="2674" y="1479"/>
                </a:cubicBezTo>
                <a:cubicBezTo>
                  <a:pt x="2674" y="1485"/>
                  <a:pt x="2673" y="1501"/>
                  <a:pt x="2666" y="1502"/>
                </a:cubicBezTo>
                <a:cubicBezTo>
                  <a:pt x="2665" y="1502"/>
                  <a:pt x="2665" y="1502"/>
                  <a:pt x="2665" y="1502"/>
                </a:cubicBezTo>
                <a:cubicBezTo>
                  <a:pt x="2665" y="1503"/>
                  <a:pt x="2665" y="1503"/>
                  <a:pt x="2665" y="1503"/>
                </a:cubicBezTo>
                <a:cubicBezTo>
                  <a:pt x="2665" y="1505"/>
                  <a:pt x="2667" y="1507"/>
                  <a:pt x="2669" y="1507"/>
                </a:cubicBezTo>
                <a:cubicBezTo>
                  <a:pt x="2672" y="1507"/>
                  <a:pt x="2673" y="1504"/>
                  <a:pt x="2674" y="1502"/>
                </a:cubicBezTo>
                <a:cubicBezTo>
                  <a:pt x="2675" y="1501"/>
                  <a:pt x="2676" y="1499"/>
                  <a:pt x="2677" y="1499"/>
                </a:cubicBezTo>
                <a:cubicBezTo>
                  <a:pt x="2677" y="1499"/>
                  <a:pt x="2677" y="1499"/>
                  <a:pt x="2677" y="1499"/>
                </a:cubicBezTo>
                <a:cubicBezTo>
                  <a:pt x="2677" y="1499"/>
                  <a:pt x="2677" y="1499"/>
                  <a:pt x="2677" y="1499"/>
                </a:cubicBezTo>
                <a:cubicBezTo>
                  <a:pt x="2677" y="1498"/>
                  <a:pt x="2677" y="1497"/>
                  <a:pt x="2677" y="1497"/>
                </a:cubicBezTo>
                <a:cubicBezTo>
                  <a:pt x="2677" y="1497"/>
                  <a:pt x="2677" y="1496"/>
                  <a:pt x="2677" y="1496"/>
                </a:cubicBezTo>
                <a:cubicBezTo>
                  <a:pt x="2679" y="1497"/>
                  <a:pt x="2680" y="1498"/>
                  <a:pt x="2680" y="1502"/>
                </a:cubicBezTo>
                <a:cubicBezTo>
                  <a:pt x="2680" y="1505"/>
                  <a:pt x="2679" y="1507"/>
                  <a:pt x="2678" y="1509"/>
                </a:cubicBezTo>
                <a:cubicBezTo>
                  <a:pt x="2678" y="1509"/>
                  <a:pt x="2678" y="1509"/>
                  <a:pt x="2678" y="1509"/>
                </a:cubicBezTo>
                <a:cubicBezTo>
                  <a:pt x="2677" y="1510"/>
                  <a:pt x="2677" y="1510"/>
                  <a:pt x="2677" y="1510"/>
                </a:cubicBezTo>
                <a:cubicBezTo>
                  <a:pt x="2682" y="1510"/>
                  <a:pt x="2682" y="1510"/>
                  <a:pt x="2682" y="1510"/>
                </a:cubicBezTo>
                <a:cubicBezTo>
                  <a:pt x="2682" y="1510"/>
                  <a:pt x="2682" y="1510"/>
                  <a:pt x="2682" y="1510"/>
                </a:cubicBezTo>
                <a:cubicBezTo>
                  <a:pt x="2682" y="1510"/>
                  <a:pt x="2682" y="1510"/>
                  <a:pt x="2682" y="1510"/>
                </a:cubicBezTo>
                <a:cubicBezTo>
                  <a:pt x="2684" y="1509"/>
                  <a:pt x="2686" y="1509"/>
                  <a:pt x="2688" y="1508"/>
                </a:cubicBezTo>
                <a:cubicBezTo>
                  <a:pt x="2688" y="1509"/>
                  <a:pt x="2688" y="1509"/>
                  <a:pt x="2688" y="1509"/>
                </a:cubicBezTo>
                <a:cubicBezTo>
                  <a:pt x="2688" y="1509"/>
                  <a:pt x="2688" y="1509"/>
                  <a:pt x="2688" y="1509"/>
                </a:cubicBezTo>
                <a:cubicBezTo>
                  <a:pt x="2688" y="1511"/>
                  <a:pt x="2689" y="1513"/>
                  <a:pt x="2690" y="1515"/>
                </a:cubicBezTo>
                <a:cubicBezTo>
                  <a:pt x="2691" y="1518"/>
                  <a:pt x="2692" y="1520"/>
                  <a:pt x="2692" y="1523"/>
                </a:cubicBezTo>
                <a:cubicBezTo>
                  <a:pt x="2692" y="1537"/>
                  <a:pt x="2711" y="1547"/>
                  <a:pt x="2724" y="1547"/>
                </a:cubicBezTo>
                <a:cubicBezTo>
                  <a:pt x="2728" y="1547"/>
                  <a:pt x="2730" y="1545"/>
                  <a:pt x="2731" y="1543"/>
                </a:cubicBezTo>
                <a:cubicBezTo>
                  <a:pt x="2732" y="1541"/>
                  <a:pt x="2733" y="1539"/>
                  <a:pt x="2736" y="1539"/>
                </a:cubicBezTo>
                <a:cubicBezTo>
                  <a:pt x="2738" y="1542"/>
                  <a:pt x="2750" y="1549"/>
                  <a:pt x="2752" y="1550"/>
                </a:cubicBezTo>
                <a:cubicBezTo>
                  <a:pt x="2752" y="1550"/>
                  <a:pt x="2752" y="1550"/>
                  <a:pt x="2752" y="1550"/>
                </a:cubicBezTo>
                <a:cubicBezTo>
                  <a:pt x="2752" y="1549"/>
                  <a:pt x="2752" y="1549"/>
                  <a:pt x="2752" y="1549"/>
                </a:cubicBezTo>
                <a:cubicBezTo>
                  <a:pt x="2754" y="1541"/>
                  <a:pt x="2760" y="1539"/>
                  <a:pt x="2768" y="1536"/>
                </a:cubicBezTo>
                <a:cubicBezTo>
                  <a:pt x="2774" y="1534"/>
                  <a:pt x="2781" y="1532"/>
                  <a:pt x="2783" y="1524"/>
                </a:cubicBezTo>
                <a:cubicBezTo>
                  <a:pt x="2783" y="1524"/>
                  <a:pt x="2783" y="1524"/>
                  <a:pt x="2783" y="1524"/>
                </a:cubicBezTo>
                <a:cubicBezTo>
                  <a:pt x="2783" y="1516"/>
                  <a:pt x="2787" y="1508"/>
                  <a:pt x="2789" y="1501"/>
                </a:cubicBezTo>
                <a:cubicBezTo>
                  <a:pt x="2790" y="1498"/>
                  <a:pt x="2792" y="1496"/>
                  <a:pt x="2792" y="1493"/>
                </a:cubicBezTo>
                <a:cubicBezTo>
                  <a:pt x="2794" y="1486"/>
                  <a:pt x="2797" y="1482"/>
                  <a:pt x="2800" y="1478"/>
                </a:cubicBezTo>
                <a:cubicBezTo>
                  <a:pt x="2802" y="1475"/>
                  <a:pt x="2804" y="1472"/>
                  <a:pt x="2806" y="1469"/>
                </a:cubicBezTo>
                <a:cubicBezTo>
                  <a:pt x="2807" y="1467"/>
                  <a:pt x="2807" y="1466"/>
                  <a:pt x="2808" y="1465"/>
                </a:cubicBezTo>
                <a:cubicBezTo>
                  <a:pt x="2808" y="1464"/>
                  <a:pt x="2808" y="1463"/>
                  <a:pt x="2809" y="1462"/>
                </a:cubicBezTo>
                <a:cubicBezTo>
                  <a:pt x="2809" y="1462"/>
                  <a:pt x="2809" y="1462"/>
                  <a:pt x="2809" y="1462"/>
                </a:cubicBezTo>
                <a:cubicBezTo>
                  <a:pt x="2809" y="1452"/>
                  <a:pt x="2809" y="1452"/>
                  <a:pt x="2809" y="1452"/>
                </a:cubicBezTo>
                <a:cubicBezTo>
                  <a:pt x="2811" y="1449"/>
                  <a:pt x="2813" y="1438"/>
                  <a:pt x="2813" y="1430"/>
                </a:cubicBezTo>
                <a:cubicBezTo>
                  <a:pt x="2813" y="1420"/>
                  <a:pt x="2810" y="1401"/>
                  <a:pt x="2805" y="1393"/>
                </a:cubicBezTo>
                <a:lnTo>
                  <a:pt x="2806" y="1393"/>
                </a:lnTo>
                <a:close/>
                <a:moveTo>
                  <a:pt x="2934" y="1643"/>
                </a:moveTo>
                <a:cubicBezTo>
                  <a:pt x="2934" y="1645"/>
                  <a:pt x="2934" y="1646"/>
                  <a:pt x="2934" y="1647"/>
                </a:cubicBezTo>
                <a:cubicBezTo>
                  <a:pt x="2934" y="1648"/>
                  <a:pt x="2934" y="1648"/>
                  <a:pt x="2934" y="1649"/>
                </a:cubicBezTo>
                <a:cubicBezTo>
                  <a:pt x="2934" y="1650"/>
                  <a:pt x="2934" y="1650"/>
                  <a:pt x="2934" y="1650"/>
                </a:cubicBezTo>
                <a:cubicBezTo>
                  <a:pt x="2934" y="1650"/>
                  <a:pt x="2934" y="1650"/>
                  <a:pt x="2934" y="1650"/>
                </a:cubicBezTo>
                <a:cubicBezTo>
                  <a:pt x="2937" y="1650"/>
                  <a:pt x="2939" y="1647"/>
                  <a:pt x="2940" y="1643"/>
                </a:cubicBezTo>
                <a:cubicBezTo>
                  <a:pt x="2940" y="1643"/>
                  <a:pt x="2940" y="1643"/>
                  <a:pt x="2940" y="1643"/>
                </a:cubicBezTo>
                <a:cubicBezTo>
                  <a:pt x="2934" y="1643"/>
                  <a:pt x="2934" y="1643"/>
                  <a:pt x="2934" y="1643"/>
                </a:cubicBezTo>
                <a:close/>
                <a:moveTo>
                  <a:pt x="2991" y="1574"/>
                </a:moveTo>
                <a:cubicBezTo>
                  <a:pt x="2991" y="1573"/>
                  <a:pt x="2991" y="1573"/>
                  <a:pt x="2991" y="1573"/>
                </a:cubicBezTo>
                <a:cubicBezTo>
                  <a:pt x="2991" y="1573"/>
                  <a:pt x="2991" y="1573"/>
                  <a:pt x="2991" y="1573"/>
                </a:cubicBezTo>
                <a:cubicBezTo>
                  <a:pt x="2990" y="1573"/>
                  <a:pt x="2989" y="1573"/>
                  <a:pt x="2989" y="1572"/>
                </a:cubicBezTo>
                <a:cubicBezTo>
                  <a:pt x="2989" y="1572"/>
                  <a:pt x="2989" y="1572"/>
                  <a:pt x="2989" y="1572"/>
                </a:cubicBezTo>
                <a:cubicBezTo>
                  <a:pt x="2989" y="1572"/>
                  <a:pt x="2989" y="1572"/>
                  <a:pt x="2989" y="1572"/>
                </a:cubicBezTo>
                <a:cubicBezTo>
                  <a:pt x="2988" y="1572"/>
                  <a:pt x="2987" y="1573"/>
                  <a:pt x="2987" y="1573"/>
                </a:cubicBezTo>
                <a:cubicBezTo>
                  <a:pt x="2986" y="1574"/>
                  <a:pt x="2985" y="1575"/>
                  <a:pt x="2983" y="1575"/>
                </a:cubicBezTo>
                <a:cubicBezTo>
                  <a:pt x="2983" y="1575"/>
                  <a:pt x="2983" y="1575"/>
                  <a:pt x="2983" y="1575"/>
                </a:cubicBezTo>
                <a:cubicBezTo>
                  <a:pt x="2982" y="1574"/>
                  <a:pt x="2982" y="1573"/>
                  <a:pt x="2982" y="1572"/>
                </a:cubicBezTo>
                <a:cubicBezTo>
                  <a:pt x="2982" y="1571"/>
                  <a:pt x="2982" y="1571"/>
                  <a:pt x="2982" y="1571"/>
                </a:cubicBezTo>
                <a:cubicBezTo>
                  <a:pt x="2982" y="1570"/>
                  <a:pt x="2982" y="1570"/>
                  <a:pt x="2982" y="1570"/>
                </a:cubicBezTo>
                <a:cubicBezTo>
                  <a:pt x="2982" y="1570"/>
                  <a:pt x="2982" y="1570"/>
                  <a:pt x="2982" y="1570"/>
                </a:cubicBezTo>
                <a:cubicBezTo>
                  <a:pt x="2981" y="1570"/>
                  <a:pt x="2980" y="1569"/>
                  <a:pt x="2980" y="1567"/>
                </a:cubicBezTo>
                <a:cubicBezTo>
                  <a:pt x="2980" y="1567"/>
                  <a:pt x="2980" y="1567"/>
                  <a:pt x="2980" y="1567"/>
                </a:cubicBezTo>
                <a:cubicBezTo>
                  <a:pt x="2980" y="1567"/>
                  <a:pt x="2980" y="1567"/>
                  <a:pt x="2980" y="1567"/>
                </a:cubicBezTo>
                <a:cubicBezTo>
                  <a:pt x="2977" y="1568"/>
                  <a:pt x="2972" y="1574"/>
                  <a:pt x="2972" y="1579"/>
                </a:cubicBezTo>
                <a:cubicBezTo>
                  <a:pt x="2972" y="1580"/>
                  <a:pt x="2972" y="1580"/>
                  <a:pt x="2972" y="1580"/>
                </a:cubicBezTo>
                <a:cubicBezTo>
                  <a:pt x="2972" y="1580"/>
                  <a:pt x="2972" y="1580"/>
                  <a:pt x="2972" y="1580"/>
                </a:cubicBezTo>
                <a:cubicBezTo>
                  <a:pt x="2969" y="1581"/>
                  <a:pt x="2967" y="1582"/>
                  <a:pt x="2966" y="1584"/>
                </a:cubicBezTo>
                <a:cubicBezTo>
                  <a:pt x="2966" y="1585"/>
                  <a:pt x="2966" y="1585"/>
                  <a:pt x="2966" y="1585"/>
                </a:cubicBezTo>
                <a:cubicBezTo>
                  <a:pt x="2966" y="1585"/>
                  <a:pt x="2966" y="1585"/>
                  <a:pt x="2966" y="1585"/>
                </a:cubicBezTo>
                <a:cubicBezTo>
                  <a:pt x="2966" y="1586"/>
                  <a:pt x="2966" y="1588"/>
                  <a:pt x="2966" y="1588"/>
                </a:cubicBezTo>
                <a:cubicBezTo>
                  <a:pt x="2964" y="1591"/>
                  <a:pt x="2961" y="1596"/>
                  <a:pt x="2960" y="1596"/>
                </a:cubicBezTo>
                <a:cubicBezTo>
                  <a:pt x="2958" y="1597"/>
                  <a:pt x="2956" y="1599"/>
                  <a:pt x="2955" y="1601"/>
                </a:cubicBezTo>
                <a:cubicBezTo>
                  <a:pt x="2951" y="1604"/>
                  <a:pt x="2948" y="1608"/>
                  <a:pt x="2943" y="1608"/>
                </a:cubicBezTo>
                <a:cubicBezTo>
                  <a:pt x="2941" y="1608"/>
                  <a:pt x="2939" y="1610"/>
                  <a:pt x="2938" y="1612"/>
                </a:cubicBezTo>
                <a:cubicBezTo>
                  <a:pt x="2937" y="1614"/>
                  <a:pt x="2935" y="1616"/>
                  <a:pt x="2934" y="1617"/>
                </a:cubicBezTo>
                <a:cubicBezTo>
                  <a:pt x="2930" y="1621"/>
                  <a:pt x="2926" y="1625"/>
                  <a:pt x="2926" y="1632"/>
                </a:cubicBezTo>
                <a:cubicBezTo>
                  <a:pt x="2926" y="1633"/>
                  <a:pt x="2927" y="1633"/>
                  <a:pt x="2927" y="1634"/>
                </a:cubicBezTo>
                <a:cubicBezTo>
                  <a:pt x="2928" y="1636"/>
                  <a:pt x="2940" y="1641"/>
                  <a:pt x="2941" y="1641"/>
                </a:cubicBezTo>
                <a:cubicBezTo>
                  <a:pt x="2942" y="1641"/>
                  <a:pt x="2944" y="1641"/>
                  <a:pt x="2945" y="1642"/>
                </a:cubicBezTo>
                <a:cubicBezTo>
                  <a:pt x="2946" y="1642"/>
                  <a:pt x="2947" y="1642"/>
                  <a:pt x="2948" y="1642"/>
                </a:cubicBezTo>
                <a:cubicBezTo>
                  <a:pt x="2952" y="1642"/>
                  <a:pt x="2957" y="1637"/>
                  <a:pt x="2960" y="1634"/>
                </a:cubicBezTo>
                <a:cubicBezTo>
                  <a:pt x="2960" y="1634"/>
                  <a:pt x="2960" y="1634"/>
                  <a:pt x="2960" y="1634"/>
                </a:cubicBezTo>
                <a:cubicBezTo>
                  <a:pt x="2960" y="1634"/>
                  <a:pt x="2960" y="1634"/>
                  <a:pt x="2960" y="1634"/>
                </a:cubicBezTo>
                <a:cubicBezTo>
                  <a:pt x="2960" y="1633"/>
                  <a:pt x="2968" y="1614"/>
                  <a:pt x="2970" y="1609"/>
                </a:cubicBezTo>
                <a:cubicBezTo>
                  <a:pt x="2971" y="1609"/>
                  <a:pt x="2974" y="1609"/>
                  <a:pt x="2976" y="1608"/>
                </a:cubicBezTo>
                <a:cubicBezTo>
                  <a:pt x="2978" y="1608"/>
                  <a:pt x="2980" y="1608"/>
                  <a:pt x="2981" y="1608"/>
                </a:cubicBezTo>
                <a:cubicBezTo>
                  <a:pt x="2981" y="1608"/>
                  <a:pt x="2981" y="1608"/>
                  <a:pt x="2981" y="1608"/>
                </a:cubicBezTo>
                <a:cubicBezTo>
                  <a:pt x="2981" y="1607"/>
                  <a:pt x="2981" y="1607"/>
                  <a:pt x="2981" y="1607"/>
                </a:cubicBezTo>
                <a:cubicBezTo>
                  <a:pt x="2981" y="1605"/>
                  <a:pt x="2981" y="1604"/>
                  <a:pt x="2981" y="1603"/>
                </a:cubicBezTo>
                <a:cubicBezTo>
                  <a:pt x="2981" y="1601"/>
                  <a:pt x="2981" y="1599"/>
                  <a:pt x="2981" y="1597"/>
                </a:cubicBezTo>
                <a:cubicBezTo>
                  <a:pt x="2986" y="1596"/>
                  <a:pt x="2992" y="1584"/>
                  <a:pt x="2993" y="1579"/>
                </a:cubicBezTo>
                <a:cubicBezTo>
                  <a:pt x="2993" y="1579"/>
                  <a:pt x="2993" y="1579"/>
                  <a:pt x="2993" y="1579"/>
                </a:cubicBezTo>
                <a:cubicBezTo>
                  <a:pt x="2993" y="1579"/>
                  <a:pt x="2993" y="1579"/>
                  <a:pt x="2993" y="1579"/>
                </a:cubicBezTo>
                <a:cubicBezTo>
                  <a:pt x="2992" y="1578"/>
                  <a:pt x="2991" y="1576"/>
                  <a:pt x="2991" y="1574"/>
                </a:cubicBezTo>
                <a:close/>
                <a:moveTo>
                  <a:pt x="3028" y="1531"/>
                </a:moveTo>
                <a:cubicBezTo>
                  <a:pt x="3026" y="1531"/>
                  <a:pt x="3024" y="1532"/>
                  <a:pt x="3023" y="1533"/>
                </a:cubicBezTo>
                <a:cubicBezTo>
                  <a:pt x="3022" y="1534"/>
                  <a:pt x="3021" y="1535"/>
                  <a:pt x="3018" y="1535"/>
                </a:cubicBezTo>
                <a:cubicBezTo>
                  <a:pt x="3011" y="1535"/>
                  <a:pt x="3007" y="1530"/>
                  <a:pt x="3007" y="1521"/>
                </a:cubicBezTo>
                <a:cubicBezTo>
                  <a:pt x="3007" y="1520"/>
                  <a:pt x="3007" y="1520"/>
                  <a:pt x="3007" y="1520"/>
                </a:cubicBezTo>
                <a:cubicBezTo>
                  <a:pt x="3004" y="1520"/>
                  <a:pt x="3004" y="1520"/>
                  <a:pt x="3004" y="1520"/>
                </a:cubicBezTo>
                <a:cubicBezTo>
                  <a:pt x="3003" y="1520"/>
                  <a:pt x="3001" y="1522"/>
                  <a:pt x="3001" y="1524"/>
                </a:cubicBezTo>
                <a:cubicBezTo>
                  <a:pt x="3000" y="1524"/>
                  <a:pt x="3000" y="1524"/>
                  <a:pt x="3000" y="1524"/>
                </a:cubicBezTo>
                <a:cubicBezTo>
                  <a:pt x="2998" y="1522"/>
                  <a:pt x="2995" y="1515"/>
                  <a:pt x="2995" y="1513"/>
                </a:cubicBezTo>
                <a:cubicBezTo>
                  <a:pt x="2995" y="1512"/>
                  <a:pt x="2995" y="1512"/>
                  <a:pt x="2995" y="1512"/>
                </a:cubicBezTo>
                <a:cubicBezTo>
                  <a:pt x="2996" y="1511"/>
                  <a:pt x="2996" y="1511"/>
                  <a:pt x="2996" y="1511"/>
                </a:cubicBezTo>
                <a:cubicBezTo>
                  <a:pt x="2996" y="1510"/>
                  <a:pt x="2996" y="1510"/>
                  <a:pt x="2996" y="1510"/>
                </a:cubicBezTo>
                <a:cubicBezTo>
                  <a:pt x="2996" y="1510"/>
                  <a:pt x="2996" y="1510"/>
                  <a:pt x="2996" y="1510"/>
                </a:cubicBezTo>
                <a:cubicBezTo>
                  <a:pt x="2995" y="1510"/>
                  <a:pt x="2995" y="1509"/>
                  <a:pt x="2994" y="1508"/>
                </a:cubicBezTo>
                <a:cubicBezTo>
                  <a:pt x="2994" y="1507"/>
                  <a:pt x="2993" y="1506"/>
                  <a:pt x="2992" y="1505"/>
                </a:cubicBezTo>
                <a:cubicBezTo>
                  <a:pt x="2991" y="1503"/>
                  <a:pt x="2990" y="1502"/>
                  <a:pt x="2988" y="1502"/>
                </a:cubicBezTo>
                <a:cubicBezTo>
                  <a:pt x="2985" y="1500"/>
                  <a:pt x="2983" y="1499"/>
                  <a:pt x="2981" y="1495"/>
                </a:cubicBezTo>
                <a:cubicBezTo>
                  <a:pt x="2980" y="1495"/>
                  <a:pt x="2980" y="1495"/>
                  <a:pt x="2980" y="1495"/>
                </a:cubicBezTo>
                <a:cubicBezTo>
                  <a:pt x="2981" y="1500"/>
                  <a:pt x="2985" y="1515"/>
                  <a:pt x="2993" y="1517"/>
                </a:cubicBezTo>
                <a:cubicBezTo>
                  <a:pt x="2993" y="1517"/>
                  <a:pt x="2993" y="1517"/>
                  <a:pt x="2993" y="1517"/>
                </a:cubicBezTo>
                <a:cubicBezTo>
                  <a:pt x="2993" y="1518"/>
                  <a:pt x="2992" y="1519"/>
                  <a:pt x="2992" y="1520"/>
                </a:cubicBezTo>
                <a:cubicBezTo>
                  <a:pt x="2992" y="1522"/>
                  <a:pt x="2993" y="1523"/>
                  <a:pt x="2994" y="1524"/>
                </a:cubicBezTo>
                <a:cubicBezTo>
                  <a:pt x="2995" y="1525"/>
                  <a:pt x="2995" y="1526"/>
                  <a:pt x="2996" y="1527"/>
                </a:cubicBezTo>
                <a:cubicBezTo>
                  <a:pt x="2996" y="1527"/>
                  <a:pt x="2996" y="1527"/>
                  <a:pt x="2996" y="1527"/>
                </a:cubicBezTo>
                <a:cubicBezTo>
                  <a:pt x="2996" y="1529"/>
                  <a:pt x="2997" y="1531"/>
                  <a:pt x="2997" y="1533"/>
                </a:cubicBezTo>
                <a:cubicBezTo>
                  <a:pt x="2997" y="1538"/>
                  <a:pt x="2997" y="1543"/>
                  <a:pt x="2993" y="1547"/>
                </a:cubicBezTo>
                <a:cubicBezTo>
                  <a:pt x="2993" y="1547"/>
                  <a:pt x="2992" y="1548"/>
                  <a:pt x="2992" y="1548"/>
                </a:cubicBezTo>
                <a:cubicBezTo>
                  <a:pt x="2990" y="1549"/>
                  <a:pt x="2989" y="1550"/>
                  <a:pt x="2989" y="1553"/>
                </a:cubicBezTo>
                <a:cubicBezTo>
                  <a:pt x="2989" y="1556"/>
                  <a:pt x="2992" y="1557"/>
                  <a:pt x="2995" y="1558"/>
                </a:cubicBezTo>
                <a:cubicBezTo>
                  <a:pt x="2998" y="1559"/>
                  <a:pt x="3000" y="1560"/>
                  <a:pt x="3000" y="1563"/>
                </a:cubicBezTo>
                <a:cubicBezTo>
                  <a:pt x="3000" y="1565"/>
                  <a:pt x="2999" y="1566"/>
                  <a:pt x="2999" y="1568"/>
                </a:cubicBezTo>
                <a:cubicBezTo>
                  <a:pt x="2998" y="1569"/>
                  <a:pt x="2997" y="1571"/>
                  <a:pt x="2997" y="1573"/>
                </a:cubicBezTo>
                <a:cubicBezTo>
                  <a:pt x="2997" y="1576"/>
                  <a:pt x="2999" y="1578"/>
                  <a:pt x="3002" y="1578"/>
                </a:cubicBezTo>
                <a:cubicBezTo>
                  <a:pt x="3007" y="1578"/>
                  <a:pt x="3009" y="1574"/>
                  <a:pt x="3012" y="1569"/>
                </a:cubicBezTo>
                <a:cubicBezTo>
                  <a:pt x="3012" y="1568"/>
                  <a:pt x="3013" y="1567"/>
                  <a:pt x="3013" y="1566"/>
                </a:cubicBezTo>
                <a:cubicBezTo>
                  <a:pt x="3014" y="1565"/>
                  <a:pt x="3014" y="1565"/>
                  <a:pt x="3014" y="1565"/>
                </a:cubicBezTo>
                <a:cubicBezTo>
                  <a:pt x="3016" y="1563"/>
                  <a:pt x="3018" y="1560"/>
                  <a:pt x="3018" y="1559"/>
                </a:cubicBezTo>
                <a:cubicBezTo>
                  <a:pt x="3018" y="1558"/>
                  <a:pt x="3017" y="1557"/>
                  <a:pt x="3017" y="1557"/>
                </a:cubicBezTo>
                <a:cubicBezTo>
                  <a:pt x="3016" y="1555"/>
                  <a:pt x="3016" y="1555"/>
                  <a:pt x="3016" y="1555"/>
                </a:cubicBezTo>
                <a:cubicBezTo>
                  <a:pt x="3016" y="1553"/>
                  <a:pt x="3019" y="1552"/>
                  <a:pt x="3022" y="1551"/>
                </a:cubicBezTo>
                <a:cubicBezTo>
                  <a:pt x="3022" y="1551"/>
                  <a:pt x="3022" y="1551"/>
                  <a:pt x="3022" y="1551"/>
                </a:cubicBezTo>
                <a:cubicBezTo>
                  <a:pt x="3023" y="1550"/>
                  <a:pt x="3023" y="1550"/>
                  <a:pt x="3023" y="1550"/>
                </a:cubicBezTo>
                <a:cubicBezTo>
                  <a:pt x="3023" y="1550"/>
                  <a:pt x="3023" y="1550"/>
                  <a:pt x="3023" y="1550"/>
                </a:cubicBezTo>
                <a:cubicBezTo>
                  <a:pt x="3024" y="1551"/>
                  <a:pt x="3024" y="1551"/>
                  <a:pt x="3024" y="1551"/>
                </a:cubicBezTo>
                <a:cubicBezTo>
                  <a:pt x="3024" y="1552"/>
                  <a:pt x="3024" y="1552"/>
                  <a:pt x="3024" y="1552"/>
                </a:cubicBezTo>
                <a:cubicBezTo>
                  <a:pt x="3025" y="1551"/>
                  <a:pt x="3025" y="1551"/>
                  <a:pt x="3025" y="1551"/>
                </a:cubicBezTo>
                <a:cubicBezTo>
                  <a:pt x="3026" y="1549"/>
                  <a:pt x="3027" y="1546"/>
                  <a:pt x="3027" y="1544"/>
                </a:cubicBezTo>
                <a:cubicBezTo>
                  <a:pt x="3028" y="1540"/>
                  <a:pt x="3029" y="1537"/>
                  <a:pt x="3031" y="1534"/>
                </a:cubicBezTo>
                <a:cubicBezTo>
                  <a:pt x="3031" y="1534"/>
                  <a:pt x="3031" y="1534"/>
                  <a:pt x="3031" y="1534"/>
                </a:cubicBezTo>
                <a:cubicBezTo>
                  <a:pt x="3031" y="1534"/>
                  <a:pt x="3031" y="1534"/>
                  <a:pt x="3031" y="1534"/>
                </a:cubicBezTo>
                <a:cubicBezTo>
                  <a:pt x="3030" y="1533"/>
                  <a:pt x="3029" y="1531"/>
                  <a:pt x="3028" y="1531"/>
                </a:cubicBezTo>
                <a:close/>
                <a:moveTo>
                  <a:pt x="2566" y="1039"/>
                </a:moveTo>
                <a:cubicBezTo>
                  <a:pt x="2566" y="1039"/>
                  <a:pt x="2566" y="1039"/>
                  <a:pt x="2566" y="1039"/>
                </a:cubicBezTo>
                <a:cubicBezTo>
                  <a:pt x="2566" y="1040"/>
                  <a:pt x="2566" y="1040"/>
                  <a:pt x="2566" y="1040"/>
                </a:cubicBezTo>
                <a:cubicBezTo>
                  <a:pt x="2566" y="1040"/>
                  <a:pt x="2565" y="1041"/>
                  <a:pt x="2565" y="1042"/>
                </a:cubicBezTo>
                <a:cubicBezTo>
                  <a:pt x="2565" y="1043"/>
                  <a:pt x="2565" y="1046"/>
                  <a:pt x="2565" y="1047"/>
                </a:cubicBezTo>
                <a:cubicBezTo>
                  <a:pt x="2564" y="1047"/>
                  <a:pt x="2564" y="1048"/>
                  <a:pt x="2563" y="1048"/>
                </a:cubicBezTo>
                <a:cubicBezTo>
                  <a:pt x="2561" y="1048"/>
                  <a:pt x="2559" y="1049"/>
                  <a:pt x="2559" y="1051"/>
                </a:cubicBezTo>
                <a:cubicBezTo>
                  <a:pt x="2557" y="1052"/>
                  <a:pt x="2556" y="1053"/>
                  <a:pt x="2556" y="1055"/>
                </a:cubicBezTo>
                <a:cubicBezTo>
                  <a:pt x="2556" y="1055"/>
                  <a:pt x="2555" y="1055"/>
                  <a:pt x="2555" y="1055"/>
                </a:cubicBezTo>
                <a:cubicBezTo>
                  <a:pt x="2554" y="1055"/>
                  <a:pt x="2554" y="1055"/>
                  <a:pt x="2554" y="1054"/>
                </a:cubicBezTo>
                <a:cubicBezTo>
                  <a:pt x="2553" y="1052"/>
                  <a:pt x="2552" y="1050"/>
                  <a:pt x="2550" y="1050"/>
                </a:cubicBezTo>
                <a:cubicBezTo>
                  <a:pt x="2547" y="1050"/>
                  <a:pt x="2546" y="1052"/>
                  <a:pt x="2545" y="1054"/>
                </a:cubicBezTo>
                <a:cubicBezTo>
                  <a:pt x="2544" y="1055"/>
                  <a:pt x="2543" y="1057"/>
                  <a:pt x="2540" y="1057"/>
                </a:cubicBezTo>
                <a:cubicBezTo>
                  <a:pt x="2540" y="1057"/>
                  <a:pt x="2540" y="1057"/>
                  <a:pt x="2540" y="1057"/>
                </a:cubicBezTo>
                <a:cubicBezTo>
                  <a:pt x="2540" y="1057"/>
                  <a:pt x="2540" y="1057"/>
                  <a:pt x="2540" y="1057"/>
                </a:cubicBezTo>
                <a:cubicBezTo>
                  <a:pt x="2540" y="1058"/>
                  <a:pt x="2539" y="1059"/>
                  <a:pt x="2539" y="1060"/>
                </a:cubicBezTo>
                <a:cubicBezTo>
                  <a:pt x="2538" y="1062"/>
                  <a:pt x="2538" y="1063"/>
                  <a:pt x="2538" y="1065"/>
                </a:cubicBezTo>
                <a:cubicBezTo>
                  <a:pt x="2538" y="1066"/>
                  <a:pt x="2538" y="1066"/>
                  <a:pt x="2539" y="1067"/>
                </a:cubicBezTo>
                <a:cubicBezTo>
                  <a:pt x="2539" y="1068"/>
                  <a:pt x="2539" y="1068"/>
                  <a:pt x="2539" y="1068"/>
                </a:cubicBezTo>
                <a:cubicBezTo>
                  <a:pt x="2539" y="1068"/>
                  <a:pt x="2539" y="1069"/>
                  <a:pt x="2539" y="1070"/>
                </a:cubicBezTo>
                <a:cubicBezTo>
                  <a:pt x="2538" y="1072"/>
                  <a:pt x="2538" y="1074"/>
                  <a:pt x="2538" y="1075"/>
                </a:cubicBezTo>
                <a:cubicBezTo>
                  <a:pt x="2538" y="1075"/>
                  <a:pt x="2539" y="1075"/>
                  <a:pt x="2539" y="1076"/>
                </a:cubicBezTo>
                <a:cubicBezTo>
                  <a:pt x="2541" y="1076"/>
                  <a:pt x="2542" y="1072"/>
                  <a:pt x="2543" y="1069"/>
                </a:cubicBezTo>
                <a:cubicBezTo>
                  <a:pt x="2543" y="1067"/>
                  <a:pt x="2544" y="1064"/>
                  <a:pt x="2545" y="1063"/>
                </a:cubicBezTo>
                <a:cubicBezTo>
                  <a:pt x="2545" y="1063"/>
                  <a:pt x="2547" y="1065"/>
                  <a:pt x="2548" y="1065"/>
                </a:cubicBezTo>
                <a:cubicBezTo>
                  <a:pt x="2548" y="1065"/>
                  <a:pt x="2548" y="1065"/>
                  <a:pt x="2548" y="1065"/>
                </a:cubicBezTo>
                <a:cubicBezTo>
                  <a:pt x="2548" y="1065"/>
                  <a:pt x="2548" y="1065"/>
                  <a:pt x="2548" y="1065"/>
                </a:cubicBezTo>
                <a:cubicBezTo>
                  <a:pt x="2549" y="1064"/>
                  <a:pt x="2549" y="1064"/>
                  <a:pt x="2549" y="1064"/>
                </a:cubicBezTo>
                <a:cubicBezTo>
                  <a:pt x="2549" y="1065"/>
                  <a:pt x="2550" y="1065"/>
                  <a:pt x="2551" y="1065"/>
                </a:cubicBezTo>
                <a:cubicBezTo>
                  <a:pt x="2552" y="1065"/>
                  <a:pt x="2552" y="1065"/>
                  <a:pt x="2552" y="1065"/>
                </a:cubicBezTo>
                <a:cubicBezTo>
                  <a:pt x="2552" y="1065"/>
                  <a:pt x="2552" y="1065"/>
                  <a:pt x="2552" y="1065"/>
                </a:cubicBezTo>
                <a:cubicBezTo>
                  <a:pt x="2551" y="1064"/>
                  <a:pt x="2552" y="1064"/>
                  <a:pt x="2552" y="1063"/>
                </a:cubicBezTo>
                <a:cubicBezTo>
                  <a:pt x="2552" y="1063"/>
                  <a:pt x="2552" y="1063"/>
                  <a:pt x="2552" y="1063"/>
                </a:cubicBezTo>
                <a:cubicBezTo>
                  <a:pt x="2555" y="1063"/>
                  <a:pt x="2555" y="1063"/>
                  <a:pt x="2555" y="1063"/>
                </a:cubicBezTo>
                <a:cubicBezTo>
                  <a:pt x="2555" y="1064"/>
                  <a:pt x="2555" y="1064"/>
                  <a:pt x="2555" y="1064"/>
                </a:cubicBezTo>
                <a:cubicBezTo>
                  <a:pt x="2556" y="1065"/>
                  <a:pt x="2556" y="1065"/>
                  <a:pt x="2556" y="1065"/>
                </a:cubicBezTo>
                <a:cubicBezTo>
                  <a:pt x="2555" y="1066"/>
                  <a:pt x="2555" y="1067"/>
                  <a:pt x="2555" y="1069"/>
                </a:cubicBezTo>
                <a:cubicBezTo>
                  <a:pt x="2554" y="1075"/>
                  <a:pt x="2558" y="1080"/>
                  <a:pt x="2562" y="1080"/>
                </a:cubicBezTo>
                <a:cubicBezTo>
                  <a:pt x="2563" y="1080"/>
                  <a:pt x="2563" y="1080"/>
                  <a:pt x="2563" y="1080"/>
                </a:cubicBezTo>
                <a:cubicBezTo>
                  <a:pt x="2563" y="1080"/>
                  <a:pt x="2564" y="1080"/>
                  <a:pt x="2565" y="1080"/>
                </a:cubicBezTo>
                <a:cubicBezTo>
                  <a:pt x="2565" y="1081"/>
                  <a:pt x="2565" y="1082"/>
                  <a:pt x="2566" y="1082"/>
                </a:cubicBezTo>
                <a:cubicBezTo>
                  <a:pt x="2567" y="1082"/>
                  <a:pt x="2568" y="1082"/>
                  <a:pt x="2569" y="1081"/>
                </a:cubicBezTo>
                <a:cubicBezTo>
                  <a:pt x="2569" y="1081"/>
                  <a:pt x="2570" y="1079"/>
                  <a:pt x="2570" y="1078"/>
                </a:cubicBezTo>
                <a:cubicBezTo>
                  <a:pt x="2570" y="1076"/>
                  <a:pt x="2569" y="1075"/>
                  <a:pt x="2568" y="1074"/>
                </a:cubicBezTo>
                <a:cubicBezTo>
                  <a:pt x="2567" y="1073"/>
                  <a:pt x="2566" y="1072"/>
                  <a:pt x="2566" y="1071"/>
                </a:cubicBezTo>
                <a:cubicBezTo>
                  <a:pt x="2566" y="1070"/>
                  <a:pt x="2567" y="1070"/>
                  <a:pt x="2568" y="1069"/>
                </a:cubicBezTo>
                <a:cubicBezTo>
                  <a:pt x="2568" y="1069"/>
                  <a:pt x="2568" y="1068"/>
                  <a:pt x="2569" y="1068"/>
                </a:cubicBezTo>
                <a:cubicBezTo>
                  <a:pt x="2569" y="1068"/>
                  <a:pt x="2569" y="1068"/>
                  <a:pt x="2569" y="1068"/>
                </a:cubicBezTo>
                <a:cubicBezTo>
                  <a:pt x="2570" y="1070"/>
                  <a:pt x="2570" y="1070"/>
                  <a:pt x="2570" y="1070"/>
                </a:cubicBezTo>
                <a:cubicBezTo>
                  <a:pt x="2570" y="1070"/>
                  <a:pt x="2570" y="1070"/>
                  <a:pt x="2570" y="1070"/>
                </a:cubicBezTo>
                <a:cubicBezTo>
                  <a:pt x="2571" y="1072"/>
                  <a:pt x="2572" y="1076"/>
                  <a:pt x="2574" y="1076"/>
                </a:cubicBezTo>
                <a:cubicBezTo>
                  <a:pt x="2574" y="1077"/>
                  <a:pt x="2574" y="1077"/>
                  <a:pt x="2574" y="1077"/>
                </a:cubicBezTo>
                <a:cubicBezTo>
                  <a:pt x="2574" y="1076"/>
                  <a:pt x="2574" y="1076"/>
                  <a:pt x="2574" y="1076"/>
                </a:cubicBezTo>
                <a:cubicBezTo>
                  <a:pt x="2574" y="1073"/>
                  <a:pt x="2575" y="1072"/>
                  <a:pt x="2576" y="1070"/>
                </a:cubicBezTo>
                <a:cubicBezTo>
                  <a:pt x="2577" y="1069"/>
                  <a:pt x="2577" y="1067"/>
                  <a:pt x="2578" y="1066"/>
                </a:cubicBezTo>
                <a:cubicBezTo>
                  <a:pt x="2578" y="1063"/>
                  <a:pt x="2573" y="1045"/>
                  <a:pt x="2571" y="1042"/>
                </a:cubicBezTo>
                <a:cubicBezTo>
                  <a:pt x="2570" y="1041"/>
                  <a:pt x="2568" y="1039"/>
                  <a:pt x="2566" y="1039"/>
                </a:cubicBezTo>
                <a:close/>
                <a:moveTo>
                  <a:pt x="2509" y="1040"/>
                </a:moveTo>
                <a:cubicBezTo>
                  <a:pt x="2506" y="1043"/>
                  <a:pt x="2502" y="1046"/>
                  <a:pt x="2500" y="1052"/>
                </a:cubicBezTo>
                <a:cubicBezTo>
                  <a:pt x="2500" y="1052"/>
                  <a:pt x="2500" y="1052"/>
                  <a:pt x="2500" y="1052"/>
                </a:cubicBezTo>
                <a:cubicBezTo>
                  <a:pt x="2500" y="1052"/>
                  <a:pt x="2500" y="1052"/>
                  <a:pt x="2500" y="1052"/>
                </a:cubicBezTo>
                <a:cubicBezTo>
                  <a:pt x="2502" y="1052"/>
                  <a:pt x="2502" y="1052"/>
                  <a:pt x="2502" y="1052"/>
                </a:cubicBezTo>
                <a:cubicBezTo>
                  <a:pt x="2502" y="1052"/>
                  <a:pt x="2502" y="1052"/>
                  <a:pt x="2502" y="1052"/>
                </a:cubicBezTo>
                <a:cubicBezTo>
                  <a:pt x="2503" y="1052"/>
                  <a:pt x="2503" y="1052"/>
                  <a:pt x="2503" y="1052"/>
                </a:cubicBezTo>
                <a:cubicBezTo>
                  <a:pt x="2506" y="1050"/>
                  <a:pt x="2511" y="1046"/>
                  <a:pt x="2513" y="1039"/>
                </a:cubicBezTo>
                <a:cubicBezTo>
                  <a:pt x="2514" y="1039"/>
                  <a:pt x="2517" y="1039"/>
                  <a:pt x="2517" y="1036"/>
                </a:cubicBezTo>
                <a:cubicBezTo>
                  <a:pt x="2518" y="1036"/>
                  <a:pt x="2519" y="1035"/>
                  <a:pt x="2519" y="1035"/>
                </a:cubicBezTo>
                <a:cubicBezTo>
                  <a:pt x="2520" y="1034"/>
                  <a:pt x="2520" y="1034"/>
                  <a:pt x="2520" y="1034"/>
                </a:cubicBezTo>
                <a:cubicBezTo>
                  <a:pt x="2521" y="1034"/>
                  <a:pt x="2521" y="1034"/>
                  <a:pt x="2521" y="1034"/>
                </a:cubicBezTo>
                <a:cubicBezTo>
                  <a:pt x="2520" y="1033"/>
                  <a:pt x="2520" y="1033"/>
                  <a:pt x="2520" y="1033"/>
                </a:cubicBezTo>
                <a:cubicBezTo>
                  <a:pt x="2520" y="1033"/>
                  <a:pt x="2520" y="1033"/>
                  <a:pt x="2520" y="1033"/>
                </a:cubicBezTo>
                <a:cubicBezTo>
                  <a:pt x="2519" y="1032"/>
                  <a:pt x="2518" y="1031"/>
                  <a:pt x="2518" y="1029"/>
                </a:cubicBezTo>
                <a:cubicBezTo>
                  <a:pt x="2518" y="1028"/>
                  <a:pt x="2518" y="1028"/>
                  <a:pt x="2518" y="1028"/>
                </a:cubicBezTo>
                <a:cubicBezTo>
                  <a:pt x="2517" y="1028"/>
                  <a:pt x="2517" y="1028"/>
                  <a:pt x="2517" y="1028"/>
                </a:cubicBezTo>
                <a:cubicBezTo>
                  <a:pt x="2517" y="1029"/>
                  <a:pt x="2516" y="1030"/>
                  <a:pt x="2516" y="1031"/>
                </a:cubicBezTo>
                <a:cubicBezTo>
                  <a:pt x="2516" y="1033"/>
                  <a:pt x="2516" y="1033"/>
                  <a:pt x="2516" y="1033"/>
                </a:cubicBezTo>
                <a:cubicBezTo>
                  <a:pt x="2514" y="1035"/>
                  <a:pt x="2512" y="1038"/>
                  <a:pt x="2509" y="1040"/>
                </a:cubicBezTo>
                <a:close/>
                <a:moveTo>
                  <a:pt x="2516" y="977"/>
                </a:moveTo>
                <a:cubicBezTo>
                  <a:pt x="2515" y="978"/>
                  <a:pt x="2515" y="981"/>
                  <a:pt x="2516" y="984"/>
                </a:cubicBezTo>
                <a:cubicBezTo>
                  <a:pt x="2516" y="986"/>
                  <a:pt x="2516" y="987"/>
                  <a:pt x="2516" y="988"/>
                </a:cubicBezTo>
                <a:cubicBezTo>
                  <a:pt x="2516" y="990"/>
                  <a:pt x="2521" y="994"/>
                  <a:pt x="2522" y="994"/>
                </a:cubicBezTo>
                <a:cubicBezTo>
                  <a:pt x="2523" y="994"/>
                  <a:pt x="2524" y="993"/>
                  <a:pt x="2524" y="992"/>
                </a:cubicBezTo>
                <a:cubicBezTo>
                  <a:pt x="2524" y="992"/>
                  <a:pt x="2524" y="992"/>
                  <a:pt x="2524" y="992"/>
                </a:cubicBezTo>
                <a:cubicBezTo>
                  <a:pt x="2525" y="992"/>
                  <a:pt x="2525" y="992"/>
                  <a:pt x="2525" y="992"/>
                </a:cubicBezTo>
                <a:cubicBezTo>
                  <a:pt x="2525" y="994"/>
                  <a:pt x="2525" y="994"/>
                  <a:pt x="2525" y="994"/>
                </a:cubicBezTo>
                <a:cubicBezTo>
                  <a:pt x="2525" y="994"/>
                  <a:pt x="2525" y="994"/>
                  <a:pt x="2525" y="994"/>
                </a:cubicBezTo>
                <a:cubicBezTo>
                  <a:pt x="2525" y="995"/>
                  <a:pt x="2524" y="996"/>
                  <a:pt x="2524" y="998"/>
                </a:cubicBezTo>
                <a:cubicBezTo>
                  <a:pt x="2524" y="1000"/>
                  <a:pt x="2526" y="1002"/>
                  <a:pt x="2528" y="1002"/>
                </a:cubicBezTo>
                <a:cubicBezTo>
                  <a:pt x="2529" y="1002"/>
                  <a:pt x="2530" y="1002"/>
                  <a:pt x="2531" y="1001"/>
                </a:cubicBezTo>
                <a:cubicBezTo>
                  <a:pt x="2531" y="1001"/>
                  <a:pt x="2532" y="1001"/>
                  <a:pt x="2533" y="1001"/>
                </a:cubicBezTo>
                <a:cubicBezTo>
                  <a:pt x="2534" y="1001"/>
                  <a:pt x="2535" y="1002"/>
                  <a:pt x="2536" y="1004"/>
                </a:cubicBezTo>
                <a:cubicBezTo>
                  <a:pt x="2537" y="1006"/>
                  <a:pt x="2539" y="1007"/>
                  <a:pt x="2541" y="1008"/>
                </a:cubicBezTo>
                <a:cubicBezTo>
                  <a:pt x="2541" y="1008"/>
                  <a:pt x="2541" y="1008"/>
                  <a:pt x="2541" y="1008"/>
                </a:cubicBezTo>
                <a:cubicBezTo>
                  <a:pt x="2541" y="1007"/>
                  <a:pt x="2541" y="1007"/>
                  <a:pt x="2541" y="1007"/>
                </a:cubicBezTo>
                <a:cubicBezTo>
                  <a:pt x="2541" y="1006"/>
                  <a:pt x="2541" y="1006"/>
                  <a:pt x="2541" y="1006"/>
                </a:cubicBezTo>
                <a:cubicBezTo>
                  <a:pt x="2540" y="1004"/>
                  <a:pt x="2540" y="1003"/>
                  <a:pt x="2541" y="1002"/>
                </a:cubicBezTo>
                <a:cubicBezTo>
                  <a:pt x="2541" y="1003"/>
                  <a:pt x="2543" y="1004"/>
                  <a:pt x="2545" y="1005"/>
                </a:cubicBezTo>
                <a:cubicBezTo>
                  <a:pt x="2547" y="1007"/>
                  <a:pt x="2549" y="1009"/>
                  <a:pt x="2550" y="1011"/>
                </a:cubicBezTo>
                <a:cubicBezTo>
                  <a:pt x="2550" y="1011"/>
                  <a:pt x="2550" y="1011"/>
                  <a:pt x="2550" y="1011"/>
                </a:cubicBezTo>
                <a:cubicBezTo>
                  <a:pt x="2550" y="1012"/>
                  <a:pt x="2551" y="1013"/>
                  <a:pt x="2552" y="1014"/>
                </a:cubicBezTo>
                <a:cubicBezTo>
                  <a:pt x="2553" y="1013"/>
                  <a:pt x="2553" y="1013"/>
                  <a:pt x="2553" y="1013"/>
                </a:cubicBezTo>
                <a:cubicBezTo>
                  <a:pt x="2553" y="1011"/>
                  <a:pt x="2553" y="1011"/>
                  <a:pt x="2553" y="1011"/>
                </a:cubicBezTo>
                <a:cubicBezTo>
                  <a:pt x="2553" y="1009"/>
                  <a:pt x="2553" y="1009"/>
                  <a:pt x="2553" y="1009"/>
                </a:cubicBezTo>
                <a:cubicBezTo>
                  <a:pt x="2553" y="1008"/>
                  <a:pt x="2553" y="1008"/>
                  <a:pt x="2553" y="1008"/>
                </a:cubicBezTo>
                <a:cubicBezTo>
                  <a:pt x="2553" y="1008"/>
                  <a:pt x="2553" y="1008"/>
                  <a:pt x="2553" y="1008"/>
                </a:cubicBezTo>
                <a:cubicBezTo>
                  <a:pt x="2552" y="1008"/>
                  <a:pt x="2551" y="1008"/>
                  <a:pt x="2550" y="1007"/>
                </a:cubicBezTo>
                <a:cubicBezTo>
                  <a:pt x="2550" y="1007"/>
                  <a:pt x="2550" y="1006"/>
                  <a:pt x="2550" y="1005"/>
                </a:cubicBezTo>
                <a:cubicBezTo>
                  <a:pt x="2550" y="1004"/>
                  <a:pt x="2550" y="1004"/>
                  <a:pt x="2550" y="1004"/>
                </a:cubicBezTo>
                <a:cubicBezTo>
                  <a:pt x="2549" y="1005"/>
                  <a:pt x="2549" y="1005"/>
                  <a:pt x="2549" y="1005"/>
                </a:cubicBezTo>
                <a:cubicBezTo>
                  <a:pt x="2548" y="1005"/>
                  <a:pt x="2548" y="1005"/>
                  <a:pt x="2548" y="1005"/>
                </a:cubicBezTo>
                <a:cubicBezTo>
                  <a:pt x="2548" y="1004"/>
                  <a:pt x="2548" y="1004"/>
                  <a:pt x="2548" y="1004"/>
                </a:cubicBezTo>
                <a:cubicBezTo>
                  <a:pt x="2549" y="1003"/>
                  <a:pt x="2549" y="1003"/>
                  <a:pt x="2550" y="1002"/>
                </a:cubicBezTo>
                <a:cubicBezTo>
                  <a:pt x="2550" y="1001"/>
                  <a:pt x="2550" y="1001"/>
                  <a:pt x="2550" y="1001"/>
                </a:cubicBezTo>
                <a:cubicBezTo>
                  <a:pt x="2549" y="1001"/>
                  <a:pt x="2549" y="1001"/>
                  <a:pt x="2549" y="1001"/>
                </a:cubicBezTo>
                <a:cubicBezTo>
                  <a:pt x="2548" y="1001"/>
                  <a:pt x="2548" y="1001"/>
                  <a:pt x="2548" y="1001"/>
                </a:cubicBezTo>
                <a:cubicBezTo>
                  <a:pt x="2548" y="1000"/>
                  <a:pt x="2548" y="1000"/>
                  <a:pt x="2548" y="1000"/>
                </a:cubicBezTo>
                <a:cubicBezTo>
                  <a:pt x="2547" y="1000"/>
                  <a:pt x="2546" y="1001"/>
                  <a:pt x="2546" y="1002"/>
                </a:cubicBezTo>
                <a:cubicBezTo>
                  <a:pt x="2545" y="1003"/>
                  <a:pt x="2545" y="1003"/>
                  <a:pt x="2545" y="1003"/>
                </a:cubicBezTo>
                <a:cubicBezTo>
                  <a:pt x="2544" y="1003"/>
                  <a:pt x="2544" y="1001"/>
                  <a:pt x="2543" y="1000"/>
                </a:cubicBezTo>
                <a:cubicBezTo>
                  <a:pt x="2543" y="998"/>
                  <a:pt x="2541" y="995"/>
                  <a:pt x="2539" y="995"/>
                </a:cubicBezTo>
                <a:cubicBezTo>
                  <a:pt x="2538" y="995"/>
                  <a:pt x="2537" y="996"/>
                  <a:pt x="2536" y="997"/>
                </a:cubicBezTo>
                <a:cubicBezTo>
                  <a:pt x="2536" y="997"/>
                  <a:pt x="2536" y="998"/>
                  <a:pt x="2536" y="998"/>
                </a:cubicBezTo>
                <a:cubicBezTo>
                  <a:pt x="2536" y="999"/>
                  <a:pt x="2536" y="999"/>
                  <a:pt x="2536" y="999"/>
                </a:cubicBezTo>
                <a:cubicBezTo>
                  <a:pt x="2533" y="997"/>
                  <a:pt x="2530" y="990"/>
                  <a:pt x="2530" y="986"/>
                </a:cubicBezTo>
                <a:cubicBezTo>
                  <a:pt x="2530" y="983"/>
                  <a:pt x="2531" y="981"/>
                  <a:pt x="2532" y="980"/>
                </a:cubicBezTo>
                <a:cubicBezTo>
                  <a:pt x="2533" y="978"/>
                  <a:pt x="2535" y="976"/>
                  <a:pt x="2535" y="972"/>
                </a:cubicBezTo>
                <a:cubicBezTo>
                  <a:pt x="2535" y="970"/>
                  <a:pt x="2534" y="967"/>
                  <a:pt x="2533" y="964"/>
                </a:cubicBezTo>
                <a:cubicBezTo>
                  <a:pt x="2532" y="962"/>
                  <a:pt x="2531" y="960"/>
                  <a:pt x="2531" y="959"/>
                </a:cubicBezTo>
                <a:cubicBezTo>
                  <a:pt x="2531" y="957"/>
                  <a:pt x="2531" y="957"/>
                  <a:pt x="2531" y="957"/>
                </a:cubicBezTo>
                <a:cubicBezTo>
                  <a:pt x="2531" y="956"/>
                  <a:pt x="2531" y="956"/>
                  <a:pt x="2531" y="956"/>
                </a:cubicBezTo>
                <a:cubicBezTo>
                  <a:pt x="2531" y="956"/>
                  <a:pt x="2531" y="956"/>
                  <a:pt x="2531" y="956"/>
                </a:cubicBezTo>
                <a:cubicBezTo>
                  <a:pt x="2530" y="955"/>
                  <a:pt x="2530" y="955"/>
                  <a:pt x="2530" y="955"/>
                </a:cubicBezTo>
                <a:cubicBezTo>
                  <a:pt x="2530" y="954"/>
                  <a:pt x="2530" y="954"/>
                  <a:pt x="2530" y="954"/>
                </a:cubicBezTo>
                <a:cubicBezTo>
                  <a:pt x="2530" y="955"/>
                  <a:pt x="2530" y="955"/>
                  <a:pt x="2530" y="955"/>
                </a:cubicBezTo>
                <a:cubicBezTo>
                  <a:pt x="2529" y="955"/>
                  <a:pt x="2529" y="955"/>
                  <a:pt x="2528" y="956"/>
                </a:cubicBezTo>
                <a:cubicBezTo>
                  <a:pt x="2528" y="957"/>
                  <a:pt x="2527" y="958"/>
                  <a:pt x="2526" y="958"/>
                </a:cubicBezTo>
                <a:cubicBezTo>
                  <a:pt x="2525" y="957"/>
                  <a:pt x="2525" y="957"/>
                  <a:pt x="2524" y="955"/>
                </a:cubicBezTo>
                <a:cubicBezTo>
                  <a:pt x="2524" y="954"/>
                  <a:pt x="2523" y="952"/>
                  <a:pt x="2521" y="952"/>
                </a:cubicBezTo>
                <a:cubicBezTo>
                  <a:pt x="2519" y="952"/>
                  <a:pt x="2518" y="954"/>
                  <a:pt x="2518" y="958"/>
                </a:cubicBezTo>
                <a:cubicBezTo>
                  <a:pt x="2518" y="960"/>
                  <a:pt x="2518" y="962"/>
                  <a:pt x="2519" y="963"/>
                </a:cubicBezTo>
                <a:cubicBezTo>
                  <a:pt x="2519" y="965"/>
                  <a:pt x="2519" y="966"/>
                  <a:pt x="2519" y="968"/>
                </a:cubicBezTo>
                <a:cubicBezTo>
                  <a:pt x="2519" y="971"/>
                  <a:pt x="2519" y="975"/>
                  <a:pt x="2518" y="977"/>
                </a:cubicBezTo>
                <a:cubicBezTo>
                  <a:pt x="2517" y="977"/>
                  <a:pt x="2517" y="977"/>
                  <a:pt x="2516" y="977"/>
                </a:cubicBezTo>
                <a:close/>
                <a:moveTo>
                  <a:pt x="2563" y="1015"/>
                </a:moveTo>
                <a:cubicBezTo>
                  <a:pt x="2562" y="1015"/>
                  <a:pt x="2561" y="1014"/>
                  <a:pt x="2560" y="1014"/>
                </a:cubicBezTo>
                <a:cubicBezTo>
                  <a:pt x="2559" y="1014"/>
                  <a:pt x="2558" y="1013"/>
                  <a:pt x="2557" y="1013"/>
                </a:cubicBezTo>
                <a:cubicBezTo>
                  <a:pt x="2556" y="1013"/>
                  <a:pt x="2556" y="1014"/>
                  <a:pt x="2555" y="1014"/>
                </a:cubicBezTo>
                <a:cubicBezTo>
                  <a:pt x="2554" y="1015"/>
                  <a:pt x="2554" y="1015"/>
                  <a:pt x="2554" y="1015"/>
                </a:cubicBezTo>
                <a:cubicBezTo>
                  <a:pt x="2554" y="1015"/>
                  <a:pt x="2554" y="1015"/>
                  <a:pt x="2554" y="1015"/>
                </a:cubicBezTo>
                <a:cubicBezTo>
                  <a:pt x="2554" y="1015"/>
                  <a:pt x="2554" y="1015"/>
                  <a:pt x="2554" y="1015"/>
                </a:cubicBezTo>
                <a:cubicBezTo>
                  <a:pt x="2554" y="1016"/>
                  <a:pt x="2555" y="1017"/>
                  <a:pt x="2557" y="1018"/>
                </a:cubicBezTo>
                <a:cubicBezTo>
                  <a:pt x="2559" y="1020"/>
                  <a:pt x="2561" y="1022"/>
                  <a:pt x="2561" y="1024"/>
                </a:cubicBezTo>
                <a:cubicBezTo>
                  <a:pt x="2559" y="1025"/>
                  <a:pt x="2559" y="1025"/>
                  <a:pt x="2559" y="1025"/>
                </a:cubicBezTo>
                <a:cubicBezTo>
                  <a:pt x="2559" y="1025"/>
                  <a:pt x="2559" y="1025"/>
                  <a:pt x="2559" y="1025"/>
                </a:cubicBezTo>
                <a:cubicBezTo>
                  <a:pt x="2556" y="1025"/>
                  <a:pt x="2556" y="1025"/>
                  <a:pt x="2556" y="1025"/>
                </a:cubicBezTo>
                <a:cubicBezTo>
                  <a:pt x="2555" y="1025"/>
                  <a:pt x="2555" y="1025"/>
                  <a:pt x="2555" y="1025"/>
                </a:cubicBezTo>
                <a:cubicBezTo>
                  <a:pt x="2555" y="1026"/>
                  <a:pt x="2555" y="1026"/>
                  <a:pt x="2555" y="1026"/>
                </a:cubicBezTo>
                <a:cubicBezTo>
                  <a:pt x="2555" y="1027"/>
                  <a:pt x="2555" y="1027"/>
                  <a:pt x="2555" y="1027"/>
                </a:cubicBezTo>
                <a:cubicBezTo>
                  <a:pt x="2555" y="1027"/>
                  <a:pt x="2555" y="1027"/>
                  <a:pt x="2555" y="1027"/>
                </a:cubicBezTo>
                <a:cubicBezTo>
                  <a:pt x="2555" y="1028"/>
                  <a:pt x="2555" y="1028"/>
                  <a:pt x="2555" y="1028"/>
                </a:cubicBezTo>
                <a:cubicBezTo>
                  <a:pt x="2556" y="1029"/>
                  <a:pt x="2558" y="1031"/>
                  <a:pt x="2560" y="1032"/>
                </a:cubicBezTo>
                <a:cubicBezTo>
                  <a:pt x="2560" y="1033"/>
                  <a:pt x="2560" y="1033"/>
                  <a:pt x="2560" y="1033"/>
                </a:cubicBezTo>
                <a:cubicBezTo>
                  <a:pt x="2559" y="1034"/>
                  <a:pt x="2559" y="1036"/>
                  <a:pt x="2559" y="1037"/>
                </a:cubicBezTo>
                <a:cubicBezTo>
                  <a:pt x="2560" y="1037"/>
                  <a:pt x="2560" y="1038"/>
                  <a:pt x="2561" y="1038"/>
                </a:cubicBezTo>
                <a:cubicBezTo>
                  <a:pt x="2564" y="1038"/>
                  <a:pt x="2564" y="1038"/>
                  <a:pt x="2564" y="1038"/>
                </a:cubicBezTo>
                <a:cubicBezTo>
                  <a:pt x="2564" y="1038"/>
                  <a:pt x="2564" y="1038"/>
                  <a:pt x="2564" y="1038"/>
                </a:cubicBezTo>
                <a:cubicBezTo>
                  <a:pt x="2564" y="1038"/>
                  <a:pt x="2564" y="1038"/>
                  <a:pt x="2564" y="1038"/>
                </a:cubicBezTo>
                <a:cubicBezTo>
                  <a:pt x="2564" y="1036"/>
                  <a:pt x="2564" y="1036"/>
                  <a:pt x="2564" y="1036"/>
                </a:cubicBezTo>
                <a:cubicBezTo>
                  <a:pt x="2564" y="1036"/>
                  <a:pt x="2564" y="1036"/>
                  <a:pt x="2564" y="1036"/>
                </a:cubicBezTo>
                <a:cubicBezTo>
                  <a:pt x="2564" y="1035"/>
                  <a:pt x="2564" y="1035"/>
                  <a:pt x="2564" y="1035"/>
                </a:cubicBezTo>
                <a:cubicBezTo>
                  <a:pt x="2563" y="1035"/>
                  <a:pt x="2562" y="1032"/>
                  <a:pt x="2562" y="1030"/>
                </a:cubicBezTo>
                <a:cubicBezTo>
                  <a:pt x="2566" y="1030"/>
                  <a:pt x="2566" y="1030"/>
                  <a:pt x="2566" y="1030"/>
                </a:cubicBezTo>
                <a:cubicBezTo>
                  <a:pt x="2566" y="1030"/>
                  <a:pt x="2566" y="1030"/>
                  <a:pt x="2566" y="1030"/>
                </a:cubicBezTo>
                <a:cubicBezTo>
                  <a:pt x="2566" y="1030"/>
                  <a:pt x="2566" y="1030"/>
                  <a:pt x="2566" y="1030"/>
                </a:cubicBezTo>
                <a:cubicBezTo>
                  <a:pt x="2566" y="1029"/>
                  <a:pt x="2566" y="1029"/>
                  <a:pt x="2566" y="1029"/>
                </a:cubicBezTo>
                <a:cubicBezTo>
                  <a:pt x="2567" y="1028"/>
                  <a:pt x="2567" y="1027"/>
                  <a:pt x="2567" y="1026"/>
                </a:cubicBezTo>
                <a:cubicBezTo>
                  <a:pt x="2567" y="1025"/>
                  <a:pt x="2567" y="1025"/>
                  <a:pt x="2567" y="1025"/>
                </a:cubicBezTo>
                <a:cubicBezTo>
                  <a:pt x="2567" y="1025"/>
                  <a:pt x="2567" y="1025"/>
                  <a:pt x="2567" y="1025"/>
                </a:cubicBezTo>
                <a:cubicBezTo>
                  <a:pt x="2567" y="1025"/>
                  <a:pt x="2566" y="1024"/>
                  <a:pt x="2565" y="1023"/>
                </a:cubicBezTo>
                <a:cubicBezTo>
                  <a:pt x="2565" y="1022"/>
                  <a:pt x="2565" y="1020"/>
                  <a:pt x="2565" y="1018"/>
                </a:cubicBezTo>
                <a:cubicBezTo>
                  <a:pt x="2565" y="1018"/>
                  <a:pt x="2565" y="1018"/>
                  <a:pt x="2565" y="1018"/>
                </a:cubicBezTo>
                <a:cubicBezTo>
                  <a:pt x="2565" y="1018"/>
                  <a:pt x="2565" y="1018"/>
                  <a:pt x="2565" y="1018"/>
                </a:cubicBezTo>
                <a:cubicBezTo>
                  <a:pt x="2563" y="1018"/>
                  <a:pt x="2563" y="1018"/>
                  <a:pt x="2563" y="1018"/>
                </a:cubicBezTo>
                <a:cubicBezTo>
                  <a:pt x="2563" y="1017"/>
                  <a:pt x="2563" y="1017"/>
                  <a:pt x="2563" y="1016"/>
                </a:cubicBezTo>
                <a:cubicBezTo>
                  <a:pt x="2563" y="1015"/>
                  <a:pt x="2563" y="1015"/>
                  <a:pt x="2563" y="1015"/>
                </a:cubicBezTo>
                <a:cubicBezTo>
                  <a:pt x="2563" y="1015"/>
                  <a:pt x="2563" y="1015"/>
                  <a:pt x="2563" y="1015"/>
                </a:cubicBezTo>
                <a:close/>
                <a:moveTo>
                  <a:pt x="2539" y="1021"/>
                </a:moveTo>
                <a:cubicBezTo>
                  <a:pt x="2539" y="1020"/>
                  <a:pt x="2538" y="1020"/>
                  <a:pt x="2538" y="1020"/>
                </a:cubicBezTo>
                <a:cubicBezTo>
                  <a:pt x="2537" y="1020"/>
                  <a:pt x="2536" y="1021"/>
                  <a:pt x="2536" y="1022"/>
                </a:cubicBezTo>
                <a:cubicBezTo>
                  <a:pt x="2536" y="1023"/>
                  <a:pt x="2536" y="1024"/>
                  <a:pt x="2536" y="1026"/>
                </a:cubicBezTo>
                <a:cubicBezTo>
                  <a:pt x="2536" y="1029"/>
                  <a:pt x="2537" y="1032"/>
                  <a:pt x="2536" y="1035"/>
                </a:cubicBezTo>
                <a:cubicBezTo>
                  <a:pt x="2536" y="1036"/>
                  <a:pt x="2536" y="1036"/>
                  <a:pt x="2536" y="1036"/>
                </a:cubicBezTo>
                <a:cubicBezTo>
                  <a:pt x="2537" y="1036"/>
                  <a:pt x="2537" y="1036"/>
                  <a:pt x="2537" y="1036"/>
                </a:cubicBezTo>
                <a:cubicBezTo>
                  <a:pt x="2538" y="1035"/>
                  <a:pt x="2538" y="1035"/>
                  <a:pt x="2539" y="1035"/>
                </a:cubicBezTo>
                <a:cubicBezTo>
                  <a:pt x="2542" y="1033"/>
                  <a:pt x="2546" y="1030"/>
                  <a:pt x="2546" y="1026"/>
                </a:cubicBezTo>
                <a:cubicBezTo>
                  <a:pt x="2546" y="1024"/>
                  <a:pt x="2544" y="1023"/>
                  <a:pt x="2541" y="1022"/>
                </a:cubicBezTo>
                <a:cubicBezTo>
                  <a:pt x="2540" y="1021"/>
                  <a:pt x="2540" y="1021"/>
                  <a:pt x="2539" y="1021"/>
                </a:cubicBezTo>
                <a:close/>
                <a:moveTo>
                  <a:pt x="2552" y="1033"/>
                </a:moveTo>
                <a:cubicBezTo>
                  <a:pt x="2552" y="1032"/>
                  <a:pt x="2551" y="1031"/>
                  <a:pt x="2551" y="1030"/>
                </a:cubicBezTo>
                <a:cubicBezTo>
                  <a:pt x="2550" y="1030"/>
                  <a:pt x="2549" y="1029"/>
                  <a:pt x="2547" y="1030"/>
                </a:cubicBezTo>
                <a:cubicBezTo>
                  <a:pt x="2546" y="1030"/>
                  <a:pt x="2544" y="1037"/>
                  <a:pt x="2544" y="1038"/>
                </a:cubicBezTo>
                <a:cubicBezTo>
                  <a:pt x="2543" y="1039"/>
                  <a:pt x="2542" y="1039"/>
                  <a:pt x="2542" y="1039"/>
                </a:cubicBezTo>
                <a:cubicBezTo>
                  <a:pt x="2541" y="1041"/>
                  <a:pt x="2541" y="1041"/>
                  <a:pt x="2541" y="1041"/>
                </a:cubicBezTo>
                <a:cubicBezTo>
                  <a:pt x="2541" y="1042"/>
                  <a:pt x="2544" y="1046"/>
                  <a:pt x="2545" y="1046"/>
                </a:cubicBezTo>
                <a:cubicBezTo>
                  <a:pt x="2545" y="1047"/>
                  <a:pt x="2547" y="1049"/>
                  <a:pt x="2548" y="1049"/>
                </a:cubicBezTo>
                <a:cubicBezTo>
                  <a:pt x="2549" y="1049"/>
                  <a:pt x="2550" y="1048"/>
                  <a:pt x="2550" y="1047"/>
                </a:cubicBezTo>
                <a:cubicBezTo>
                  <a:pt x="2550" y="1046"/>
                  <a:pt x="2550" y="1046"/>
                  <a:pt x="2549" y="1045"/>
                </a:cubicBezTo>
                <a:cubicBezTo>
                  <a:pt x="2549" y="1045"/>
                  <a:pt x="2549" y="1044"/>
                  <a:pt x="2549" y="1043"/>
                </a:cubicBezTo>
                <a:cubicBezTo>
                  <a:pt x="2549" y="1041"/>
                  <a:pt x="2549" y="1040"/>
                  <a:pt x="2550" y="1038"/>
                </a:cubicBezTo>
                <a:cubicBezTo>
                  <a:pt x="2551" y="1037"/>
                  <a:pt x="2552" y="1035"/>
                  <a:pt x="2552" y="1033"/>
                </a:cubicBezTo>
                <a:close/>
                <a:moveTo>
                  <a:pt x="2552" y="1030"/>
                </a:moveTo>
                <a:cubicBezTo>
                  <a:pt x="2552" y="1030"/>
                  <a:pt x="2552" y="1030"/>
                  <a:pt x="2552" y="1030"/>
                </a:cubicBezTo>
                <a:cubicBezTo>
                  <a:pt x="2552" y="1034"/>
                  <a:pt x="2551" y="1036"/>
                  <a:pt x="2551" y="1038"/>
                </a:cubicBezTo>
                <a:cubicBezTo>
                  <a:pt x="2550" y="1040"/>
                  <a:pt x="2550" y="1041"/>
                  <a:pt x="2550" y="1042"/>
                </a:cubicBezTo>
                <a:cubicBezTo>
                  <a:pt x="2549" y="1042"/>
                  <a:pt x="2549" y="1042"/>
                  <a:pt x="2549" y="1042"/>
                </a:cubicBezTo>
                <a:cubicBezTo>
                  <a:pt x="2550" y="1042"/>
                  <a:pt x="2550" y="1042"/>
                  <a:pt x="2550" y="1042"/>
                </a:cubicBezTo>
                <a:cubicBezTo>
                  <a:pt x="2551" y="1042"/>
                  <a:pt x="2551" y="1042"/>
                  <a:pt x="2551" y="1042"/>
                </a:cubicBezTo>
                <a:cubicBezTo>
                  <a:pt x="2552" y="1042"/>
                  <a:pt x="2552" y="1042"/>
                  <a:pt x="2552" y="1042"/>
                </a:cubicBezTo>
                <a:cubicBezTo>
                  <a:pt x="2552" y="1042"/>
                  <a:pt x="2552" y="1042"/>
                  <a:pt x="2552" y="1042"/>
                </a:cubicBezTo>
                <a:cubicBezTo>
                  <a:pt x="2552" y="1040"/>
                  <a:pt x="2553" y="1038"/>
                  <a:pt x="2553" y="1037"/>
                </a:cubicBezTo>
                <a:cubicBezTo>
                  <a:pt x="2554" y="1035"/>
                  <a:pt x="2556" y="1033"/>
                  <a:pt x="2556" y="1030"/>
                </a:cubicBezTo>
                <a:cubicBezTo>
                  <a:pt x="2556" y="1030"/>
                  <a:pt x="2556" y="1030"/>
                  <a:pt x="2556" y="1030"/>
                </a:cubicBezTo>
                <a:cubicBezTo>
                  <a:pt x="2555" y="1030"/>
                  <a:pt x="2555" y="1030"/>
                  <a:pt x="2555" y="1030"/>
                </a:cubicBezTo>
                <a:cubicBezTo>
                  <a:pt x="2554" y="1030"/>
                  <a:pt x="2554" y="1030"/>
                  <a:pt x="2554" y="1030"/>
                </a:cubicBezTo>
                <a:cubicBezTo>
                  <a:pt x="2553" y="1030"/>
                  <a:pt x="2553" y="1030"/>
                  <a:pt x="2553" y="1030"/>
                </a:cubicBezTo>
                <a:lnTo>
                  <a:pt x="2552" y="1030"/>
                </a:lnTo>
                <a:close/>
                <a:moveTo>
                  <a:pt x="2554" y="1045"/>
                </a:moveTo>
                <a:cubicBezTo>
                  <a:pt x="2557" y="1045"/>
                  <a:pt x="2559" y="1042"/>
                  <a:pt x="2559" y="1038"/>
                </a:cubicBezTo>
                <a:cubicBezTo>
                  <a:pt x="2559" y="1037"/>
                  <a:pt x="2559" y="1037"/>
                  <a:pt x="2559" y="1037"/>
                </a:cubicBezTo>
                <a:cubicBezTo>
                  <a:pt x="2558" y="1038"/>
                  <a:pt x="2558" y="1038"/>
                  <a:pt x="2558" y="1038"/>
                </a:cubicBezTo>
                <a:cubicBezTo>
                  <a:pt x="2558" y="1039"/>
                  <a:pt x="2557" y="1038"/>
                  <a:pt x="2555" y="1038"/>
                </a:cubicBezTo>
                <a:cubicBezTo>
                  <a:pt x="2555" y="1038"/>
                  <a:pt x="2555" y="1038"/>
                  <a:pt x="2555" y="1038"/>
                </a:cubicBezTo>
                <a:cubicBezTo>
                  <a:pt x="2555" y="1038"/>
                  <a:pt x="2555" y="1038"/>
                  <a:pt x="2555" y="1038"/>
                </a:cubicBezTo>
                <a:cubicBezTo>
                  <a:pt x="2554" y="1039"/>
                  <a:pt x="2554" y="1039"/>
                  <a:pt x="2554" y="1040"/>
                </a:cubicBezTo>
                <a:cubicBezTo>
                  <a:pt x="2553" y="1040"/>
                  <a:pt x="2552" y="1041"/>
                  <a:pt x="2552" y="1043"/>
                </a:cubicBezTo>
                <a:cubicBezTo>
                  <a:pt x="2553" y="1044"/>
                  <a:pt x="2553" y="1044"/>
                  <a:pt x="2553" y="1044"/>
                </a:cubicBezTo>
                <a:cubicBezTo>
                  <a:pt x="2553" y="1044"/>
                  <a:pt x="2554" y="1045"/>
                  <a:pt x="2554" y="1045"/>
                </a:cubicBezTo>
                <a:close/>
                <a:moveTo>
                  <a:pt x="2553" y="1021"/>
                </a:moveTo>
                <a:cubicBezTo>
                  <a:pt x="2553" y="1019"/>
                  <a:pt x="2552" y="1017"/>
                  <a:pt x="2551" y="1016"/>
                </a:cubicBezTo>
                <a:cubicBezTo>
                  <a:pt x="2550" y="1015"/>
                  <a:pt x="2549" y="1015"/>
                  <a:pt x="2549" y="1013"/>
                </a:cubicBezTo>
                <a:cubicBezTo>
                  <a:pt x="2549" y="1013"/>
                  <a:pt x="2549" y="1013"/>
                  <a:pt x="2549" y="1013"/>
                </a:cubicBezTo>
                <a:cubicBezTo>
                  <a:pt x="2548" y="1013"/>
                  <a:pt x="2548" y="1013"/>
                  <a:pt x="2548" y="1013"/>
                </a:cubicBezTo>
                <a:cubicBezTo>
                  <a:pt x="2546" y="1013"/>
                  <a:pt x="2546" y="1013"/>
                  <a:pt x="2546" y="1013"/>
                </a:cubicBezTo>
                <a:cubicBezTo>
                  <a:pt x="2546" y="1013"/>
                  <a:pt x="2546" y="1013"/>
                  <a:pt x="2546" y="1013"/>
                </a:cubicBezTo>
                <a:cubicBezTo>
                  <a:pt x="2546" y="1014"/>
                  <a:pt x="2546" y="1014"/>
                  <a:pt x="2546" y="1014"/>
                </a:cubicBezTo>
                <a:cubicBezTo>
                  <a:pt x="2545" y="1016"/>
                  <a:pt x="2545" y="1016"/>
                  <a:pt x="2545" y="1016"/>
                </a:cubicBezTo>
                <a:cubicBezTo>
                  <a:pt x="2545" y="1018"/>
                  <a:pt x="2545" y="1018"/>
                  <a:pt x="2545" y="1018"/>
                </a:cubicBezTo>
                <a:cubicBezTo>
                  <a:pt x="2545" y="1019"/>
                  <a:pt x="2545" y="1019"/>
                  <a:pt x="2545" y="1019"/>
                </a:cubicBezTo>
                <a:cubicBezTo>
                  <a:pt x="2546" y="1019"/>
                  <a:pt x="2546" y="1019"/>
                  <a:pt x="2546" y="1019"/>
                </a:cubicBezTo>
                <a:cubicBezTo>
                  <a:pt x="2546" y="1019"/>
                  <a:pt x="2547" y="1019"/>
                  <a:pt x="2547" y="1019"/>
                </a:cubicBezTo>
                <a:cubicBezTo>
                  <a:pt x="2548" y="1018"/>
                  <a:pt x="2549" y="1018"/>
                  <a:pt x="2550" y="1019"/>
                </a:cubicBezTo>
                <a:cubicBezTo>
                  <a:pt x="2550" y="1020"/>
                  <a:pt x="2552" y="1022"/>
                  <a:pt x="2553" y="1022"/>
                </a:cubicBezTo>
                <a:cubicBezTo>
                  <a:pt x="2553" y="1022"/>
                  <a:pt x="2553" y="1022"/>
                  <a:pt x="2553" y="1021"/>
                </a:cubicBezTo>
                <a:close/>
                <a:moveTo>
                  <a:pt x="2529" y="1006"/>
                </a:moveTo>
                <a:cubicBezTo>
                  <a:pt x="2528" y="1005"/>
                  <a:pt x="2527" y="1005"/>
                  <a:pt x="2525" y="1004"/>
                </a:cubicBezTo>
                <a:cubicBezTo>
                  <a:pt x="2525" y="1004"/>
                  <a:pt x="2525" y="1004"/>
                  <a:pt x="2525" y="1004"/>
                </a:cubicBezTo>
                <a:cubicBezTo>
                  <a:pt x="2525" y="1004"/>
                  <a:pt x="2525" y="1004"/>
                  <a:pt x="2525" y="1004"/>
                </a:cubicBezTo>
                <a:cubicBezTo>
                  <a:pt x="2522" y="1004"/>
                  <a:pt x="2522" y="1004"/>
                  <a:pt x="2522" y="1004"/>
                </a:cubicBezTo>
                <a:cubicBezTo>
                  <a:pt x="2522" y="1004"/>
                  <a:pt x="2522" y="1004"/>
                  <a:pt x="2522" y="1004"/>
                </a:cubicBezTo>
                <a:cubicBezTo>
                  <a:pt x="2522" y="1004"/>
                  <a:pt x="2522" y="1004"/>
                  <a:pt x="2522" y="1004"/>
                </a:cubicBezTo>
                <a:cubicBezTo>
                  <a:pt x="2524" y="1007"/>
                  <a:pt x="2529" y="1016"/>
                  <a:pt x="2530" y="1016"/>
                </a:cubicBezTo>
                <a:cubicBezTo>
                  <a:pt x="2531" y="1016"/>
                  <a:pt x="2531" y="1016"/>
                  <a:pt x="2532" y="1015"/>
                </a:cubicBezTo>
                <a:cubicBezTo>
                  <a:pt x="2533" y="1014"/>
                  <a:pt x="2533" y="1011"/>
                  <a:pt x="2533" y="1010"/>
                </a:cubicBezTo>
                <a:cubicBezTo>
                  <a:pt x="2532" y="1007"/>
                  <a:pt x="2531" y="1006"/>
                  <a:pt x="2529" y="1006"/>
                </a:cubicBezTo>
                <a:close/>
                <a:moveTo>
                  <a:pt x="2533" y="1006"/>
                </a:moveTo>
                <a:cubicBezTo>
                  <a:pt x="2533" y="1006"/>
                  <a:pt x="2533" y="1006"/>
                  <a:pt x="2533" y="1006"/>
                </a:cubicBezTo>
                <a:cubicBezTo>
                  <a:pt x="2533" y="1006"/>
                  <a:pt x="2533" y="1006"/>
                  <a:pt x="2533" y="1006"/>
                </a:cubicBezTo>
                <a:cubicBezTo>
                  <a:pt x="2534" y="1007"/>
                  <a:pt x="2536" y="1007"/>
                  <a:pt x="2536" y="1006"/>
                </a:cubicBezTo>
                <a:cubicBezTo>
                  <a:pt x="2537" y="1006"/>
                  <a:pt x="2537" y="1006"/>
                  <a:pt x="2537" y="1006"/>
                </a:cubicBezTo>
                <a:cubicBezTo>
                  <a:pt x="2536" y="1006"/>
                  <a:pt x="2536" y="1006"/>
                  <a:pt x="2536" y="1006"/>
                </a:cubicBezTo>
                <a:cubicBezTo>
                  <a:pt x="2536" y="1005"/>
                  <a:pt x="2534" y="1005"/>
                  <a:pt x="2533" y="1006"/>
                </a:cubicBezTo>
                <a:close/>
                <a:moveTo>
                  <a:pt x="2533" y="887"/>
                </a:moveTo>
                <a:cubicBezTo>
                  <a:pt x="2533" y="882"/>
                  <a:pt x="2532" y="879"/>
                  <a:pt x="2529" y="879"/>
                </a:cubicBezTo>
                <a:cubicBezTo>
                  <a:pt x="2525" y="879"/>
                  <a:pt x="2518" y="893"/>
                  <a:pt x="2518" y="901"/>
                </a:cubicBezTo>
                <a:cubicBezTo>
                  <a:pt x="2518" y="901"/>
                  <a:pt x="2518" y="902"/>
                  <a:pt x="2518" y="903"/>
                </a:cubicBezTo>
                <a:cubicBezTo>
                  <a:pt x="2518" y="906"/>
                  <a:pt x="2518" y="908"/>
                  <a:pt x="2519" y="910"/>
                </a:cubicBezTo>
                <a:cubicBezTo>
                  <a:pt x="2520" y="911"/>
                  <a:pt x="2521" y="911"/>
                  <a:pt x="2523" y="911"/>
                </a:cubicBezTo>
                <a:cubicBezTo>
                  <a:pt x="2528" y="911"/>
                  <a:pt x="2533" y="896"/>
                  <a:pt x="2533" y="887"/>
                </a:cubicBezTo>
                <a:close/>
                <a:moveTo>
                  <a:pt x="2439" y="939"/>
                </a:moveTo>
                <a:cubicBezTo>
                  <a:pt x="2439" y="937"/>
                  <a:pt x="2437" y="933"/>
                  <a:pt x="2435" y="933"/>
                </a:cubicBezTo>
                <a:cubicBezTo>
                  <a:pt x="2432" y="933"/>
                  <a:pt x="2428" y="936"/>
                  <a:pt x="2424" y="939"/>
                </a:cubicBezTo>
                <a:cubicBezTo>
                  <a:pt x="2422" y="940"/>
                  <a:pt x="2419" y="942"/>
                  <a:pt x="2418" y="942"/>
                </a:cubicBezTo>
                <a:cubicBezTo>
                  <a:pt x="2417" y="943"/>
                  <a:pt x="2417" y="943"/>
                  <a:pt x="2417" y="943"/>
                </a:cubicBezTo>
                <a:cubicBezTo>
                  <a:pt x="2417" y="943"/>
                  <a:pt x="2417" y="944"/>
                  <a:pt x="2417" y="946"/>
                </a:cubicBezTo>
                <a:cubicBezTo>
                  <a:pt x="2417" y="946"/>
                  <a:pt x="2418" y="947"/>
                  <a:pt x="2418" y="948"/>
                </a:cubicBezTo>
                <a:cubicBezTo>
                  <a:pt x="2418" y="953"/>
                  <a:pt x="2420" y="955"/>
                  <a:pt x="2425" y="955"/>
                </a:cubicBezTo>
                <a:cubicBezTo>
                  <a:pt x="2427" y="955"/>
                  <a:pt x="2431" y="952"/>
                  <a:pt x="2434" y="949"/>
                </a:cubicBezTo>
                <a:cubicBezTo>
                  <a:pt x="2436" y="946"/>
                  <a:pt x="2439" y="942"/>
                  <a:pt x="2439" y="939"/>
                </a:cubicBezTo>
                <a:close/>
                <a:moveTo>
                  <a:pt x="2403" y="1163"/>
                </a:moveTo>
                <a:cubicBezTo>
                  <a:pt x="2399" y="1163"/>
                  <a:pt x="2397" y="1157"/>
                  <a:pt x="2396" y="1152"/>
                </a:cubicBezTo>
                <a:cubicBezTo>
                  <a:pt x="2395" y="1152"/>
                  <a:pt x="2395" y="1152"/>
                  <a:pt x="2395" y="1152"/>
                </a:cubicBezTo>
                <a:cubicBezTo>
                  <a:pt x="2395" y="1152"/>
                  <a:pt x="2395" y="1152"/>
                  <a:pt x="2395" y="1152"/>
                </a:cubicBezTo>
                <a:cubicBezTo>
                  <a:pt x="2395" y="1152"/>
                  <a:pt x="2395" y="1152"/>
                  <a:pt x="2395" y="1152"/>
                </a:cubicBezTo>
                <a:cubicBezTo>
                  <a:pt x="2393" y="1152"/>
                  <a:pt x="2388" y="1154"/>
                  <a:pt x="2388" y="1157"/>
                </a:cubicBezTo>
                <a:cubicBezTo>
                  <a:pt x="2388" y="1158"/>
                  <a:pt x="2390" y="1159"/>
                  <a:pt x="2391" y="1159"/>
                </a:cubicBezTo>
                <a:cubicBezTo>
                  <a:pt x="2393" y="1159"/>
                  <a:pt x="2394" y="1159"/>
                  <a:pt x="2394" y="1161"/>
                </a:cubicBezTo>
                <a:cubicBezTo>
                  <a:pt x="2394" y="1161"/>
                  <a:pt x="2394" y="1161"/>
                  <a:pt x="2394" y="1161"/>
                </a:cubicBezTo>
                <a:cubicBezTo>
                  <a:pt x="2395" y="1164"/>
                  <a:pt x="2396" y="1166"/>
                  <a:pt x="2397" y="1166"/>
                </a:cubicBezTo>
                <a:cubicBezTo>
                  <a:pt x="2397" y="1166"/>
                  <a:pt x="2398" y="1166"/>
                  <a:pt x="2398" y="1166"/>
                </a:cubicBezTo>
                <a:cubicBezTo>
                  <a:pt x="2399" y="1167"/>
                  <a:pt x="2400" y="1168"/>
                  <a:pt x="2401" y="1168"/>
                </a:cubicBezTo>
                <a:cubicBezTo>
                  <a:pt x="2404" y="1168"/>
                  <a:pt x="2404" y="1168"/>
                  <a:pt x="2404" y="1168"/>
                </a:cubicBezTo>
                <a:cubicBezTo>
                  <a:pt x="2403" y="1167"/>
                  <a:pt x="2403" y="1167"/>
                  <a:pt x="2403" y="1167"/>
                </a:cubicBezTo>
                <a:cubicBezTo>
                  <a:pt x="2403" y="1166"/>
                  <a:pt x="2403" y="1165"/>
                  <a:pt x="2403" y="1164"/>
                </a:cubicBezTo>
                <a:cubicBezTo>
                  <a:pt x="2403" y="1163"/>
                  <a:pt x="2403" y="1163"/>
                  <a:pt x="2403" y="1163"/>
                </a:cubicBezTo>
                <a:close/>
                <a:moveTo>
                  <a:pt x="2413" y="1170"/>
                </a:moveTo>
                <a:cubicBezTo>
                  <a:pt x="2415" y="1170"/>
                  <a:pt x="2417" y="1168"/>
                  <a:pt x="2417" y="1165"/>
                </a:cubicBezTo>
                <a:cubicBezTo>
                  <a:pt x="2417" y="1165"/>
                  <a:pt x="2417" y="1165"/>
                  <a:pt x="2417" y="1165"/>
                </a:cubicBezTo>
                <a:cubicBezTo>
                  <a:pt x="2417" y="1165"/>
                  <a:pt x="2417" y="1165"/>
                  <a:pt x="2417" y="1165"/>
                </a:cubicBezTo>
                <a:cubicBezTo>
                  <a:pt x="2416" y="1164"/>
                  <a:pt x="2416" y="1164"/>
                  <a:pt x="2416" y="1164"/>
                </a:cubicBezTo>
                <a:cubicBezTo>
                  <a:pt x="2415" y="1164"/>
                  <a:pt x="2415" y="1163"/>
                  <a:pt x="2414" y="1163"/>
                </a:cubicBezTo>
                <a:cubicBezTo>
                  <a:pt x="2411" y="1163"/>
                  <a:pt x="2411" y="1163"/>
                  <a:pt x="2411" y="1163"/>
                </a:cubicBezTo>
                <a:cubicBezTo>
                  <a:pt x="2410" y="1163"/>
                  <a:pt x="2410" y="1163"/>
                  <a:pt x="2410" y="1163"/>
                </a:cubicBezTo>
                <a:cubicBezTo>
                  <a:pt x="2410" y="1164"/>
                  <a:pt x="2410" y="1164"/>
                  <a:pt x="2410" y="1165"/>
                </a:cubicBezTo>
                <a:cubicBezTo>
                  <a:pt x="2410" y="1165"/>
                  <a:pt x="2410" y="1165"/>
                  <a:pt x="2410" y="1165"/>
                </a:cubicBezTo>
                <a:cubicBezTo>
                  <a:pt x="2410" y="1168"/>
                  <a:pt x="2411" y="1170"/>
                  <a:pt x="2413" y="1170"/>
                </a:cubicBezTo>
                <a:close/>
                <a:moveTo>
                  <a:pt x="2335" y="1148"/>
                </a:moveTo>
                <a:cubicBezTo>
                  <a:pt x="2332" y="1148"/>
                  <a:pt x="2332" y="1148"/>
                  <a:pt x="2332" y="1148"/>
                </a:cubicBezTo>
                <a:cubicBezTo>
                  <a:pt x="2332" y="1150"/>
                  <a:pt x="2332" y="1150"/>
                  <a:pt x="2332" y="1150"/>
                </a:cubicBezTo>
                <a:cubicBezTo>
                  <a:pt x="2332" y="1152"/>
                  <a:pt x="2336" y="1158"/>
                  <a:pt x="2338" y="1158"/>
                </a:cubicBezTo>
                <a:cubicBezTo>
                  <a:pt x="2338" y="1158"/>
                  <a:pt x="2338" y="1158"/>
                  <a:pt x="2338" y="1158"/>
                </a:cubicBezTo>
                <a:cubicBezTo>
                  <a:pt x="2339" y="1158"/>
                  <a:pt x="2339" y="1158"/>
                  <a:pt x="2339" y="1158"/>
                </a:cubicBezTo>
                <a:cubicBezTo>
                  <a:pt x="2339" y="1154"/>
                  <a:pt x="2337" y="1152"/>
                  <a:pt x="2335" y="1150"/>
                </a:cubicBezTo>
                <a:lnTo>
                  <a:pt x="2335" y="1148"/>
                </a:lnTo>
                <a:close/>
                <a:moveTo>
                  <a:pt x="2323" y="1127"/>
                </a:moveTo>
                <a:cubicBezTo>
                  <a:pt x="2323" y="1126"/>
                  <a:pt x="2323" y="1126"/>
                  <a:pt x="2323" y="1126"/>
                </a:cubicBezTo>
                <a:cubicBezTo>
                  <a:pt x="2323" y="1126"/>
                  <a:pt x="2323" y="1126"/>
                  <a:pt x="2323" y="1126"/>
                </a:cubicBezTo>
                <a:cubicBezTo>
                  <a:pt x="2321" y="1127"/>
                  <a:pt x="2321" y="1127"/>
                  <a:pt x="2321" y="1127"/>
                </a:cubicBezTo>
                <a:cubicBezTo>
                  <a:pt x="2322" y="1128"/>
                  <a:pt x="2322" y="1128"/>
                  <a:pt x="2322" y="1128"/>
                </a:cubicBezTo>
                <a:cubicBezTo>
                  <a:pt x="2322" y="1128"/>
                  <a:pt x="2322" y="1128"/>
                  <a:pt x="2322" y="1128"/>
                </a:cubicBezTo>
                <a:cubicBezTo>
                  <a:pt x="2322" y="1130"/>
                  <a:pt x="2326" y="1136"/>
                  <a:pt x="2327" y="1136"/>
                </a:cubicBezTo>
                <a:cubicBezTo>
                  <a:pt x="2328" y="1136"/>
                  <a:pt x="2328" y="1135"/>
                  <a:pt x="2328" y="1135"/>
                </a:cubicBezTo>
                <a:cubicBezTo>
                  <a:pt x="2329" y="1133"/>
                  <a:pt x="2325" y="1128"/>
                  <a:pt x="2323" y="1127"/>
                </a:cubicBezTo>
                <a:close/>
                <a:moveTo>
                  <a:pt x="2602" y="795"/>
                </a:moveTo>
                <a:cubicBezTo>
                  <a:pt x="2602" y="797"/>
                  <a:pt x="2604" y="799"/>
                  <a:pt x="2606" y="799"/>
                </a:cubicBezTo>
                <a:cubicBezTo>
                  <a:pt x="2606" y="799"/>
                  <a:pt x="2607" y="799"/>
                  <a:pt x="2607" y="799"/>
                </a:cubicBezTo>
                <a:cubicBezTo>
                  <a:pt x="2608" y="798"/>
                  <a:pt x="2609" y="798"/>
                  <a:pt x="2609" y="798"/>
                </a:cubicBezTo>
                <a:cubicBezTo>
                  <a:pt x="2610" y="798"/>
                  <a:pt x="2610" y="798"/>
                  <a:pt x="2610" y="798"/>
                </a:cubicBezTo>
                <a:cubicBezTo>
                  <a:pt x="2610" y="797"/>
                  <a:pt x="2610" y="797"/>
                  <a:pt x="2610" y="797"/>
                </a:cubicBezTo>
                <a:cubicBezTo>
                  <a:pt x="2610" y="797"/>
                  <a:pt x="2610" y="797"/>
                  <a:pt x="2610" y="797"/>
                </a:cubicBezTo>
                <a:cubicBezTo>
                  <a:pt x="2610" y="798"/>
                  <a:pt x="2610" y="799"/>
                  <a:pt x="2611" y="799"/>
                </a:cubicBezTo>
                <a:cubicBezTo>
                  <a:pt x="2610" y="804"/>
                  <a:pt x="2610" y="804"/>
                  <a:pt x="2610" y="804"/>
                </a:cubicBezTo>
                <a:cubicBezTo>
                  <a:pt x="2609" y="805"/>
                  <a:pt x="2607" y="809"/>
                  <a:pt x="2607" y="809"/>
                </a:cubicBezTo>
                <a:cubicBezTo>
                  <a:pt x="2607" y="811"/>
                  <a:pt x="2609" y="815"/>
                  <a:pt x="2612" y="815"/>
                </a:cubicBezTo>
                <a:cubicBezTo>
                  <a:pt x="2612" y="816"/>
                  <a:pt x="2612" y="816"/>
                  <a:pt x="2613" y="816"/>
                </a:cubicBezTo>
                <a:cubicBezTo>
                  <a:pt x="2618" y="816"/>
                  <a:pt x="2620" y="804"/>
                  <a:pt x="2621" y="799"/>
                </a:cubicBezTo>
                <a:cubicBezTo>
                  <a:pt x="2621" y="800"/>
                  <a:pt x="2622" y="800"/>
                  <a:pt x="2622" y="799"/>
                </a:cubicBezTo>
                <a:cubicBezTo>
                  <a:pt x="2623" y="799"/>
                  <a:pt x="2623" y="799"/>
                  <a:pt x="2623" y="799"/>
                </a:cubicBezTo>
                <a:cubicBezTo>
                  <a:pt x="2624" y="799"/>
                  <a:pt x="2624" y="799"/>
                  <a:pt x="2624" y="799"/>
                </a:cubicBezTo>
                <a:cubicBezTo>
                  <a:pt x="2624" y="799"/>
                  <a:pt x="2624" y="799"/>
                  <a:pt x="2624" y="799"/>
                </a:cubicBezTo>
                <a:cubicBezTo>
                  <a:pt x="2623" y="798"/>
                  <a:pt x="2623" y="797"/>
                  <a:pt x="2623" y="797"/>
                </a:cubicBezTo>
                <a:cubicBezTo>
                  <a:pt x="2624" y="795"/>
                  <a:pt x="2624" y="795"/>
                  <a:pt x="2624" y="795"/>
                </a:cubicBezTo>
                <a:cubicBezTo>
                  <a:pt x="2624" y="795"/>
                  <a:pt x="2624" y="795"/>
                  <a:pt x="2624" y="795"/>
                </a:cubicBezTo>
                <a:cubicBezTo>
                  <a:pt x="2623" y="795"/>
                  <a:pt x="2623" y="795"/>
                  <a:pt x="2623" y="795"/>
                </a:cubicBezTo>
                <a:cubicBezTo>
                  <a:pt x="2621" y="792"/>
                  <a:pt x="2621" y="792"/>
                  <a:pt x="2621" y="792"/>
                </a:cubicBezTo>
                <a:cubicBezTo>
                  <a:pt x="2621" y="792"/>
                  <a:pt x="2621" y="792"/>
                  <a:pt x="2621" y="792"/>
                </a:cubicBezTo>
                <a:cubicBezTo>
                  <a:pt x="2620" y="792"/>
                  <a:pt x="2620" y="792"/>
                  <a:pt x="2620" y="792"/>
                </a:cubicBezTo>
                <a:cubicBezTo>
                  <a:pt x="2620" y="792"/>
                  <a:pt x="2620" y="792"/>
                  <a:pt x="2620" y="792"/>
                </a:cubicBezTo>
                <a:cubicBezTo>
                  <a:pt x="2620" y="792"/>
                  <a:pt x="2620" y="791"/>
                  <a:pt x="2620" y="790"/>
                </a:cubicBezTo>
                <a:cubicBezTo>
                  <a:pt x="2621" y="789"/>
                  <a:pt x="2621" y="789"/>
                  <a:pt x="2621" y="789"/>
                </a:cubicBezTo>
                <a:cubicBezTo>
                  <a:pt x="2621" y="789"/>
                  <a:pt x="2621" y="789"/>
                  <a:pt x="2621" y="789"/>
                </a:cubicBezTo>
                <a:cubicBezTo>
                  <a:pt x="2620" y="789"/>
                  <a:pt x="2620" y="789"/>
                  <a:pt x="2620" y="789"/>
                </a:cubicBezTo>
                <a:cubicBezTo>
                  <a:pt x="2618" y="789"/>
                  <a:pt x="2617" y="788"/>
                  <a:pt x="2616" y="787"/>
                </a:cubicBezTo>
                <a:cubicBezTo>
                  <a:pt x="2614" y="787"/>
                  <a:pt x="2613" y="786"/>
                  <a:pt x="2612" y="786"/>
                </a:cubicBezTo>
                <a:cubicBezTo>
                  <a:pt x="2611" y="786"/>
                  <a:pt x="2602" y="793"/>
                  <a:pt x="2602" y="795"/>
                </a:cubicBezTo>
                <a:close/>
                <a:moveTo>
                  <a:pt x="2630" y="797"/>
                </a:moveTo>
                <a:cubicBezTo>
                  <a:pt x="2631" y="798"/>
                  <a:pt x="2631" y="798"/>
                  <a:pt x="2631" y="798"/>
                </a:cubicBezTo>
                <a:cubicBezTo>
                  <a:pt x="2634" y="798"/>
                  <a:pt x="2635" y="796"/>
                  <a:pt x="2636" y="793"/>
                </a:cubicBezTo>
                <a:cubicBezTo>
                  <a:pt x="2637" y="792"/>
                  <a:pt x="2638" y="791"/>
                  <a:pt x="2638" y="790"/>
                </a:cubicBezTo>
                <a:cubicBezTo>
                  <a:pt x="2639" y="790"/>
                  <a:pt x="2639" y="790"/>
                  <a:pt x="2639" y="790"/>
                </a:cubicBezTo>
                <a:cubicBezTo>
                  <a:pt x="2640" y="791"/>
                  <a:pt x="2641" y="792"/>
                  <a:pt x="2643" y="792"/>
                </a:cubicBezTo>
                <a:cubicBezTo>
                  <a:pt x="2645" y="792"/>
                  <a:pt x="2647" y="787"/>
                  <a:pt x="2647" y="784"/>
                </a:cubicBezTo>
                <a:cubicBezTo>
                  <a:pt x="2647" y="782"/>
                  <a:pt x="2647" y="781"/>
                  <a:pt x="2646" y="780"/>
                </a:cubicBezTo>
                <a:cubicBezTo>
                  <a:pt x="2645" y="779"/>
                  <a:pt x="2644" y="779"/>
                  <a:pt x="2643" y="779"/>
                </a:cubicBezTo>
                <a:cubicBezTo>
                  <a:pt x="2641" y="779"/>
                  <a:pt x="2640" y="780"/>
                  <a:pt x="2638" y="781"/>
                </a:cubicBezTo>
                <a:cubicBezTo>
                  <a:pt x="2637" y="783"/>
                  <a:pt x="2635" y="784"/>
                  <a:pt x="2633" y="783"/>
                </a:cubicBezTo>
                <a:cubicBezTo>
                  <a:pt x="2632" y="783"/>
                  <a:pt x="2632" y="783"/>
                  <a:pt x="2632" y="783"/>
                </a:cubicBezTo>
                <a:cubicBezTo>
                  <a:pt x="2632" y="783"/>
                  <a:pt x="2632" y="783"/>
                  <a:pt x="2632" y="783"/>
                </a:cubicBezTo>
                <a:cubicBezTo>
                  <a:pt x="2632" y="784"/>
                  <a:pt x="2629" y="786"/>
                  <a:pt x="2626" y="788"/>
                </a:cubicBezTo>
                <a:cubicBezTo>
                  <a:pt x="2626" y="789"/>
                  <a:pt x="2626" y="789"/>
                  <a:pt x="2626" y="789"/>
                </a:cubicBezTo>
                <a:cubicBezTo>
                  <a:pt x="2626" y="789"/>
                  <a:pt x="2626" y="789"/>
                  <a:pt x="2626" y="789"/>
                </a:cubicBezTo>
                <a:cubicBezTo>
                  <a:pt x="2626" y="791"/>
                  <a:pt x="2627" y="792"/>
                  <a:pt x="2629" y="793"/>
                </a:cubicBezTo>
                <a:cubicBezTo>
                  <a:pt x="2629" y="794"/>
                  <a:pt x="2629" y="796"/>
                  <a:pt x="2630" y="797"/>
                </a:cubicBezTo>
                <a:close/>
                <a:moveTo>
                  <a:pt x="2641" y="778"/>
                </a:moveTo>
                <a:cubicBezTo>
                  <a:pt x="2641" y="778"/>
                  <a:pt x="2641" y="778"/>
                  <a:pt x="2641" y="778"/>
                </a:cubicBezTo>
                <a:cubicBezTo>
                  <a:pt x="2641" y="778"/>
                  <a:pt x="2641" y="778"/>
                  <a:pt x="2641" y="778"/>
                </a:cubicBezTo>
                <a:close/>
                <a:moveTo>
                  <a:pt x="2669" y="746"/>
                </a:moveTo>
                <a:cubicBezTo>
                  <a:pt x="2669" y="746"/>
                  <a:pt x="2669" y="746"/>
                  <a:pt x="2669" y="746"/>
                </a:cubicBezTo>
                <a:cubicBezTo>
                  <a:pt x="2669" y="746"/>
                  <a:pt x="2669" y="746"/>
                  <a:pt x="2669" y="746"/>
                </a:cubicBezTo>
                <a:cubicBezTo>
                  <a:pt x="2669" y="746"/>
                  <a:pt x="2669" y="746"/>
                  <a:pt x="2669" y="746"/>
                </a:cubicBezTo>
                <a:cubicBezTo>
                  <a:pt x="2669" y="747"/>
                  <a:pt x="2668" y="748"/>
                  <a:pt x="2666" y="752"/>
                </a:cubicBezTo>
                <a:cubicBezTo>
                  <a:pt x="2665" y="753"/>
                  <a:pt x="2664" y="755"/>
                  <a:pt x="2664" y="755"/>
                </a:cubicBezTo>
                <a:cubicBezTo>
                  <a:pt x="2663" y="755"/>
                  <a:pt x="2662" y="757"/>
                  <a:pt x="2661" y="759"/>
                </a:cubicBezTo>
                <a:cubicBezTo>
                  <a:pt x="2659" y="762"/>
                  <a:pt x="2657" y="766"/>
                  <a:pt x="2654" y="766"/>
                </a:cubicBezTo>
                <a:cubicBezTo>
                  <a:pt x="2635" y="766"/>
                  <a:pt x="2635" y="766"/>
                  <a:pt x="2635" y="766"/>
                </a:cubicBezTo>
                <a:cubicBezTo>
                  <a:pt x="2630" y="766"/>
                  <a:pt x="2627" y="769"/>
                  <a:pt x="2624" y="773"/>
                </a:cubicBezTo>
                <a:cubicBezTo>
                  <a:pt x="2622" y="775"/>
                  <a:pt x="2620" y="778"/>
                  <a:pt x="2618" y="779"/>
                </a:cubicBezTo>
                <a:cubicBezTo>
                  <a:pt x="2617" y="780"/>
                  <a:pt x="2617" y="780"/>
                  <a:pt x="2616" y="780"/>
                </a:cubicBezTo>
                <a:cubicBezTo>
                  <a:pt x="2615" y="781"/>
                  <a:pt x="2614" y="781"/>
                  <a:pt x="2614" y="782"/>
                </a:cubicBezTo>
                <a:cubicBezTo>
                  <a:pt x="2614" y="784"/>
                  <a:pt x="2616" y="784"/>
                  <a:pt x="2618" y="784"/>
                </a:cubicBezTo>
                <a:cubicBezTo>
                  <a:pt x="2625" y="784"/>
                  <a:pt x="2631" y="781"/>
                  <a:pt x="2634" y="779"/>
                </a:cubicBezTo>
                <a:cubicBezTo>
                  <a:pt x="2636" y="778"/>
                  <a:pt x="2637" y="778"/>
                  <a:pt x="2638" y="779"/>
                </a:cubicBezTo>
                <a:cubicBezTo>
                  <a:pt x="2639" y="779"/>
                  <a:pt x="2640" y="779"/>
                  <a:pt x="2641" y="778"/>
                </a:cubicBezTo>
                <a:cubicBezTo>
                  <a:pt x="2642" y="777"/>
                  <a:pt x="2642" y="777"/>
                  <a:pt x="2642" y="777"/>
                </a:cubicBezTo>
                <a:cubicBezTo>
                  <a:pt x="2643" y="776"/>
                  <a:pt x="2643" y="775"/>
                  <a:pt x="2644" y="775"/>
                </a:cubicBezTo>
                <a:cubicBezTo>
                  <a:pt x="2646" y="775"/>
                  <a:pt x="2648" y="776"/>
                  <a:pt x="2650" y="777"/>
                </a:cubicBezTo>
                <a:cubicBezTo>
                  <a:pt x="2651" y="777"/>
                  <a:pt x="2652" y="778"/>
                  <a:pt x="2653" y="778"/>
                </a:cubicBezTo>
                <a:cubicBezTo>
                  <a:pt x="2653" y="779"/>
                  <a:pt x="2653" y="779"/>
                  <a:pt x="2653" y="780"/>
                </a:cubicBezTo>
                <a:cubicBezTo>
                  <a:pt x="2652" y="781"/>
                  <a:pt x="2652" y="783"/>
                  <a:pt x="2652" y="784"/>
                </a:cubicBezTo>
                <a:cubicBezTo>
                  <a:pt x="2652" y="785"/>
                  <a:pt x="2652" y="785"/>
                  <a:pt x="2652" y="785"/>
                </a:cubicBezTo>
                <a:cubicBezTo>
                  <a:pt x="2652" y="786"/>
                  <a:pt x="2652" y="786"/>
                  <a:pt x="2652" y="787"/>
                </a:cubicBezTo>
                <a:cubicBezTo>
                  <a:pt x="2652" y="787"/>
                  <a:pt x="2652" y="787"/>
                  <a:pt x="2652" y="787"/>
                </a:cubicBezTo>
                <a:cubicBezTo>
                  <a:pt x="2653" y="787"/>
                  <a:pt x="2654" y="788"/>
                  <a:pt x="2654" y="788"/>
                </a:cubicBezTo>
                <a:cubicBezTo>
                  <a:pt x="2655" y="789"/>
                  <a:pt x="2655" y="790"/>
                  <a:pt x="2657" y="791"/>
                </a:cubicBezTo>
                <a:cubicBezTo>
                  <a:pt x="2657" y="791"/>
                  <a:pt x="2657" y="791"/>
                  <a:pt x="2657" y="791"/>
                </a:cubicBezTo>
                <a:cubicBezTo>
                  <a:pt x="2657" y="790"/>
                  <a:pt x="2657" y="790"/>
                  <a:pt x="2657" y="790"/>
                </a:cubicBezTo>
                <a:cubicBezTo>
                  <a:pt x="2659" y="787"/>
                  <a:pt x="2662" y="782"/>
                  <a:pt x="2664" y="782"/>
                </a:cubicBezTo>
                <a:cubicBezTo>
                  <a:pt x="2665" y="782"/>
                  <a:pt x="2666" y="781"/>
                  <a:pt x="2667" y="781"/>
                </a:cubicBezTo>
                <a:cubicBezTo>
                  <a:pt x="2667" y="781"/>
                  <a:pt x="2667" y="781"/>
                  <a:pt x="2667" y="781"/>
                </a:cubicBezTo>
                <a:cubicBezTo>
                  <a:pt x="2667" y="780"/>
                  <a:pt x="2667" y="780"/>
                  <a:pt x="2667" y="780"/>
                </a:cubicBezTo>
                <a:cubicBezTo>
                  <a:pt x="2667" y="780"/>
                  <a:pt x="2667" y="780"/>
                  <a:pt x="2667" y="780"/>
                </a:cubicBezTo>
                <a:cubicBezTo>
                  <a:pt x="2667" y="780"/>
                  <a:pt x="2665" y="776"/>
                  <a:pt x="2665" y="775"/>
                </a:cubicBezTo>
                <a:cubicBezTo>
                  <a:pt x="2665" y="774"/>
                  <a:pt x="2665" y="773"/>
                  <a:pt x="2666" y="773"/>
                </a:cubicBezTo>
                <a:cubicBezTo>
                  <a:pt x="2667" y="773"/>
                  <a:pt x="2667" y="774"/>
                  <a:pt x="2668" y="775"/>
                </a:cubicBezTo>
                <a:cubicBezTo>
                  <a:pt x="2669" y="776"/>
                  <a:pt x="2671" y="779"/>
                  <a:pt x="2675" y="779"/>
                </a:cubicBezTo>
                <a:cubicBezTo>
                  <a:pt x="2678" y="779"/>
                  <a:pt x="2679" y="777"/>
                  <a:pt x="2681" y="775"/>
                </a:cubicBezTo>
                <a:cubicBezTo>
                  <a:pt x="2684" y="775"/>
                  <a:pt x="2684" y="775"/>
                  <a:pt x="2684" y="775"/>
                </a:cubicBezTo>
                <a:cubicBezTo>
                  <a:pt x="2684" y="775"/>
                  <a:pt x="2685" y="776"/>
                  <a:pt x="2686" y="776"/>
                </a:cubicBezTo>
                <a:cubicBezTo>
                  <a:pt x="2686" y="776"/>
                  <a:pt x="2686" y="776"/>
                  <a:pt x="2686" y="776"/>
                </a:cubicBezTo>
                <a:cubicBezTo>
                  <a:pt x="2686" y="776"/>
                  <a:pt x="2686" y="776"/>
                  <a:pt x="2686" y="776"/>
                </a:cubicBezTo>
                <a:cubicBezTo>
                  <a:pt x="2687" y="772"/>
                  <a:pt x="2689" y="771"/>
                  <a:pt x="2691" y="770"/>
                </a:cubicBezTo>
                <a:cubicBezTo>
                  <a:pt x="2692" y="769"/>
                  <a:pt x="2693" y="769"/>
                  <a:pt x="2694" y="768"/>
                </a:cubicBezTo>
                <a:cubicBezTo>
                  <a:pt x="2693" y="769"/>
                  <a:pt x="2693" y="769"/>
                  <a:pt x="2693" y="769"/>
                </a:cubicBezTo>
                <a:cubicBezTo>
                  <a:pt x="2693" y="770"/>
                  <a:pt x="2693" y="771"/>
                  <a:pt x="2693" y="773"/>
                </a:cubicBezTo>
                <a:cubicBezTo>
                  <a:pt x="2694" y="774"/>
                  <a:pt x="2694" y="774"/>
                  <a:pt x="2694" y="774"/>
                </a:cubicBezTo>
                <a:cubicBezTo>
                  <a:pt x="2694" y="773"/>
                  <a:pt x="2694" y="773"/>
                  <a:pt x="2694" y="773"/>
                </a:cubicBezTo>
                <a:cubicBezTo>
                  <a:pt x="2696" y="773"/>
                  <a:pt x="2697" y="771"/>
                  <a:pt x="2698" y="770"/>
                </a:cubicBezTo>
                <a:cubicBezTo>
                  <a:pt x="2699" y="769"/>
                  <a:pt x="2700" y="767"/>
                  <a:pt x="2701" y="766"/>
                </a:cubicBezTo>
                <a:cubicBezTo>
                  <a:pt x="2702" y="766"/>
                  <a:pt x="2702" y="766"/>
                  <a:pt x="2702" y="766"/>
                </a:cubicBezTo>
                <a:cubicBezTo>
                  <a:pt x="2702" y="766"/>
                  <a:pt x="2702" y="766"/>
                  <a:pt x="2702" y="766"/>
                </a:cubicBezTo>
                <a:cubicBezTo>
                  <a:pt x="2701" y="765"/>
                  <a:pt x="2701" y="765"/>
                  <a:pt x="2701" y="764"/>
                </a:cubicBezTo>
                <a:cubicBezTo>
                  <a:pt x="2700" y="763"/>
                  <a:pt x="2700" y="762"/>
                  <a:pt x="2700" y="759"/>
                </a:cubicBezTo>
                <a:cubicBezTo>
                  <a:pt x="2700" y="757"/>
                  <a:pt x="2701" y="755"/>
                  <a:pt x="2702" y="754"/>
                </a:cubicBezTo>
                <a:cubicBezTo>
                  <a:pt x="2703" y="753"/>
                  <a:pt x="2703" y="751"/>
                  <a:pt x="2703" y="750"/>
                </a:cubicBezTo>
                <a:cubicBezTo>
                  <a:pt x="2703" y="749"/>
                  <a:pt x="2703" y="748"/>
                  <a:pt x="2703" y="747"/>
                </a:cubicBezTo>
                <a:cubicBezTo>
                  <a:pt x="2703" y="743"/>
                  <a:pt x="2703" y="735"/>
                  <a:pt x="2705" y="734"/>
                </a:cubicBezTo>
                <a:cubicBezTo>
                  <a:pt x="2706" y="734"/>
                  <a:pt x="2706" y="734"/>
                  <a:pt x="2706" y="734"/>
                </a:cubicBezTo>
                <a:cubicBezTo>
                  <a:pt x="2707" y="734"/>
                  <a:pt x="2707" y="734"/>
                  <a:pt x="2708" y="734"/>
                </a:cubicBezTo>
                <a:cubicBezTo>
                  <a:pt x="2708" y="733"/>
                  <a:pt x="2708" y="733"/>
                  <a:pt x="2708" y="733"/>
                </a:cubicBezTo>
                <a:cubicBezTo>
                  <a:pt x="2708" y="731"/>
                  <a:pt x="2708" y="731"/>
                  <a:pt x="2708" y="731"/>
                </a:cubicBezTo>
                <a:cubicBezTo>
                  <a:pt x="2708" y="729"/>
                  <a:pt x="2709" y="728"/>
                  <a:pt x="2710" y="727"/>
                </a:cubicBezTo>
                <a:cubicBezTo>
                  <a:pt x="2711" y="725"/>
                  <a:pt x="2713" y="723"/>
                  <a:pt x="2713" y="720"/>
                </a:cubicBezTo>
                <a:cubicBezTo>
                  <a:pt x="2713" y="718"/>
                  <a:pt x="2711" y="716"/>
                  <a:pt x="2710" y="714"/>
                </a:cubicBezTo>
                <a:cubicBezTo>
                  <a:pt x="2709" y="712"/>
                  <a:pt x="2708" y="710"/>
                  <a:pt x="2708" y="708"/>
                </a:cubicBezTo>
                <a:cubicBezTo>
                  <a:pt x="2708" y="707"/>
                  <a:pt x="2708" y="707"/>
                  <a:pt x="2708" y="707"/>
                </a:cubicBezTo>
                <a:cubicBezTo>
                  <a:pt x="2708" y="705"/>
                  <a:pt x="2708" y="703"/>
                  <a:pt x="2708" y="701"/>
                </a:cubicBezTo>
                <a:cubicBezTo>
                  <a:pt x="2707" y="700"/>
                  <a:pt x="2707" y="699"/>
                  <a:pt x="2704" y="699"/>
                </a:cubicBezTo>
                <a:cubicBezTo>
                  <a:pt x="2703" y="699"/>
                  <a:pt x="2703" y="699"/>
                  <a:pt x="2703" y="699"/>
                </a:cubicBezTo>
                <a:cubicBezTo>
                  <a:pt x="2703" y="700"/>
                  <a:pt x="2703" y="700"/>
                  <a:pt x="2703" y="700"/>
                </a:cubicBezTo>
                <a:cubicBezTo>
                  <a:pt x="2703" y="701"/>
                  <a:pt x="2703" y="703"/>
                  <a:pt x="2704" y="703"/>
                </a:cubicBezTo>
                <a:cubicBezTo>
                  <a:pt x="2704" y="703"/>
                  <a:pt x="2704" y="703"/>
                  <a:pt x="2704" y="703"/>
                </a:cubicBezTo>
                <a:cubicBezTo>
                  <a:pt x="2703" y="704"/>
                  <a:pt x="2703" y="704"/>
                  <a:pt x="2703" y="704"/>
                </a:cubicBezTo>
                <a:cubicBezTo>
                  <a:pt x="2702" y="702"/>
                  <a:pt x="2702" y="702"/>
                  <a:pt x="2702" y="702"/>
                </a:cubicBezTo>
                <a:cubicBezTo>
                  <a:pt x="2701" y="701"/>
                  <a:pt x="2701" y="701"/>
                  <a:pt x="2701" y="701"/>
                </a:cubicBezTo>
                <a:cubicBezTo>
                  <a:pt x="2697" y="701"/>
                  <a:pt x="2694" y="710"/>
                  <a:pt x="2694" y="715"/>
                </a:cubicBezTo>
                <a:cubicBezTo>
                  <a:pt x="2694" y="716"/>
                  <a:pt x="2694" y="716"/>
                  <a:pt x="2694" y="717"/>
                </a:cubicBezTo>
                <a:cubicBezTo>
                  <a:pt x="2695" y="717"/>
                  <a:pt x="2695" y="718"/>
                  <a:pt x="2695" y="719"/>
                </a:cubicBezTo>
                <a:cubicBezTo>
                  <a:pt x="2695" y="730"/>
                  <a:pt x="2685" y="744"/>
                  <a:pt x="2678" y="747"/>
                </a:cubicBezTo>
                <a:cubicBezTo>
                  <a:pt x="2677" y="747"/>
                  <a:pt x="2676" y="748"/>
                  <a:pt x="2675" y="749"/>
                </a:cubicBezTo>
                <a:cubicBezTo>
                  <a:pt x="2673" y="751"/>
                  <a:pt x="2672" y="752"/>
                  <a:pt x="2669" y="752"/>
                </a:cubicBezTo>
                <a:cubicBezTo>
                  <a:pt x="2668" y="750"/>
                  <a:pt x="2668" y="750"/>
                  <a:pt x="2668" y="750"/>
                </a:cubicBezTo>
                <a:cubicBezTo>
                  <a:pt x="2668" y="749"/>
                  <a:pt x="2669" y="748"/>
                  <a:pt x="2670" y="747"/>
                </a:cubicBezTo>
                <a:lnTo>
                  <a:pt x="2669" y="746"/>
                </a:lnTo>
                <a:close/>
                <a:moveTo>
                  <a:pt x="2704" y="675"/>
                </a:moveTo>
                <a:cubicBezTo>
                  <a:pt x="2703" y="675"/>
                  <a:pt x="2703" y="675"/>
                  <a:pt x="2703" y="675"/>
                </a:cubicBezTo>
                <a:cubicBezTo>
                  <a:pt x="2702" y="675"/>
                  <a:pt x="2701" y="676"/>
                  <a:pt x="2701" y="675"/>
                </a:cubicBezTo>
                <a:cubicBezTo>
                  <a:pt x="2701" y="675"/>
                  <a:pt x="2701" y="675"/>
                  <a:pt x="2701" y="675"/>
                </a:cubicBezTo>
                <a:cubicBezTo>
                  <a:pt x="2700" y="675"/>
                  <a:pt x="2700" y="675"/>
                  <a:pt x="2699" y="674"/>
                </a:cubicBezTo>
                <a:cubicBezTo>
                  <a:pt x="2699" y="674"/>
                  <a:pt x="2699" y="674"/>
                  <a:pt x="2699" y="674"/>
                </a:cubicBezTo>
                <a:cubicBezTo>
                  <a:pt x="2699" y="677"/>
                  <a:pt x="2699" y="677"/>
                  <a:pt x="2699" y="677"/>
                </a:cubicBezTo>
                <a:cubicBezTo>
                  <a:pt x="2698" y="678"/>
                  <a:pt x="2697" y="679"/>
                  <a:pt x="2696" y="680"/>
                </a:cubicBezTo>
                <a:cubicBezTo>
                  <a:pt x="2695" y="682"/>
                  <a:pt x="2693" y="684"/>
                  <a:pt x="2693" y="686"/>
                </a:cubicBezTo>
                <a:cubicBezTo>
                  <a:pt x="2693" y="687"/>
                  <a:pt x="2694" y="688"/>
                  <a:pt x="2694" y="688"/>
                </a:cubicBezTo>
                <a:cubicBezTo>
                  <a:pt x="2695" y="690"/>
                  <a:pt x="2695" y="690"/>
                  <a:pt x="2695" y="690"/>
                </a:cubicBezTo>
                <a:cubicBezTo>
                  <a:pt x="2695" y="698"/>
                  <a:pt x="2695" y="698"/>
                  <a:pt x="2695" y="698"/>
                </a:cubicBezTo>
                <a:cubicBezTo>
                  <a:pt x="2697" y="698"/>
                  <a:pt x="2697" y="698"/>
                  <a:pt x="2697" y="698"/>
                </a:cubicBezTo>
                <a:cubicBezTo>
                  <a:pt x="2697" y="698"/>
                  <a:pt x="2697" y="698"/>
                  <a:pt x="2697" y="698"/>
                </a:cubicBezTo>
                <a:cubicBezTo>
                  <a:pt x="2698" y="697"/>
                  <a:pt x="2699" y="696"/>
                  <a:pt x="2700" y="696"/>
                </a:cubicBezTo>
                <a:cubicBezTo>
                  <a:pt x="2702" y="695"/>
                  <a:pt x="2703" y="695"/>
                  <a:pt x="2705" y="693"/>
                </a:cubicBezTo>
                <a:cubicBezTo>
                  <a:pt x="2705" y="692"/>
                  <a:pt x="2705" y="692"/>
                  <a:pt x="2705" y="692"/>
                </a:cubicBezTo>
                <a:cubicBezTo>
                  <a:pt x="2704" y="692"/>
                  <a:pt x="2704" y="692"/>
                  <a:pt x="2704" y="692"/>
                </a:cubicBezTo>
                <a:cubicBezTo>
                  <a:pt x="2704" y="692"/>
                  <a:pt x="2703" y="691"/>
                  <a:pt x="2702" y="691"/>
                </a:cubicBezTo>
                <a:cubicBezTo>
                  <a:pt x="2701" y="690"/>
                  <a:pt x="2699" y="690"/>
                  <a:pt x="2699" y="688"/>
                </a:cubicBezTo>
                <a:cubicBezTo>
                  <a:pt x="2699" y="686"/>
                  <a:pt x="2699" y="685"/>
                  <a:pt x="2699" y="685"/>
                </a:cubicBezTo>
                <a:cubicBezTo>
                  <a:pt x="2700" y="684"/>
                  <a:pt x="2702" y="685"/>
                  <a:pt x="2704" y="685"/>
                </a:cubicBezTo>
                <a:cubicBezTo>
                  <a:pt x="2705" y="685"/>
                  <a:pt x="2706" y="686"/>
                  <a:pt x="2708" y="686"/>
                </a:cubicBezTo>
                <a:cubicBezTo>
                  <a:pt x="2708" y="686"/>
                  <a:pt x="2708" y="686"/>
                  <a:pt x="2708" y="686"/>
                </a:cubicBezTo>
                <a:cubicBezTo>
                  <a:pt x="2708" y="685"/>
                  <a:pt x="2708" y="685"/>
                  <a:pt x="2708" y="685"/>
                </a:cubicBezTo>
                <a:cubicBezTo>
                  <a:pt x="2708" y="684"/>
                  <a:pt x="2709" y="683"/>
                  <a:pt x="2710" y="683"/>
                </a:cubicBezTo>
                <a:cubicBezTo>
                  <a:pt x="2712" y="685"/>
                  <a:pt x="2715" y="686"/>
                  <a:pt x="2717" y="687"/>
                </a:cubicBezTo>
                <a:cubicBezTo>
                  <a:pt x="2719" y="688"/>
                  <a:pt x="2720" y="689"/>
                  <a:pt x="2723" y="691"/>
                </a:cubicBezTo>
                <a:cubicBezTo>
                  <a:pt x="2723" y="691"/>
                  <a:pt x="2723" y="691"/>
                  <a:pt x="2723" y="691"/>
                </a:cubicBezTo>
                <a:cubicBezTo>
                  <a:pt x="2723" y="691"/>
                  <a:pt x="2723" y="691"/>
                  <a:pt x="2723" y="691"/>
                </a:cubicBezTo>
                <a:cubicBezTo>
                  <a:pt x="2724" y="690"/>
                  <a:pt x="2724" y="689"/>
                  <a:pt x="2725" y="688"/>
                </a:cubicBezTo>
                <a:cubicBezTo>
                  <a:pt x="2727" y="683"/>
                  <a:pt x="2729" y="679"/>
                  <a:pt x="2734" y="679"/>
                </a:cubicBezTo>
                <a:cubicBezTo>
                  <a:pt x="2739" y="679"/>
                  <a:pt x="2741" y="678"/>
                  <a:pt x="2744" y="675"/>
                </a:cubicBezTo>
                <a:cubicBezTo>
                  <a:pt x="2745" y="675"/>
                  <a:pt x="2745" y="675"/>
                  <a:pt x="2745" y="675"/>
                </a:cubicBezTo>
                <a:cubicBezTo>
                  <a:pt x="2744" y="675"/>
                  <a:pt x="2744" y="675"/>
                  <a:pt x="2744" y="675"/>
                </a:cubicBezTo>
                <a:cubicBezTo>
                  <a:pt x="2743" y="674"/>
                  <a:pt x="2740" y="672"/>
                  <a:pt x="2740" y="670"/>
                </a:cubicBezTo>
                <a:cubicBezTo>
                  <a:pt x="2740" y="670"/>
                  <a:pt x="2741" y="669"/>
                  <a:pt x="2741" y="668"/>
                </a:cubicBezTo>
                <a:cubicBezTo>
                  <a:pt x="2741" y="668"/>
                  <a:pt x="2742" y="667"/>
                  <a:pt x="2742" y="666"/>
                </a:cubicBezTo>
                <a:cubicBezTo>
                  <a:pt x="2742" y="666"/>
                  <a:pt x="2742" y="666"/>
                  <a:pt x="2742" y="666"/>
                </a:cubicBezTo>
                <a:cubicBezTo>
                  <a:pt x="2742" y="666"/>
                  <a:pt x="2742" y="666"/>
                  <a:pt x="2742" y="666"/>
                </a:cubicBezTo>
                <a:cubicBezTo>
                  <a:pt x="2741" y="665"/>
                  <a:pt x="2739" y="665"/>
                  <a:pt x="2738" y="666"/>
                </a:cubicBezTo>
                <a:cubicBezTo>
                  <a:pt x="2737" y="666"/>
                  <a:pt x="2736" y="667"/>
                  <a:pt x="2735" y="667"/>
                </a:cubicBezTo>
                <a:cubicBezTo>
                  <a:pt x="2727" y="667"/>
                  <a:pt x="2723" y="662"/>
                  <a:pt x="2719" y="656"/>
                </a:cubicBezTo>
                <a:cubicBezTo>
                  <a:pt x="2717" y="654"/>
                  <a:pt x="2714" y="651"/>
                  <a:pt x="2712" y="649"/>
                </a:cubicBezTo>
                <a:cubicBezTo>
                  <a:pt x="2711" y="649"/>
                  <a:pt x="2711" y="649"/>
                  <a:pt x="2711" y="649"/>
                </a:cubicBezTo>
                <a:cubicBezTo>
                  <a:pt x="2711" y="649"/>
                  <a:pt x="2711" y="649"/>
                  <a:pt x="2711" y="649"/>
                </a:cubicBezTo>
                <a:cubicBezTo>
                  <a:pt x="2711" y="650"/>
                  <a:pt x="2711" y="650"/>
                  <a:pt x="2711" y="650"/>
                </a:cubicBezTo>
                <a:cubicBezTo>
                  <a:pt x="2710" y="651"/>
                  <a:pt x="2709" y="652"/>
                  <a:pt x="2709" y="654"/>
                </a:cubicBezTo>
                <a:cubicBezTo>
                  <a:pt x="2709" y="655"/>
                  <a:pt x="2710" y="656"/>
                  <a:pt x="2710" y="656"/>
                </a:cubicBezTo>
                <a:cubicBezTo>
                  <a:pt x="2711" y="658"/>
                  <a:pt x="2711" y="658"/>
                  <a:pt x="2711" y="658"/>
                </a:cubicBezTo>
                <a:cubicBezTo>
                  <a:pt x="2711" y="662"/>
                  <a:pt x="2709" y="675"/>
                  <a:pt x="2704" y="675"/>
                </a:cubicBezTo>
                <a:close/>
                <a:moveTo>
                  <a:pt x="2750" y="661"/>
                </a:moveTo>
                <a:cubicBezTo>
                  <a:pt x="2749" y="662"/>
                  <a:pt x="2749" y="662"/>
                  <a:pt x="2749" y="662"/>
                </a:cubicBezTo>
                <a:cubicBezTo>
                  <a:pt x="2747" y="662"/>
                  <a:pt x="2744" y="665"/>
                  <a:pt x="2743" y="667"/>
                </a:cubicBezTo>
                <a:cubicBezTo>
                  <a:pt x="2742" y="668"/>
                  <a:pt x="2742" y="669"/>
                  <a:pt x="2743" y="670"/>
                </a:cubicBezTo>
                <a:cubicBezTo>
                  <a:pt x="2743" y="671"/>
                  <a:pt x="2743" y="671"/>
                  <a:pt x="2743" y="671"/>
                </a:cubicBezTo>
                <a:cubicBezTo>
                  <a:pt x="2747" y="671"/>
                  <a:pt x="2751" y="663"/>
                  <a:pt x="2751" y="663"/>
                </a:cubicBezTo>
                <a:cubicBezTo>
                  <a:pt x="2752" y="663"/>
                  <a:pt x="2752" y="663"/>
                  <a:pt x="2752" y="663"/>
                </a:cubicBezTo>
                <a:cubicBezTo>
                  <a:pt x="2751" y="662"/>
                  <a:pt x="2751" y="662"/>
                  <a:pt x="2751" y="662"/>
                </a:cubicBezTo>
                <a:cubicBezTo>
                  <a:pt x="2750" y="662"/>
                  <a:pt x="2750" y="662"/>
                  <a:pt x="2750" y="662"/>
                </a:cubicBezTo>
                <a:cubicBezTo>
                  <a:pt x="2751" y="661"/>
                  <a:pt x="2751" y="661"/>
                  <a:pt x="2751" y="661"/>
                </a:cubicBezTo>
                <a:lnTo>
                  <a:pt x="2750" y="661"/>
                </a:lnTo>
                <a:close/>
                <a:moveTo>
                  <a:pt x="2769" y="648"/>
                </a:moveTo>
                <a:cubicBezTo>
                  <a:pt x="2768" y="648"/>
                  <a:pt x="2767" y="648"/>
                  <a:pt x="2767" y="648"/>
                </a:cubicBezTo>
                <a:cubicBezTo>
                  <a:pt x="2763" y="648"/>
                  <a:pt x="2760" y="656"/>
                  <a:pt x="2760" y="656"/>
                </a:cubicBezTo>
                <a:cubicBezTo>
                  <a:pt x="2760" y="656"/>
                  <a:pt x="2760" y="656"/>
                  <a:pt x="2760" y="656"/>
                </a:cubicBezTo>
                <a:cubicBezTo>
                  <a:pt x="2760" y="657"/>
                  <a:pt x="2760" y="657"/>
                  <a:pt x="2760" y="657"/>
                </a:cubicBezTo>
                <a:cubicBezTo>
                  <a:pt x="2760" y="657"/>
                  <a:pt x="2760" y="657"/>
                  <a:pt x="2760" y="657"/>
                </a:cubicBezTo>
                <a:cubicBezTo>
                  <a:pt x="2759" y="658"/>
                  <a:pt x="2759" y="658"/>
                  <a:pt x="2760" y="658"/>
                </a:cubicBezTo>
                <a:cubicBezTo>
                  <a:pt x="2760" y="659"/>
                  <a:pt x="2760" y="659"/>
                  <a:pt x="2760" y="659"/>
                </a:cubicBezTo>
                <a:cubicBezTo>
                  <a:pt x="2762" y="659"/>
                  <a:pt x="2763" y="657"/>
                  <a:pt x="2764" y="656"/>
                </a:cubicBezTo>
                <a:cubicBezTo>
                  <a:pt x="2766" y="654"/>
                  <a:pt x="2768" y="652"/>
                  <a:pt x="2771" y="652"/>
                </a:cubicBezTo>
                <a:cubicBezTo>
                  <a:pt x="2772" y="652"/>
                  <a:pt x="2772" y="652"/>
                  <a:pt x="2772" y="652"/>
                </a:cubicBezTo>
                <a:cubicBezTo>
                  <a:pt x="2772" y="648"/>
                  <a:pt x="2772" y="648"/>
                  <a:pt x="2772" y="648"/>
                </a:cubicBezTo>
                <a:cubicBezTo>
                  <a:pt x="2771" y="648"/>
                  <a:pt x="2771" y="648"/>
                  <a:pt x="2771" y="648"/>
                </a:cubicBezTo>
                <a:cubicBezTo>
                  <a:pt x="2771" y="649"/>
                  <a:pt x="2770" y="649"/>
                  <a:pt x="2769" y="648"/>
                </a:cubicBezTo>
                <a:close/>
                <a:moveTo>
                  <a:pt x="2780" y="645"/>
                </a:moveTo>
                <a:cubicBezTo>
                  <a:pt x="2780" y="646"/>
                  <a:pt x="2781" y="646"/>
                  <a:pt x="2781" y="646"/>
                </a:cubicBezTo>
                <a:cubicBezTo>
                  <a:pt x="2784" y="646"/>
                  <a:pt x="2786" y="641"/>
                  <a:pt x="2787" y="639"/>
                </a:cubicBezTo>
                <a:cubicBezTo>
                  <a:pt x="2787" y="638"/>
                  <a:pt x="2787" y="638"/>
                  <a:pt x="2787" y="638"/>
                </a:cubicBezTo>
                <a:cubicBezTo>
                  <a:pt x="2786" y="638"/>
                  <a:pt x="2786" y="638"/>
                  <a:pt x="2786" y="638"/>
                </a:cubicBezTo>
                <a:cubicBezTo>
                  <a:pt x="2785" y="638"/>
                  <a:pt x="2782" y="639"/>
                  <a:pt x="2781" y="641"/>
                </a:cubicBezTo>
                <a:cubicBezTo>
                  <a:pt x="2781" y="642"/>
                  <a:pt x="2781" y="642"/>
                  <a:pt x="2781" y="642"/>
                </a:cubicBezTo>
                <a:cubicBezTo>
                  <a:pt x="2781" y="643"/>
                  <a:pt x="2781" y="643"/>
                  <a:pt x="2781" y="643"/>
                </a:cubicBezTo>
                <a:cubicBezTo>
                  <a:pt x="2781" y="643"/>
                  <a:pt x="2781" y="643"/>
                  <a:pt x="2781" y="643"/>
                </a:cubicBezTo>
                <a:cubicBezTo>
                  <a:pt x="2781" y="643"/>
                  <a:pt x="2780" y="644"/>
                  <a:pt x="2780" y="645"/>
                </a:cubicBezTo>
                <a:close/>
                <a:moveTo>
                  <a:pt x="2716" y="532"/>
                </a:moveTo>
                <a:cubicBezTo>
                  <a:pt x="2716" y="540"/>
                  <a:pt x="2716" y="540"/>
                  <a:pt x="2716" y="540"/>
                </a:cubicBezTo>
                <a:cubicBezTo>
                  <a:pt x="2716" y="540"/>
                  <a:pt x="2716" y="541"/>
                  <a:pt x="2716" y="541"/>
                </a:cubicBezTo>
                <a:cubicBezTo>
                  <a:pt x="2716" y="542"/>
                  <a:pt x="2715" y="543"/>
                  <a:pt x="2715" y="544"/>
                </a:cubicBezTo>
                <a:cubicBezTo>
                  <a:pt x="2711" y="545"/>
                  <a:pt x="2709" y="554"/>
                  <a:pt x="2709" y="562"/>
                </a:cubicBezTo>
                <a:cubicBezTo>
                  <a:pt x="2709" y="565"/>
                  <a:pt x="2710" y="567"/>
                  <a:pt x="2711" y="568"/>
                </a:cubicBezTo>
                <a:cubicBezTo>
                  <a:pt x="2712" y="570"/>
                  <a:pt x="2713" y="572"/>
                  <a:pt x="2713" y="575"/>
                </a:cubicBezTo>
                <a:cubicBezTo>
                  <a:pt x="2713" y="595"/>
                  <a:pt x="2713" y="595"/>
                  <a:pt x="2713" y="595"/>
                </a:cubicBezTo>
                <a:cubicBezTo>
                  <a:pt x="2713" y="597"/>
                  <a:pt x="2713" y="598"/>
                  <a:pt x="2713" y="600"/>
                </a:cubicBezTo>
                <a:cubicBezTo>
                  <a:pt x="2712" y="601"/>
                  <a:pt x="2712" y="603"/>
                  <a:pt x="2712" y="606"/>
                </a:cubicBezTo>
                <a:cubicBezTo>
                  <a:pt x="2712" y="608"/>
                  <a:pt x="2712" y="609"/>
                  <a:pt x="2713" y="611"/>
                </a:cubicBezTo>
                <a:cubicBezTo>
                  <a:pt x="2713" y="612"/>
                  <a:pt x="2714" y="613"/>
                  <a:pt x="2714" y="616"/>
                </a:cubicBezTo>
                <a:cubicBezTo>
                  <a:pt x="2714" y="618"/>
                  <a:pt x="2713" y="620"/>
                  <a:pt x="2713" y="623"/>
                </a:cubicBezTo>
                <a:cubicBezTo>
                  <a:pt x="2713" y="625"/>
                  <a:pt x="2712" y="628"/>
                  <a:pt x="2712" y="631"/>
                </a:cubicBezTo>
                <a:cubicBezTo>
                  <a:pt x="2712" y="632"/>
                  <a:pt x="2712" y="633"/>
                  <a:pt x="2712" y="634"/>
                </a:cubicBezTo>
                <a:cubicBezTo>
                  <a:pt x="2712" y="639"/>
                  <a:pt x="2712" y="641"/>
                  <a:pt x="2712" y="642"/>
                </a:cubicBezTo>
                <a:cubicBezTo>
                  <a:pt x="2713" y="642"/>
                  <a:pt x="2713" y="642"/>
                  <a:pt x="2713" y="642"/>
                </a:cubicBezTo>
                <a:cubicBezTo>
                  <a:pt x="2715" y="642"/>
                  <a:pt x="2716" y="640"/>
                  <a:pt x="2717" y="638"/>
                </a:cubicBezTo>
                <a:cubicBezTo>
                  <a:pt x="2718" y="636"/>
                  <a:pt x="2719" y="634"/>
                  <a:pt x="2720" y="634"/>
                </a:cubicBezTo>
                <a:cubicBezTo>
                  <a:pt x="2723" y="634"/>
                  <a:pt x="2723" y="634"/>
                  <a:pt x="2723" y="634"/>
                </a:cubicBezTo>
                <a:cubicBezTo>
                  <a:pt x="2723" y="635"/>
                  <a:pt x="2724" y="637"/>
                  <a:pt x="2725" y="637"/>
                </a:cubicBezTo>
                <a:cubicBezTo>
                  <a:pt x="2726" y="638"/>
                  <a:pt x="2726" y="638"/>
                  <a:pt x="2726" y="638"/>
                </a:cubicBezTo>
                <a:cubicBezTo>
                  <a:pt x="2727" y="637"/>
                  <a:pt x="2727" y="637"/>
                  <a:pt x="2727" y="637"/>
                </a:cubicBezTo>
                <a:cubicBezTo>
                  <a:pt x="2728" y="637"/>
                  <a:pt x="2728" y="637"/>
                  <a:pt x="2728" y="637"/>
                </a:cubicBezTo>
                <a:cubicBezTo>
                  <a:pt x="2728" y="637"/>
                  <a:pt x="2728" y="637"/>
                  <a:pt x="2728" y="637"/>
                </a:cubicBezTo>
                <a:cubicBezTo>
                  <a:pt x="2727" y="635"/>
                  <a:pt x="2725" y="633"/>
                  <a:pt x="2724" y="631"/>
                </a:cubicBezTo>
                <a:cubicBezTo>
                  <a:pt x="2721" y="627"/>
                  <a:pt x="2719" y="624"/>
                  <a:pt x="2719" y="619"/>
                </a:cubicBezTo>
                <a:cubicBezTo>
                  <a:pt x="2719" y="610"/>
                  <a:pt x="2720" y="599"/>
                  <a:pt x="2728" y="599"/>
                </a:cubicBezTo>
                <a:cubicBezTo>
                  <a:pt x="2730" y="599"/>
                  <a:pt x="2732" y="601"/>
                  <a:pt x="2734" y="604"/>
                </a:cubicBezTo>
                <a:cubicBezTo>
                  <a:pt x="2734" y="603"/>
                  <a:pt x="2734" y="603"/>
                  <a:pt x="2734" y="603"/>
                </a:cubicBezTo>
                <a:cubicBezTo>
                  <a:pt x="2733" y="599"/>
                  <a:pt x="2732" y="595"/>
                  <a:pt x="2730" y="590"/>
                </a:cubicBezTo>
                <a:cubicBezTo>
                  <a:pt x="2729" y="587"/>
                  <a:pt x="2727" y="583"/>
                  <a:pt x="2726" y="579"/>
                </a:cubicBezTo>
                <a:cubicBezTo>
                  <a:pt x="2726" y="579"/>
                  <a:pt x="2726" y="578"/>
                  <a:pt x="2725" y="577"/>
                </a:cubicBezTo>
                <a:cubicBezTo>
                  <a:pt x="2725" y="575"/>
                  <a:pt x="2724" y="573"/>
                  <a:pt x="2724" y="570"/>
                </a:cubicBezTo>
                <a:cubicBezTo>
                  <a:pt x="2724" y="570"/>
                  <a:pt x="2724" y="570"/>
                  <a:pt x="2724" y="570"/>
                </a:cubicBezTo>
                <a:cubicBezTo>
                  <a:pt x="2724" y="561"/>
                  <a:pt x="2724" y="561"/>
                  <a:pt x="2724" y="561"/>
                </a:cubicBezTo>
                <a:cubicBezTo>
                  <a:pt x="2724" y="561"/>
                  <a:pt x="2724" y="561"/>
                  <a:pt x="2724" y="561"/>
                </a:cubicBezTo>
                <a:cubicBezTo>
                  <a:pt x="2723" y="559"/>
                  <a:pt x="2723" y="557"/>
                  <a:pt x="2723" y="554"/>
                </a:cubicBezTo>
                <a:cubicBezTo>
                  <a:pt x="2723" y="552"/>
                  <a:pt x="2724" y="550"/>
                  <a:pt x="2723" y="548"/>
                </a:cubicBezTo>
                <a:cubicBezTo>
                  <a:pt x="2723" y="547"/>
                  <a:pt x="2722" y="546"/>
                  <a:pt x="2722" y="544"/>
                </a:cubicBezTo>
                <a:cubicBezTo>
                  <a:pt x="2721" y="541"/>
                  <a:pt x="2719" y="537"/>
                  <a:pt x="2719" y="532"/>
                </a:cubicBezTo>
                <a:cubicBezTo>
                  <a:pt x="2719" y="532"/>
                  <a:pt x="2719" y="532"/>
                  <a:pt x="2719" y="532"/>
                </a:cubicBezTo>
                <a:lnTo>
                  <a:pt x="2716" y="532"/>
                </a:lnTo>
                <a:close/>
                <a:moveTo>
                  <a:pt x="2726" y="638"/>
                </a:moveTo>
                <a:cubicBezTo>
                  <a:pt x="2726" y="638"/>
                  <a:pt x="2726" y="638"/>
                  <a:pt x="2726" y="638"/>
                </a:cubicBezTo>
                <a:cubicBezTo>
                  <a:pt x="2726" y="638"/>
                  <a:pt x="2726" y="638"/>
                  <a:pt x="2726" y="638"/>
                </a:cubicBezTo>
                <a:close/>
                <a:moveTo>
                  <a:pt x="1922" y="267"/>
                </a:moveTo>
                <a:cubicBezTo>
                  <a:pt x="1922" y="267"/>
                  <a:pt x="1922" y="267"/>
                  <a:pt x="1922" y="267"/>
                </a:cubicBezTo>
                <a:cubicBezTo>
                  <a:pt x="1922" y="267"/>
                  <a:pt x="1922" y="267"/>
                  <a:pt x="1922" y="267"/>
                </a:cubicBezTo>
                <a:cubicBezTo>
                  <a:pt x="1925" y="267"/>
                  <a:pt x="1931" y="267"/>
                  <a:pt x="1931" y="267"/>
                </a:cubicBezTo>
                <a:cubicBezTo>
                  <a:pt x="1934" y="268"/>
                  <a:pt x="1934" y="270"/>
                  <a:pt x="1935" y="273"/>
                </a:cubicBezTo>
                <a:cubicBezTo>
                  <a:pt x="1935" y="275"/>
                  <a:pt x="1935" y="277"/>
                  <a:pt x="1936" y="279"/>
                </a:cubicBezTo>
                <a:cubicBezTo>
                  <a:pt x="1936" y="281"/>
                  <a:pt x="1939" y="280"/>
                  <a:pt x="1941" y="280"/>
                </a:cubicBezTo>
                <a:cubicBezTo>
                  <a:pt x="1942" y="280"/>
                  <a:pt x="1943" y="279"/>
                  <a:pt x="1944" y="279"/>
                </a:cubicBezTo>
                <a:cubicBezTo>
                  <a:pt x="1945" y="281"/>
                  <a:pt x="1945" y="281"/>
                  <a:pt x="1945" y="281"/>
                </a:cubicBezTo>
                <a:cubicBezTo>
                  <a:pt x="1946" y="282"/>
                  <a:pt x="1946" y="282"/>
                  <a:pt x="1946" y="282"/>
                </a:cubicBezTo>
                <a:cubicBezTo>
                  <a:pt x="1946" y="282"/>
                  <a:pt x="1946" y="282"/>
                  <a:pt x="1946" y="282"/>
                </a:cubicBezTo>
                <a:cubicBezTo>
                  <a:pt x="1971" y="282"/>
                  <a:pt x="1971" y="282"/>
                  <a:pt x="1971" y="282"/>
                </a:cubicBezTo>
                <a:cubicBezTo>
                  <a:pt x="1970" y="281"/>
                  <a:pt x="1970" y="281"/>
                  <a:pt x="1970" y="281"/>
                </a:cubicBezTo>
                <a:cubicBezTo>
                  <a:pt x="1970" y="281"/>
                  <a:pt x="1970" y="281"/>
                  <a:pt x="1970" y="281"/>
                </a:cubicBezTo>
                <a:cubicBezTo>
                  <a:pt x="1970" y="280"/>
                  <a:pt x="1970" y="280"/>
                  <a:pt x="1970" y="280"/>
                </a:cubicBezTo>
                <a:cubicBezTo>
                  <a:pt x="1969" y="279"/>
                  <a:pt x="1969" y="279"/>
                  <a:pt x="1969" y="279"/>
                </a:cubicBezTo>
                <a:cubicBezTo>
                  <a:pt x="1968" y="278"/>
                  <a:pt x="1968" y="277"/>
                  <a:pt x="1967" y="277"/>
                </a:cubicBezTo>
                <a:cubicBezTo>
                  <a:pt x="1967" y="277"/>
                  <a:pt x="1967" y="277"/>
                  <a:pt x="1967" y="277"/>
                </a:cubicBezTo>
                <a:cubicBezTo>
                  <a:pt x="1967" y="277"/>
                  <a:pt x="1967" y="277"/>
                  <a:pt x="1967" y="277"/>
                </a:cubicBezTo>
                <a:cubicBezTo>
                  <a:pt x="1967" y="277"/>
                  <a:pt x="1967" y="277"/>
                  <a:pt x="1967" y="277"/>
                </a:cubicBezTo>
                <a:cubicBezTo>
                  <a:pt x="1967" y="277"/>
                  <a:pt x="1967" y="277"/>
                  <a:pt x="1967" y="277"/>
                </a:cubicBezTo>
                <a:cubicBezTo>
                  <a:pt x="1966" y="276"/>
                  <a:pt x="1964" y="275"/>
                  <a:pt x="1963" y="274"/>
                </a:cubicBezTo>
                <a:cubicBezTo>
                  <a:pt x="1958" y="270"/>
                  <a:pt x="1952" y="266"/>
                  <a:pt x="1952" y="257"/>
                </a:cubicBezTo>
                <a:cubicBezTo>
                  <a:pt x="1952" y="236"/>
                  <a:pt x="1972" y="212"/>
                  <a:pt x="1989" y="207"/>
                </a:cubicBezTo>
                <a:cubicBezTo>
                  <a:pt x="1992" y="206"/>
                  <a:pt x="1993" y="204"/>
                  <a:pt x="1995" y="202"/>
                </a:cubicBezTo>
                <a:cubicBezTo>
                  <a:pt x="1997" y="200"/>
                  <a:pt x="1999" y="197"/>
                  <a:pt x="2004" y="197"/>
                </a:cubicBezTo>
                <a:cubicBezTo>
                  <a:pt x="2006" y="197"/>
                  <a:pt x="2008" y="194"/>
                  <a:pt x="2009" y="192"/>
                </a:cubicBezTo>
                <a:cubicBezTo>
                  <a:pt x="2010" y="191"/>
                  <a:pt x="2010" y="190"/>
                  <a:pt x="2011" y="189"/>
                </a:cubicBezTo>
                <a:cubicBezTo>
                  <a:pt x="2016" y="187"/>
                  <a:pt x="2020" y="186"/>
                  <a:pt x="2024" y="185"/>
                </a:cubicBezTo>
                <a:cubicBezTo>
                  <a:pt x="2029" y="184"/>
                  <a:pt x="2034" y="184"/>
                  <a:pt x="2039" y="181"/>
                </a:cubicBezTo>
                <a:cubicBezTo>
                  <a:pt x="2042" y="179"/>
                  <a:pt x="2045" y="178"/>
                  <a:pt x="2049" y="177"/>
                </a:cubicBezTo>
                <a:cubicBezTo>
                  <a:pt x="2059" y="174"/>
                  <a:pt x="2071" y="171"/>
                  <a:pt x="2071" y="162"/>
                </a:cubicBezTo>
                <a:cubicBezTo>
                  <a:pt x="2071" y="158"/>
                  <a:pt x="2062" y="153"/>
                  <a:pt x="2058" y="153"/>
                </a:cubicBezTo>
                <a:cubicBezTo>
                  <a:pt x="2051" y="153"/>
                  <a:pt x="2043" y="158"/>
                  <a:pt x="2036" y="163"/>
                </a:cubicBezTo>
                <a:cubicBezTo>
                  <a:pt x="2028" y="168"/>
                  <a:pt x="2020" y="173"/>
                  <a:pt x="2012" y="173"/>
                </a:cubicBezTo>
                <a:cubicBezTo>
                  <a:pt x="2010" y="173"/>
                  <a:pt x="2009" y="172"/>
                  <a:pt x="2008" y="171"/>
                </a:cubicBezTo>
                <a:cubicBezTo>
                  <a:pt x="2006" y="170"/>
                  <a:pt x="2005" y="169"/>
                  <a:pt x="2003" y="169"/>
                </a:cubicBezTo>
                <a:cubicBezTo>
                  <a:pt x="2000" y="169"/>
                  <a:pt x="1998" y="170"/>
                  <a:pt x="1997" y="171"/>
                </a:cubicBezTo>
                <a:cubicBezTo>
                  <a:pt x="1996" y="172"/>
                  <a:pt x="1995" y="173"/>
                  <a:pt x="1993" y="173"/>
                </a:cubicBezTo>
                <a:cubicBezTo>
                  <a:pt x="1987" y="173"/>
                  <a:pt x="1981" y="178"/>
                  <a:pt x="1976" y="183"/>
                </a:cubicBezTo>
                <a:cubicBezTo>
                  <a:pt x="1972" y="186"/>
                  <a:pt x="1969" y="190"/>
                  <a:pt x="1965" y="190"/>
                </a:cubicBezTo>
                <a:cubicBezTo>
                  <a:pt x="1963" y="190"/>
                  <a:pt x="1961" y="190"/>
                  <a:pt x="1959" y="191"/>
                </a:cubicBezTo>
                <a:cubicBezTo>
                  <a:pt x="1957" y="191"/>
                  <a:pt x="1955" y="192"/>
                  <a:pt x="1953" y="192"/>
                </a:cubicBezTo>
                <a:cubicBezTo>
                  <a:pt x="1951" y="192"/>
                  <a:pt x="1950" y="194"/>
                  <a:pt x="1950" y="196"/>
                </a:cubicBezTo>
                <a:cubicBezTo>
                  <a:pt x="1950" y="197"/>
                  <a:pt x="1950" y="198"/>
                  <a:pt x="1951" y="199"/>
                </a:cubicBezTo>
                <a:cubicBezTo>
                  <a:pt x="1951" y="200"/>
                  <a:pt x="1952" y="201"/>
                  <a:pt x="1952" y="202"/>
                </a:cubicBezTo>
                <a:cubicBezTo>
                  <a:pt x="1952" y="207"/>
                  <a:pt x="1947" y="211"/>
                  <a:pt x="1942" y="215"/>
                </a:cubicBezTo>
                <a:cubicBezTo>
                  <a:pt x="1939" y="218"/>
                  <a:pt x="1936" y="220"/>
                  <a:pt x="1936" y="223"/>
                </a:cubicBezTo>
                <a:cubicBezTo>
                  <a:pt x="1936" y="225"/>
                  <a:pt x="1937" y="226"/>
                  <a:pt x="1938" y="227"/>
                </a:cubicBezTo>
                <a:cubicBezTo>
                  <a:pt x="1939" y="228"/>
                  <a:pt x="1940" y="229"/>
                  <a:pt x="1940" y="231"/>
                </a:cubicBezTo>
                <a:cubicBezTo>
                  <a:pt x="1940" y="231"/>
                  <a:pt x="1940" y="231"/>
                  <a:pt x="1940" y="231"/>
                </a:cubicBezTo>
                <a:cubicBezTo>
                  <a:pt x="1934" y="232"/>
                  <a:pt x="1926" y="235"/>
                  <a:pt x="1926" y="241"/>
                </a:cubicBezTo>
                <a:cubicBezTo>
                  <a:pt x="1926" y="246"/>
                  <a:pt x="1926" y="246"/>
                  <a:pt x="1926" y="246"/>
                </a:cubicBezTo>
                <a:cubicBezTo>
                  <a:pt x="1926" y="248"/>
                  <a:pt x="1924" y="250"/>
                  <a:pt x="1922" y="251"/>
                </a:cubicBezTo>
                <a:cubicBezTo>
                  <a:pt x="1919" y="253"/>
                  <a:pt x="1916" y="255"/>
                  <a:pt x="1916" y="260"/>
                </a:cubicBezTo>
                <a:cubicBezTo>
                  <a:pt x="1916" y="264"/>
                  <a:pt x="1922" y="267"/>
                  <a:pt x="1922" y="267"/>
                </a:cubicBezTo>
                <a:close/>
                <a:moveTo>
                  <a:pt x="3133" y="358"/>
                </a:moveTo>
                <a:cubicBezTo>
                  <a:pt x="3126" y="347"/>
                  <a:pt x="3109" y="340"/>
                  <a:pt x="3092" y="332"/>
                </a:cubicBezTo>
                <a:cubicBezTo>
                  <a:pt x="3083" y="328"/>
                  <a:pt x="3075" y="325"/>
                  <a:pt x="3068" y="320"/>
                </a:cubicBezTo>
                <a:cubicBezTo>
                  <a:pt x="3053" y="311"/>
                  <a:pt x="3040" y="303"/>
                  <a:pt x="3026" y="298"/>
                </a:cubicBezTo>
                <a:cubicBezTo>
                  <a:pt x="3009" y="291"/>
                  <a:pt x="2992" y="287"/>
                  <a:pt x="2976" y="287"/>
                </a:cubicBezTo>
                <a:cubicBezTo>
                  <a:pt x="2971" y="287"/>
                  <a:pt x="2963" y="288"/>
                  <a:pt x="2960" y="291"/>
                </a:cubicBezTo>
                <a:cubicBezTo>
                  <a:pt x="2960" y="292"/>
                  <a:pt x="2960" y="294"/>
                  <a:pt x="2960" y="295"/>
                </a:cubicBezTo>
                <a:cubicBezTo>
                  <a:pt x="2963" y="305"/>
                  <a:pt x="2962" y="308"/>
                  <a:pt x="2961" y="309"/>
                </a:cubicBezTo>
                <a:cubicBezTo>
                  <a:pt x="2960" y="310"/>
                  <a:pt x="2955" y="306"/>
                  <a:pt x="2950" y="301"/>
                </a:cubicBezTo>
                <a:cubicBezTo>
                  <a:pt x="2946" y="298"/>
                  <a:pt x="2942" y="294"/>
                  <a:pt x="2940" y="294"/>
                </a:cubicBezTo>
                <a:cubicBezTo>
                  <a:pt x="2870" y="293"/>
                  <a:pt x="2870" y="293"/>
                  <a:pt x="2870" y="293"/>
                </a:cubicBezTo>
                <a:cubicBezTo>
                  <a:pt x="2866" y="275"/>
                  <a:pt x="2856" y="268"/>
                  <a:pt x="2834" y="268"/>
                </a:cubicBezTo>
                <a:cubicBezTo>
                  <a:pt x="2831" y="268"/>
                  <a:pt x="2827" y="268"/>
                  <a:pt x="2823" y="269"/>
                </a:cubicBezTo>
                <a:cubicBezTo>
                  <a:pt x="2814" y="270"/>
                  <a:pt x="2804" y="271"/>
                  <a:pt x="2799" y="266"/>
                </a:cubicBezTo>
                <a:cubicBezTo>
                  <a:pt x="2797" y="264"/>
                  <a:pt x="2795" y="262"/>
                  <a:pt x="2794" y="259"/>
                </a:cubicBezTo>
                <a:cubicBezTo>
                  <a:pt x="2791" y="255"/>
                  <a:pt x="2789" y="251"/>
                  <a:pt x="2783" y="249"/>
                </a:cubicBezTo>
                <a:cubicBezTo>
                  <a:pt x="2761" y="240"/>
                  <a:pt x="2741" y="237"/>
                  <a:pt x="2720" y="237"/>
                </a:cubicBezTo>
                <a:cubicBezTo>
                  <a:pt x="2697" y="237"/>
                  <a:pt x="2693" y="250"/>
                  <a:pt x="2691" y="265"/>
                </a:cubicBezTo>
                <a:cubicBezTo>
                  <a:pt x="2642" y="265"/>
                  <a:pt x="2642" y="265"/>
                  <a:pt x="2642" y="265"/>
                </a:cubicBezTo>
                <a:cubicBezTo>
                  <a:pt x="2638" y="265"/>
                  <a:pt x="2635" y="263"/>
                  <a:pt x="2633" y="261"/>
                </a:cubicBezTo>
                <a:cubicBezTo>
                  <a:pt x="2630" y="258"/>
                  <a:pt x="2627" y="256"/>
                  <a:pt x="2622" y="256"/>
                </a:cubicBezTo>
                <a:cubicBezTo>
                  <a:pt x="2621" y="256"/>
                  <a:pt x="2621" y="256"/>
                  <a:pt x="2621" y="256"/>
                </a:cubicBezTo>
                <a:cubicBezTo>
                  <a:pt x="2621" y="256"/>
                  <a:pt x="2621" y="256"/>
                  <a:pt x="2621" y="256"/>
                </a:cubicBezTo>
                <a:cubicBezTo>
                  <a:pt x="2621" y="257"/>
                  <a:pt x="2621" y="257"/>
                  <a:pt x="2621" y="257"/>
                </a:cubicBezTo>
                <a:cubicBezTo>
                  <a:pt x="2620" y="262"/>
                  <a:pt x="2618" y="272"/>
                  <a:pt x="2614" y="272"/>
                </a:cubicBezTo>
                <a:cubicBezTo>
                  <a:pt x="2601" y="272"/>
                  <a:pt x="2596" y="254"/>
                  <a:pt x="2596" y="244"/>
                </a:cubicBezTo>
                <a:cubicBezTo>
                  <a:pt x="2596" y="244"/>
                  <a:pt x="2597" y="243"/>
                  <a:pt x="2597" y="242"/>
                </a:cubicBezTo>
                <a:cubicBezTo>
                  <a:pt x="2599" y="240"/>
                  <a:pt x="2602" y="236"/>
                  <a:pt x="2600" y="232"/>
                </a:cubicBezTo>
                <a:cubicBezTo>
                  <a:pt x="2598" y="225"/>
                  <a:pt x="2583" y="220"/>
                  <a:pt x="2557" y="217"/>
                </a:cubicBezTo>
                <a:cubicBezTo>
                  <a:pt x="2553" y="217"/>
                  <a:pt x="2550" y="218"/>
                  <a:pt x="2548" y="220"/>
                </a:cubicBezTo>
                <a:cubicBezTo>
                  <a:pt x="2546" y="222"/>
                  <a:pt x="2544" y="226"/>
                  <a:pt x="2544" y="231"/>
                </a:cubicBezTo>
                <a:cubicBezTo>
                  <a:pt x="2511" y="231"/>
                  <a:pt x="2511" y="231"/>
                  <a:pt x="2511" y="231"/>
                </a:cubicBezTo>
                <a:cubicBezTo>
                  <a:pt x="2508" y="231"/>
                  <a:pt x="2504" y="230"/>
                  <a:pt x="2497" y="228"/>
                </a:cubicBezTo>
                <a:cubicBezTo>
                  <a:pt x="2478" y="225"/>
                  <a:pt x="2446" y="218"/>
                  <a:pt x="2441" y="209"/>
                </a:cubicBezTo>
                <a:cubicBezTo>
                  <a:pt x="2441" y="209"/>
                  <a:pt x="2441" y="209"/>
                  <a:pt x="2441" y="209"/>
                </a:cubicBezTo>
                <a:cubicBezTo>
                  <a:pt x="2440" y="209"/>
                  <a:pt x="2440" y="209"/>
                  <a:pt x="2440" y="209"/>
                </a:cubicBezTo>
                <a:cubicBezTo>
                  <a:pt x="2417" y="230"/>
                  <a:pt x="2411" y="231"/>
                  <a:pt x="2410" y="229"/>
                </a:cubicBezTo>
                <a:cubicBezTo>
                  <a:pt x="2408" y="228"/>
                  <a:pt x="2409" y="225"/>
                  <a:pt x="2410" y="223"/>
                </a:cubicBezTo>
                <a:cubicBezTo>
                  <a:pt x="2412" y="220"/>
                  <a:pt x="2420" y="215"/>
                  <a:pt x="2430" y="210"/>
                </a:cubicBezTo>
                <a:cubicBezTo>
                  <a:pt x="2447" y="200"/>
                  <a:pt x="2467" y="190"/>
                  <a:pt x="2466" y="179"/>
                </a:cubicBezTo>
                <a:cubicBezTo>
                  <a:pt x="2465" y="171"/>
                  <a:pt x="2455" y="165"/>
                  <a:pt x="2436" y="160"/>
                </a:cubicBezTo>
                <a:cubicBezTo>
                  <a:pt x="2435" y="160"/>
                  <a:pt x="2435" y="160"/>
                  <a:pt x="2435" y="160"/>
                </a:cubicBezTo>
                <a:cubicBezTo>
                  <a:pt x="2403" y="160"/>
                  <a:pt x="2403" y="160"/>
                  <a:pt x="2403" y="160"/>
                </a:cubicBezTo>
                <a:cubicBezTo>
                  <a:pt x="2401" y="153"/>
                  <a:pt x="2395" y="141"/>
                  <a:pt x="2380" y="141"/>
                </a:cubicBezTo>
                <a:cubicBezTo>
                  <a:pt x="2368" y="141"/>
                  <a:pt x="2361" y="148"/>
                  <a:pt x="2355" y="155"/>
                </a:cubicBezTo>
                <a:cubicBezTo>
                  <a:pt x="2353" y="158"/>
                  <a:pt x="2351" y="160"/>
                  <a:pt x="2349" y="162"/>
                </a:cubicBezTo>
                <a:cubicBezTo>
                  <a:pt x="2343" y="167"/>
                  <a:pt x="2315" y="179"/>
                  <a:pt x="2308" y="174"/>
                </a:cubicBezTo>
                <a:cubicBezTo>
                  <a:pt x="2307" y="173"/>
                  <a:pt x="2307" y="172"/>
                  <a:pt x="2307" y="169"/>
                </a:cubicBezTo>
                <a:cubicBezTo>
                  <a:pt x="2307" y="168"/>
                  <a:pt x="2307" y="168"/>
                  <a:pt x="2307" y="168"/>
                </a:cubicBezTo>
                <a:cubicBezTo>
                  <a:pt x="2307" y="169"/>
                  <a:pt x="2307" y="169"/>
                  <a:pt x="2307" y="169"/>
                </a:cubicBezTo>
                <a:cubicBezTo>
                  <a:pt x="2304" y="169"/>
                  <a:pt x="2301" y="170"/>
                  <a:pt x="2296" y="171"/>
                </a:cubicBezTo>
                <a:cubicBezTo>
                  <a:pt x="2278" y="175"/>
                  <a:pt x="2248" y="181"/>
                  <a:pt x="2230" y="198"/>
                </a:cubicBezTo>
                <a:cubicBezTo>
                  <a:pt x="2229" y="200"/>
                  <a:pt x="2227" y="204"/>
                  <a:pt x="2226" y="207"/>
                </a:cubicBezTo>
                <a:cubicBezTo>
                  <a:pt x="2224" y="212"/>
                  <a:pt x="2222" y="217"/>
                  <a:pt x="2217" y="217"/>
                </a:cubicBezTo>
                <a:cubicBezTo>
                  <a:pt x="2216" y="217"/>
                  <a:pt x="2215" y="217"/>
                  <a:pt x="2213" y="217"/>
                </a:cubicBezTo>
                <a:cubicBezTo>
                  <a:pt x="2201" y="217"/>
                  <a:pt x="2180" y="216"/>
                  <a:pt x="2172" y="225"/>
                </a:cubicBezTo>
                <a:cubicBezTo>
                  <a:pt x="2170" y="227"/>
                  <a:pt x="2169" y="230"/>
                  <a:pt x="2169" y="234"/>
                </a:cubicBezTo>
                <a:cubicBezTo>
                  <a:pt x="2169" y="236"/>
                  <a:pt x="2170" y="238"/>
                  <a:pt x="2171" y="241"/>
                </a:cubicBezTo>
                <a:cubicBezTo>
                  <a:pt x="2172" y="243"/>
                  <a:pt x="2173" y="245"/>
                  <a:pt x="2173" y="247"/>
                </a:cubicBezTo>
                <a:cubicBezTo>
                  <a:pt x="2170" y="250"/>
                  <a:pt x="2167" y="250"/>
                  <a:pt x="2162" y="249"/>
                </a:cubicBezTo>
                <a:cubicBezTo>
                  <a:pt x="2158" y="248"/>
                  <a:pt x="2152" y="247"/>
                  <a:pt x="2143" y="247"/>
                </a:cubicBezTo>
                <a:cubicBezTo>
                  <a:pt x="2143" y="247"/>
                  <a:pt x="2143" y="247"/>
                  <a:pt x="2143" y="247"/>
                </a:cubicBezTo>
                <a:cubicBezTo>
                  <a:pt x="2143" y="247"/>
                  <a:pt x="2143" y="247"/>
                  <a:pt x="2143" y="247"/>
                </a:cubicBezTo>
                <a:cubicBezTo>
                  <a:pt x="2137" y="255"/>
                  <a:pt x="2133" y="259"/>
                  <a:pt x="2131" y="258"/>
                </a:cubicBezTo>
                <a:cubicBezTo>
                  <a:pt x="2128" y="258"/>
                  <a:pt x="2126" y="251"/>
                  <a:pt x="2125" y="246"/>
                </a:cubicBezTo>
                <a:cubicBezTo>
                  <a:pt x="2124" y="242"/>
                  <a:pt x="2123" y="239"/>
                  <a:pt x="2122" y="237"/>
                </a:cubicBezTo>
                <a:cubicBezTo>
                  <a:pt x="2122" y="236"/>
                  <a:pt x="2122" y="236"/>
                  <a:pt x="2122" y="236"/>
                </a:cubicBezTo>
                <a:cubicBezTo>
                  <a:pt x="2122" y="237"/>
                  <a:pt x="2122" y="237"/>
                  <a:pt x="2122" y="237"/>
                </a:cubicBezTo>
                <a:cubicBezTo>
                  <a:pt x="2120" y="248"/>
                  <a:pt x="2114" y="253"/>
                  <a:pt x="2106" y="258"/>
                </a:cubicBezTo>
                <a:cubicBezTo>
                  <a:pt x="2106" y="258"/>
                  <a:pt x="2106" y="258"/>
                  <a:pt x="2106" y="258"/>
                </a:cubicBezTo>
                <a:cubicBezTo>
                  <a:pt x="2106" y="258"/>
                  <a:pt x="2106" y="258"/>
                  <a:pt x="2106" y="258"/>
                </a:cubicBezTo>
                <a:cubicBezTo>
                  <a:pt x="2106" y="261"/>
                  <a:pt x="2108" y="264"/>
                  <a:pt x="2110" y="267"/>
                </a:cubicBezTo>
                <a:cubicBezTo>
                  <a:pt x="2114" y="274"/>
                  <a:pt x="2118" y="281"/>
                  <a:pt x="2112" y="289"/>
                </a:cubicBezTo>
                <a:cubicBezTo>
                  <a:pt x="2109" y="293"/>
                  <a:pt x="2112" y="302"/>
                  <a:pt x="2114" y="309"/>
                </a:cubicBezTo>
                <a:cubicBezTo>
                  <a:pt x="2116" y="315"/>
                  <a:pt x="2118" y="320"/>
                  <a:pt x="2117" y="322"/>
                </a:cubicBezTo>
                <a:cubicBezTo>
                  <a:pt x="2116" y="323"/>
                  <a:pt x="2116" y="323"/>
                  <a:pt x="2115" y="323"/>
                </a:cubicBezTo>
                <a:cubicBezTo>
                  <a:pt x="2103" y="323"/>
                  <a:pt x="2099" y="273"/>
                  <a:pt x="2099" y="260"/>
                </a:cubicBezTo>
                <a:cubicBezTo>
                  <a:pt x="2099" y="256"/>
                  <a:pt x="2100" y="253"/>
                  <a:pt x="2102" y="250"/>
                </a:cubicBezTo>
                <a:cubicBezTo>
                  <a:pt x="2103" y="248"/>
                  <a:pt x="2105" y="246"/>
                  <a:pt x="2104" y="244"/>
                </a:cubicBezTo>
                <a:cubicBezTo>
                  <a:pt x="2103" y="241"/>
                  <a:pt x="2098" y="239"/>
                  <a:pt x="2089" y="237"/>
                </a:cubicBezTo>
                <a:cubicBezTo>
                  <a:pt x="2082" y="235"/>
                  <a:pt x="2072" y="241"/>
                  <a:pt x="2065" y="248"/>
                </a:cubicBezTo>
                <a:cubicBezTo>
                  <a:pt x="2056" y="256"/>
                  <a:pt x="2050" y="266"/>
                  <a:pt x="2050" y="272"/>
                </a:cubicBezTo>
                <a:cubicBezTo>
                  <a:pt x="2050" y="289"/>
                  <a:pt x="2058" y="300"/>
                  <a:pt x="2064" y="307"/>
                </a:cubicBezTo>
                <a:cubicBezTo>
                  <a:pt x="2069" y="315"/>
                  <a:pt x="2069" y="318"/>
                  <a:pt x="2068" y="318"/>
                </a:cubicBezTo>
                <a:cubicBezTo>
                  <a:pt x="2066" y="321"/>
                  <a:pt x="2055" y="315"/>
                  <a:pt x="2046" y="309"/>
                </a:cubicBezTo>
                <a:cubicBezTo>
                  <a:pt x="2038" y="304"/>
                  <a:pt x="2030" y="300"/>
                  <a:pt x="2025" y="298"/>
                </a:cubicBezTo>
                <a:cubicBezTo>
                  <a:pt x="2008" y="293"/>
                  <a:pt x="1998" y="292"/>
                  <a:pt x="1995" y="296"/>
                </a:cubicBezTo>
                <a:cubicBezTo>
                  <a:pt x="1993" y="298"/>
                  <a:pt x="1995" y="301"/>
                  <a:pt x="1996" y="303"/>
                </a:cubicBezTo>
                <a:cubicBezTo>
                  <a:pt x="1996" y="304"/>
                  <a:pt x="1996" y="305"/>
                  <a:pt x="1996" y="305"/>
                </a:cubicBezTo>
                <a:cubicBezTo>
                  <a:pt x="1996" y="313"/>
                  <a:pt x="1995" y="317"/>
                  <a:pt x="1993" y="318"/>
                </a:cubicBezTo>
                <a:cubicBezTo>
                  <a:pt x="1991" y="319"/>
                  <a:pt x="1988" y="316"/>
                  <a:pt x="1986" y="314"/>
                </a:cubicBezTo>
                <a:cubicBezTo>
                  <a:pt x="1984" y="312"/>
                  <a:pt x="1982" y="310"/>
                  <a:pt x="1980" y="310"/>
                </a:cubicBezTo>
                <a:cubicBezTo>
                  <a:pt x="1976" y="310"/>
                  <a:pt x="1972" y="312"/>
                  <a:pt x="1967" y="314"/>
                </a:cubicBezTo>
                <a:cubicBezTo>
                  <a:pt x="1957" y="317"/>
                  <a:pt x="1946" y="322"/>
                  <a:pt x="1937" y="317"/>
                </a:cubicBezTo>
                <a:cubicBezTo>
                  <a:pt x="1936" y="315"/>
                  <a:pt x="1935" y="313"/>
                  <a:pt x="1933" y="312"/>
                </a:cubicBezTo>
                <a:cubicBezTo>
                  <a:pt x="1924" y="309"/>
                  <a:pt x="1908" y="320"/>
                  <a:pt x="1894" y="330"/>
                </a:cubicBezTo>
                <a:cubicBezTo>
                  <a:pt x="1885" y="337"/>
                  <a:pt x="1876" y="343"/>
                  <a:pt x="1872" y="343"/>
                </a:cubicBezTo>
                <a:cubicBezTo>
                  <a:pt x="1870" y="343"/>
                  <a:pt x="1866" y="342"/>
                  <a:pt x="1865" y="340"/>
                </a:cubicBezTo>
                <a:cubicBezTo>
                  <a:pt x="1864" y="339"/>
                  <a:pt x="1864" y="338"/>
                  <a:pt x="1865" y="337"/>
                </a:cubicBezTo>
                <a:cubicBezTo>
                  <a:pt x="1867" y="330"/>
                  <a:pt x="1867" y="318"/>
                  <a:pt x="1864" y="315"/>
                </a:cubicBezTo>
                <a:cubicBezTo>
                  <a:pt x="1863" y="313"/>
                  <a:pt x="1862" y="313"/>
                  <a:pt x="1861" y="313"/>
                </a:cubicBezTo>
                <a:cubicBezTo>
                  <a:pt x="1857" y="314"/>
                  <a:pt x="1853" y="323"/>
                  <a:pt x="1849" y="338"/>
                </a:cubicBezTo>
                <a:cubicBezTo>
                  <a:pt x="1848" y="340"/>
                  <a:pt x="1849" y="341"/>
                  <a:pt x="1850" y="342"/>
                </a:cubicBezTo>
                <a:cubicBezTo>
                  <a:pt x="1852" y="344"/>
                  <a:pt x="1853" y="345"/>
                  <a:pt x="1853" y="349"/>
                </a:cubicBezTo>
                <a:cubicBezTo>
                  <a:pt x="1853" y="351"/>
                  <a:pt x="1853" y="352"/>
                  <a:pt x="1852" y="353"/>
                </a:cubicBezTo>
                <a:cubicBezTo>
                  <a:pt x="1849" y="356"/>
                  <a:pt x="1845" y="355"/>
                  <a:pt x="1840" y="355"/>
                </a:cubicBezTo>
                <a:cubicBezTo>
                  <a:pt x="1836" y="355"/>
                  <a:pt x="1832" y="354"/>
                  <a:pt x="1829" y="355"/>
                </a:cubicBezTo>
                <a:cubicBezTo>
                  <a:pt x="1826" y="356"/>
                  <a:pt x="1825" y="360"/>
                  <a:pt x="1823" y="364"/>
                </a:cubicBezTo>
                <a:cubicBezTo>
                  <a:pt x="1819" y="374"/>
                  <a:pt x="1814" y="387"/>
                  <a:pt x="1789" y="375"/>
                </a:cubicBezTo>
                <a:cubicBezTo>
                  <a:pt x="1788" y="374"/>
                  <a:pt x="1788" y="374"/>
                  <a:pt x="1788" y="374"/>
                </a:cubicBezTo>
                <a:cubicBezTo>
                  <a:pt x="1788" y="388"/>
                  <a:pt x="1788" y="388"/>
                  <a:pt x="1788" y="388"/>
                </a:cubicBezTo>
                <a:cubicBezTo>
                  <a:pt x="1777" y="387"/>
                  <a:pt x="1774" y="377"/>
                  <a:pt x="1772" y="367"/>
                </a:cubicBezTo>
                <a:cubicBezTo>
                  <a:pt x="1771" y="363"/>
                  <a:pt x="1770" y="359"/>
                  <a:pt x="1768" y="356"/>
                </a:cubicBezTo>
                <a:cubicBezTo>
                  <a:pt x="1771" y="356"/>
                  <a:pt x="1771" y="356"/>
                  <a:pt x="1771" y="356"/>
                </a:cubicBezTo>
                <a:cubicBezTo>
                  <a:pt x="1782" y="356"/>
                  <a:pt x="1789" y="356"/>
                  <a:pt x="1801" y="359"/>
                </a:cubicBezTo>
                <a:cubicBezTo>
                  <a:pt x="1805" y="361"/>
                  <a:pt x="1811" y="360"/>
                  <a:pt x="1817" y="358"/>
                </a:cubicBezTo>
                <a:cubicBezTo>
                  <a:pt x="1823" y="355"/>
                  <a:pt x="1826" y="351"/>
                  <a:pt x="1828" y="347"/>
                </a:cubicBezTo>
                <a:cubicBezTo>
                  <a:pt x="1829" y="341"/>
                  <a:pt x="1827" y="330"/>
                  <a:pt x="1800" y="320"/>
                </a:cubicBezTo>
                <a:cubicBezTo>
                  <a:pt x="1794" y="318"/>
                  <a:pt x="1786" y="314"/>
                  <a:pt x="1777" y="310"/>
                </a:cubicBezTo>
                <a:cubicBezTo>
                  <a:pt x="1763" y="303"/>
                  <a:pt x="1748" y="296"/>
                  <a:pt x="1741" y="296"/>
                </a:cubicBezTo>
                <a:cubicBezTo>
                  <a:pt x="1741" y="296"/>
                  <a:pt x="1741" y="296"/>
                  <a:pt x="1741" y="296"/>
                </a:cubicBezTo>
                <a:cubicBezTo>
                  <a:pt x="1740" y="295"/>
                  <a:pt x="1738" y="295"/>
                  <a:pt x="1733" y="296"/>
                </a:cubicBezTo>
                <a:cubicBezTo>
                  <a:pt x="1732" y="296"/>
                  <a:pt x="1730" y="295"/>
                  <a:pt x="1727" y="295"/>
                </a:cubicBezTo>
                <a:cubicBezTo>
                  <a:pt x="1726" y="295"/>
                  <a:pt x="1724" y="294"/>
                  <a:pt x="1723" y="294"/>
                </a:cubicBezTo>
                <a:cubicBezTo>
                  <a:pt x="1723" y="293"/>
                  <a:pt x="1722" y="292"/>
                  <a:pt x="1721" y="291"/>
                </a:cubicBezTo>
                <a:cubicBezTo>
                  <a:pt x="1720" y="291"/>
                  <a:pt x="1719" y="290"/>
                  <a:pt x="1718" y="290"/>
                </a:cubicBezTo>
                <a:cubicBezTo>
                  <a:pt x="1720" y="289"/>
                  <a:pt x="1721" y="289"/>
                  <a:pt x="1723" y="288"/>
                </a:cubicBezTo>
                <a:cubicBezTo>
                  <a:pt x="1726" y="288"/>
                  <a:pt x="1728" y="287"/>
                  <a:pt x="1730" y="281"/>
                </a:cubicBezTo>
                <a:cubicBezTo>
                  <a:pt x="1730" y="281"/>
                  <a:pt x="1730" y="281"/>
                  <a:pt x="1730" y="281"/>
                </a:cubicBezTo>
                <a:cubicBezTo>
                  <a:pt x="1730" y="281"/>
                  <a:pt x="1730" y="281"/>
                  <a:pt x="1730" y="281"/>
                </a:cubicBezTo>
                <a:cubicBezTo>
                  <a:pt x="1728" y="280"/>
                  <a:pt x="1728" y="280"/>
                  <a:pt x="1728" y="280"/>
                </a:cubicBezTo>
                <a:cubicBezTo>
                  <a:pt x="1724" y="277"/>
                  <a:pt x="1720" y="275"/>
                  <a:pt x="1719" y="275"/>
                </a:cubicBezTo>
                <a:cubicBezTo>
                  <a:pt x="1716" y="275"/>
                  <a:pt x="1715" y="278"/>
                  <a:pt x="1714" y="280"/>
                </a:cubicBezTo>
                <a:cubicBezTo>
                  <a:pt x="1712" y="280"/>
                  <a:pt x="1712" y="278"/>
                  <a:pt x="1712" y="275"/>
                </a:cubicBezTo>
                <a:cubicBezTo>
                  <a:pt x="1712" y="274"/>
                  <a:pt x="1712" y="273"/>
                  <a:pt x="1712" y="273"/>
                </a:cubicBezTo>
                <a:cubicBezTo>
                  <a:pt x="1712" y="272"/>
                  <a:pt x="1712" y="272"/>
                  <a:pt x="1712" y="272"/>
                </a:cubicBezTo>
                <a:cubicBezTo>
                  <a:pt x="1711" y="272"/>
                  <a:pt x="1711" y="272"/>
                  <a:pt x="1711" y="272"/>
                </a:cubicBezTo>
                <a:cubicBezTo>
                  <a:pt x="1709" y="274"/>
                  <a:pt x="1709" y="274"/>
                  <a:pt x="1709" y="274"/>
                </a:cubicBezTo>
                <a:cubicBezTo>
                  <a:pt x="1706" y="276"/>
                  <a:pt x="1703" y="278"/>
                  <a:pt x="1700" y="282"/>
                </a:cubicBezTo>
                <a:cubicBezTo>
                  <a:pt x="1700" y="281"/>
                  <a:pt x="1700" y="281"/>
                  <a:pt x="1700" y="281"/>
                </a:cubicBezTo>
                <a:cubicBezTo>
                  <a:pt x="1700" y="280"/>
                  <a:pt x="1699" y="278"/>
                  <a:pt x="1698" y="276"/>
                </a:cubicBezTo>
                <a:cubicBezTo>
                  <a:pt x="1698" y="276"/>
                  <a:pt x="1698" y="276"/>
                  <a:pt x="1698" y="276"/>
                </a:cubicBezTo>
                <a:cubicBezTo>
                  <a:pt x="1698" y="276"/>
                  <a:pt x="1698" y="276"/>
                  <a:pt x="1698" y="276"/>
                </a:cubicBezTo>
                <a:cubicBezTo>
                  <a:pt x="1696" y="277"/>
                  <a:pt x="1694" y="279"/>
                  <a:pt x="1693" y="281"/>
                </a:cubicBezTo>
                <a:cubicBezTo>
                  <a:pt x="1691" y="284"/>
                  <a:pt x="1689" y="286"/>
                  <a:pt x="1685" y="286"/>
                </a:cubicBezTo>
                <a:cubicBezTo>
                  <a:pt x="1686" y="284"/>
                  <a:pt x="1687" y="283"/>
                  <a:pt x="1688" y="282"/>
                </a:cubicBezTo>
                <a:cubicBezTo>
                  <a:pt x="1690" y="280"/>
                  <a:pt x="1692" y="278"/>
                  <a:pt x="1692" y="275"/>
                </a:cubicBezTo>
                <a:cubicBezTo>
                  <a:pt x="1692" y="275"/>
                  <a:pt x="1691" y="274"/>
                  <a:pt x="1691" y="274"/>
                </a:cubicBezTo>
                <a:cubicBezTo>
                  <a:pt x="1690" y="273"/>
                  <a:pt x="1687" y="275"/>
                  <a:pt x="1683" y="276"/>
                </a:cubicBezTo>
                <a:cubicBezTo>
                  <a:pt x="1680" y="278"/>
                  <a:pt x="1677" y="279"/>
                  <a:pt x="1675" y="279"/>
                </a:cubicBezTo>
                <a:cubicBezTo>
                  <a:pt x="1673" y="279"/>
                  <a:pt x="1671" y="277"/>
                  <a:pt x="1669" y="275"/>
                </a:cubicBezTo>
                <a:cubicBezTo>
                  <a:pt x="1669" y="274"/>
                  <a:pt x="1669" y="274"/>
                  <a:pt x="1669" y="274"/>
                </a:cubicBezTo>
                <a:cubicBezTo>
                  <a:pt x="1668" y="274"/>
                  <a:pt x="1668" y="274"/>
                  <a:pt x="1668" y="274"/>
                </a:cubicBezTo>
                <a:cubicBezTo>
                  <a:pt x="1668" y="274"/>
                  <a:pt x="1668" y="274"/>
                  <a:pt x="1668" y="274"/>
                </a:cubicBezTo>
                <a:cubicBezTo>
                  <a:pt x="1668" y="275"/>
                  <a:pt x="1666" y="276"/>
                  <a:pt x="1665" y="277"/>
                </a:cubicBezTo>
                <a:cubicBezTo>
                  <a:pt x="1663" y="278"/>
                  <a:pt x="1662" y="279"/>
                  <a:pt x="1662" y="280"/>
                </a:cubicBezTo>
                <a:cubicBezTo>
                  <a:pt x="1662" y="282"/>
                  <a:pt x="1664" y="283"/>
                  <a:pt x="1666" y="284"/>
                </a:cubicBezTo>
                <a:cubicBezTo>
                  <a:pt x="1664" y="285"/>
                  <a:pt x="1663" y="285"/>
                  <a:pt x="1661" y="286"/>
                </a:cubicBezTo>
                <a:cubicBezTo>
                  <a:pt x="1658" y="287"/>
                  <a:pt x="1655" y="288"/>
                  <a:pt x="1652" y="292"/>
                </a:cubicBezTo>
                <a:cubicBezTo>
                  <a:pt x="1652" y="287"/>
                  <a:pt x="1652" y="287"/>
                  <a:pt x="1652" y="287"/>
                </a:cubicBezTo>
                <a:cubicBezTo>
                  <a:pt x="1652" y="287"/>
                  <a:pt x="1652" y="287"/>
                  <a:pt x="1652" y="287"/>
                </a:cubicBezTo>
                <a:cubicBezTo>
                  <a:pt x="1648" y="287"/>
                  <a:pt x="1646" y="290"/>
                  <a:pt x="1644" y="293"/>
                </a:cubicBezTo>
                <a:cubicBezTo>
                  <a:pt x="1643" y="295"/>
                  <a:pt x="1642" y="296"/>
                  <a:pt x="1641" y="296"/>
                </a:cubicBezTo>
                <a:cubicBezTo>
                  <a:pt x="1641" y="292"/>
                  <a:pt x="1641" y="292"/>
                  <a:pt x="1641" y="292"/>
                </a:cubicBezTo>
                <a:cubicBezTo>
                  <a:pt x="1640" y="293"/>
                  <a:pt x="1640" y="293"/>
                  <a:pt x="1640" y="293"/>
                </a:cubicBezTo>
                <a:cubicBezTo>
                  <a:pt x="1639" y="293"/>
                  <a:pt x="1638" y="293"/>
                  <a:pt x="1637" y="293"/>
                </a:cubicBezTo>
                <a:cubicBezTo>
                  <a:pt x="1633" y="294"/>
                  <a:pt x="1629" y="294"/>
                  <a:pt x="1627" y="297"/>
                </a:cubicBezTo>
                <a:cubicBezTo>
                  <a:pt x="1627" y="297"/>
                  <a:pt x="1627" y="297"/>
                  <a:pt x="1627" y="297"/>
                </a:cubicBezTo>
                <a:cubicBezTo>
                  <a:pt x="1627" y="298"/>
                  <a:pt x="1627" y="298"/>
                  <a:pt x="1627" y="298"/>
                </a:cubicBezTo>
                <a:cubicBezTo>
                  <a:pt x="1629" y="300"/>
                  <a:pt x="1629" y="300"/>
                  <a:pt x="1629" y="300"/>
                </a:cubicBezTo>
                <a:cubicBezTo>
                  <a:pt x="1628" y="300"/>
                  <a:pt x="1627" y="300"/>
                  <a:pt x="1625" y="300"/>
                </a:cubicBezTo>
                <a:cubicBezTo>
                  <a:pt x="1625" y="300"/>
                  <a:pt x="1624" y="300"/>
                  <a:pt x="1624" y="300"/>
                </a:cubicBezTo>
                <a:cubicBezTo>
                  <a:pt x="1620" y="300"/>
                  <a:pt x="1617" y="304"/>
                  <a:pt x="1616" y="306"/>
                </a:cubicBezTo>
                <a:cubicBezTo>
                  <a:pt x="1616" y="307"/>
                  <a:pt x="1616" y="307"/>
                  <a:pt x="1616" y="307"/>
                </a:cubicBezTo>
                <a:cubicBezTo>
                  <a:pt x="1616" y="307"/>
                  <a:pt x="1616" y="307"/>
                  <a:pt x="1616" y="307"/>
                </a:cubicBezTo>
                <a:cubicBezTo>
                  <a:pt x="1619" y="306"/>
                  <a:pt x="1619" y="306"/>
                  <a:pt x="1620" y="307"/>
                </a:cubicBezTo>
                <a:cubicBezTo>
                  <a:pt x="1621" y="307"/>
                  <a:pt x="1621" y="307"/>
                  <a:pt x="1621" y="307"/>
                </a:cubicBezTo>
                <a:cubicBezTo>
                  <a:pt x="1620" y="308"/>
                  <a:pt x="1620" y="308"/>
                  <a:pt x="1620" y="309"/>
                </a:cubicBezTo>
                <a:cubicBezTo>
                  <a:pt x="1619" y="311"/>
                  <a:pt x="1617" y="315"/>
                  <a:pt x="1616" y="315"/>
                </a:cubicBezTo>
                <a:cubicBezTo>
                  <a:pt x="1614" y="315"/>
                  <a:pt x="1613" y="314"/>
                  <a:pt x="1612" y="314"/>
                </a:cubicBezTo>
                <a:cubicBezTo>
                  <a:pt x="1610" y="313"/>
                  <a:pt x="1609" y="312"/>
                  <a:pt x="1606" y="312"/>
                </a:cubicBezTo>
                <a:cubicBezTo>
                  <a:pt x="1607" y="309"/>
                  <a:pt x="1607" y="308"/>
                  <a:pt x="1605" y="306"/>
                </a:cubicBezTo>
                <a:cubicBezTo>
                  <a:pt x="1605" y="305"/>
                  <a:pt x="1605" y="305"/>
                  <a:pt x="1605" y="305"/>
                </a:cubicBezTo>
                <a:cubicBezTo>
                  <a:pt x="1604" y="306"/>
                  <a:pt x="1604" y="306"/>
                  <a:pt x="1604" y="306"/>
                </a:cubicBezTo>
                <a:cubicBezTo>
                  <a:pt x="1603" y="307"/>
                  <a:pt x="1603" y="308"/>
                  <a:pt x="1602" y="310"/>
                </a:cubicBezTo>
                <a:cubicBezTo>
                  <a:pt x="1601" y="309"/>
                  <a:pt x="1601" y="309"/>
                  <a:pt x="1601" y="309"/>
                </a:cubicBezTo>
                <a:cubicBezTo>
                  <a:pt x="1601" y="309"/>
                  <a:pt x="1600" y="309"/>
                  <a:pt x="1600" y="309"/>
                </a:cubicBezTo>
                <a:cubicBezTo>
                  <a:pt x="1597" y="309"/>
                  <a:pt x="1595" y="311"/>
                  <a:pt x="1595" y="315"/>
                </a:cubicBezTo>
                <a:cubicBezTo>
                  <a:pt x="1594" y="315"/>
                  <a:pt x="1594" y="315"/>
                  <a:pt x="1594" y="315"/>
                </a:cubicBezTo>
                <a:cubicBezTo>
                  <a:pt x="1595" y="315"/>
                  <a:pt x="1595" y="315"/>
                  <a:pt x="1595" y="315"/>
                </a:cubicBezTo>
                <a:cubicBezTo>
                  <a:pt x="1595" y="315"/>
                  <a:pt x="1597" y="316"/>
                  <a:pt x="1598" y="316"/>
                </a:cubicBezTo>
                <a:cubicBezTo>
                  <a:pt x="1597" y="317"/>
                  <a:pt x="1594" y="319"/>
                  <a:pt x="1593" y="321"/>
                </a:cubicBezTo>
                <a:cubicBezTo>
                  <a:pt x="1593" y="321"/>
                  <a:pt x="1593" y="321"/>
                  <a:pt x="1593" y="321"/>
                </a:cubicBezTo>
                <a:cubicBezTo>
                  <a:pt x="1593" y="321"/>
                  <a:pt x="1593" y="321"/>
                  <a:pt x="1593" y="321"/>
                </a:cubicBezTo>
                <a:cubicBezTo>
                  <a:pt x="1598" y="321"/>
                  <a:pt x="1601" y="320"/>
                  <a:pt x="1604" y="318"/>
                </a:cubicBezTo>
                <a:cubicBezTo>
                  <a:pt x="1606" y="317"/>
                  <a:pt x="1608" y="316"/>
                  <a:pt x="1611" y="315"/>
                </a:cubicBezTo>
                <a:cubicBezTo>
                  <a:pt x="1609" y="323"/>
                  <a:pt x="1601" y="334"/>
                  <a:pt x="1595" y="336"/>
                </a:cubicBezTo>
                <a:cubicBezTo>
                  <a:pt x="1589" y="339"/>
                  <a:pt x="1584" y="343"/>
                  <a:pt x="1580" y="351"/>
                </a:cubicBezTo>
                <a:cubicBezTo>
                  <a:pt x="1580" y="351"/>
                  <a:pt x="1580" y="351"/>
                  <a:pt x="1580" y="351"/>
                </a:cubicBezTo>
                <a:cubicBezTo>
                  <a:pt x="1580" y="351"/>
                  <a:pt x="1580" y="351"/>
                  <a:pt x="1580" y="351"/>
                </a:cubicBezTo>
                <a:cubicBezTo>
                  <a:pt x="1580" y="352"/>
                  <a:pt x="1578" y="356"/>
                  <a:pt x="1577" y="359"/>
                </a:cubicBezTo>
                <a:cubicBezTo>
                  <a:pt x="1576" y="359"/>
                  <a:pt x="1575" y="362"/>
                  <a:pt x="1575" y="364"/>
                </a:cubicBezTo>
                <a:cubicBezTo>
                  <a:pt x="1574" y="367"/>
                  <a:pt x="1573" y="371"/>
                  <a:pt x="1572" y="373"/>
                </a:cubicBezTo>
                <a:cubicBezTo>
                  <a:pt x="1569" y="376"/>
                  <a:pt x="1566" y="379"/>
                  <a:pt x="1563" y="382"/>
                </a:cubicBezTo>
                <a:cubicBezTo>
                  <a:pt x="1558" y="388"/>
                  <a:pt x="1553" y="395"/>
                  <a:pt x="1544" y="397"/>
                </a:cubicBezTo>
                <a:cubicBezTo>
                  <a:pt x="1544" y="398"/>
                  <a:pt x="1544" y="398"/>
                  <a:pt x="1544" y="398"/>
                </a:cubicBezTo>
                <a:cubicBezTo>
                  <a:pt x="1545" y="398"/>
                  <a:pt x="1546" y="399"/>
                  <a:pt x="1548" y="399"/>
                </a:cubicBezTo>
                <a:cubicBezTo>
                  <a:pt x="1548" y="399"/>
                  <a:pt x="1548" y="399"/>
                  <a:pt x="1548" y="400"/>
                </a:cubicBezTo>
                <a:cubicBezTo>
                  <a:pt x="1543" y="400"/>
                  <a:pt x="1540" y="402"/>
                  <a:pt x="1538" y="405"/>
                </a:cubicBezTo>
                <a:cubicBezTo>
                  <a:pt x="1537" y="406"/>
                  <a:pt x="1535" y="408"/>
                  <a:pt x="1533" y="408"/>
                </a:cubicBezTo>
                <a:cubicBezTo>
                  <a:pt x="1527" y="410"/>
                  <a:pt x="1523" y="414"/>
                  <a:pt x="1519" y="421"/>
                </a:cubicBezTo>
                <a:cubicBezTo>
                  <a:pt x="1519" y="422"/>
                  <a:pt x="1517" y="423"/>
                  <a:pt x="1516" y="423"/>
                </a:cubicBezTo>
                <a:cubicBezTo>
                  <a:pt x="1514" y="424"/>
                  <a:pt x="1512" y="426"/>
                  <a:pt x="1512" y="429"/>
                </a:cubicBezTo>
                <a:cubicBezTo>
                  <a:pt x="1512" y="438"/>
                  <a:pt x="1513" y="447"/>
                  <a:pt x="1517" y="454"/>
                </a:cubicBezTo>
                <a:cubicBezTo>
                  <a:pt x="1517" y="454"/>
                  <a:pt x="1517" y="455"/>
                  <a:pt x="1516" y="455"/>
                </a:cubicBezTo>
                <a:cubicBezTo>
                  <a:pt x="1515" y="458"/>
                  <a:pt x="1513" y="461"/>
                  <a:pt x="1513" y="463"/>
                </a:cubicBezTo>
                <a:cubicBezTo>
                  <a:pt x="1513" y="463"/>
                  <a:pt x="1513" y="463"/>
                  <a:pt x="1513" y="463"/>
                </a:cubicBezTo>
                <a:cubicBezTo>
                  <a:pt x="1513" y="463"/>
                  <a:pt x="1513" y="463"/>
                  <a:pt x="1513" y="463"/>
                </a:cubicBezTo>
                <a:cubicBezTo>
                  <a:pt x="1517" y="462"/>
                  <a:pt x="1517" y="462"/>
                  <a:pt x="1521" y="462"/>
                </a:cubicBezTo>
                <a:cubicBezTo>
                  <a:pt x="1521" y="466"/>
                  <a:pt x="1521" y="466"/>
                  <a:pt x="1521" y="466"/>
                </a:cubicBezTo>
                <a:cubicBezTo>
                  <a:pt x="1520" y="466"/>
                  <a:pt x="1520" y="466"/>
                  <a:pt x="1520" y="466"/>
                </a:cubicBezTo>
                <a:cubicBezTo>
                  <a:pt x="1519" y="467"/>
                  <a:pt x="1515" y="469"/>
                  <a:pt x="1515" y="472"/>
                </a:cubicBezTo>
                <a:cubicBezTo>
                  <a:pt x="1515" y="473"/>
                  <a:pt x="1528" y="482"/>
                  <a:pt x="1530" y="482"/>
                </a:cubicBezTo>
                <a:cubicBezTo>
                  <a:pt x="1543" y="482"/>
                  <a:pt x="1553" y="469"/>
                  <a:pt x="1559" y="458"/>
                </a:cubicBezTo>
                <a:cubicBezTo>
                  <a:pt x="1559" y="459"/>
                  <a:pt x="1560" y="460"/>
                  <a:pt x="1560" y="460"/>
                </a:cubicBezTo>
                <a:cubicBezTo>
                  <a:pt x="1561" y="463"/>
                  <a:pt x="1562" y="465"/>
                  <a:pt x="1565" y="466"/>
                </a:cubicBezTo>
                <a:cubicBezTo>
                  <a:pt x="1564" y="467"/>
                  <a:pt x="1563" y="469"/>
                  <a:pt x="1563" y="471"/>
                </a:cubicBezTo>
                <a:cubicBezTo>
                  <a:pt x="1563" y="475"/>
                  <a:pt x="1565" y="477"/>
                  <a:pt x="1566" y="479"/>
                </a:cubicBezTo>
                <a:cubicBezTo>
                  <a:pt x="1568" y="480"/>
                  <a:pt x="1569" y="482"/>
                  <a:pt x="1569" y="484"/>
                </a:cubicBezTo>
                <a:cubicBezTo>
                  <a:pt x="1570" y="486"/>
                  <a:pt x="1570" y="488"/>
                  <a:pt x="1571" y="490"/>
                </a:cubicBezTo>
                <a:cubicBezTo>
                  <a:pt x="1572" y="494"/>
                  <a:pt x="1572" y="498"/>
                  <a:pt x="1576" y="502"/>
                </a:cubicBezTo>
                <a:cubicBezTo>
                  <a:pt x="1576" y="503"/>
                  <a:pt x="1576" y="503"/>
                  <a:pt x="1576" y="504"/>
                </a:cubicBezTo>
                <a:cubicBezTo>
                  <a:pt x="1576" y="505"/>
                  <a:pt x="1575" y="505"/>
                  <a:pt x="1575" y="506"/>
                </a:cubicBezTo>
                <a:cubicBezTo>
                  <a:pt x="1575" y="507"/>
                  <a:pt x="1580" y="523"/>
                  <a:pt x="1583" y="523"/>
                </a:cubicBezTo>
                <a:cubicBezTo>
                  <a:pt x="1587" y="523"/>
                  <a:pt x="1590" y="519"/>
                  <a:pt x="1592" y="516"/>
                </a:cubicBezTo>
                <a:cubicBezTo>
                  <a:pt x="1594" y="514"/>
                  <a:pt x="1595" y="511"/>
                  <a:pt x="1597" y="511"/>
                </a:cubicBezTo>
                <a:cubicBezTo>
                  <a:pt x="1606" y="511"/>
                  <a:pt x="1606" y="511"/>
                  <a:pt x="1606" y="511"/>
                </a:cubicBezTo>
                <a:cubicBezTo>
                  <a:pt x="1606" y="511"/>
                  <a:pt x="1606" y="511"/>
                  <a:pt x="1606" y="511"/>
                </a:cubicBezTo>
                <a:cubicBezTo>
                  <a:pt x="1606" y="508"/>
                  <a:pt x="1608" y="507"/>
                  <a:pt x="1610" y="505"/>
                </a:cubicBezTo>
                <a:cubicBezTo>
                  <a:pt x="1612" y="502"/>
                  <a:pt x="1615" y="500"/>
                  <a:pt x="1615" y="494"/>
                </a:cubicBezTo>
                <a:cubicBezTo>
                  <a:pt x="1615" y="494"/>
                  <a:pt x="1615" y="494"/>
                  <a:pt x="1615" y="494"/>
                </a:cubicBezTo>
                <a:cubicBezTo>
                  <a:pt x="1615" y="494"/>
                  <a:pt x="1615" y="494"/>
                  <a:pt x="1615" y="494"/>
                </a:cubicBezTo>
                <a:cubicBezTo>
                  <a:pt x="1614" y="494"/>
                  <a:pt x="1611" y="493"/>
                  <a:pt x="1611" y="488"/>
                </a:cubicBezTo>
                <a:cubicBezTo>
                  <a:pt x="1611" y="481"/>
                  <a:pt x="1613" y="471"/>
                  <a:pt x="1619" y="471"/>
                </a:cubicBezTo>
                <a:cubicBezTo>
                  <a:pt x="1622" y="471"/>
                  <a:pt x="1632" y="462"/>
                  <a:pt x="1632" y="457"/>
                </a:cubicBezTo>
                <a:cubicBezTo>
                  <a:pt x="1632" y="450"/>
                  <a:pt x="1623" y="444"/>
                  <a:pt x="1618" y="443"/>
                </a:cubicBezTo>
                <a:cubicBezTo>
                  <a:pt x="1618" y="440"/>
                  <a:pt x="1617" y="438"/>
                  <a:pt x="1615" y="437"/>
                </a:cubicBezTo>
                <a:cubicBezTo>
                  <a:pt x="1615" y="430"/>
                  <a:pt x="1615" y="430"/>
                  <a:pt x="1615" y="430"/>
                </a:cubicBezTo>
                <a:cubicBezTo>
                  <a:pt x="1618" y="428"/>
                  <a:pt x="1618" y="425"/>
                  <a:pt x="1618" y="422"/>
                </a:cubicBezTo>
                <a:cubicBezTo>
                  <a:pt x="1618" y="420"/>
                  <a:pt x="1618" y="418"/>
                  <a:pt x="1619" y="416"/>
                </a:cubicBezTo>
                <a:cubicBezTo>
                  <a:pt x="1621" y="411"/>
                  <a:pt x="1625" y="410"/>
                  <a:pt x="1629" y="407"/>
                </a:cubicBezTo>
                <a:cubicBezTo>
                  <a:pt x="1630" y="407"/>
                  <a:pt x="1632" y="406"/>
                  <a:pt x="1633" y="405"/>
                </a:cubicBezTo>
                <a:cubicBezTo>
                  <a:pt x="1634" y="404"/>
                  <a:pt x="1635" y="404"/>
                  <a:pt x="1637" y="403"/>
                </a:cubicBezTo>
                <a:cubicBezTo>
                  <a:pt x="1644" y="398"/>
                  <a:pt x="1654" y="392"/>
                  <a:pt x="1654" y="385"/>
                </a:cubicBezTo>
                <a:cubicBezTo>
                  <a:pt x="1654" y="384"/>
                  <a:pt x="1654" y="383"/>
                  <a:pt x="1654" y="381"/>
                </a:cubicBezTo>
                <a:cubicBezTo>
                  <a:pt x="1654" y="380"/>
                  <a:pt x="1654" y="379"/>
                  <a:pt x="1654" y="377"/>
                </a:cubicBezTo>
                <a:cubicBezTo>
                  <a:pt x="1654" y="369"/>
                  <a:pt x="1661" y="364"/>
                  <a:pt x="1672" y="364"/>
                </a:cubicBezTo>
                <a:cubicBezTo>
                  <a:pt x="1678" y="364"/>
                  <a:pt x="1689" y="365"/>
                  <a:pt x="1689" y="374"/>
                </a:cubicBezTo>
                <a:cubicBezTo>
                  <a:pt x="1689" y="378"/>
                  <a:pt x="1685" y="380"/>
                  <a:pt x="1681" y="382"/>
                </a:cubicBezTo>
                <a:cubicBezTo>
                  <a:pt x="1680" y="383"/>
                  <a:pt x="1679" y="383"/>
                  <a:pt x="1678" y="384"/>
                </a:cubicBezTo>
                <a:cubicBezTo>
                  <a:pt x="1675" y="386"/>
                  <a:pt x="1672" y="390"/>
                  <a:pt x="1669" y="394"/>
                </a:cubicBezTo>
                <a:cubicBezTo>
                  <a:pt x="1664" y="401"/>
                  <a:pt x="1658" y="408"/>
                  <a:pt x="1650" y="408"/>
                </a:cubicBezTo>
                <a:cubicBezTo>
                  <a:pt x="1650" y="408"/>
                  <a:pt x="1650" y="408"/>
                  <a:pt x="1650" y="408"/>
                </a:cubicBezTo>
                <a:cubicBezTo>
                  <a:pt x="1650" y="409"/>
                  <a:pt x="1650" y="409"/>
                  <a:pt x="1650" y="409"/>
                </a:cubicBezTo>
                <a:cubicBezTo>
                  <a:pt x="1650" y="410"/>
                  <a:pt x="1650" y="412"/>
                  <a:pt x="1650" y="413"/>
                </a:cubicBezTo>
                <a:cubicBezTo>
                  <a:pt x="1650" y="414"/>
                  <a:pt x="1650" y="415"/>
                  <a:pt x="1650" y="416"/>
                </a:cubicBezTo>
                <a:cubicBezTo>
                  <a:pt x="1650" y="419"/>
                  <a:pt x="1652" y="427"/>
                  <a:pt x="1656" y="429"/>
                </a:cubicBezTo>
                <a:cubicBezTo>
                  <a:pt x="1655" y="430"/>
                  <a:pt x="1655" y="430"/>
                  <a:pt x="1655" y="431"/>
                </a:cubicBezTo>
                <a:cubicBezTo>
                  <a:pt x="1653" y="432"/>
                  <a:pt x="1652" y="434"/>
                  <a:pt x="1652" y="437"/>
                </a:cubicBezTo>
                <a:cubicBezTo>
                  <a:pt x="1652" y="444"/>
                  <a:pt x="1658" y="449"/>
                  <a:pt x="1665" y="449"/>
                </a:cubicBezTo>
                <a:cubicBezTo>
                  <a:pt x="1665" y="453"/>
                  <a:pt x="1668" y="454"/>
                  <a:pt x="1672" y="454"/>
                </a:cubicBezTo>
                <a:cubicBezTo>
                  <a:pt x="1676" y="454"/>
                  <a:pt x="1681" y="452"/>
                  <a:pt x="1686" y="450"/>
                </a:cubicBezTo>
                <a:cubicBezTo>
                  <a:pt x="1688" y="450"/>
                  <a:pt x="1689" y="449"/>
                  <a:pt x="1690" y="449"/>
                </a:cubicBezTo>
                <a:cubicBezTo>
                  <a:pt x="1696" y="450"/>
                  <a:pt x="1710" y="449"/>
                  <a:pt x="1713" y="442"/>
                </a:cubicBezTo>
                <a:cubicBezTo>
                  <a:pt x="1714" y="443"/>
                  <a:pt x="1715" y="444"/>
                  <a:pt x="1716" y="445"/>
                </a:cubicBezTo>
                <a:cubicBezTo>
                  <a:pt x="1717" y="447"/>
                  <a:pt x="1719" y="449"/>
                  <a:pt x="1721" y="453"/>
                </a:cubicBezTo>
                <a:cubicBezTo>
                  <a:pt x="1717" y="456"/>
                  <a:pt x="1708" y="461"/>
                  <a:pt x="1704" y="461"/>
                </a:cubicBezTo>
                <a:cubicBezTo>
                  <a:pt x="1702" y="461"/>
                  <a:pt x="1700" y="460"/>
                  <a:pt x="1698" y="460"/>
                </a:cubicBezTo>
                <a:cubicBezTo>
                  <a:pt x="1695" y="459"/>
                  <a:pt x="1692" y="458"/>
                  <a:pt x="1689" y="458"/>
                </a:cubicBezTo>
                <a:cubicBezTo>
                  <a:pt x="1683" y="458"/>
                  <a:pt x="1672" y="463"/>
                  <a:pt x="1670" y="468"/>
                </a:cubicBezTo>
                <a:cubicBezTo>
                  <a:pt x="1670" y="469"/>
                  <a:pt x="1670" y="470"/>
                  <a:pt x="1671" y="471"/>
                </a:cubicBezTo>
                <a:cubicBezTo>
                  <a:pt x="1681" y="481"/>
                  <a:pt x="1681" y="487"/>
                  <a:pt x="1680" y="489"/>
                </a:cubicBezTo>
                <a:cubicBezTo>
                  <a:pt x="1679" y="492"/>
                  <a:pt x="1676" y="493"/>
                  <a:pt x="1675" y="493"/>
                </a:cubicBezTo>
                <a:cubicBezTo>
                  <a:pt x="1672" y="493"/>
                  <a:pt x="1670" y="491"/>
                  <a:pt x="1669" y="489"/>
                </a:cubicBezTo>
                <a:cubicBezTo>
                  <a:pt x="1667" y="487"/>
                  <a:pt x="1665" y="484"/>
                  <a:pt x="1663" y="484"/>
                </a:cubicBezTo>
                <a:cubicBezTo>
                  <a:pt x="1657" y="484"/>
                  <a:pt x="1650" y="501"/>
                  <a:pt x="1650" y="509"/>
                </a:cubicBezTo>
                <a:cubicBezTo>
                  <a:pt x="1650" y="516"/>
                  <a:pt x="1647" y="519"/>
                  <a:pt x="1645" y="522"/>
                </a:cubicBezTo>
                <a:cubicBezTo>
                  <a:pt x="1642" y="524"/>
                  <a:pt x="1640" y="527"/>
                  <a:pt x="1640" y="533"/>
                </a:cubicBezTo>
                <a:cubicBezTo>
                  <a:pt x="1636" y="533"/>
                  <a:pt x="1633" y="534"/>
                  <a:pt x="1629" y="534"/>
                </a:cubicBezTo>
                <a:cubicBezTo>
                  <a:pt x="1629" y="533"/>
                  <a:pt x="1630" y="532"/>
                  <a:pt x="1630" y="530"/>
                </a:cubicBezTo>
                <a:cubicBezTo>
                  <a:pt x="1631" y="530"/>
                  <a:pt x="1631" y="530"/>
                  <a:pt x="1631" y="530"/>
                </a:cubicBezTo>
                <a:cubicBezTo>
                  <a:pt x="1630" y="530"/>
                  <a:pt x="1630" y="530"/>
                  <a:pt x="1630" y="530"/>
                </a:cubicBezTo>
                <a:cubicBezTo>
                  <a:pt x="1628" y="529"/>
                  <a:pt x="1622" y="528"/>
                  <a:pt x="1620" y="528"/>
                </a:cubicBezTo>
                <a:cubicBezTo>
                  <a:pt x="1617" y="528"/>
                  <a:pt x="1614" y="531"/>
                  <a:pt x="1611" y="533"/>
                </a:cubicBezTo>
                <a:cubicBezTo>
                  <a:pt x="1610" y="534"/>
                  <a:pt x="1609" y="535"/>
                  <a:pt x="1608" y="535"/>
                </a:cubicBezTo>
                <a:cubicBezTo>
                  <a:pt x="1606" y="536"/>
                  <a:pt x="1604" y="537"/>
                  <a:pt x="1602" y="537"/>
                </a:cubicBezTo>
                <a:cubicBezTo>
                  <a:pt x="1599" y="537"/>
                  <a:pt x="1597" y="538"/>
                  <a:pt x="1594" y="539"/>
                </a:cubicBezTo>
                <a:cubicBezTo>
                  <a:pt x="1594" y="540"/>
                  <a:pt x="1593" y="540"/>
                  <a:pt x="1593" y="541"/>
                </a:cubicBezTo>
                <a:cubicBezTo>
                  <a:pt x="1592" y="541"/>
                  <a:pt x="1591" y="542"/>
                  <a:pt x="1589" y="542"/>
                </a:cubicBezTo>
                <a:cubicBezTo>
                  <a:pt x="1587" y="540"/>
                  <a:pt x="1584" y="538"/>
                  <a:pt x="1584" y="538"/>
                </a:cubicBezTo>
                <a:cubicBezTo>
                  <a:pt x="1585" y="537"/>
                  <a:pt x="1585" y="537"/>
                  <a:pt x="1585" y="537"/>
                </a:cubicBezTo>
                <a:cubicBezTo>
                  <a:pt x="1585" y="536"/>
                  <a:pt x="1586" y="535"/>
                  <a:pt x="1586" y="534"/>
                </a:cubicBezTo>
                <a:cubicBezTo>
                  <a:pt x="1586" y="534"/>
                  <a:pt x="1586" y="534"/>
                  <a:pt x="1586" y="534"/>
                </a:cubicBezTo>
                <a:cubicBezTo>
                  <a:pt x="1586" y="534"/>
                  <a:pt x="1586" y="534"/>
                  <a:pt x="1586" y="534"/>
                </a:cubicBezTo>
                <a:cubicBezTo>
                  <a:pt x="1582" y="533"/>
                  <a:pt x="1579" y="535"/>
                  <a:pt x="1575" y="537"/>
                </a:cubicBezTo>
                <a:cubicBezTo>
                  <a:pt x="1572" y="539"/>
                  <a:pt x="1568" y="541"/>
                  <a:pt x="1564" y="541"/>
                </a:cubicBezTo>
                <a:cubicBezTo>
                  <a:pt x="1564" y="541"/>
                  <a:pt x="1563" y="539"/>
                  <a:pt x="1563" y="538"/>
                </a:cubicBezTo>
                <a:cubicBezTo>
                  <a:pt x="1563" y="537"/>
                  <a:pt x="1563" y="537"/>
                  <a:pt x="1563" y="537"/>
                </a:cubicBezTo>
                <a:cubicBezTo>
                  <a:pt x="1563" y="536"/>
                  <a:pt x="1563" y="536"/>
                  <a:pt x="1563" y="536"/>
                </a:cubicBezTo>
                <a:cubicBezTo>
                  <a:pt x="1562" y="536"/>
                  <a:pt x="1562" y="536"/>
                  <a:pt x="1562" y="536"/>
                </a:cubicBezTo>
                <a:cubicBezTo>
                  <a:pt x="1561" y="536"/>
                  <a:pt x="1560" y="536"/>
                  <a:pt x="1559" y="536"/>
                </a:cubicBezTo>
                <a:cubicBezTo>
                  <a:pt x="1558" y="535"/>
                  <a:pt x="1557" y="535"/>
                  <a:pt x="1555" y="535"/>
                </a:cubicBezTo>
                <a:cubicBezTo>
                  <a:pt x="1555" y="535"/>
                  <a:pt x="1555" y="534"/>
                  <a:pt x="1555" y="533"/>
                </a:cubicBezTo>
                <a:cubicBezTo>
                  <a:pt x="1555" y="533"/>
                  <a:pt x="1555" y="532"/>
                  <a:pt x="1555" y="532"/>
                </a:cubicBezTo>
                <a:cubicBezTo>
                  <a:pt x="1555" y="531"/>
                  <a:pt x="1555" y="531"/>
                  <a:pt x="1555" y="531"/>
                </a:cubicBezTo>
                <a:cubicBezTo>
                  <a:pt x="1555" y="531"/>
                  <a:pt x="1555" y="531"/>
                  <a:pt x="1555" y="531"/>
                </a:cubicBezTo>
                <a:cubicBezTo>
                  <a:pt x="1553" y="531"/>
                  <a:pt x="1552" y="529"/>
                  <a:pt x="1552" y="525"/>
                </a:cubicBezTo>
                <a:cubicBezTo>
                  <a:pt x="1552" y="520"/>
                  <a:pt x="1555" y="517"/>
                  <a:pt x="1557" y="514"/>
                </a:cubicBezTo>
                <a:cubicBezTo>
                  <a:pt x="1559" y="513"/>
                  <a:pt x="1559" y="513"/>
                  <a:pt x="1559" y="513"/>
                </a:cubicBezTo>
                <a:cubicBezTo>
                  <a:pt x="1559" y="512"/>
                  <a:pt x="1559" y="512"/>
                  <a:pt x="1560" y="512"/>
                </a:cubicBezTo>
                <a:cubicBezTo>
                  <a:pt x="1561" y="511"/>
                  <a:pt x="1562" y="510"/>
                  <a:pt x="1562" y="509"/>
                </a:cubicBezTo>
                <a:cubicBezTo>
                  <a:pt x="1562" y="506"/>
                  <a:pt x="1562" y="506"/>
                  <a:pt x="1562" y="506"/>
                </a:cubicBezTo>
                <a:cubicBezTo>
                  <a:pt x="1562" y="506"/>
                  <a:pt x="1562" y="506"/>
                  <a:pt x="1562" y="506"/>
                </a:cubicBezTo>
                <a:cubicBezTo>
                  <a:pt x="1558" y="506"/>
                  <a:pt x="1556" y="505"/>
                  <a:pt x="1556" y="502"/>
                </a:cubicBezTo>
                <a:cubicBezTo>
                  <a:pt x="1556" y="499"/>
                  <a:pt x="1557" y="497"/>
                  <a:pt x="1558" y="493"/>
                </a:cubicBezTo>
                <a:cubicBezTo>
                  <a:pt x="1558" y="493"/>
                  <a:pt x="1558" y="493"/>
                  <a:pt x="1558" y="493"/>
                </a:cubicBezTo>
                <a:cubicBezTo>
                  <a:pt x="1558" y="488"/>
                  <a:pt x="1558" y="488"/>
                  <a:pt x="1558" y="488"/>
                </a:cubicBezTo>
                <a:cubicBezTo>
                  <a:pt x="1558" y="489"/>
                  <a:pt x="1558" y="489"/>
                  <a:pt x="1558" y="489"/>
                </a:cubicBezTo>
                <a:cubicBezTo>
                  <a:pt x="1556" y="490"/>
                  <a:pt x="1553" y="492"/>
                  <a:pt x="1551" y="493"/>
                </a:cubicBezTo>
                <a:cubicBezTo>
                  <a:pt x="1544" y="496"/>
                  <a:pt x="1538" y="500"/>
                  <a:pt x="1538" y="511"/>
                </a:cubicBezTo>
                <a:cubicBezTo>
                  <a:pt x="1538" y="516"/>
                  <a:pt x="1539" y="518"/>
                  <a:pt x="1541" y="522"/>
                </a:cubicBezTo>
                <a:cubicBezTo>
                  <a:pt x="1542" y="524"/>
                  <a:pt x="1543" y="527"/>
                  <a:pt x="1544" y="532"/>
                </a:cubicBezTo>
                <a:cubicBezTo>
                  <a:pt x="1544" y="532"/>
                  <a:pt x="1544" y="532"/>
                  <a:pt x="1544" y="532"/>
                </a:cubicBezTo>
                <a:cubicBezTo>
                  <a:pt x="1544" y="532"/>
                  <a:pt x="1544" y="532"/>
                  <a:pt x="1545" y="534"/>
                </a:cubicBezTo>
                <a:cubicBezTo>
                  <a:pt x="1545" y="536"/>
                  <a:pt x="1546" y="539"/>
                  <a:pt x="1546" y="540"/>
                </a:cubicBezTo>
                <a:cubicBezTo>
                  <a:pt x="1546" y="543"/>
                  <a:pt x="1542" y="546"/>
                  <a:pt x="1540" y="546"/>
                </a:cubicBezTo>
                <a:cubicBezTo>
                  <a:pt x="1539" y="546"/>
                  <a:pt x="1538" y="546"/>
                  <a:pt x="1537" y="545"/>
                </a:cubicBezTo>
                <a:cubicBezTo>
                  <a:pt x="1535" y="545"/>
                  <a:pt x="1533" y="544"/>
                  <a:pt x="1532" y="546"/>
                </a:cubicBezTo>
                <a:cubicBezTo>
                  <a:pt x="1531" y="547"/>
                  <a:pt x="1531" y="547"/>
                  <a:pt x="1531" y="547"/>
                </a:cubicBezTo>
                <a:cubicBezTo>
                  <a:pt x="1530" y="549"/>
                  <a:pt x="1530" y="549"/>
                  <a:pt x="1530" y="549"/>
                </a:cubicBezTo>
                <a:cubicBezTo>
                  <a:pt x="1530" y="549"/>
                  <a:pt x="1530" y="549"/>
                  <a:pt x="1530" y="549"/>
                </a:cubicBezTo>
                <a:cubicBezTo>
                  <a:pt x="1530" y="549"/>
                  <a:pt x="1530" y="549"/>
                  <a:pt x="1530" y="549"/>
                </a:cubicBezTo>
                <a:cubicBezTo>
                  <a:pt x="1529" y="549"/>
                  <a:pt x="1529" y="549"/>
                  <a:pt x="1529" y="549"/>
                </a:cubicBezTo>
                <a:cubicBezTo>
                  <a:pt x="1529" y="549"/>
                  <a:pt x="1528" y="549"/>
                  <a:pt x="1528" y="549"/>
                </a:cubicBezTo>
                <a:cubicBezTo>
                  <a:pt x="1528" y="549"/>
                  <a:pt x="1527" y="549"/>
                  <a:pt x="1525" y="549"/>
                </a:cubicBezTo>
                <a:cubicBezTo>
                  <a:pt x="1519" y="549"/>
                  <a:pt x="1514" y="553"/>
                  <a:pt x="1510" y="558"/>
                </a:cubicBezTo>
                <a:cubicBezTo>
                  <a:pt x="1509" y="559"/>
                  <a:pt x="1509" y="559"/>
                  <a:pt x="1509" y="559"/>
                </a:cubicBezTo>
                <a:cubicBezTo>
                  <a:pt x="1509" y="560"/>
                  <a:pt x="1509" y="560"/>
                  <a:pt x="1509" y="560"/>
                </a:cubicBezTo>
                <a:cubicBezTo>
                  <a:pt x="1508" y="561"/>
                  <a:pt x="1506" y="562"/>
                  <a:pt x="1506" y="563"/>
                </a:cubicBezTo>
                <a:cubicBezTo>
                  <a:pt x="1506" y="564"/>
                  <a:pt x="1506" y="565"/>
                  <a:pt x="1506" y="566"/>
                </a:cubicBezTo>
                <a:cubicBezTo>
                  <a:pt x="1506" y="569"/>
                  <a:pt x="1507" y="572"/>
                  <a:pt x="1505" y="574"/>
                </a:cubicBezTo>
                <a:cubicBezTo>
                  <a:pt x="1504" y="576"/>
                  <a:pt x="1492" y="581"/>
                  <a:pt x="1489" y="582"/>
                </a:cubicBezTo>
                <a:cubicBezTo>
                  <a:pt x="1489" y="582"/>
                  <a:pt x="1489" y="582"/>
                  <a:pt x="1489" y="582"/>
                </a:cubicBezTo>
                <a:cubicBezTo>
                  <a:pt x="1488" y="582"/>
                  <a:pt x="1487" y="582"/>
                  <a:pt x="1485" y="582"/>
                </a:cubicBezTo>
                <a:cubicBezTo>
                  <a:pt x="1485" y="582"/>
                  <a:pt x="1485" y="582"/>
                  <a:pt x="1485" y="582"/>
                </a:cubicBezTo>
                <a:cubicBezTo>
                  <a:pt x="1485" y="583"/>
                  <a:pt x="1485" y="583"/>
                  <a:pt x="1485" y="583"/>
                </a:cubicBezTo>
                <a:cubicBezTo>
                  <a:pt x="1483" y="591"/>
                  <a:pt x="1481" y="599"/>
                  <a:pt x="1472" y="599"/>
                </a:cubicBezTo>
                <a:cubicBezTo>
                  <a:pt x="1471" y="599"/>
                  <a:pt x="1471" y="599"/>
                  <a:pt x="1471" y="599"/>
                </a:cubicBezTo>
                <a:cubicBezTo>
                  <a:pt x="1471" y="599"/>
                  <a:pt x="1471" y="599"/>
                  <a:pt x="1471" y="599"/>
                </a:cubicBezTo>
                <a:cubicBezTo>
                  <a:pt x="1471" y="602"/>
                  <a:pt x="1469" y="604"/>
                  <a:pt x="1467" y="604"/>
                </a:cubicBezTo>
                <a:cubicBezTo>
                  <a:pt x="1463" y="604"/>
                  <a:pt x="1460" y="602"/>
                  <a:pt x="1458" y="599"/>
                </a:cubicBezTo>
                <a:cubicBezTo>
                  <a:pt x="1457" y="599"/>
                  <a:pt x="1457" y="599"/>
                  <a:pt x="1457" y="599"/>
                </a:cubicBezTo>
                <a:cubicBezTo>
                  <a:pt x="1454" y="599"/>
                  <a:pt x="1454" y="599"/>
                  <a:pt x="1454" y="599"/>
                </a:cubicBezTo>
                <a:cubicBezTo>
                  <a:pt x="1454" y="602"/>
                  <a:pt x="1454" y="602"/>
                  <a:pt x="1454" y="602"/>
                </a:cubicBezTo>
                <a:cubicBezTo>
                  <a:pt x="1454" y="603"/>
                  <a:pt x="1454" y="603"/>
                  <a:pt x="1454" y="603"/>
                </a:cubicBezTo>
                <a:cubicBezTo>
                  <a:pt x="1454" y="603"/>
                  <a:pt x="1454" y="603"/>
                  <a:pt x="1454" y="604"/>
                </a:cubicBezTo>
                <a:cubicBezTo>
                  <a:pt x="1454" y="606"/>
                  <a:pt x="1454" y="609"/>
                  <a:pt x="1455" y="610"/>
                </a:cubicBezTo>
                <a:cubicBezTo>
                  <a:pt x="1455" y="612"/>
                  <a:pt x="1455" y="612"/>
                  <a:pt x="1455" y="612"/>
                </a:cubicBezTo>
                <a:cubicBezTo>
                  <a:pt x="1455" y="612"/>
                  <a:pt x="1455" y="612"/>
                  <a:pt x="1455" y="612"/>
                </a:cubicBezTo>
                <a:cubicBezTo>
                  <a:pt x="1453" y="612"/>
                  <a:pt x="1451" y="613"/>
                  <a:pt x="1449" y="613"/>
                </a:cubicBezTo>
                <a:cubicBezTo>
                  <a:pt x="1446" y="613"/>
                  <a:pt x="1441" y="612"/>
                  <a:pt x="1441" y="610"/>
                </a:cubicBezTo>
                <a:cubicBezTo>
                  <a:pt x="1441" y="610"/>
                  <a:pt x="1441" y="610"/>
                  <a:pt x="1441" y="610"/>
                </a:cubicBezTo>
                <a:cubicBezTo>
                  <a:pt x="1440" y="610"/>
                  <a:pt x="1440" y="610"/>
                  <a:pt x="1440" y="610"/>
                </a:cubicBezTo>
                <a:cubicBezTo>
                  <a:pt x="1440" y="610"/>
                  <a:pt x="1439" y="610"/>
                  <a:pt x="1439" y="610"/>
                </a:cubicBezTo>
                <a:cubicBezTo>
                  <a:pt x="1433" y="612"/>
                  <a:pt x="1428" y="614"/>
                  <a:pt x="1428" y="616"/>
                </a:cubicBezTo>
                <a:cubicBezTo>
                  <a:pt x="1428" y="617"/>
                  <a:pt x="1428" y="618"/>
                  <a:pt x="1429" y="618"/>
                </a:cubicBezTo>
                <a:cubicBezTo>
                  <a:pt x="1429" y="622"/>
                  <a:pt x="1438" y="625"/>
                  <a:pt x="1444" y="627"/>
                </a:cubicBezTo>
                <a:cubicBezTo>
                  <a:pt x="1445" y="627"/>
                  <a:pt x="1446" y="628"/>
                  <a:pt x="1447" y="628"/>
                </a:cubicBezTo>
                <a:cubicBezTo>
                  <a:pt x="1447" y="628"/>
                  <a:pt x="1447" y="628"/>
                  <a:pt x="1447" y="628"/>
                </a:cubicBezTo>
                <a:cubicBezTo>
                  <a:pt x="1447" y="628"/>
                  <a:pt x="1447" y="628"/>
                  <a:pt x="1447" y="628"/>
                </a:cubicBezTo>
                <a:cubicBezTo>
                  <a:pt x="1448" y="628"/>
                  <a:pt x="1448" y="629"/>
                  <a:pt x="1449" y="629"/>
                </a:cubicBezTo>
                <a:cubicBezTo>
                  <a:pt x="1449" y="629"/>
                  <a:pt x="1450" y="630"/>
                  <a:pt x="1451" y="630"/>
                </a:cubicBezTo>
                <a:cubicBezTo>
                  <a:pt x="1451" y="638"/>
                  <a:pt x="1454" y="642"/>
                  <a:pt x="1459" y="642"/>
                </a:cubicBezTo>
                <a:cubicBezTo>
                  <a:pt x="1459" y="643"/>
                  <a:pt x="1459" y="644"/>
                  <a:pt x="1460" y="645"/>
                </a:cubicBezTo>
                <a:cubicBezTo>
                  <a:pt x="1460" y="645"/>
                  <a:pt x="1461" y="646"/>
                  <a:pt x="1461" y="647"/>
                </a:cubicBezTo>
                <a:cubicBezTo>
                  <a:pt x="1461" y="648"/>
                  <a:pt x="1460" y="651"/>
                  <a:pt x="1459" y="652"/>
                </a:cubicBezTo>
                <a:cubicBezTo>
                  <a:pt x="1460" y="653"/>
                  <a:pt x="1460" y="653"/>
                  <a:pt x="1460" y="653"/>
                </a:cubicBezTo>
                <a:cubicBezTo>
                  <a:pt x="1460" y="653"/>
                  <a:pt x="1460" y="653"/>
                  <a:pt x="1460" y="653"/>
                </a:cubicBezTo>
                <a:cubicBezTo>
                  <a:pt x="1460" y="654"/>
                  <a:pt x="1460" y="656"/>
                  <a:pt x="1460" y="657"/>
                </a:cubicBezTo>
                <a:cubicBezTo>
                  <a:pt x="1460" y="659"/>
                  <a:pt x="1460" y="661"/>
                  <a:pt x="1460" y="661"/>
                </a:cubicBezTo>
                <a:cubicBezTo>
                  <a:pt x="1460" y="665"/>
                  <a:pt x="1459" y="667"/>
                  <a:pt x="1458" y="669"/>
                </a:cubicBezTo>
                <a:cubicBezTo>
                  <a:pt x="1457" y="671"/>
                  <a:pt x="1456" y="673"/>
                  <a:pt x="1456" y="677"/>
                </a:cubicBezTo>
                <a:cubicBezTo>
                  <a:pt x="1456" y="677"/>
                  <a:pt x="1455" y="677"/>
                  <a:pt x="1454" y="677"/>
                </a:cubicBezTo>
                <a:cubicBezTo>
                  <a:pt x="1452" y="678"/>
                  <a:pt x="1450" y="678"/>
                  <a:pt x="1449" y="678"/>
                </a:cubicBezTo>
                <a:cubicBezTo>
                  <a:pt x="1448" y="678"/>
                  <a:pt x="1447" y="678"/>
                  <a:pt x="1446" y="678"/>
                </a:cubicBezTo>
                <a:cubicBezTo>
                  <a:pt x="1444" y="677"/>
                  <a:pt x="1443" y="676"/>
                  <a:pt x="1440" y="677"/>
                </a:cubicBezTo>
                <a:cubicBezTo>
                  <a:pt x="1426" y="677"/>
                  <a:pt x="1426" y="677"/>
                  <a:pt x="1426" y="677"/>
                </a:cubicBezTo>
                <a:cubicBezTo>
                  <a:pt x="1425" y="677"/>
                  <a:pt x="1425" y="677"/>
                  <a:pt x="1425" y="677"/>
                </a:cubicBezTo>
                <a:cubicBezTo>
                  <a:pt x="1424" y="677"/>
                  <a:pt x="1422" y="676"/>
                  <a:pt x="1421" y="675"/>
                </a:cubicBezTo>
                <a:cubicBezTo>
                  <a:pt x="1420" y="675"/>
                  <a:pt x="1420" y="675"/>
                  <a:pt x="1420" y="675"/>
                </a:cubicBezTo>
                <a:cubicBezTo>
                  <a:pt x="1406" y="675"/>
                  <a:pt x="1406" y="675"/>
                  <a:pt x="1406" y="675"/>
                </a:cubicBezTo>
                <a:cubicBezTo>
                  <a:pt x="1406" y="675"/>
                  <a:pt x="1406" y="675"/>
                  <a:pt x="1406" y="675"/>
                </a:cubicBezTo>
                <a:cubicBezTo>
                  <a:pt x="1405" y="675"/>
                  <a:pt x="1404" y="675"/>
                  <a:pt x="1404" y="674"/>
                </a:cubicBezTo>
                <a:cubicBezTo>
                  <a:pt x="1403" y="674"/>
                  <a:pt x="1402" y="674"/>
                  <a:pt x="1402" y="674"/>
                </a:cubicBezTo>
                <a:cubicBezTo>
                  <a:pt x="1400" y="674"/>
                  <a:pt x="1389" y="681"/>
                  <a:pt x="1389" y="683"/>
                </a:cubicBezTo>
                <a:cubicBezTo>
                  <a:pt x="1389" y="685"/>
                  <a:pt x="1390" y="687"/>
                  <a:pt x="1391" y="689"/>
                </a:cubicBezTo>
                <a:cubicBezTo>
                  <a:pt x="1392" y="691"/>
                  <a:pt x="1393" y="694"/>
                  <a:pt x="1393" y="697"/>
                </a:cubicBezTo>
                <a:cubicBezTo>
                  <a:pt x="1393" y="701"/>
                  <a:pt x="1392" y="706"/>
                  <a:pt x="1391" y="710"/>
                </a:cubicBezTo>
                <a:cubicBezTo>
                  <a:pt x="1390" y="715"/>
                  <a:pt x="1390" y="719"/>
                  <a:pt x="1390" y="724"/>
                </a:cubicBezTo>
                <a:cubicBezTo>
                  <a:pt x="1390" y="724"/>
                  <a:pt x="1389" y="725"/>
                  <a:pt x="1389" y="726"/>
                </a:cubicBezTo>
                <a:cubicBezTo>
                  <a:pt x="1388" y="727"/>
                  <a:pt x="1386" y="729"/>
                  <a:pt x="1386" y="732"/>
                </a:cubicBezTo>
                <a:cubicBezTo>
                  <a:pt x="1386" y="735"/>
                  <a:pt x="1389" y="737"/>
                  <a:pt x="1391" y="737"/>
                </a:cubicBezTo>
                <a:cubicBezTo>
                  <a:pt x="1391" y="750"/>
                  <a:pt x="1391" y="750"/>
                  <a:pt x="1391" y="750"/>
                </a:cubicBezTo>
                <a:cubicBezTo>
                  <a:pt x="1391" y="752"/>
                  <a:pt x="1392" y="754"/>
                  <a:pt x="1394" y="754"/>
                </a:cubicBezTo>
                <a:cubicBezTo>
                  <a:pt x="1396" y="754"/>
                  <a:pt x="1398" y="753"/>
                  <a:pt x="1400" y="752"/>
                </a:cubicBezTo>
                <a:cubicBezTo>
                  <a:pt x="1403" y="752"/>
                  <a:pt x="1405" y="751"/>
                  <a:pt x="1407" y="751"/>
                </a:cubicBezTo>
                <a:cubicBezTo>
                  <a:pt x="1411" y="751"/>
                  <a:pt x="1413" y="755"/>
                  <a:pt x="1414" y="758"/>
                </a:cubicBezTo>
                <a:cubicBezTo>
                  <a:pt x="1416" y="761"/>
                  <a:pt x="1417" y="764"/>
                  <a:pt x="1419" y="764"/>
                </a:cubicBezTo>
                <a:cubicBezTo>
                  <a:pt x="1423" y="764"/>
                  <a:pt x="1426" y="762"/>
                  <a:pt x="1428" y="761"/>
                </a:cubicBezTo>
                <a:cubicBezTo>
                  <a:pt x="1431" y="759"/>
                  <a:pt x="1434" y="757"/>
                  <a:pt x="1438" y="757"/>
                </a:cubicBezTo>
                <a:cubicBezTo>
                  <a:pt x="1438" y="757"/>
                  <a:pt x="1439" y="757"/>
                  <a:pt x="1440" y="757"/>
                </a:cubicBezTo>
                <a:cubicBezTo>
                  <a:pt x="1442" y="756"/>
                  <a:pt x="1445" y="756"/>
                  <a:pt x="1447" y="756"/>
                </a:cubicBezTo>
                <a:cubicBezTo>
                  <a:pt x="1447" y="757"/>
                  <a:pt x="1447" y="757"/>
                  <a:pt x="1447" y="757"/>
                </a:cubicBezTo>
                <a:cubicBezTo>
                  <a:pt x="1447" y="756"/>
                  <a:pt x="1447" y="756"/>
                  <a:pt x="1447" y="756"/>
                </a:cubicBezTo>
                <a:cubicBezTo>
                  <a:pt x="1451" y="757"/>
                  <a:pt x="1453" y="754"/>
                  <a:pt x="1455" y="751"/>
                </a:cubicBezTo>
                <a:cubicBezTo>
                  <a:pt x="1456" y="750"/>
                  <a:pt x="1456" y="748"/>
                  <a:pt x="1458" y="747"/>
                </a:cubicBezTo>
                <a:cubicBezTo>
                  <a:pt x="1464" y="744"/>
                  <a:pt x="1466" y="740"/>
                  <a:pt x="1469" y="735"/>
                </a:cubicBezTo>
                <a:cubicBezTo>
                  <a:pt x="1470" y="732"/>
                  <a:pt x="1470" y="732"/>
                  <a:pt x="1470" y="732"/>
                </a:cubicBezTo>
                <a:cubicBezTo>
                  <a:pt x="1470" y="732"/>
                  <a:pt x="1470" y="732"/>
                  <a:pt x="1470" y="732"/>
                </a:cubicBezTo>
                <a:cubicBezTo>
                  <a:pt x="1470" y="732"/>
                  <a:pt x="1470" y="732"/>
                  <a:pt x="1470" y="732"/>
                </a:cubicBezTo>
                <a:cubicBezTo>
                  <a:pt x="1468" y="731"/>
                  <a:pt x="1467" y="730"/>
                  <a:pt x="1467" y="728"/>
                </a:cubicBezTo>
                <a:cubicBezTo>
                  <a:pt x="1467" y="720"/>
                  <a:pt x="1476" y="706"/>
                  <a:pt x="1481" y="705"/>
                </a:cubicBezTo>
                <a:cubicBezTo>
                  <a:pt x="1488" y="703"/>
                  <a:pt x="1495" y="701"/>
                  <a:pt x="1497" y="693"/>
                </a:cubicBezTo>
                <a:cubicBezTo>
                  <a:pt x="1497" y="693"/>
                  <a:pt x="1497" y="693"/>
                  <a:pt x="1497" y="693"/>
                </a:cubicBezTo>
                <a:cubicBezTo>
                  <a:pt x="1497" y="693"/>
                  <a:pt x="1497" y="693"/>
                  <a:pt x="1497" y="693"/>
                </a:cubicBezTo>
                <a:cubicBezTo>
                  <a:pt x="1495" y="685"/>
                  <a:pt x="1495" y="685"/>
                  <a:pt x="1495" y="685"/>
                </a:cubicBezTo>
                <a:cubicBezTo>
                  <a:pt x="1495" y="680"/>
                  <a:pt x="1500" y="677"/>
                  <a:pt x="1504" y="677"/>
                </a:cubicBezTo>
                <a:cubicBezTo>
                  <a:pt x="1507" y="677"/>
                  <a:pt x="1510" y="678"/>
                  <a:pt x="1512" y="679"/>
                </a:cubicBezTo>
                <a:cubicBezTo>
                  <a:pt x="1515" y="680"/>
                  <a:pt x="1518" y="681"/>
                  <a:pt x="1521" y="681"/>
                </a:cubicBezTo>
                <a:cubicBezTo>
                  <a:pt x="1526" y="681"/>
                  <a:pt x="1529" y="678"/>
                  <a:pt x="1532" y="676"/>
                </a:cubicBezTo>
                <a:cubicBezTo>
                  <a:pt x="1534" y="674"/>
                  <a:pt x="1536" y="673"/>
                  <a:pt x="1538" y="672"/>
                </a:cubicBezTo>
                <a:cubicBezTo>
                  <a:pt x="1539" y="671"/>
                  <a:pt x="1540" y="670"/>
                  <a:pt x="1541" y="669"/>
                </a:cubicBezTo>
                <a:cubicBezTo>
                  <a:pt x="1542" y="667"/>
                  <a:pt x="1543" y="666"/>
                  <a:pt x="1547" y="666"/>
                </a:cubicBezTo>
                <a:cubicBezTo>
                  <a:pt x="1555" y="666"/>
                  <a:pt x="1558" y="673"/>
                  <a:pt x="1561" y="680"/>
                </a:cubicBezTo>
                <a:cubicBezTo>
                  <a:pt x="1562" y="683"/>
                  <a:pt x="1564" y="686"/>
                  <a:pt x="1565" y="688"/>
                </a:cubicBezTo>
                <a:cubicBezTo>
                  <a:pt x="1565" y="688"/>
                  <a:pt x="1565" y="688"/>
                  <a:pt x="1565" y="688"/>
                </a:cubicBezTo>
                <a:cubicBezTo>
                  <a:pt x="1566" y="689"/>
                  <a:pt x="1567" y="690"/>
                  <a:pt x="1569" y="692"/>
                </a:cubicBezTo>
                <a:cubicBezTo>
                  <a:pt x="1571" y="692"/>
                  <a:pt x="1572" y="693"/>
                  <a:pt x="1573" y="694"/>
                </a:cubicBezTo>
                <a:cubicBezTo>
                  <a:pt x="1574" y="695"/>
                  <a:pt x="1574" y="695"/>
                  <a:pt x="1574" y="695"/>
                </a:cubicBezTo>
                <a:cubicBezTo>
                  <a:pt x="1578" y="701"/>
                  <a:pt x="1581" y="703"/>
                  <a:pt x="1590" y="706"/>
                </a:cubicBezTo>
                <a:cubicBezTo>
                  <a:pt x="1590" y="708"/>
                  <a:pt x="1594" y="709"/>
                  <a:pt x="1596" y="709"/>
                </a:cubicBezTo>
                <a:cubicBezTo>
                  <a:pt x="1596" y="712"/>
                  <a:pt x="1602" y="719"/>
                  <a:pt x="1604" y="720"/>
                </a:cubicBezTo>
                <a:cubicBezTo>
                  <a:pt x="1604" y="721"/>
                  <a:pt x="1605" y="722"/>
                  <a:pt x="1605" y="723"/>
                </a:cubicBezTo>
                <a:cubicBezTo>
                  <a:pt x="1606" y="724"/>
                  <a:pt x="1607" y="726"/>
                  <a:pt x="1607" y="729"/>
                </a:cubicBezTo>
                <a:cubicBezTo>
                  <a:pt x="1607" y="733"/>
                  <a:pt x="1606" y="738"/>
                  <a:pt x="1602" y="738"/>
                </a:cubicBezTo>
                <a:cubicBezTo>
                  <a:pt x="1602" y="738"/>
                  <a:pt x="1602" y="738"/>
                  <a:pt x="1602" y="738"/>
                </a:cubicBezTo>
                <a:cubicBezTo>
                  <a:pt x="1602" y="739"/>
                  <a:pt x="1602" y="739"/>
                  <a:pt x="1602" y="739"/>
                </a:cubicBezTo>
                <a:cubicBezTo>
                  <a:pt x="1602" y="740"/>
                  <a:pt x="1603" y="741"/>
                  <a:pt x="1606" y="741"/>
                </a:cubicBezTo>
                <a:cubicBezTo>
                  <a:pt x="1609" y="741"/>
                  <a:pt x="1609" y="738"/>
                  <a:pt x="1610" y="736"/>
                </a:cubicBezTo>
                <a:cubicBezTo>
                  <a:pt x="1611" y="734"/>
                  <a:pt x="1611" y="732"/>
                  <a:pt x="1612" y="731"/>
                </a:cubicBezTo>
                <a:cubicBezTo>
                  <a:pt x="1613" y="731"/>
                  <a:pt x="1617" y="731"/>
                  <a:pt x="1617" y="729"/>
                </a:cubicBezTo>
                <a:cubicBezTo>
                  <a:pt x="1617" y="726"/>
                  <a:pt x="1615" y="725"/>
                  <a:pt x="1614" y="723"/>
                </a:cubicBezTo>
                <a:cubicBezTo>
                  <a:pt x="1612" y="722"/>
                  <a:pt x="1611" y="721"/>
                  <a:pt x="1611" y="719"/>
                </a:cubicBezTo>
                <a:cubicBezTo>
                  <a:pt x="1611" y="715"/>
                  <a:pt x="1614" y="713"/>
                  <a:pt x="1617" y="713"/>
                </a:cubicBezTo>
                <a:cubicBezTo>
                  <a:pt x="1620" y="713"/>
                  <a:pt x="1622" y="715"/>
                  <a:pt x="1624" y="716"/>
                </a:cubicBezTo>
                <a:cubicBezTo>
                  <a:pt x="1625" y="717"/>
                  <a:pt x="1626" y="718"/>
                  <a:pt x="1627" y="719"/>
                </a:cubicBezTo>
                <a:cubicBezTo>
                  <a:pt x="1628" y="719"/>
                  <a:pt x="1628" y="719"/>
                  <a:pt x="1628" y="719"/>
                </a:cubicBezTo>
                <a:cubicBezTo>
                  <a:pt x="1628" y="718"/>
                  <a:pt x="1628" y="718"/>
                  <a:pt x="1628" y="718"/>
                </a:cubicBezTo>
                <a:cubicBezTo>
                  <a:pt x="1628" y="712"/>
                  <a:pt x="1623" y="709"/>
                  <a:pt x="1617" y="706"/>
                </a:cubicBezTo>
                <a:cubicBezTo>
                  <a:pt x="1616" y="705"/>
                  <a:pt x="1616" y="705"/>
                  <a:pt x="1615" y="704"/>
                </a:cubicBezTo>
                <a:cubicBezTo>
                  <a:pt x="1614" y="704"/>
                  <a:pt x="1614" y="704"/>
                  <a:pt x="1613" y="704"/>
                </a:cubicBezTo>
                <a:cubicBezTo>
                  <a:pt x="1610" y="702"/>
                  <a:pt x="1606" y="701"/>
                  <a:pt x="1607" y="698"/>
                </a:cubicBezTo>
                <a:cubicBezTo>
                  <a:pt x="1607" y="698"/>
                  <a:pt x="1607" y="698"/>
                  <a:pt x="1607" y="698"/>
                </a:cubicBezTo>
                <a:cubicBezTo>
                  <a:pt x="1608" y="697"/>
                  <a:pt x="1608" y="696"/>
                  <a:pt x="1608" y="695"/>
                </a:cubicBezTo>
                <a:cubicBezTo>
                  <a:pt x="1608" y="694"/>
                  <a:pt x="1608" y="694"/>
                  <a:pt x="1608" y="694"/>
                </a:cubicBezTo>
                <a:cubicBezTo>
                  <a:pt x="1607" y="694"/>
                  <a:pt x="1607" y="694"/>
                  <a:pt x="1607" y="694"/>
                </a:cubicBezTo>
                <a:cubicBezTo>
                  <a:pt x="1606" y="694"/>
                  <a:pt x="1605" y="695"/>
                  <a:pt x="1603" y="695"/>
                </a:cubicBezTo>
                <a:cubicBezTo>
                  <a:pt x="1601" y="695"/>
                  <a:pt x="1598" y="695"/>
                  <a:pt x="1595" y="694"/>
                </a:cubicBezTo>
                <a:cubicBezTo>
                  <a:pt x="1593" y="692"/>
                  <a:pt x="1591" y="687"/>
                  <a:pt x="1589" y="682"/>
                </a:cubicBezTo>
                <a:cubicBezTo>
                  <a:pt x="1589" y="680"/>
                  <a:pt x="1586" y="673"/>
                  <a:pt x="1581" y="671"/>
                </a:cubicBezTo>
                <a:cubicBezTo>
                  <a:pt x="1578" y="670"/>
                  <a:pt x="1575" y="668"/>
                  <a:pt x="1575" y="663"/>
                </a:cubicBezTo>
                <a:cubicBezTo>
                  <a:pt x="1575" y="661"/>
                  <a:pt x="1576" y="659"/>
                  <a:pt x="1576" y="657"/>
                </a:cubicBezTo>
                <a:cubicBezTo>
                  <a:pt x="1576" y="657"/>
                  <a:pt x="1576" y="657"/>
                  <a:pt x="1576" y="657"/>
                </a:cubicBezTo>
                <a:cubicBezTo>
                  <a:pt x="1576" y="656"/>
                  <a:pt x="1576" y="656"/>
                  <a:pt x="1576" y="656"/>
                </a:cubicBezTo>
                <a:cubicBezTo>
                  <a:pt x="1576" y="656"/>
                  <a:pt x="1576" y="656"/>
                  <a:pt x="1576" y="656"/>
                </a:cubicBezTo>
                <a:cubicBezTo>
                  <a:pt x="1575" y="654"/>
                  <a:pt x="1575" y="654"/>
                  <a:pt x="1575" y="654"/>
                </a:cubicBezTo>
                <a:cubicBezTo>
                  <a:pt x="1575" y="652"/>
                  <a:pt x="1577" y="651"/>
                  <a:pt x="1580" y="651"/>
                </a:cubicBezTo>
                <a:cubicBezTo>
                  <a:pt x="1581" y="650"/>
                  <a:pt x="1583" y="649"/>
                  <a:pt x="1584" y="649"/>
                </a:cubicBezTo>
                <a:cubicBezTo>
                  <a:pt x="1585" y="649"/>
                  <a:pt x="1585" y="651"/>
                  <a:pt x="1585" y="652"/>
                </a:cubicBezTo>
                <a:cubicBezTo>
                  <a:pt x="1585" y="655"/>
                  <a:pt x="1586" y="658"/>
                  <a:pt x="1588" y="658"/>
                </a:cubicBezTo>
                <a:cubicBezTo>
                  <a:pt x="1597" y="658"/>
                  <a:pt x="1597" y="658"/>
                  <a:pt x="1597" y="658"/>
                </a:cubicBezTo>
                <a:cubicBezTo>
                  <a:pt x="1598" y="666"/>
                  <a:pt x="1605" y="678"/>
                  <a:pt x="1612" y="678"/>
                </a:cubicBezTo>
                <a:cubicBezTo>
                  <a:pt x="1616" y="678"/>
                  <a:pt x="1616" y="678"/>
                  <a:pt x="1616" y="678"/>
                </a:cubicBezTo>
                <a:cubicBezTo>
                  <a:pt x="1616" y="681"/>
                  <a:pt x="1619" y="683"/>
                  <a:pt x="1622" y="684"/>
                </a:cubicBezTo>
                <a:cubicBezTo>
                  <a:pt x="1623" y="684"/>
                  <a:pt x="1624" y="685"/>
                  <a:pt x="1626" y="686"/>
                </a:cubicBezTo>
                <a:cubicBezTo>
                  <a:pt x="1630" y="688"/>
                  <a:pt x="1636" y="695"/>
                  <a:pt x="1636" y="700"/>
                </a:cubicBezTo>
                <a:cubicBezTo>
                  <a:pt x="1636" y="709"/>
                  <a:pt x="1636" y="709"/>
                  <a:pt x="1636" y="709"/>
                </a:cubicBezTo>
                <a:cubicBezTo>
                  <a:pt x="1636" y="715"/>
                  <a:pt x="1640" y="718"/>
                  <a:pt x="1643" y="721"/>
                </a:cubicBezTo>
                <a:cubicBezTo>
                  <a:pt x="1644" y="722"/>
                  <a:pt x="1644" y="723"/>
                  <a:pt x="1645" y="724"/>
                </a:cubicBezTo>
                <a:cubicBezTo>
                  <a:pt x="1648" y="727"/>
                  <a:pt x="1650" y="730"/>
                  <a:pt x="1652" y="735"/>
                </a:cubicBezTo>
                <a:cubicBezTo>
                  <a:pt x="1652" y="736"/>
                  <a:pt x="1652" y="739"/>
                  <a:pt x="1654" y="739"/>
                </a:cubicBezTo>
                <a:cubicBezTo>
                  <a:pt x="1658" y="739"/>
                  <a:pt x="1658" y="739"/>
                  <a:pt x="1658" y="739"/>
                </a:cubicBezTo>
                <a:cubicBezTo>
                  <a:pt x="1658" y="739"/>
                  <a:pt x="1657" y="740"/>
                  <a:pt x="1657" y="740"/>
                </a:cubicBezTo>
                <a:cubicBezTo>
                  <a:pt x="1656" y="741"/>
                  <a:pt x="1655" y="742"/>
                  <a:pt x="1655" y="744"/>
                </a:cubicBezTo>
                <a:cubicBezTo>
                  <a:pt x="1655" y="750"/>
                  <a:pt x="1659" y="756"/>
                  <a:pt x="1664" y="756"/>
                </a:cubicBezTo>
                <a:cubicBezTo>
                  <a:pt x="1668" y="756"/>
                  <a:pt x="1668" y="756"/>
                  <a:pt x="1668" y="756"/>
                </a:cubicBezTo>
                <a:cubicBezTo>
                  <a:pt x="1669" y="755"/>
                  <a:pt x="1669" y="755"/>
                  <a:pt x="1669" y="755"/>
                </a:cubicBezTo>
                <a:cubicBezTo>
                  <a:pt x="1667" y="754"/>
                  <a:pt x="1667" y="752"/>
                  <a:pt x="1668" y="750"/>
                </a:cubicBezTo>
                <a:cubicBezTo>
                  <a:pt x="1669" y="749"/>
                  <a:pt x="1669" y="748"/>
                  <a:pt x="1669" y="747"/>
                </a:cubicBezTo>
                <a:cubicBezTo>
                  <a:pt x="1669" y="745"/>
                  <a:pt x="1668" y="744"/>
                  <a:pt x="1668" y="742"/>
                </a:cubicBezTo>
                <a:cubicBezTo>
                  <a:pt x="1667" y="741"/>
                  <a:pt x="1667" y="741"/>
                  <a:pt x="1667" y="741"/>
                </a:cubicBezTo>
                <a:cubicBezTo>
                  <a:pt x="1667" y="739"/>
                  <a:pt x="1667" y="739"/>
                  <a:pt x="1667" y="739"/>
                </a:cubicBezTo>
                <a:cubicBezTo>
                  <a:pt x="1668" y="741"/>
                  <a:pt x="1671" y="743"/>
                  <a:pt x="1675" y="744"/>
                </a:cubicBezTo>
                <a:cubicBezTo>
                  <a:pt x="1675" y="744"/>
                  <a:pt x="1675" y="744"/>
                  <a:pt x="1675" y="744"/>
                </a:cubicBezTo>
                <a:cubicBezTo>
                  <a:pt x="1676" y="744"/>
                  <a:pt x="1676" y="744"/>
                  <a:pt x="1676" y="744"/>
                </a:cubicBezTo>
                <a:cubicBezTo>
                  <a:pt x="1676" y="744"/>
                  <a:pt x="1676" y="744"/>
                  <a:pt x="1676" y="744"/>
                </a:cubicBezTo>
                <a:cubicBezTo>
                  <a:pt x="1676" y="743"/>
                  <a:pt x="1677" y="743"/>
                  <a:pt x="1678" y="743"/>
                </a:cubicBezTo>
                <a:cubicBezTo>
                  <a:pt x="1679" y="743"/>
                  <a:pt x="1680" y="742"/>
                  <a:pt x="1681" y="742"/>
                </a:cubicBezTo>
                <a:cubicBezTo>
                  <a:pt x="1681" y="742"/>
                  <a:pt x="1681" y="742"/>
                  <a:pt x="1681" y="742"/>
                </a:cubicBezTo>
                <a:cubicBezTo>
                  <a:pt x="1681" y="741"/>
                  <a:pt x="1681" y="741"/>
                  <a:pt x="1681" y="741"/>
                </a:cubicBezTo>
                <a:cubicBezTo>
                  <a:pt x="1680" y="741"/>
                  <a:pt x="1680" y="739"/>
                  <a:pt x="1680" y="739"/>
                </a:cubicBezTo>
                <a:cubicBezTo>
                  <a:pt x="1680" y="738"/>
                  <a:pt x="1680" y="738"/>
                  <a:pt x="1680" y="738"/>
                </a:cubicBezTo>
                <a:cubicBezTo>
                  <a:pt x="1679" y="738"/>
                  <a:pt x="1679" y="738"/>
                  <a:pt x="1679" y="738"/>
                </a:cubicBezTo>
                <a:cubicBezTo>
                  <a:pt x="1677" y="738"/>
                  <a:pt x="1669" y="730"/>
                  <a:pt x="1669" y="729"/>
                </a:cubicBezTo>
                <a:cubicBezTo>
                  <a:pt x="1669" y="728"/>
                  <a:pt x="1669" y="728"/>
                  <a:pt x="1669" y="727"/>
                </a:cubicBezTo>
                <a:cubicBezTo>
                  <a:pt x="1670" y="727"/>
                  <a:pt x="1670" y="726"/>
                  <a:pt x="1670" y="725"/>
                </a:cubicBezTo>
                <a:cubicBezTo>
                  <a:pt x="1670" y="724"/>
                  <a:pt x="1670" y="724"/>
                  <a:pt x="1670" y="724"/>
                </a:cubicBezTo>
                <a:cubicBezTo>
                  <a:pt x="1670" y="724"/>
                  <a:pt x="1670" y="724"/>
                  <a:pt x="1670" y="724"/>
                </a:cubicBezTo>
                <a:cubicBezTo>
                  <a:pt x="1664" y="717"/>
                  <a:pt x="1664" y="717"/>
                  <a:pt x="1664" y="717"/>
                </a:cubicBezTo>
                <a:cubicBezTo>
                  <a:pt x="1664" y="715"/>
                  <a:pt x="1666" y="713"/>
                  <a:pt x="1667" y="713"/>
                </a:cubicBezTo>
                <a:cubicBezTo>
                  <a:pt x="1668" y="713"/>
                  <a:pt x="1669" y="714"/>
                  <a:pt x="1670" y="715"/>
                </a:cubicBezTo>
                <a:cubicBezTo>
                  <a:pt x="1671" y="717"/>
                  <a:pt x="1672" y="719"/>
                  <a:pt x="1675" y="719"/>
                </a:cubicBezTo>
                <a:cubicBezTo>
                  <a:pt x="1676" y="719"/>
                  <a:pt x="1676" y="719"/>
                  <a:pt x="1676" y="719"/>
                </a:cubicBezTo>
                <a:cubicBezTo>
                  <a:pt x="1676" y="718"/>
                  <a:pt x="1676" y="718"/>
                  <a:pt x="1676" y="718"/>
                </a:cubicBezTo>
                <a:cubicBezTo>
                  <a:pt x="1676" y="716"/>
                  <a:pt x="1676" y="714"/>
                  <a:pt x="1676" y="711"/>
                </a:cubicBezTo>
                <a:cubicBezTo>
                  <a:pt x="1677" y="710"/>
                  <a:pt x="1678" y="710"/>
                  <a:pt x="1679" y="709"/>
                </a:cubicBezTo>
                <a:cubicBezTo>
                  <a:pt x="1681" y="708"/>
                  <a:pt x="1683" y="706"/>
                  <a:pt x="1685" y="706"/>
                </a:cubicBezTo>
                <a:cubicBezTo>
                  <a:pt x="1688" y="706"/>
                  <a:pt x="1690" y="708"/>
                  <a:pt x="1692" y="710"/>
                </a:cubicBezTo>
                <a:cubicBezTo>
                  <a:pt x="1694" y="712"/>
                  <a:pt x="1696" y="713"/>
                  <a:pt x="1698" y="713"/>
                </a:cubicBezTo>
                <a:cubicBezTo>
                  <a:pt x="1701" y="713"/>
                  <a:pt x="1702" y="712"/>
                  <a:pt x="1704" y="710"/>
                </a:cubicBezTo>
                <a:cubicBezTo>
                  <a:pt x="1705" y="709"/>
                  <a:pt x="1706" y="708"/>
                  <a:pt x="1707" y="707"/>
                </a:cubicBezTo>
                <a:cubicBezTo>
                  <a:pt x="1709" y="706"/>
                  <a:pt x="1710" y="706"/>
                  <a:pt x="1711" y="706"/>
                </a:cubicBezTo>
                <a:cubicBezTo>
                  <a:pt x="1713" y="706"/>
                  <a:pt x="1714" y="706"/>
                  <a:pt x="1715" y="706"/>
                </a:cubicBezTo>
                <a:cubicBezTo>
                  <a:pt x="1715" y="706"/>
                  <a:pt x="1715" y="706"/>
                  <a:pt x="1715" y="706"/>
                </a:cubicBezTo>
                <a:cubicBezTo>
                  <a:pt x="1716" y="706"/>
                  <a:pt x="1716" y="706"/>
                  <a:pt x="1716" y="706"/>
                </a:cubicBezTo>
                <a:cubicBezTo>
                  <a:pt x="1717" y="705"/>
                  <a:pt x="1718" y="705"/>
                  <a:pt x="1719" y="704"/>
                </a:cubicBezTo>
                <a:cubicBezTo>
                  <a:pt x="1719" y="704"/>
                  <a:pt x="1719" y="704"/>
                  <a:pt x="1719" y="704"/>
                </a:cubicBezTo>
                <a:cubicBezTo>
                  <a:pt x="1719" y="704"/>
                  <a:pt x="1719" y="704"/>
                  <a:pt x="1719" y="704"/>
                </a:cubicBezTo>
                <a:cubicBezTo>
                  <a:pt x="1719" y="703"/>
                  <a:pt x="1718" y="702"/>
                  <a:pt x="1716" y="700"/>
                </a:cubicBezTo>
                <a:cubicBezTo>
                  <a:pt x="1713" y="697"/>
                  <a:pt x="1709" y="694"/>
                  <a:pt x="1709" y="689"/>
                </a:cubicBezTo>
                <a:cubicBezTo>
                  <a:pt x="1709" y="684"/>
                  <a:pt x="1715" y="677"/>
                  <a:pt x="1718" y="674"/>
                </a:cubicBezTo>
                <a:cubicBezTo>
                  <a:pt x="1718" y="674"/>
                  <a:pt x="1718" y="674"/>
                  <a:pt x="1718" y="674"/>
                </a:cubicBezTo>
                <a:cubicBezTo>
                  <a:pt x="1718" y="665"/>
                  <a:pt x="1718" y="665"/>
                  <a:pt x="1718" y="665"/>
                </a:cubicBezTo>
                <a:cubicBezTo>
                  <a:pt x="1718" y="664"/>
                  <a:pt x="1718" y="664"/>
                  <a:pt x="1718" y="664"/>
                </a:cubicBezTo>
                <a:cubicBezTo>
                  <a:pt x="1719" y="664"/>
                  <a:pt x="1719" y="663"/>
                  <a:pt x="1720" y="660"/>
                </a:cubicBezTo>
                <a:cubicBezTo>
                  <a:pt x="1720" y="660"/>
                  <a:pt x="1720" y="660"/>
                  <a:pt x="1720" y="660"/>
                </a:cubicBezTo>
                <a:cubicBezTo>
                  <a:pt x="1720" y="660"/>
                  <a:pt x="1720" y="660"/>
                  <a:pt x="1720" y="660"/>
                </a:cubicBezTo>
                <a:cubicBezTo>
                  <a:pt x="1720" y="656"/>
                  <a:pt x="1724" y="655"/>
                  <a:pt x="1726" y="654"/>
                </a:cubicBezTo>
                <a:cubicBezTo>
                  <a:pt x="1726" y="654"/>
                  <a:pt x="1726" y="654"/>
                  <a:pt x="1726" y="654"/>
                </a:cubicBezTo>
                <a:cubicBezTo>
                  <a:pt x="1726" y="654"/>
                  <a:pt x="1726" y="654"/>
                  <a:pt x="1726" y="654"/>
                </a:cubicBezTo>
                <a:cubicBezTo>
                  <a:pt x="1726" y="653"/>
                  <a:pt x="1726" y="652"/>
                  <a:pt x="1726" y="651"/>
                </a:cubicBezTo>
                <a:cubicBezTo>
                  <a:pt x="1726" y="650"/>
                  <a:pt x="1726" y="650"/>
                  <a:pt x="1726" y="649"/>
                </a:cubicBezTo>
                <a:cubicBezTo>
                  <a:pt x="1729" y="648"/>
                  <a:pt x="1731" y="645"/>
                  <a:pt x="1732" y="643"/>
                </a:cubicBezTo>
                <a:cubicBezTo>
                  <a:pt x="1734" y="640"/>
                  <a:pt x="1736" y="638"/>
                  <a:pt x="1740" y="638"/>
                </a:cubicBezTo>
                <a:cubicBezTo>
                  <a:pt x="1742" y="638"/>
                  <a:pt x="1748" y="645"/>
                  <a:pt x="1753" y="652"/>
                </a:cubicBezTo>
                <a:cubicBezTo>
                  <a:pt x="1757" y="658"/>
                  <a:pt x="1761" y="664"/>
                  <a:pt x="1764" y="664"/>
                </a:cubicBezTo>
                <a:cubicBezTo>
                  <a:pt x="1768" y="664"/>
                  <a:pt x="1783" y="656"/>
                  <a:pt x="1785" y="653"/>
                </a:cubicBezTo>
                <a:cubicBezTo>
                  <a:pt x="1786" y="652"/>
                  <a:pt x="1786" y="652"/>
                  <a:pt x="1786" y="652"/>
                </a:cubicBezTo>
                <a:cubicBezTo>
                  <a:pt x="1785" y="652"/>
                  <a:pt x="1785" y="652"/>
                  <a:pt x="1785" y="652"/>
                </a:cubicBezTo>
                <a:cubicBezTo>
                  <a:pt x="1785" y="652"/>
                  <a:pt x="1780" y="651"/>
                  <a:pt x="1777" y="651"/>
                </a:cubicBezTo>
                <a:cubicBezTo>
                  <a:pt x="1777" y="651"/>
                  <a:pt x="1777" y="651"/>
                  <a:pt x="1777" y="651"/>
                </a:cubicBezTo>
                <a:cubicBezTo>
                  <a:pt x="1777" y="651"/>
                  <a:pt x="1777" y="651"/>
                  <a:pt x="1777" y="651"/>
                </a:cubicBezTo>
                <a:cubicBezTo>
                  <a:pt x="1776" y="651"/>
                  <a:pt x="1772" y="650"/>
                  <a:pt x="1772" y="646"/>
                </a:cubicBezTo>
                <a:cubicBezTo>
                  <a:pt x="1772" y="644"/>
                  <a:pt x="1782" y="639"/>
                  <a:pt x="1801" y="631"/>
                </a:cubicBezTo>
                <a:cubicBezTo>
                  <a:pt x="1799" y="633"/>
                  <a:pt x="1797" y="635"/>
                  <a:pt x="1796" y="636"/>
                </a:cubicBezTo>
                <a:cubicBezTo>
                  <a:pt x="1796" y="636"/>
                  <a:pt x="1796" y="636"/>
                  <a:pt x="1796" y="636"/>
                </a:cubicBezTo>
                <a:cubicBezTo>
                  <a:pt x="1796" y="636"/>
                  <a:pt x="1796" y="636"/>
                  <a:pt x="1796" y="636"/>
                </a:cubicBezTo>
                <a:cubicBezTo>
                  <a:pt x="1797" y="638"/>
                  <a:pt x="1797" y="638"/>
                  <a:pt x="1797" y="638"/>
                </a:cubicBezTo>
                <a:cubicBezTo>
                  <a:pt x="1798" y="639"/>
                  <a:pt x="1799" y="642"/>
                  <a:pt x="1798" y="645"/>
                </a:cubicBezTo>
                <a:cubicBezTo>
                  <a:pt x="1797" y="648"/>
                  <a:pt x="1793" y="651"/>
                  <a:pt x="1787" y="653"/>
                </a:cubicBezTo>
                <a:cubicBezTo>
                  <a:pt x="1787" y="653"/>
                  <a:pt x="1787" y="653"/>
                  <a:pt x="1787" y="653"/>
                </a:cubicBezTo>
                <a:cubicBezTo>
                  <a:pt x="1787" y="653"/>
                  <a:pt x="1787" y="653"/>
                  <a:pt x="1787" y="653"/>
                </a:cubicBezTo>
                <a:cubicBezTo>
                  <a:pt x="1790" y="662"/>
                  <a:pt x="1799" y="667"/>
                  <a:pt x="1808" y="671"/>
                </a:cubicBezTo>
                <a:cubicBezTo>
                  <a:pt x="1819" y="677"/>
                  <a:pt x="1830" y="682"/>
                  <a:pt x="1830" y="698"/>
                </a:cubicBezTo>
                <a:cubicBezTo>
                  <a:pt x="1830" y="698"/>
                  <a:pt x="1830" y="698"/>
                  <a:pt x="1830" y="698"/>
                </a:cubicBezTo>
                <a:cubicBezTo>
                  <a:pt x="1829" y="699"/>
                  <a:pt x="1828" y="700"/>
                  <a:pt x="1826" y="700"/>
                </a:cubicBezTo>
                <a:cubicBezTo>
                  <a:pt x="1823" y="703"/>
                  <a:pt x="1821" y="705"/>
                  <a:pt x="1817" y="705"/>
                </a:cubicBezTo>
                <a:cubicBezTo>
                  <a:pt x="1799" y="705"/>
                  <a:pt x="1799" y="705"/>
                  <a:pt x="1799" y="705"/>
                </a:cubicBezTo>
                <a:cubicBezTo>
                  <a:pt x="1795" y="705"/>
                  <a:pt x="1784" y="702"/>
                  <a:pt x="1784" y="698"/>
                </a:cubicBezTo>
                <a:cubicBezTo>
                  <a:pt x="1784" y="698"/>
                  <a:pt x="1784" y="698"/>
                  <a:pt x="1784" y="698"/>
                </a:cubicBezTo>
                <a:cubicBezTo>
                  <a:pt x="1784" y="698"/>
                  <a:pt x="1784" y="698"/>
                  <a:pt x="1784" y="698"/>
                </a:cubicBezTo>
                <a:cubicBezTo>
                  <a:pt x="1780" y="698"/>
                  <a:pt x="1779" y="697"/>
                  <a:pt x="1777" y="696"/>
                </a:cubicBezTo>
                <a:cubicBezTo>
                  <a:pt x="1775" y="694"/>
                  <a:pt x="1773" y="693"/>
                  <a:pt x="1769" y="693"/>
                </a:cubicBezTo>
                <a:cubicBezTo>
                  <a:pt x="1760" y="693"/>
                  <a:pt x="1754" y="694"/>
                  <a:pt x="1750" y="696"/>
                </a:cubicBezTo>
                <a:cubicBezTo>
                  <a:pt x="1749" y="697"/>
                  <a:pt x="1749" y="697"/>
                  <a:pt x="1749" y="697"/>
                </a:cubicBezTo>
                <a:cubicBezTo>
                  <a:pt x="1746" y="699"/>
                  <a:pt x="1741" y="703"/>
                  <a:pt x="1738" y="703"/>
                </a:cubicBezTo>
                <a:cubicBezTo>
                  <a:pt x="1729" y="703"/>
                  <a:pt x="1729" y="703"/>
                  <a:pt x="1729" y="703"/>
                </a:cubicBezTo>
                <a:cubicBezTo>
                  <a:pt x="1728" y="703"/>
                  <a:pt x="1728" y="703"/>
                  <a:pt x="1727" y="703"/>
                </a:cubicBezTo>
                <a:cubicBezTo>
                  <a:pt x="1725" y="703"/>
                  <a:pt x="1723" y="702"/>
                  <a:pt x="1721" y="703"/>
                </a:cubicBezTo>
                <a:cubicBezTo>
                  <a:pt x="1721" y="704"/>
                  <a:pt x="1721" y="704"/>
                  <a:pt x="1721" y="705"/>
                </a:cubicBezTo>
                <a:cubicBezTo>
                  <a:pt x="1721" y="706"/>
                  <a:pt x="1721" y="707"/>
                  <a:pt x="1722" y="707"/>
                </a:cubicBezTo>
                <a:cubicBezTo>
                  <a:pt x="1722" y="708"/>
                  <a:pt x="1723" y="708"/>
                  <a:pt x="1723" y="709"/>
                </a:cubicBezTo>
                <a:cubicBezTo>
                  <a:pt x="1721" y="710"/>
                  <a:pt x="1718" y="710"/>
                  <a:pt x="1714" y="711"/>
                </a:cubicBezTo>
                <a:cubicBezTo>
                  <a:pt x="1706" y="712"/>
                  <a:pt x="1696" y="713"/>
                  <a:pt x="1696" y="721"/>
                </a:cubicBezTo>
                <a:cubicBezTo>
                  <a:pt x="1696" y="722"/>
                  <a:pt x="1696" y="722"/>
                  <a:pt x="1696" y="722"/>
                </a:cubicBezTo>
                <a:cubicBezTo>
                  <a:pt x="1697" y="723"/>
                  <a:pt x="1699" y="723"/>
                  <a:pt x="1700" y="723"/>
                </a:cubicBezTo>
                <a:cubicBezTo>
                  <a:pt x="1701" y="723"/>
                  <a:pt x="1701" y="723"/>
                  <a:pt x="1701" y="723"/>
                </a:cubicBezTo>
                <a:cubicBezTo>
                  <a:pt x="1700" y="724"/>
                  <a:pt x="1700" y="724"/>
                  <a:pt x="1701" y="725"/>
                </a:cubicBezTo>
                <a:cubicBezTo>
                  <a:pt x="1701" y="725"/>
                  <a:pt x="1701" y="726"/>
                  <a:pt x="1701" y="727"/>
                </a:cubicBezTo>
                <a:cubicBezTo>
                  <a:pt x="1701" y="731"/>
                  <a:pt x="1699" y="732"/>
                  <a:pt x="1697" y="734"/>
                </a:cubicBezTo>
                <a:cubicBezTo>
                  <a:pt x="1696" y="734"/>
                  <a:pt x="1695" y="735"/>
                  <a:pt x="1694" y="736"/>
                </a:cubicBezTo>
                <a:cubicBezTo>
                  <a:pt x="1694" y="737"/>
                  <a:pt x="1694" y="737"/>
                  <a:pt x="1694" y="737"/>
                </a:cubicBezTo>
                <a:cubicBezTo>
                  <a:pt x="1695" y="737"/>
                  <a:pt x="1695" y="737"/>
                  <a:pt x="1695" y="737"/>
                </a:cubicBezTo>
                <a:cubicBezTo>
                  <a:pt x="1696" y="738"/>
                  <a:pt x="1697" y="738"/>
                  <a:pt x="1698" y="739"/>
                </a:cubicBezTo>
                <a:cubicBezTo>
                  <a:pt x="1701" y="740"/>
                  <a:pt x="1703" y="740"/>
                  <a:pt x="1705" y="743"/>
                </a:cubicBezTo>
                <a:cubicBezTo>
                  <a:pt x="1704" y="744"/>
                  <a:pt x="1704" y="744"/>
                  <a:pt x="1704" y="745"/>
                </a:cubicBezTo>
                <a:cubicBezTo>
                  <a:pt x="1704" y="747"/>
                  <a:pt x="1708" y="750"/>
                  <a:pt x="1710" y="752"/>
                </a:cubicBezTo>
                <a:cubicBezTo>
                  <a:pt x="1711" y="753"/>
                  <a:pt x="1712" y="753"/>
                  <a:pt x="1712" y="754"/>
                </a:cubicBezTo>
                <a:cubicBezTo>
                  <a:pt x="1712" y="754"/>
                  <a:pt x="1711" y="755"/>
                  <a:pt x="1710" y="756"/>
                </a:cubicBezTo>
                <a:cubicBezTo>
                  <a:pt x="1710" y="756"/>
                  <a:pt x="1710" y="756"/>
                  <a:pt x="1710" y="756"/>
                </a:cubicBezTo>
                <a:cubicBezTo>
                  <a:pt x="1714" y="756"/>
                  <a:pt x="1714" y="756"/>
                  <a:pt x="1714" y="756"/>
                </a:cubicBezTo>
                <a:cubicBezTo>
                  <a:pt x="1714" y="756"/>
                  <a:pt x="1714" y="756"/>
                  <a:pt x="1714" y="756"/>
                </a:cubicBezTo>
                <a:cubicBezTo>
                  <a:pt x="1717" y="755"/>
                  <a:pt x="1719" y="757"/>
                  <a:pt x="1722" y="759"/>
                </a:cubicBezTo>
                <a:cubicBezTo>
                  <a:pt x="1724" y="761"/>
                  <a:pt x="1726" y="763"/>
                  <a:pt x="1729" y="763"/>
                </a:cubicBezTo>
                <a:cubicBezTo>
                  <a:pt x="1731" y="763"/>
                  <a:pt x="1733" y="761"/>
                  <a:pt x="1734" y="759"/>
                </a:cubicBezTo>
                <a:cubicBezTo>
                  <a:pt x="1735" y="757"/>
                  <a:pt x="1736" y="755"/>
                  <a:pt x="1739" y="755"/>
                </a:cubicBezTo>
                <a:cubicBezTo>
                  <a:pt x="1742" y="755"/>
                  <a:pt x="1745" y="757"/>
                  <a:pt x="1747" y="759"/>
                </a:cubicBezTo>
                <a:cubicBezTo>
                  <a:pt x="1749" y="761"/>
                  <a:pt x="1751" y="763"/>
                  <a:pt x="1755" y="763"/>
                </a:cubicBezTo>
                <a:cubicBezTo>
                  <a:pt x="1762" y="763"/>
                  <a:pt x="1764" y="761"/>
                  <a:pt x="1767" y="758"/>
                </a:cubicBezTo>
                <a:cubicBezTo>
                  <a:pt x="1768" y="757"/>
                  <a:pt x="1769" y="756"/>
                  <a:pt x="1770" y="755"/>
                </a:cubicBezTo>
                <a:cubicBezTo>
                  <a:pt x="1772" y="757"/>
                  <a:pt x="1774" y="757"/>
                  <a:pt x="1776" y="757"/>
                </a:cubicBezTo>
                <a:cubicBezTo>
                  <a:pt x="1778" y="757"/>
                  <a:pt x="1779" y="757"/>
                  <a:pt x="1780" y="756"/>
                </a:cubicBezTo>
                <a:cubicBezTo>
                  <a:pt x="1780" y="755"/>
                  <a:pt x="1781" y="755"/>
                  <a:pt x="1782" y="755"/>
                </a:cubicBezTo>
                <a:cubicBezTo>
                  <a:pt x="1782" y="757"/>
                  <a:pt x="1782" y="757"/>
                  <a:pt x="1782" y="757"/>
                </a:cubicBezTo>
                <a:cubicBezTo>
                  <a:pt x="1781" y="757"/>
                  <a:pt x="1781" y="757"/>
                  <a:pt x="1781" y="757"/>
                </a:cubicBezTo>
                <a:cubicBezTo>
                  <a:pt x="1781" y="758"/>
                  <a:pt x="1780" y="759"/>
                  <a:pt x="1780" y="761"/>
                </a:cubicBezTo>
                <a:cubicBezTo>
                  <a:pt x="1780" y="763"/>
                  <a:pt x="1780" y="765"/>
                  <a:pt x="1780" y="767"/>
                </a:cubicBezTo>
                <a:cubicBezTo>
                  <a:pt x="1781" y="770"/>
                  <a:pt x="1781" y="773"/>
                  <a:pt x="1781" y="776"/>
                </a:cubicBezTo>
                <a:cubicBezTo>
                  <a:pt x="1781" y="780"/>
                  <a:pt x="1779" y="783"/>
                  <a:pt x="1777" y="785"/>
                </a:cubicBezTo>
                <a:cubicBezTo>
                  <a:pt x="1776" y="787"/>
                  <a:pt x="1774" y="789"/>
                  <a:pt x="1773" y="792"/>
                </a:cubicBezTo>
                <a:cubicBezTo>
                  <a:pt x="1772" y="798"/>
                  <a:pt x="1772" y="798"/>
                  <a:pt x="1772" y="798"/>
                </a:cubicBezTo>
                <a:cubicBezTo>
                  <a:pt x="1771" y="802"/>
                  <a:pt x="1770" y="805"/>
                  <a:pt x="1768" y="811"/>
                </a:cubicBezTo>
                <a:cubicBezTo>
                  <a:pt x="1767" y="812"/>
                  <a:pt x="1767" y="812"/>
                  <a:pt x="1767" y="812"/>
                </a:cubicBezTo>
                <a:cubicBezTo>
                  <a:pt x="1767" y="813"/>
                  <a:pt x="1766" y="813"/>
                  <a:pt x="1766" y="815"/>
                </a:cubicBezTo>
                <a:cubicBezTo>
                  <a:pt x="1766" y="815"/>
                  <a:pt x="1766" y="815"/>
                  <a:pt x="1766" y="815"/>
                </a:cubicBezTo>
                <a:cubicBezTo>
                  <a:pt x="1766" y="815"/>
                  <a:pt x="1766" y="815"/>
                  <a:pt x="1766" y="815"/>
                </a:cubicBezTo>
                <a:cubicBezTo>
                  <a:pt x="1766" y="817"/>
                  <a:pt x="1766" y="817"/>
                  <a:pt x="1766" y="817"/>
                </a:cubicBezTo>
                <a:cubicBezTo>
                  <a:pt x="1765" y="817"/>
                  <a:pt x="1764" y="818"/>
                  <a:pt x="1763" y="818"/>
                </a:cubicBezTo>
                <a:cubicBezTo>
                  <a:pt x="1762" y="819"/>
                  <a:pt x="1761" y="819"/>
                  <a:pt x="1758" y="819"/>
                </a:cubicBezTo>
                <a:cubicBezTo>
                  <a:pt x="1755" y="819"/>
                  <a:pt x="1752" y="818"/>
                  <a:pt x="1750" y="817"/>
                </a:cubicBezTo>
                <a:cubicBezTo>
                  <a:pt x="1747" y="816"/>
                  <a:pt x="1745" y="815"/>
                  <a:pt x="1742" y="815"/>
                </a:cubicBezTo>
                <a:cubicBezTo>
                  <a:pt x="1737" y="815"/>
                  <a:pt x="1734" y="816"/>
                  <a:pt x="1731" y="817"/>
                </a:cubicBezTo>
                <a:cubicBezTo>
                  <a:pt x="1728" y="819"/>
                  <a:pt x="1725" y="820"/>
                  <a:pt x="1720" y="820"/>
                </a:cubicBezTo>
                <a:cubicBezTo>
                  <a:pt x="1711" y="820"/>
                  <a:pt x="1700" y="817"/>
                  <a:pt x="1685" y="811"/>
                </a:cubicBezTo>
                <a:cubicBezTo>
                  <a:pt x="1683" y="810"/>
                  <a:pt x="1681" y="810"/>
                  <a:pt x="1678" y="810"/>
                </a:cubicBezTo>
                <a:cubicBezTo>
                  <a:pt x="1675" y="810"/>
                  <a:pt x="1672" y="810"/>
                  <a:pt x="1671" y="807"/>
                </a:cubicBezTo>
                <a:cubicBezTo>
                  <a:pt x="1670" y="807"/>
                  <a:pt x="1670" y="806"/>
                  <a:pt x="1669" y="806"/>
                </a:cubicBezTo>
                <a:cubicBezTo>
                  <a:pt x="1668" y="804"/>
                  <a:pt x="1666" y="803"/>
                  <a:pt x="1666" y="800"/>
                </a:cubicBezTo>
                <a:cubicBezTo>
                  <a:pt x="1666" y="799"/>
                  <a:pt x="1666" y="799"/>
                  <a:pt x="1666" y="799"/>
                </a:cubicBezTo>
                <a:cubicBezTo>
                  <a:pt x="1659" y="799"/>
                  <a:pt x="1659" y="799"/>
                  <a:pt x="1659" y="799"/>
                </a:cubicBezTo>
                <a:cubicBezTo>
                  <a:pt x="1658" y="799"/>
                  <a:pt x="1658" y="799"/>
                  <a:pt x="1658" y="799"/>
                </a:cubicBezTo>
                <a:cubicBezTo>
                  <a:pt x="1658" y="798"/>
                  <a:pt x="1658" y="798"/>
                  <a:pt x="1658" y="798"/>
                </a:cubicBezTo>
                <a:cubicBezTo>
                  <a:pt x="1658" y="798"/>
                  <a:pt x="1658" y="798"/>
                  <a:pt x="1658" y="798"/>
                </a:cubicBezTo>
                <a:cubicBezTo>
                  <a:pt x="1656" y="799"/>
                  <a:pt x="1655" y="800"/>
                  <a:pt x="1653" y="800"/>
                </a:cubicBezTo>
                <a:cubicBezTo>
                  <a:pt x="1646" y="802"/>
                  <a:pt x="1641" y="804"/>
                  <a:pt x="1641" y="814"/>
                </a:cubicBezTo>
                <a:cubicBezTo>
                  <a:pt x="1641" y="821"/>
                  <a:pt x="1641" y="821"/>
                  <a:pt x="1641" y="821"/>
                </a:cubicBezTo>
                <a:cubicBezTo>
                  <a:pt x="1641" y="822"/>
                  <a:pt x="1638" y="825"/>
                  <a:pt x="1635" y="825"/>
                </a:cubicBezTo>
                <a:cubicBezTo>
                  <a:pt x="1623" y="825"/>
                  <a:pt x="1616" y="818"/>
                  <a:pt x="1608" y="811"/>
                </a:cubicBezTo>
                <a:cubicBezTo>
                  <a:pt x="1601" y="804"/>
                  <a:pt x="1595" y="797"/>
                  <a:pt x="1585" y="797"/>
                </a:cubicBezTo>
                <a:cubicBezTo>
                  <a:pt x="1576" y="797"/>
                  <a:pt x="1576" y="797"/>
                  <a:pt x="1576" y="797"/>
                </a:cubicBezTo>
                <a:cubicBezTo>
                  <a:pt x="1571" y="797"/>
                  <a:pt x="1563" y="790"/>
                  <a:pt x="1563" y="781"/>
                </a:cubicBezTo>
                <a:cubicBezTo>
                  <a:pt x="1563" y="779"/>
                  <a:pt x="1564" y="777"/>
                  <a:pt x="1565" y="775"/>
                </a:cubicBezTo>
                <a:cubicBezTo>
                  <a:pt x="1566" y="773"/>
                  <a:pt x="1567" y="771"/>
                  <a:pt x="1567" y="768"/>
                </a:cubicBezTo>
                <a:cubicBezTo>
                  <a:pt x="1567" y="766"/>
                  <a:pt x="1566" y="765"/>
                  <a:pt x="1565" y="764"/>
                </a:cubicBezTo>
                <a:cubicBezTo>
                  <a:pt x="1564" y="763"/>
                  <a:pt x="1563" y="762"/>
                  <a:pt x="1563" y="761"/>
                </a:cubicBezTo>
                <a:cubicBezTo>
                  <a:pt x="1563" y="758"/>
                  <a:pt x="1564" y="758"/>
                  <a:pt x="1565" y="757"/>
                </a:cubicBezTo>
                <a:cubicBezTo>
                  <a:pt x="1566" y="756"/>
                  <a:pt x="1567" y="754"/>
                  <a:pt x="1568" y="751"/>
                </a:cubicBezTo>
                <a:cubicBezTo>
                  <a:pt x="1568" y="751"/>
                  <a:pt x="1568" y="751"/>
                  <a:pt x="1568" y="751"/>
                </a:cubicBezTo>
                <a:cubicBezTo>
                  <a:pt x="1567" y="751"/>
                  <a:pt x="1567" y="751"/>
                  <a:pt x="1567" y="751"/>
                </a:cubicBezTo>
                <a:cubicBezTo>
                  <a:pt x="1566" y="751"/>
                  <a:pt x="1566" y="752"/>
                  <a:pt x="1565" y="752"/>
                </a:cubicBezTo>
                <a:cubicBezTo>
                  <a:pt x="1564" y="753"/>
                  <a:pt x="1563" y="753"/>
                  <a:pt x="1563" y="753"/>
                </a:cubicBezTo>
                <a:cubicBezTo>
                  <a:pt x="1560" y="753"/>
                  <a:pt x="1560" y="752"/>
                  <a:pt x="1559" y="750"/>
                </a:cubicBezTo>
                <a:cubicBezTo>
                  <a:pt x="1558" y="749"/>
                  <a:pt x="1557" y="747"/>
                  <a:pt x="1553" y="747"/>
                </a:cubicBezTo>
                <a:cubicBezTo>
                  <a:pt x="1550" y="747"/>
                  <a:pt x="1549" y="748"/>
                  <a:pt x="1547" y="749"/>
                </a:cubicBezTo>
                <a:cubicBezTo>
                  <a:pt x="1546" y="751"/>
                  <a:pt x="1544" y="752"/>
                  <a:pt x="1541" y="752"/>
                </a:cubicBezTo>
                <a:cubicBezTo>
                  <a:pt x="1539" y="752"/>
                  <a:pt x="1538" y="752"/>
                  <a:pt x="1537" y="751"/>
                </a:cubicBezTo>
                <a:cubicBezTo>
                  <a:pt x="1535" y="750"/>
                  <a:pt x="1534" y="750"/>
                  <a:pt x="1532" y="750"/>
                </a:cubicBezTo>
                <a:cubicBezTo>
                  <a:pt x="1529" y="750"/>
                  <a:pt x="1527" y="751"/>
                  <a:pt x="1524" y="753"/>
                </a:cubicBezTo>
                <a:cubicBezTo>
                  <a:pt x="1522" y="754"/>
                  <a:pt x="1520" y="755"/>
                  <a:pt x="1519" y="755"/>
                </a:cubicBezTo>
                <a:cubicBezTo>
                  <a:pt x="1518" y="755"/>
                  <a:pt x="1517" y="754"/>
                  <a:pt x="1515" y="753"/>
                </a:cubicBezTo>
                <a:cubicBezTo>
                  <a:pt x="1513" y="752"/>
                  <a:pt x="1511" y="751"/>
                  <a:pt x="1508" y="751"/>
                </a:cubicBezTo>
                <a:cubicBezTo>
                  <a:pt x="1494" y="751"/>
                  <a:pt x="1471" y="761"/>
                  <a:pt x="1459" y="768"/>
                </a:cubicBezTo>
                <a:cubicBezTo>
                  <a:pt x="1458" y="769"/>
                  <a:pt x="1457" y="769"/>
                  <a:pt x="1456" y="770"/>
                </a:cubicBezTo>
                <a:cubicBezTo>
                  <a:pt x="1454" y="772"/>
                  <a:pt x="1452" y="774"/>
                  <a:pt x="1448" y="774"/>
                </a:cubicBezTo>
                <a:cubicBezTo>
                  <a:pt x="1437" y="774"/>
                  <a:pt x="1430" y="771"/>
                  <a:pt x="1422" y="765"/>
                </a:cubicBezTo>
                <a:cubicBezTo>
                  <a:pt x="1422" y="765"/>
                  <a:pt x="1422" y="765"/>
                  <a:pt x="1422" y="765"/>
                </a:cubicBezTo>
                <a:cubicBezTo>
                  <a:pt x="1422" y="765"/>
                  <a:pt x="1422" y="765"/>
                  <a:pt x="1422" y="765"/>
                </a:cubicBezTo>
                <a:cubicBezTo>
                  <a:pt x="1420" y="767"/>
                  <a:pt x="1419" y="769"/>
                  <a:pt x="1418" y="771"/>
                </a:cubicBezTo>
                <a:cubicBezTo>
                  <a:pt x="1417" y="772"/>
                  <a:pt x="1416" y="774"/>
                  <a:pt x="1415" y="775"/>
                </a:cubicBezTo>
                <a:cubicBezTo>
                  <a:pt x="1415" y="776"/>
                  <a:pt x="1415" y="776"/>
                  <a:pt x="1415" y="776"/>
                </a:cubicBezTo>
                <a:cubicBezTo>
                  <a:pt x="1416" y="776"/>
                  <a:pt x="1416" y="776"/>
                  <a:pt x="1416" y="776"/>
                </a:cubicBezTo>
                <a:cubicBezTo>
                  <a:pt x="1412" y="780"/>
                  <a:pt x="1408" y="785"/>
                  <a:pt x="1404" y="790"/>
                </a:cubicBezTo>
                <a:cubicBezTo>
                  <a:pt x="1399" y="796"/>
                  <a:pt x="1394" y="802"/>
                  <a:pt x="1390" y="808"/>
                </a:cubicBezTo>
                <a:cubicBezTo>
                  <a:pt x="1386" y="813"/>
                  <a:pt x="1386" y="817"/>
                  <a:pt x="1386" y="822"/>
                </a:cubicBezTo>
                <a:cubicBezTo>
                  <a:pt x="1386" y="826"/>
                  <a:pt x="1386" y="830"/>
                  <a:pt x="1385" y="835"/>
                </a:cubicBezTo>
                <a:cubicBezTo>
                  <a:pt x="1383" y="841"/>
                  <a:pt x="1375" y="848"/>
                  <a:pt x="1371" y="851"/>
                </a:cubicBezTo>
                <a:cubicBezTo>
                  <a:pt x="1369" y="852"/>
                  <a:pt x="1367" y="853"/>
                  <a:pt x="1364" y="854"/>
                </a:cubicBezTo>
                <a:cubicBezTo>
                  <a:pt x="1360" y="855"/>
                  <a:pt x="1356" y="856"/>
                  <a:pt x="1353" y="860"/>
                </a:cubicBezTo>
                <a:cubicBezTo>
                  <a:pt x="1346" y="872"/>
                  <a:pt x="1336" y="890"/>
                  <a:pt x="1332" y="904"/>
                </a:cubicBezTo>
                <a:cubicBezTo>
                  <a:pt x="1332" y="906"/>
                  <a:pt x="1330" y="908"/>
                  <a:pt x="1328" y="911"/>
                </a:cubicBezTo>
                <a:cubicBezTo>
                  <a:pt x="1326" y="914"/>
                  <a:pt x="1324" y="917"/>
                  <a:pt x="1324" y="921"/>
                </a:cubicBezTo>
                <a:cubicBezTo>
                  <a:pt x="1324" y="928"/>
                  <a:pt x="1325" y="934"/>
                  <a:pt x="1327" y="940"/>
                </a:cubicBezTo>
                <a:cubicBezTo>
                  <a:pt x="1328" y="946"/>
                  <a:pt x="1330" y="952"/>
                  <a:pt x="1330" y="960"/>
                </a:cubicBezTo>
                <a:cubicBezTo>
                  <a:pt x="1330" y="969"/>
                  <a:pt x="1323" y="987"/>
                  <a:pt x="1317" y="991"/>
                </a:cubicBezTo>
                <a:cubicBezTo>
                  <a:pt x="1317" y="991"/>
                  <a:pt x="1317" y="991"/>
                  <a:pt x="1317" y="991"/>
                </a:cubicBezTo>
                <a:cubicBezTo>
                  <a:pt x="1317" y="992"/>
                  <a:pt x="1317" y="992"/>
                  <a:pt x="1317" y="992"/>
                </a:cubicBezTo>
                <a:cubicBezTo>
                  <a:pt x="1318" y="993"/>
                  <a:pt x="1318" y="995"/>
                  <a:pt x="1319" y="996"/>
                </a:cubicBezTo>
                <a:cubicBezTo>
                  <a:pt x="1320" y="998"/>
                  <a:pt x="1321" y="1000"/>
                  <a:pt x="1321" y="1003"/>
                </a:cubicBezTo>
                <a:cubicBezTo>
                  <a:pt x="1321" y="1004"/>
                  <a:pt x="1322" y="1006"/>
                  <a:pt x="1322" y="1007"/>
                </a:cubicBezTo>
                <a:cubicBezTo>
                  <a:pt x="1322" y="1009"/>
                  <a:pt x="1323" y="1011"/>
                  <a:pt x="1323" y="1014"/>
                </a:cubicBezTo>
                <a:cubicBezTo>
                  <a:pt x="1322" y="1014"/>
                  <a:pt x="1322" y="1014"/>
                  <a:pt x="1322" y="1014"/>
                </a:cubicBezTo>
                <a:cubicBezTo>
                  <a:pt x="1322" y="1014"/>
                  <a:pt x="1322" y="1014"/>
                  <a:pt x="1322" y="1014"/>
                </a:cubicBezTo>
                <a:cubicBezTo>
                  <a:pt x="1323" y="1016"/>
                  <a:pt x="1324" y="1016"/>
                  <a:pt x="1324" y="1017"/>
                </a:cubicBezTo>
                <a:cubicBezTo>
                  <a:pt x="1325" y="1018"/>
                  <a:pt x="1325" y="1018"/>
                  <a:pt x="1326" y="1019"/>
                </a:cubicBezTo>
                <a:cubicBezTo>
                  <a:pt x="1326" y="1019"/>
                  <a:pt x="1326" y="1019"/>
                  <a:pt x="1326" y="1019"/>
                </a:cubicBezTo>
                <a:cubicBezTo>
                  <a:pt x="1326" y="1021"/>
                  <a:pt x="1344" y="1038"/>
                  <a:pt x="1345" y="1039"/>
                </a:cubicBezTo>
                <a:cubicBezTo>
                  <a:pt x="1350" y="1044"/>
                  <a:pt x="1352" y="1049"/>
                  <a:pt x="1355" y="1055"/>
                </a:cubicBezTo>
                <a:cubicBezTo>
                  <a:pt x="1357" y="1058"/>
                  <a:pt x="1358" y="1061"/>
                  <a:pt x="1360" y="1064"/>
                </a:cubicBezTo>
                <a:cubicBezTo>
                  <a:pt x="1365" y="1073"/>
                  <a:pt x="1376" y="1082"/>
                  <a:pt x="1385" y="1089"/>
                </a:cubicBezTo>
                <a:cubicBezTo>
                  <a:pt x="1388" y="1091"/>
                  <a:pt x="1391" y="1093"/>
                  <a:pt x="1393" y="1095"/>
                </a:cubicBezTo>
                <a:cubicBezTo>
                  <a:pt x="1394" y="1096"/>
                  <a:pt x="1399" y="1098"/>
                  <a:pt x="1402" y="1098"/>
                </a:cubicBezTo>
                <a:cubicBezTo>
                  <a:pt x="1409" y="1098"/>
                  <a:pt x="1413" y="1096"/>
                  <a:pt x="1417" y="1094"/>
                </a:cubicBezTo>
                <a:cubicBezTo>
                  <a:pt x="1421" y="1092"/>
                  <a:pt x="1426" y="1091"/>
                  <a:pt x="1432" y="1091"/>
                </a:cubicBezTo>
                <a:cubicBezTo>
                  <a:pt x="1435" y="1091"/>
                  <a:pt x="1439" y="1092"/>
                  <a:pt x="1442" y="1094"/>
                </a:cubicBezTo>
                <a:cubicBezTo>
                  <a:pt x="1445" y="1095"/>
                  <a:pt x="1448" y="1096"/>
                  <a:pt x="1450" y="1096"/>
                </a:cubicBezTo>
                <a:cubicBezTo>
                  <a:pt x="1453" y="1096"/>
                  <a:pt x="1455" y="1094"/>
                  <a:pt x="1456" y="1093"/>
                </a:cubicBezTo>
                <a:cubicBezTo>
                  <a:pt x="1458" y="1092"/>
                  <a:pt x="1459" y="1090"/>
                  <a:pt x="1461" y="1090"/>
                </a:cubicBezTo>
                <a:cubicBezTo>
                  <a:pt x="1464" y="1088"/>
                  <a:pt x="1468" y="1087"/>
                  <a:pt x="1471" y="1085"/>
                </a:cubicBezTo>
                <a:cubicBezTo>
                  <a:pt x="1480" y="1081"/>
                  <a:pt x="1489" y="1077"/>
                  <a:pt x="1499" y="1077"/>
                </a:cubicBezTo>
                <a:cubicBezTo>
                  <a:pt x="1506" y="1077"/>
                  <a:pt x="1510" y="1083"/>
                  <a:pt x="1513" y="1089"/>
                </a:cubicBezTo>
                <a:cubicBezTo>
                  <a:pt x="1516" y="1093"/>
                  <a:pt x="1519" y="1098"/>
                  <a:pt x="1523" y="1098"/>
                </a:cubicBezTo>
                <a:cubicBezTo>
                  <a:pt x="1536" y="1098"/>
                  <a:pt x="1536" y="1098"/>
                  <a:pt x="1536" y="1098"/>
                </a:cubicBezTo>
                <a:cubicBezTo>
                  <a:pt x="1545" y="1098"/>
                  <a:pt x="1551" y="1102"/>
                  <a:pt x="1555" y="1112"/>
                </a:cubicBezTo>
                <a:cubicBezTo>
                  <a:pt x="1552" y="1115"/>
                  <a:pt x="1552" y="1125"/>
                  <a:pt x="1552" y="1129"/>
                </a:cubicBezTo>
                <a:cubicBezTo>
                  <a:pt x="1552" y="1130"/>
                  <a:pt x="1552" y="1130"/>
                  <a:pt x="1552" y="1130"/>
                </a:cubicBezTo>
                <a:cubicBezTo>
                  <a:pt x="1552" y="1131"/>
                  <a:pt x="1552" y="1132"/>
                  <a:pt x="1552" y="1134"/>
                </a:cubicBezTo>
                <a:cubicBezTo>
                  <a:pt x="1550" y="1136"/>
                  <a:pt x="1545" y="1145"/>
                  <a:pt x="1545" y="1149"/>
                </a:cubicBezTo>
                <a:cubicBezTo>
                  <a:pt x="1545" y="1160"/>
                  <a:pt x="1554" y="1170"/>
                  <a:pt x="1562" y="1179"/>
                </a:cubicBezTo>
                <a:cubicBezTo>
                  <a:pt x="1565" y="1182"/>
                  <a:pt x="1569" y="1186"/>
                  <a:pt x="1571" y="1189"/>
                </a:cubicBezTo>
                <a:cubicBezTo>
                  <a:pt x="1573" y="1192"/>
                  <a:pt x="1574" y="1196"/>
                  <a:pt x="1574" y="1201"/>
                </a:cubicBezTo>
                <a:cubicBezTo>
                  <a:pt x="1575" y="1204"/>
                  <a:pt x="1575" y="1207"/>
                  <a:pt x="1576" y="1210"/>
                </a:cubicBezTo>
                <a:cubicBezTo>
                  <a:pt x="1577" y="1213"/>
                  <a:pt x="1577" y="1213"/>
                  <a:pt x="1577" y="1213"/>
                </a:cubicBezTo>
                <a:cubicBezTo>
                  <a:pt x="1580" y="1220"/>
                  <a:pt x="1582" y="1226"/>
                  <a:pt x="1584" y="1239"/>
                </a:cubicBezTo>
                <a:cubicBezTo>
                  <a:pt x="1584" y="1242"/>
                  <a:pt x="1585" y="1244"/>
                  <a:pt x="1586" y="1247"/>
                </a:cubicBezTo>
                <a:cubicBezTo>
                  <a:pt x="1587" y="1250"/>
                  <a:pt x="1588" y="1253"/>
                  <a:pt x="1588" y="1258"/>
                </a:cubicBezTo>
                <a:cubicBezTo>
                  <a:pt x="1588" y="1267"/>
                  <a:pt x="1584" y="1273"/>
                  <a:pt x="1579" y="1279"/>
                </a:cubicBezTo>
                <a:cubicBezTo>
                  <a:pt x="1574" y="1286"/>
                  <a:pt x="1568" y="1294"/>
                  <a:pt x="1568" y="1307"/>
                </a:cubicBezTo>
                <a:cubicBezTo>
                  <a:pt x="1568" y="1327"/>
                  <a:pt x="1575" y="1340"/>
                  <a:pt x="1583" y="1353"/>
                </a:cubicBezTo>
                <a:cubicBezTo>
                  <a:pt x="1586" y="1360"/>
                  <a:pt x="1586" y="1360"/>
                  <a:pt x="1586" y="1360"/>
                </a:cubicBezTo>
                <a:cubicBezTo>
                  <a:pt x="1587" y="1362"/>
                  <a:pt x="1588" y="1363"/>
                  <a:pt x="1589" y="1364"/>
                </a:cubicBezTo>
                <a:cubicBezTo>
                  <a:pt x="1591" y="1367"/>
                  <a:pt x="1592" y="1368"/>
                  <a:pt x="1592" y="1371"/>
                </a:cubicBezTo>
                <a:cubicBezTo>
                  <a:pt x="1592" y="1381"/>
                  <a:pt x="1592" y="1381"/>
                  <a:pt x="1592" y="1381"/>
                </a:cubicBezTo>
                <a:cubicBezTo>
                  <a:pt x="1592" y="1407"/>
                  <a:pt x="1603" y="1426"/>
                  <a:pt x="1613" y="1444"/>
                </a:cubicBezTo>
                <a:cubicBezTo>
                  <a:pt x="1614" y="1447"/>
                  <a:pt x="1616" y="1450"/>
                  <a:pt x="1618" y="1453"/>
                </a:cubicBezTo>
                <a:cubicBezTo>
                  <a:pt x="1618" y="1454"/>
                  <a:pt x="1619" y="1456"/>
                  <a:pt x="1620" y="1458"/>
                </a:cubicBezTo>
                <a:cubicBezTo>
                  <a:pt x="1623" y="1462"/>
                  <a:pt x="1628" y="1468"/>
                  <a:pt x="1628" y="1472"/>
                </a:cubicBezTo>
                <a:cubicBezTo>
                  <a:pt x="1628" y="1476"/>
                  <a:pt x="1627" y="1478"/>
                  <a:pt x="1624" y="1481"/>
                </a:cubicBezTo>
                <a:cubicBezTo>
                  <a:pt x="1624" y="1482"/>
                  <a:pt x="1624" y="1482"/>
                  <a:pt x="1624" y="1482"/>
                </a:cubicBezTo>
                <a:cubicBezTo>
                  <a:pt x="1624" y="1482"/>
                  <a:pt x="1624" y="1482"/>
                  <a:pt x="1624" y="1482"/>
                </a:cubicBezTo>
                <a:cubicBezTo>
                  <a:pt x="1626" y="1485"/>
                  <a:pt x="1629" y="1492"/>
                  <a:pt x="1629" y="1499"/>
                </a:cubicBezTo>
                <a:cubicBezTo>
                  <a:pt x="1629" y="1500"/>
                  <a:pt x="1629" y="1500"/>
                  <a:pt x="1629" y="1500"/>
                </a:cubicBezTo>
                <a:cubicBezTo>
                  <a:pt x="1630" y="1500"/>
                  <a:pt x="1630" y="1500"/>
                  <a:pt x="1630" y="1500"/>
                </a:cubicBezTo>
                <a:cubicBezTo>
                  <a:pt x="1630" y="1499"/>
                  <a:pt x="1630" y="1499"/>
                  <a:pt x="1630" y="1499"/>
                </a:cubicBezTo>
                <a:cubicBezTo>
                  <a:pt x="1631" y="1499"/>
                  <a:pt x="1632" y="1498"/>
                  <a:pt x="1633" y="1498"/>
                </a:cubicBezTo>
                <a:cubicBezTo>
                  <a:pt x="1634" y="1501"/>
                  <a:pt x="1637" y="1505"/>
                  <a:pt x="1643" y="1505"/>
                </a:cubicBezTo>
                <a:cubicBezTo>
                  <a:pt x="1648" y="1505"/>
                  <a:pt x="1653" y="1502"/>
                  <a:pt x="1658" y="1500"/>
                </a:cubicBezTo>
                <a:cubicBezTo>
                  <a:pt x="1663" y="1497"/>
                  <a:pt x="1668" y="1494"/>
                  <a:pt x="1675" y="1494"/>
                </a:cubicBezTo>
                <a:cubicBezTo>
                  <a:pt x="1677" y="1494"/>
                  <a:pt x="1678" y="1495"/>
                  <a:pt x="1679" y="1496"/>
                </a:cubicBezTo>
                <a:cubicBezTo>
                  <a:pt x="1680" y="1497"/>
                  <a:pt x="1682" y="1498"/>
                  <a:pt x="1684" y="1498"/>
                </a:cubicBezTo>
                <a:cubicBezTo>
                  <a:pt x="1685" y="1498"/>
                  <a:pt x="1686" y="1497"/>
                  <a:pt x="1688" y="1497"/>
                </a:cubicBezTo>
                <a:cubicBezTo>
                  <a:pt x="1689" y="1496"/>
                  <a:pt x="1691" y="1496"/>
                  <a:pt x="1693" y="1495"/>
                </a:cubicBezTo>
                <a:cubicBezTo>
                  <a:pt x="1693" y="1495"/>
                  <a:pt x="1693" y="1495"/>
                  <a:pt x="1693" y="1495"/>
                </a:cubicBezTo>
                <a:cubicBezTo>
                  <a:pt x="1693" y="1495"/>
                  <a:pt x="1693" y="1495"/>
                  <a:pt x="1693" y="1495"/>
                </a:cubicBezTo>
                <a:cubicBezTo>
                  <a:pt x="1694" y="1491"/>
                  <a:pt x="1697" y="1491"/>
                  <a:pt x="1700" y="1491"/>
                </a:cubicBezTo>
                <a:cubicBezTo>
                  <a:pt x="1703" y="1490"/>
                  <a:pt x="1705" y="1490"/>
                  <a:pt x="1707" y="1489"/>
                </a:cubicBezTo>
                <a:cubicBezTo>
                  <a:pt x="1717" y="1484"/>
                  <a:pt x="1721" y="1477"/>
                  <a:pt x="1726" y="1469"/>
                </a:cubicBezTo>
                <a:cubicBezTo>
                  <a:pt x="1727" y="1466"/>
                  <a:pt x="1729" y="1464"/>
                  <a:pt x="1731" y="1461"/>
                </a:cubicBezTo>
                <a:cubicBezTo>
                  <a:pt x="1733" y="1458"/>
                  <a:pt x="1734" y="1455"/>
                  <a:pt x="1736" y="1452"/>
                </a:cubicBezTo>
                <a:cubicBezTo>
                  <a:pt x="1737" y="1447"/>
                  <a:pt x="1739" y="1443"/>
                  <a:pt x="1743" y="1438"/>
                </a:cubicBezTo>
                <a:cubicBezTo>
                  <a:pt x="1743" y="1438"/>
                  <a:pt x="1744" y="1437"/>
                  <a:pt x="1745" y="1437"/>
                </a:cubicBezTo>
                <a:cubicBezTo>
                  <a:pt x="1749" y="1432"/>
                  <a:pt x="1755" y="1425"/>
                  <a:pt x="1755" y="1416"/>
                </a:cubicBezTo>
                <a:cubicBezTo>
                  <a:pt x="1755" y="1414"/>
                  <a:pt x="1754" y="1411"/>
                  <a:pt x="1751" y="1409"/>
                </a:cubicBezTo>
                <a:cubicBezTo>
                  <a:pt x="1754" y="1401"/>
                  <a:pt x="1759" y="1397"/>
                  <a:pt x="1766" y="1393"/>
                </a:cubicBezTo>
                <a:cubicBezTo>
                  <a:pt x="1767" y="1393"/>
                  <a:pt x="1768" y="1393"/>
                  <a:pt x="1769" y="1393"/>
                </a:cubicBezTo>
                <a:cubicBezTo>
                  <a:pt x="1771" y="1393"/>
                  <a:pt x="1774" y="1392"/>
                  <a:pt x="1775" y="1391"/>
                </a:cubicBezTo>
                <a:cubicBezTo>
                  <a:pt x="1777" y="1387"/>
                  <a:pt x="1778" y="1374"/>
                  <a:pt x="1778" y="1370"/>
                </a:cubicBezTo>
                <a:cubicBezTo>
                  <a:pt x="1778" y="1364"/>
                  <a:pt x="1775" y="1360"/>
                  <a:pt x="1773" y="1356"/>
                </a:cubicBezTo>
                <a:cubicBezTo>
                  <a:pt x="1771" y="1353"/>
                  <a:pt x="1769" y="1350"/>
                  <a:pt x="1769" y="1347"/>
                </a:cubicBezTo>
                <a:cubicBezTo>
                  <a:pt x="1769" y="1343"/>
                  <a:pt x="1774" y="1337"/>
                  <a:pt x="1778" y="1337"/>
                </a:cubicBezTo>
                <a:cubicBezTo>
                  <a:pt x="1778" y="1337"/>
                  <a:pt x="1778" y="1337"/>
                  <a:pt x="1778" y="1337"/>
                </a:cubicBezTo>
                <a:cubicBezTo>
                  <a:pt x="1778" y="1336"/>
                  <a:pt x="1778" y="1336"/>
                  <a:pt x="1778" y="1336"/>
                </a:cubicBezTo>
                <a:cubicBezTo>
                  <a:pt x="1780" y="1326"/>
                  <a:pt x="1790" y="1321"/>
                  <a:pt x="1800" y="1316"/>
                </a:cubicBezTo>
                <a:cubicBezTo>
                  <a:pt x="1811" y="1310"/>
                  <a:pt x="1822" y="1304"/>
                  <a:pt x="1822" y="1289"/>
                </a:cubicBezTo>
                <a:cubicBezTo>
                  <a:pt x="1822" y="1286"/>
                  <a:pt x="1822" y="1284"/>
                  <a:pt x="1820" y="1282"/>
                </a:cubicBezTo>
                <a:cubicBezTo>
                  <a:pt x="1820" y="1277"/>
                  <a:pt x="1820" y="1272"/>
                  <a:pt x="1821" y="1268"/>
                </a:cubicBezTo>
                <a:cubicBezTo>
                  <a:pt x="1821" y="1265"/>
                  <a:pt x="1821" y="1263"/>
                  <a:pt x="1821" y="1260"/>
                </a:cubicBezTo>
                <a:cubicBezTo>
                  <a:pt x="1821" y="1252"/>
                  <a:pt x="1821" y="1252"/>
                  <a:pt x="1821" y="1252"/>
                </a:cubicBezTo>
                <a:cubicBezTo>
                  <a:pt x="1821" y="1251"/>
                  <a:pt x="1821" y="1251"/>
                  <a:pt x="1821" y="1251"/>
                </a:cubicBezTo>
                <a:cubicBezTo>
                  <a:pt x="1822" y="1250"/>
                  <a:pt x="1823" y="1248"/>
                  <a:pt x="1823" y="1246"/>
                </a:cubicBezTo>
                <a:cubicBezTo>
                  <a:pt x="1823" y="1243"/>
                  <a:pt x="1821" y="1240"/>
                  <a:pt x="1819" y="1237"/>
                </a:cubicBezTo>
                <a:cubicBezTo>
                  <a:pt x="1815" y="1233"/>
                  <a:pt x="1812" y="1228"/>
                  <a:pt x="1812" y="1222"/>
                </a:cubicBezTo>
                <a:cubicBezTo>
                  <a:pt x="1812" y="1217"/>
                  <a:pt x="1811" y="1213"/>
                  <a:pt x="1811" y="1209"/>
                </a:cubicBezTo>
                <a:cubicBezTo>
                  <a:pt x="1810" y="1205"/>
                  <a:pt x="1809" y="1201"/>
                  <a:pt x="1809" y="1196"/>
                </a:cubicBezTo>
                <a:cubicBezTo>
                  <a:pt x="1809" y="1190"/>
                  <a:pt x="1812" y="1187"/>
                  <a:pt x="1814" y="1184"/>
                </a:cubicBezTo>
                <a:cubicBezTo>
                  <a:pt x="1816" y="1181"/>
                  <a:pt x="1818" y="1179"/>
                  <a:pt x="1819" y="1175"/>
                </a:cubicBezTo>
                <a:cubicBezTo>
                  <a:pt x="1825" y="1153"/>
                  <a:pt x="1838" y="1144"/>
                  <a:pt x="1852" y="1133"/>
                </a:cubicBezTo>
                <a:cubicBezTo>
                  <a:pt x="1858" y="1129"/>
                  <a:pt x="1863" y="1125"/>
                  <a:pt x="1869" y="1120"/>
                </a:cubicBezTo>
                <a:cubicBezTo>
                  <a:pt x="1877" y="1113"/>
                  <a:pt x="1881" y="1106"/>
                  <a:pt x="1886" y="1097"/>
                </a:cubicBezTo>
                <a:cubicBezTo>
                  <a:pt x="1888" y="1093"/>
                  <a:pt x="1891" y="1088"/>
                  <a:pt x="1894" y="1084"/>
                </a:cubicBezTo>
                <a:cubicBezTo>
                  <a:pt x="1896" y="1080"/>
                  <a:pt x="1915" y="1050"/>
                  <a:pt x="1915" y="1026"/>
                </a:cubicBezTo>
                <a:cubicBezTo>
                  <a:pt x="1915" y="1024"/>
                  <a:pt x="1915" y="1023"/>
                  <a:pt x="1914" y="1022"/>
                </a:cubicBezTo>
                <a:cubicBezTo>
                  <a:pt x="1914" y="1021"/>
                  <a:pt x="1914" y="1021"/>
                  <a:pt x="1913" y="1020"/>
                </a:cubicBezTo>
                <a:cubicBezTo>
                  <a:pt x="1913" y="1020"/>
                  <a:pt x="1913" y="1020"/>
                  <a:pt x="1913" y="1020"/>
                </a:cubicBezTo>
                <a:cubicBezTo>
                  <a:pt x="1913" y="1020"/>
                  <a:pt x="1913" y="1020"/>
                  <a:pt x="1913" y="1020"/>
                </a:cubicBezTo>
                <a:cubicBezTo>
                  <a:pt x="1909" y="1021"/>
                  <a:pt x="1904" y="1023"/>
                  <a:pt x="1900" y="1024"/>
                </a:cubicBezTo>
                <a:cubicBezTo>
                  <a:pt x="1893" y="1027"/>
                  <a:pt x="1886" y="1029"/>
                  <a:pt x="1879" y="1031"/>
                </a:cubicBezTo>
                <a:cubicBezTo>
                  <a:pt x="1877" y="1031"/>
                  <a:pt x="1875" y="1031"/>
                  <a:pt x="1874" y="1030"/>
                </a:cubicBezTo>
                <a:cubicBezTo>
                  <a:pt x="1872" y="1030"/>
                  <a:pt x="1869" y="1029"/>
                  <a:pt x="1867" y="1031"/>
                </a:cubicBezTo>
                <a:cubicBezTo>
                  <a:pt x="1865" y="1031"/>
                  <a:pt x="1864" y="1032"/>
                  <a:pt x="1863" y="1034"/>
                </a:cubicBezTo>
                <a:cubicBezTo>
                  <a:pt x="1861" y="1035"/>
                  <a:pt x="1860" y="1036"/>
                  <a:pt x="1858" y="1036"/>
                </a:cubicBezTo>
                <a:cubicBezTo>
                  <a:pt x="1854" y="1036"/>
                  <a:pt x="1852" y="1032"/>
                  <a:pt x="1849" y="1028"/>
                </a:cubicBezTo>
                <a:cubicBezTo>
                  <a:pt x="1848" y="1026"/>
                  <a:pt x="1846" y="1023"/>
                  <a:pt x="1845" y="1022"/>
                </a:cubicBezTo>
                <a:cubicBezTo>
                  <a:pt x="1846" y="1020"/>
                  <a:pt x="1846" y="1018"/>
                  <a:pt x="1846" y="1016"/>
                </a:cubicBezTo>
                <a:cubicBezTo>
                  <a:pt x="1845" y="1015"/>
                  <a:pt x="1845" y="1013"/>
                  <a:pt x="1845" y="1011"/>
                </a:cubicBezTo>
                <a:cubicBezTo>
                  <a:pt x="1845" y="1011"/>
                  <a:pt x="1845" y="1011"/>
                  <a:pt x="1845" y="1011"/>
                </a:cubicBezTo>
                <a:cubicBezTo>
                  <a:pt x="1844" y="1011"/>
                  <a:pt x="1844" y="1011"/>
                  <a:pt x="1844" y="1011"/>
                </a:cubicBezTo>
                <a:cubicBezTo>
                  <a:pt x="1838" y="1011"/>
                  <a:pt x="1835" y="1005"/>
                  <a:pt x="1832" y="999"/>
                </a:cubicBezTo>
                <a:cubicBezTo>
                  <a:pt x="1830" y="996"/>
                  <a:pt x="1829" y="994"/>
                  <a:pt x="1827" y="992"/>
                </a:cubicBezTo>
                <a:cubicBezTo>
                  <a:pt x="1825" y="990"/>
                  <a:pt x="1823" y="989"/>
                  <a:pt x="1821" y="988"/>
                </a:cubicBezTo>
                <a:cubicBezTo>
                  <a:pt x="1818" y="986"/>
                  <a:pt x="1816" y="985"/>
                  <a:pt x="1813" y="982"/>
                </a:cubicBezTo>
                <a:cubicBezTo>
                  <a:pt x="1810" y="979"/>
                  <a:pt x="1810" y="975"/>
                  <a:pt x="1809" y="971"/>
                </a:cubicBezTo>
                <a:cubicBezTo>
                  <a:pt x="1809" y="967"/>
                  <a:pt x="1808" y="962"/>
                  <a:pt x="1805" y="958"/>
                </a:cubicBezTo>
                <a:cubicBezTo>
                  <a:pt x="1804" y="955"/>
                  <a:pt x="1801" y="953"/>
                  <a:pt x="1799" y="952"/>
                </a:cubicBezTo>
                <a:cubicBezTo>
                  <a:pt x="1796" y="949"/>
                  <a:pt x="1793" y="947"/>
                  <a:pt x="1792" y="942"/>
                </a:cubicBezTo>
                <a:cubicBezTo>
                  <a:pt x="1792" y="923"/>
                  <a:pt x="1792" y="923"/>
                  <a:pt x="1792" y="923"/>
                </a:cubicBezTo>
                <a:cubicBezTo>
                  <a:pt x="1792" y="923"/>
                  <a:pt x="1792" y="923"/>
                  <a:pt x="1792" y="923"/>
                </a:cubicBezTo>
                <a:cubicBezTo>
                  <a:pt x="1787" y="919"/>
                  <a:pt x="1778" y="904"/>
                  <a:pt x="1779" y="897"/>
                </a:cubicBezTo>
                <a:cubicBezTo>
                  <a:pt x="1779" y="897"/>
                  <a:pt x="1779" y="897"/>
                  <a:pt x="1779" y="897"/>
                </a:cubicBezTo>
                <a:cubicBezTo>
                  <a:pt x="1779" y="896"/>
                  <a:pt x="1779" y="896"/>
                  <a:pt x="1779" y="896"/>
                </a:cubicBezTo>
                <a:cubicBezTo>
                  <a:pt x="1750" y="838"/>
                  <a:pt x="1750" y="838"/>
                  <a:pt x="1750" y="838"/>
                </a:cubicBezTo>
                <a:cubicBezTo>
                  <a:pt x="1750" y="833"/>
                  <a:pt x="1750" y="833"/>
                  <a:pt x="1750" y="833"/>
                </a:cubicBezTo>
                <a:cubicBezTo>
                  <a:pt x="1752" y="835"/>
                  <a:pt x="1753" y="838"/>
                  <a:pt x="1755" y="841"/>
                </a:cubicBezTo>
                <a:cubicBezTo>
                  <a:pt x="1759" y="848"/>
                  <a:pt x="1762" y="854"/>
                  <a:pt x="1767" y="855"/>
                </a:cubicBezTo>
                <a:cubicBezTo>
                  <a:pt x="1767" y="855"/>
                  <a:pt x="1767" y="855"/>
                  <a:pt x="1767" y="855"/>
                </a:cubicBezTo>
                <a:cubicBezTo>
                  <a:pt x="1767" y="855"/>
                  <a:pt x="1767" y="855"/>
                  <a:pt x="1767" y="855"/>
                </a:cubicBezTo>
                <a:cubicBezTo>
                  <a:pt x="1767" y="854"/>
                  <a:pt x="1768" y="852"/>
                  <a:pt x="1769" y="849"/>
                </a:cubicBezTo>
                <a:cubicBezTo>
                  <a:pt x="1770" y="847"/>
                  <a:pt x="1770" y="845"/>
                  <a:pt x="1771" y="843"/>
                </a:cubicBezTo>
                <a:cubicBezTo>
                  <a:pt x="1771" y="845"/>
                  <a:pt x="1770" y="847"/>
                  <a:pt x="1770" y="848"/>
                </a:cubicBezTo>
                <a:cubicBezTo>
                  <a:pt x="1770" y="849"/>
                  <a:pt x="1771" y="851"/>
                  <a:pt x="1774" y="854"/>
                </a:cubicBezTo>
                <a:cubicBezTo>
                  <a:pt x="1774" y="855"/>
                  <a:pt x="1775" y="856"/>
                  <a:pt x="1776" y="857"/>
                </a:cubicBezTo>
                <a:cubicBezTo>
                  <a:pt x="1779" y="863"/>
                  <a:pt x="1782" y="868"/>
                  <a:pt x="1786" y="874"/>
                </a:cubicBezTo>
                <a:cubicBezTo>
                  <a:pt x="1787" y="876"/>
                  <a:pt x="1787" y="876"/>
                  <a:pt x="1787" y="876"/>
                </a:cubicBezTo>
                <a:cubicBezTo>
                  <a:pt x="1788" y="878"/>
                  <a:pt x="1789" y="880"/>
                  <a:pt x="1790" y="883"/>
                </a:cubicBezTo>
                <a:cubicBezTo>
                  <a:pt x="1790" y="883"/>
                  <a:pt x="1790" y="885"/>
                  <a:pt x="1790" y="886"/>
                </a:cubicBezTo>
                <a:cubicBezTo>
                  <a:pt x="1791" y="888"/>
                  <a:pt x="1791" y="891"/>
                  <a:pt x="1792" y="892"/>
                </a:cubicBezTo>
                <a:cubicBezTo>
                  <a:pt x="1793" y="893"/>
                  <a:pt x="1794" y="893"/>
                  <a:pt x="1795" y="893"/>
                </a:cubicBezTo>
                <a:cubicBezTo>
                  <a:pt x="1796" y="893"/>
                  <a:pt x="1798" y="893"/>
                  <a:pt x="1798" y="894"/>
                </a:cubicBezTo>
                <a:cubicBezTo>
                  <a:pt x="1799" y="895"/>
                  <a:pt x="1799" y="895"/>
                  <a:pt x="1799" y="895"/>
                </a:cubicBezTo>
                <a:cubicBezTo>
                  <a:pt x="1800" y="896"/>
                  <a:pt x="1801" y="898"/>
                  <a:pt x="1802" y="899"/>
                </a:cubicBezTo>
                <a:cubicBezTo>
                  <a:pt x="1803" y="901"/>
                  <a:pt x="1804" y="903"/>
                  <a:pt x="1805" y="905"/>
                </a:cubicBezTo>
                <a:cubicBezTo>
                  <a:pt x="1806" y="908"/>
                  <a:pt x="1807" y="910"/>
                  <a:pt x="1807" y="915"/>
                </a:cubicBezTo>
                <a:cubicBezTo>
                  <a:pt x="1807" y="927"/>
                  <a:pt x="1810" y="935"/>
                  <a:pt x="1821" y="938"/>
                </a:cubicBezTo>
                <a:cubicBezTo>
                  <a:pt x="1821" y="947"/>
                  <a:pt x="1830" y="959"/>
                  <a:pt x="1833" y="963"/>
                </a:cubicBezTo>
                <a:cubicBezTo>
                  <a:pt x="1834" y="964"/>
                  <a:pt x="1834" y="964"/>
                  <a:pt x="1835" y="965"/>
                </a:cubicBezTo>
                <a:cubicBezTo>
                  <a:pt x="1838" y="968"/>
                  <a:pt x="1841" y="971"/>
                  <a:pt x="1840" y="977"/>
                </a:cubicBezTo>
                <a:cubicBezTo>
                  <a:pt x="1840" y="978"/>
                  <a:pt x="1840" y="978"/>
                  <a:pt x="1839" y="979"/>
                </a:cubicBezTo>
                <a:cubicBezTo>
                  <a:pt x="1839" y="982"/>
                  <a:pt x="1838" y="985"/>
                  <a:pt x="1839" y="987"/>
                </a:cubicBezTo>
                <a:cubicBezTo>
                  <a:pt x="1839" y="987"/>
                  <a:pt x="1840" y="987"/>
                  <a:pt x="1840" y="988"/>
                </a:cubicBezTo>
                <a:cubicBezTo>
                  <a:pt x="1840" y="993"/>
                  <a:pt x="1842" y="999"/>
                  <a:pt x="1846" y="1005"/>
                </a:cubicBezTo>
                <a:cubicBezTo>
                  <a:pt x="1847" y="1007"/>
                  <a:pt x="1846" y="1008"/>
                  <a:pt x="1846" y="1008"/>
                </a:cubicBezTo>
                <a:cubicBezTo>
                  <a:pt x="1846" y="1009"/>
                  <a:pt x="1846" y="1009"/>
                  <a:pt x="1846" y="1009"/>
                </a:cubicBezTo>
                <a:cubicBezTo>
                  <a:pt x="1846" y="1009"/>
                  <a:pt x="1846" y="1009"/>
                  <a:pt x="1846" y="1009"/>
                </a:cubicBezTo>
                <a:cubicBezTo>
                  <a:pt x="1846" y="1009"/>
                  <a:pt x="1855" y="1014"/>
                  <a:pt x="1856" y="1014"/>
                </a:cubicBezTo>
                <a:cubicBezTo>
                  <a:pt x="1856" y="1014"/>
                  <a:pt x="1856" y="1014"/>
                  <a:pt x="1856" y="1014"/>
                </a:cubicBezTo>
                <a:cubicBezTo>
                  <a:pt x="1856" y="1014"/>
                  <a:pt x="1856" y="1014"/>
                  <a:pt x="1856" y="1014"/>
                </a:cubicBezTo>
                <a:cubicBezTo>
                  <a:pt x="1858" y="1013"/>
                  <a:pt x="1858" y="1013"/>
                  <a:pt x="1858" y="1013"/>
                </a:cubicBezTo>
                <a:cubicBezTo>
                  <a:pt x="1863" y="1013"/>
                  <a:pt x="1865" y="1011"/>
                  <a:pt x="1867" y="1009"/>
                </a:cubicBezTo>
                <a:cubicBezTo>
                  <a:pt x="1868" y="1008"/>
                  <a:pt x="1869" y="1007"/>
                  <a:pt x="1871" y="1006"/>
                </a:cubicBezTo>
                <a:cubicBezTo>
                  <a:pt x="1880" y="1006"/>
                  <a:pt x="1880" y="1006"/>
                  <a:pt x="1880" y="1006"/>
                </a:cubicBezTo>
                <a:cubicBezTo>
                  <a:pt x="1880" y="1006"/>
                  <a:pt x="1880" y="1006"/>
                  <a:pt x="1880" y="1006"/>
                </a:cubicBezTo>
                <a:cubicBezTo>
                  <a:pt x="1882" y="1005"/>
                  <a:pt x="1885" y="1003"/>
                  <a:pt x="1888" y="1001"/>
                </a:cubicBezTo>
                <a:cubicBezTo>
                  <a:pt x="1893" y="997"/>
                  <a:pt x="1898" y="994"/>
                  <a:pt x="1900" y="993"/>
                </a:cubicBezTo>
                <a:cubicBezTo>
                  <a:pt x="1903" y="992"/>
                  <a:pt x="1903" y="992"/>
                  <a:pt x="1903" y="992"/>
                </a:cubicBezTo>
                <a:cubicBezTo>
                  <a:pt x="1909" y="990"/>
                  <a:pt x="1918" y="988"/>
                  <a:pt x="1924" y="985"/>
                </a:cubicBezTo>
                <a:cubicBezTo>
                  <a:pt x="1925" y="984"/>
                  <a:pt x="1925" y="984"/>
                  <a:pt x="1925" y="984"/>
                </a:cubicBezTo>
                <a:cubicBezTo>
                  <a:pt x="1924" y="984"/>
                  <a:pt x="1924" y="984"/>
                  <a:pt x="1924" y="984"/>
                </a:cubicBezTo>
                <a:cubicBezTo>
                  <a:pt x="1924" y="983"/>
                  <a:pt x="1923" y="982"/>
                  <a:pt x="1923" y="981"/>
                </a:cubicBezTo>
                <a:cubicBezTo>
                  <a:pt x="1923" y="974"/>
                  <a:pt x="1942" y="970"/>
                  <a:pt x="1950" y="968"/>
                </a:cubicBezTo>
                <a:cubicBezTo>
                  <a:pt x="1950" y="968"/>
                  <a:pt x="1950" y="968"/>
                  <a:pt x="1950" y="968"/>
                </a:cubicBezTo>
                <a:cubicBezTo>
                  <a:pt x="1950" y="968"/>
                  <a:pt x="1950" y="968"/>
                  <a:pt x="1950" y="968"/>
                </a:cubicBezTo>
                <a:cubicBezTo>
                  <a:pt x="1950" y="968"/>
                  <a:pt x="1950" y="968"/>
                  <a:pt x="1950" y="968"/>
                </a:cubicBezTo>
                <a:cubicBezTo>
                  <a:pt x="1950" y="966"/>
                  <a:pt x="1951" y="964"/>
                  <a:pt x="1953" y="961"/>
                </a:cubicBezTo>
                <a:cubicBezTo>
                  <a:pt x="1955" y="959"/>
                  <a:pt x="1957" y="958"/>
                  <a:pt x="1959" y="958"/>
                </a:cubicBezTo>
                <a:cubicBezTo>
                  <a:pt x="1961" y="958"/>
                  <a:pt x="1962" y="955"/>
                  <a:pt x="1963" y="953"/>
                </a:cubicBezTo>
                <a:cubicBezTo>
                  <a:pt x="1964" y="950"/>
                  <a:pt x="1965" y="948"/>
                  <a:pt x="1967" y="948"/>
                </a:cubicBezTo>
                <a:cubicBezTo>
                  <a:pt x="1970" y="948"/>
                  <a:pt x="1971" y="944"/>
                  <a:pt x="1972" y="941"/>
                </a:cubicBezTo>
                <a:cubicBezTo>
                  <a:pt x="1972" y="940"/>
                  <a:pt x="1972" y="939"/>
                  <a:pt x="1972" y="938"/>
                </a:cubicBezTo>
                <a:cubicBezTo>
                  <a:pt x="1974" y="934"/>
                  <a:pt x="1976" y="932"/>
                  <a:pt x="1981" y="932"/>
                </a:cubicBezTo>
                <a:cubicBezTo>
                  <a:pt x="1981" y="932"/>
                  <a:pt x="1981" y="932"/>
                  <a:pt x="1981" y="932"/>
                </a:cubicBezTo>
                <a:cubicBezTo>
                  <a:pt x="1981" y="932"/>
                  <a:pt x="1981" y="932"/>
                  <a:pt x="1981" y="932"/>
                </a:cubicBezTo>
                <a:cubicBezTo>
                  <a:pt x="1981" y="928"/>
                  <a:pt x="1984" y="925"/>
                  <a:pt x="1986" y="922"/>
                </a:cubicBezTo>
                <a:cubicBezTo>
                  <a:pt x="1988" y="920"/>
                  <a:pt x="1990" y="917"/>
                  <a:pt x="1990" y="913"/>
                </a:cubicBezTo>
                <a:cubicBezTo>
                  <a:pt x="1990" y="911"/>
                  <a:pt x="1989" y="910"/>
                  <a:pt x="1987" y="909"/>
                </a:cubicBezTo>
                <a:cubicBezTo>
                  <a:pt x="1986" y="909"/>
                  <a:pt x="1985" y="908"/>
                  <a:pt x="1984" y="907"/>
                </a:cubicBezTo>
                <a:cubicBezTo>
                  <a:pt x="1984" y="905"/>
                  <a:pt x="1984" y="905"/>
                  <a:pt x="1984" y="905"/>
                </a:cubicBezTo>
                <a:cubicBezTo>
                  <a:pt x="1984" y="906"/>
                  <a:pt x="1984" y="906"/>
                  <a:pt x="1984" y="906"/>
                </a:cubicBezTo>
                <a:cubicBezTo>
                  <a:pt x="1983" y="906"/>
                  <a:pt x="1983" y="905"/>
                  <a:pt x="1982" y="904"/>
                </a:cubicBezTo>
                <a:cubicBezTo>
                  <a:pt x="1981" y="902"/>
                  <a:pt x="1980" y="899"/>
                  <a:pt x="1978" y="899"/>
                </a:cubicBezTo>
                <a:cubicBezTo>
                  <a:pt x="1977" y="898"/>
                  <a:pt x="1977" y="898"/>
                  <a:pt x="1977" y="898"/>
                </a:cubicBezTo>
                <a:cubicBezTo>
                  <a:pt x="1969" y="895"/>
                  <a:pt x="1964" y="893"/>
                  <a:pt x="1960" y="884"/>
                </a:cubicBezTo>
                <a:cubicBezTo>
                  <a:pt x="1960" y="870"/>
                  <a:pt x="1960" y="870"/>
                  <a:pt x="1960" y="870"/>
                </a:cubicBezTo>
                <a:cubicBezTo>
                  <a:pt x="1959" y="871"/>
                  <a:pt x="1959" y="871"/>
                  <a:pt x="1959" y="871"/>
                </a:cubicBezTo>
                <a:cubicBezTo>
                  <a:pt x="1955" y="874"/>
                  <a:pt x="1953" y="877"/>
                  <a:pt x="1951" y="880"/>
                </a:cubicBezTo>
                <a:cubicBezTo>
                  <a:pt x="1945" y="888"/>
                  <a:pt x="1940" y="894"/>
                  <a:pt x="1926" y="894"/>
                </a:cubicBezTo>
                <a:cubicBezTo>
                  <a:pt x="1921" y="894"/>
                  <a:pt x="1914" y="892"/>
                  <a:pt x="1914" y="888"/>
                </a:cubicBezTo>
                <a:cubicBezTo>
                  <a:pt x="1914" y="885"/>
                  <a:pt x="1914" y="884"/>
                  <a:pt x="1915" y="882"/>
                </a:cubicBezTo>
                <a:cubicBezTo>
                  <a:pt x="1915" y="880"/>
                  <a:pt x="1916" y="879"/>
                  <a:pt x="1916" y="876"/>
                </a:cubicBezTo>
                <a:cubicBezTo>
                  <a:pt x="1916" y="875"/>
                  <a:pt x="1916" y="874"/>
                  <a:pt x="1915" y="872"/>
                </a:cubicBezTo>
                <a:cubicBezTo>
                  <a:pt x="1915" y="872"/>
                  <a:pt x="1915" y="872"/>
                  <a:pt x="1915" y="872"/>
                </a:cubicBezTo>
                <a:cubicBezTo>
                  <a:pt x="1915" y="872"/>
                  <a:pt x="1915" y="872"/>
                  <a:pt x="1915" y="872"/>
                </a:cubicBezTo>
                <a:cubicBezTo>
                  <a:pt x="1913" y="872"/>
                  <a:pt x="1913" y="874"/>
                  <a:pt x="1912" y="875"/>
                </a:cubicBezTo>
                <a:cubicBezTo>
                  <a:pt x="1911" y="876"/>
                  <a:pt x="1911" y="878"/>
                  <a:pt x="1909" y="878"/>
                </a:cubicBezTo>
                <a:cubicBezTo>
                  <a:pt x="1909" y="877"/>
                  <a:pt x="1909" y="876"/>
                  <a:pt x="1908" y="875"/>
                </a:cubicBezTo>
                <a:cubicBezTo>
                  <a:pt x="1908" y="874"/>
                  <a:pt x="1907" y="873"/>
                  <a:pt x="1907" y="871"/>
                </a:cubicBezTo>
                <a:cubicBezTo>
                  <a:pt x="1907" y="870"/>
                  <a:pt x="1907" y="870"/>
                  <a:pt x="1907" y="870"/>
                </a:cubicBezTo>
                <a:cubicBezTo>
                  <a:pt x="1907" y="870"/>
                  <a:pt x="1907" y="870"/>
                  <a:pt x="1907" y="870"/>
                </a:cubicBezTo>
                <a:cubicBezTo>
                  <a:pt x="1900" y="869"/>
                  <a:pt x="1891" y="854"/>
                  <a:pt x="1890" y="846"/>
                </a:cubicBezTo>
                <a:cubicBezTo>
                  <a:pt x="1889" y="843"/>
                  <a:pt x="1889" y="841"/>
                  <a:pt x="1889" y="838"/>
                </a:cubicBezTo>
                <a:cubicBezTo>
                  <a:pt x="1889" y="833"/>
                  <a:pt x="1891" y="827"/>
                  <a:pt x="1895" y="827"/>
                </a:cubicBezTo>
                <a:cubicBezTo>
                  <a:pt x="1904" y="827"/>
                  <a:pt x="1911" y="841"/>
                  <a:pt x="1913" y="845"/>
                </a:cubicBezTo>
                <a:cubicBezTo>
                  <a:pt x="1913" y="846"/>
                  <a:pt x="1913" y="846"/>
                  <a:pt x="1913" y="847"/>
                </a:cubicBezTo>
                <a:cubicBezTo>
                  <a:pt x="1914" y="848"/>
                  <a:pt x="1914" y="850"/>
                  <a:pt x="1915" y="852"/>
                </a:cubicBezTo>
                <a:cubicBezTo>
                  <a:pt x="1917" y="853"/>
                  <a:pt x="1919" y="854"/>
                  <a:pt x="1921" y="854"/>
                </a:cubicBezTo>
                <a:cubicBezTo>
                  <a:pt x="1923" y="855"/>
                  <a:pt x="1925" y="855"/>
                  <a:pt x="1927" y="857"/>
                </a:cubicBezTo>
                <a:cubicBezTo>
                  <a:pt x="1928" y="858"/>
                  <a:pt x="1928" y="859"/>
                  <a:pt x="1929" y="860"/>
                </a:cubicBezTo>
                <a:cubicBezTo>
                  <a:pt x="1931" y="863"/>
                  <a:pt x="1934" y="866"/>
                  <a:pt x="1937" y="867"/>
                </a:cubicBezTo>
                <a:cubicBezTo>
                  <a:pt x="1938" y="867"/>
                  <a:pt x="1938" y="867"/>
                  <a:pt x="1938" y="867"/>
                </a:cubicBezTo>
                <a:cubicBezTo>
                  <a:pt x="1953" y="867"/>
                  <a:pt x="1953" y="867"/>
                  <a:pt x="1953" y="867"/>
                </a:cubicBezTo>
                <a:cubicBezTo>
                  <a:pt x="1953" y="867"/>
                  <a:pt x="1953" y="867"/>
                  <a:pt x="1953" y="867"/>
                </a:cubicBezTo>
                <a:cubicBezTo>
                  <a:pt x="1954" y="867"/>
                  <a:pt x="1954" y="866"/>
                  <a:pt x="1955" y="866"/>
                </a:cubicBezTo>
                <a:cubicBezTo>
                  <a:pt x="1956" y="864"/>
                  <a:pt x="1957" y="862"/>
                  <a:pt x="1959" y="862"/>
                </a:cubicBezTo>
                <a:cubicBezTo>
                  <a:pt x="1963" y="862"/>
                  <a:pt x="1965" y="866"/>
                  <a:pt x="1966" y="870"/>
                </a:cubicBezTo>
                <a:cubicBezTo>
                  <a:pt x="1967" y="873"/>
                  <a:pt x="1968" y="875"/>
                  <a:pt x="1969" y="876"/>
                </a:cubicBezTo>
                <a:cubicBezTo>
                  <a:pt x="1969" y="876"/>
                  <a:pt x="1978" y="879"/>
                  <a:pt x="1980" y="879"/>
                </a:cubicBezTo>
                <a:cubicBezTo>
                  <a:pt x="1984" y="879"/>
                  <a:pt x="1990" y="880"/>
                  <a:pt x="1996" y="882"/>
                </a:cubicBezTo>
                <a:cubicBezTo>
                  <a:pt x="2000" y="883"/>
                  <a:pt x="2005" y="883"/>
                  <a:pt x="2007" y="883"/>
                </a:cubicBezTo>
                <a:cubicBezTo>
                  <a:pt x="2008" y="883"/>
                  <a:pt x="2008" y="883"/>
                  <a:pt x="2008" y="883"/>
                </a:cubicBezTo>
                <a:cubicBezTo>
                  <a:pt x="2009" y="884"/>
                  <a:pt x="2009" y="884"/>
                  <a:pt x="2009" y="883"/>
                </a:cubicBezTo>
                <a:cubicBezTo>
                  <a:pt x="2020" y="883"/>
                  <a:pt x="2020" y="883"/>
                  <a:pt x="2020" y="883"/>
                </a:cubicBezTo>
                <a:cubicBezTo>
                  <a:pt x="2020" y="883"/>
                  <a:pt x="2020" y="883"/>
                  <a:pt x="2020" y="883"/>
                </a:cubicBezTo>
                <a:cubicBezTo>
                  <a:pt x="2020" y="883"/>
                  <a:pt x="2020" y="883"/>
                  <a:pt x="2020" y="883"/>
                </a:cubicBezTo>
                <a:cubicBezTo>
                  <a:pt x="2020" y="882"/>
                  <a:pt x="2020" y="882"/>
                  <a:pt x="2020" y="882"/>
                </a:cubicBezTo>
                <a:cubicBezTo>
                  <a:pt x="2021" y="882"/>
                  <a:pt x="2022" y="881"/>
                  <a:pt x="2023" y="880"/>
                </a:cubicBezTo>
                <a:cubicBezTo>
                  <a:pt x="2030" y="883"/>
                  <a:pt x="2030" y="883"/>
                  <a:pt x="2030" y="883"/>
                </a:cubicBezTo>
                <a:cubicBezTo>
                  <a:pt x="2031" y="883"/>
                  <a:pt x="2031" y="883"/>
                  <a:pt x="2031" y="883"/>
                </a:cubicBezTo>
                <a:cubicBezTo>
                  <a:pt x="2031" y="883"/>
                  <a:pt x="2031" y="883"/>
                  <a:pt x="2031" y="883"/>
                </a:cubicBezTo>
                <a:cubicBezTo>
                  <a:pt x="2032" y="883"/>
                  <a:pt x="2033" y="882"/>
                  <a:pt x="2034" y="881"/>
                </a:cubicBezTo>
                <a:cubicBezTo>
                  <a:pt x="2035" y="881"/>
                  <a:pt x="2036" y="880"/>
                  <a:pt x="2038" y="880"/>
                </a:cubicBezTo>
                <a:cubicBezTo>
                  <a:pt x="2039" y="880"/>
                  <a:pt x="2040" y="880"/>
                  <a:pt x="2041" y="880"/>
                </a:cubicBezTo>
                <a:cubicBezTo>
                  <a:pt x="2043" y="880"/>
                  <a:pt x="2045" y="880"/>
                  <a:pt x="2047" y="880"/>
                </a:cubicBezTo>
                <a:cubicBezTo>
                  <a:pt x="2050" y="881"/>
                  <a:pt x="2051" y="885"/>
                  <a:pt x="2053" y="889"/>
                </a:cubicBezTo>
                <a:cubicBezTo>
                  <a:pt x="2054" y="891"/>
                  <a:pt x="2054" y="893"/>
                  <a:pt x="2055" y="894"/>
                </a:cubicBezTo>
                <a:cubicBezTo>
                  <a:pt x="2058" y="900"/>
                  <a:pt x="2068" y="906"/>
                  <a:pt x="2074" y="906"/>
                </a:cubicBezTo>
                <a:cubicBezTo>
                  <a:pt x="2076" y="906"/>
                  <a:pt x="2078" y="906"/>
                  <a:pt x="2080" y="907"/>
                </a:cubicBezTo>
                <a:cubicBezTo>
                  <a:pt x="2080" y="907"/>
                  <a:pt x="2080" y="908"/>
                  <a:pt x="2079" y="908"/>
                </a:cubicBezTo>
                <a:cubicBezTo>
                  <a:pt x="2079" y="910"/>
                  <a:pt x="2078" y="911"/>
                  <a:pt x="2077" y="912"/>
                </a:cubicBezTo>
                <a:cubicBezTo>
                  <a:pt x="2076" y="912"/>
                  <a:pt x="2075" y="912"/>
                  <a:pt x="2073" y="912"/>
                </a:cubicBezTo>
                <a:cubicBezTo>
                  <a:pt x="2072" y="912"/>
                  <a:pt x="2071" y="912"/>
                  <a:pt x="2069" y="913"/>
                </a:cubicBezTo>
                <a:cubicBezTo>
                  <a:pt x="2068" y="913"/>
                  <a:pt x="2068" y="913"/>
                  <a:pt x="2068" y="913"/>
                </a:cubicBezTo>
                <a:cubicBezTo>
                  <a:pt x="2069" y="914"/>
                  <a:pt x="2069" y="914"/>
                  <a:pt x="2069" y="914"/>
                </a:cubicBezTo>
                <a:cubicBezTo>
                  <a:pt x="2070" y="915"/>
                  <a:pt x="2071" y="917"/>
                  <a:pt x="2072" y="919"/>
                </a:cubicBezTo>
                <a:cubicBezTo>
                  <a:pt x="2076" y="924"/>
                  <a:pt x="2080" y="930"/>
                  <a:pt x="2087" y="930"/>
                </a:cubicBezTo>
                <a:cubicBezTo>
                  <a:pt x="2092" y="930"/>
                  <a:pt x="2094" y="924"/>
                  <a:pt x="2096" y="920"/>
                </a:cubicBezTo>
                <a:cubicBezTo>
                  <a:pt x="2097" y="917"/>
                  <a:pt x="2098" y="915"/>
                  <a:pt x="2099" y="913"/>
                </a:cubicBezTo>
                <a:cubicBezTo>
                  <a:pt x="2101" y="913"/>
                  <a:pt x="2101" y="913"/>
                  <a:pt x="2101" y="913"/>
                </a:cubicBezTo>
                <a:cubicBezTo>
                  <a:pt x="2101" y="914"/>
                  <a:pt x="2101" y="915"/>
                  <a:pt x="2100" y="916"/>
                </a:cubicBezTo>
                <a:cubicBezTo>
                  <a:pt x="2100" y="916"/>
                  <a:pt x="2099" y="917"/>
                  <a:pt x="2099" y="918"/>
                </a:cubicBezTo>
                <a:cubicBezTo>
                  <a:pt x="2099" y="920"/>
                  <a:pt x="2100" y="922"/>
                  <a:pt x="2101" y="924"/>
                </a:cubicBezTo>
                <a:cubicBezTo>
                  <a:pt x="2102" y="927"/>
                  <a:pt x="2103" y="929"/>
                  <a:pt x="2103" y="932"/>
                </a:cubicBezTo>
                <a:cubicBezTo>
                  <a:pt x="2103" y="934"/>
                  <a:pt x="2102" y="936"/>
                  <a:pt x="2102" y="937"/>
                </a:cubicBezTo>
                <a:cubicBezTo>
                  <a:pt x="2102" y="938"/>
                  <a:pt x="2101" y="939"/>
                  <a:pt x="2101" y="941"/>
                </a:cubicBezTo>
                <a:cubicBezTo>
                  <a:pt x="2101" y="941"/>
                  <a:pt x="2101" y="941"/>
                  <a:pt x="2101" y="941"/>
                </a:cubicBezTo>
                <a:cubicBezTo>
                  <a:pt x="2101" y="942"/>
                  <a:pt x="2101" y="942"/>
                  <a:pt x="2101" y="942"/>
                </a:cubicBezTo>
                <a:cubicBezTo>
                  <a:pt x="2101" y="942"/>
                  <a:pt x="2101" y="943"/>
                  <a:pt x="2101" y="944"/>
                </a:cubicBezTo>
                <a:cubicBezTo>
                  <a:pt x="2101" y="945"/>
                  <a:pt x="2101" y="946"/>
                  <a:pt x="2101" y="947"/>
                </a:cubicBezTo>
                <a:cubicBezTo>
                  <a:pt x="2101" y="951"/>
                  <a:pt x="2103" y="956"/>
                  <a:pt x="2104" y="960"/>
                </a:cubicBezTo>
                <a:cubicBezTo>
                  <a:pt x="2105" y="963"/>
                  <a:pt x="2106" y="965"/>
                  <a:pt x="2107" y="967"/>
                </a:cubicBezTo>
                <a:cubicBezTo>
                  <a:pt x="2108" y="972"/>
                  <a:pt x="2110" y="977"/>
                  <a:pt x="2112" y="982"/>
                </a:cubicBezTo>
                <a:cubicBezTo>
                  <a:pt x="2114" y="986"/>
                  <a:pt x="2115" y="989"/>
                  <a:pt x="2116" y="992"/>
                </a:cubicBezTo>
                <a:cubicBezTo>
                  <a:pt x="2116" y="993"/>
                  <a:pt x="2116" y="994"/>
                  <a:pt x="2117" y="995"/>
                </a:cubicBezTo>
                <a:cubicBezTo>
                  <a:pt x="2117" y="997"/>
                  <a:pt x="2118" y="999"/>
                  <a:pt x="2120" y="1003"/>
                </a:cubicBezTo>
                <a:cubicBezTo>
                  <a:pt x="2121" y="1005"/>
                  <a:pt x="2121" y="1007"/>
                  <a:pt x="2121" y="1009"/>
                </a:cubicBezTo>
                <a:cubicBezTo>
                  <a:pt x="2121" y="1012"/>
                  <a:pt x="2122" y="1014"/>
                  <a:pt x="2123" y="1017"/>
                </a:cubicBezTo>
                <a:cubicBezTo>
                  <a:pt x="2123" y="1018"/>
                  <a:pt x="2124" y="1019"/>
                  <a:pt x="2125" y="1021"/>
                </a:cubicBezTo>
                <a:cubicBezTo>
                  <a:pt x="2127" y="1023"/>
                  <a:pt x="2129" y="1025"/>
                  <a:pt x="2130" y="1028"/>
                </a:cubicBezTo>
                <a:cubicBezTo>
                  <a:pt x="2131" y="1032"/>
                  <a:pt x="2132" y="1035"/>
                  <a:pt x="2133" y="1039"/>
                </a:cubicBezTo>
                <a:cubicBezTo>
                  <a:pt x="2135" y="1043"/>
                  <a:pt x="2136" y="1047"/>
                  <a:pt x="2138" y="1051"/>
                </a:cubicBezTo>
                <a:cubicBezTo>
                  <a:pt x="2138" y="1052"/>
                  <a:pt x="2139" y="1054"/>
                  <a:pt x="2140" y="1055"/>
                </a:cubicBezTo>
                <a:cubicBezTo>
                  <a:pt x="2141" y="1057"/>
                  <a:pt x="2143" y="1059"/>
                  <a:pt x="2145" y="1058"/>
                </a:cubicBezTo>
                <a:cubicBezTo>
                  <a:pt x="2147" y="1058"/>
                  <a:pt x="2148" y="1056"/>
                  <a:pt x="2149" y="1054"/>
                </a:cubicBezTo>
                <a:cubicBezTo>
                  <a:pt x="2149" y="1053"/>
                  <a:pt x="2149" y="1052"/>
                  <a:pt x="2150" y="1051"/>
                </a:cubicBezTo>
                <a:cubicBezTo>
                  <a:pt x="2151" y="1049"/>
                  <a:pt x="2151" y="1049"/>
                  <a:pt x="2152" y="1048"/>
                </a:cubicBezTo>
                <a:cubicBezTo>
                  <a:pt x="2153" y="1048"/>
                  <a:pt x="2154" y="1048"/>
                  <a:pt x="2155" y="1047"/>
                </a:cubicBezTo>
                <a:cubicBezTo>
                  <a:pt x="2157" y="1046"/>
                  <a:pt x="2157" y="1044"/>
                  <a:pt x="2158" y="1042"/>
                </a:cubicBezTo>
                <a:cubicBezTo>
                  <a:pt x="2158" y="1039"/>
                  <a:pt x="2159" y="1036"/>
                  <a:pt x="2161" y="1035"/>
                </a:cubicBezTo>
                <a:cubicBezTo>
                  <a:pt x="2162" y="1035"/>
                  <a:pt x="2162" y="1035"/>
                  <a:pt x="2162" y="1035"/>
                </a:cubicBezTo>
                <a:cubicBezTo>
                  <a:pt x="2163" y="1035"/>
                  <a:pt x="2164" y="1034"/>
                  <a:pt x="2164" y="1034"/>
                </a:cubicBezTo>
                <a:cubicBezTo>
                  <a:pt x="2166" y="1033"/>
                  <a:pt x="2166" y="1033"/>
                  <a:pt x="2166" y="1033"/>
                </a:cubicBezTo>
                <a:cubicBezTo>
                  <a:pt x="2166" y="1033"/>
                  <a:pt x="2166" y="1033"/>
                  <a:pt x="2166" y="1033"/>
                </a:cubicBezTo>
                <a:cubicBezTo>
                  <a:pt x="2166" y="1033"/>
                  <a:pt x="2166" y="1033"/>
                  <a:pt x="2166" y="1033"/>
                </a:cubicBezTo>
                <a:cubicBezTo>
                  <a:pt x="2165" y="1024"/>
                  <a:pt x="2165" y="1024"/>
                  <a:pt x="2165" y="1024"/>
                </a:cubicBezTo>
                <a:cubicBezTo>
                  <a:pt x="2165" y="1021"/>
                  <a:pt x="2165" y="1018"/>
                  <a:pt x="2166" y="1015"/>
                </a:cubicBezTo>
                <a:cubicBezTo>
                  <a:pt x="2167" y="1011"/>
                  <a:pt x="2168" y="1008"/>
                  <a:pt x="2168" y="1003"/>
                </a:cubicBezTo>
                <a:cubicBezTo>
                  <a:pt x="2168" y="1000"/>
                  <a:pt x="2168" y="998"/>
                  <a:pt x="2167" y="996"/>
                </a:cubicBezTo>
                <a:cubicBezTo>
                  <a:pt x="2167" y="993"/>
                  <a:pt x="2166" y="991"/>
                  <a:pt x="2166" y="988"/>
                </a:cubicBezTo>
                <a:cubicBezTo>
                  <a:pt x="2166" y="982"/>
                  <a:pt x="2171" y="980"/>
                  <a:pt x="2176" y="978"/>
                </a:cubicBezTo>
                <a:cubicBezTo>
                  <a:pt x="2176" y="978"/>
                  <a:pt x="2177" y="978"/>
                  <a:pt x="2178" y="978"/>
                </a:cubicBezTo>
                <a:cubicBezTo>
                  <a:pt x="2180" y="977"/>
                  <a:pt x="2183" y="974"/>
                  <a:pt x="2185" y="971"/>
                </a:cubicBezTo>
                <a:cubicBezTo>
                  <a:pt x="2186" y="970"/>
                  <a:pt x="2186" y="970"/>
                  <a:pt x="2186" y="970"/>
                </a:cubicBezTo>
                <a:cubicBezTo>
                  <a:pt x="2189" y="967"/>
                  <a:pt x="2192" y="963"/>
                  <a:pt x="2195" y="960"/>
                </a:cubicBezTo>
                <a:cubicBezTo>
                  <a:pt x="2197" y="956"/>
                  <a:pt x="2200" y="953"/>
                  <a:pt x="2204" y="949"/>
                </a:cubicBezTo>
                <a:cubicBezTo>
                  <a:pt x="2206" y="947"/>
                  <a:pt x="2209" y="945"/>
                  <a:pt x="2213" y="943"/>
                </a:cubicBezTo>
                <a:cubicBezTo>
                  <a:pt x="2216" y="941"/>
                  <a:pt x="2220" y="939"/>
                  <a:pt x="2223" y="936"/>
                </a:cubicBezTo>
                <a:cubicBezTo>
                  <a:pt x="2225" y="933"/>
                  <a:pt x="2225" y="931"/>
                  <a:pt x="2226" y="928"/>
                </a:cubicBezTo>
                <a:cubicBezTo>
                  <a:pt x="2226" y="926"/>
                  <a:pt x="2226" y="925"/>
                  <a:pt x="2227" y="924"/>
                </a:cubicBezTo>
                <a:cubicBezTo>
                  <a:pt x="2227" y="922"/>
                  <a:pt x="2229" y="922"/>
                  <a:pt x="2230" y="921"/>
                </a:cubicBezTo>
                <a:cubicBezTo>
                  <a:pt x="2232" y="919"/>
                  <a:pt x="2235" y="918"/>
                  <a:pt x="2236" y="915"/>
                </a:cubicBezTo>
                <a:cubicBezTo>
                  <a:pt x="2236" y="916"/>
                  <a:pt x="2237" y="916"/>
                  <a:pt x="2237" y="916"/>
                </a:cubicBezTo>
                <a:cubicBezTo>
                  <a:pt x="2239" y="918"/>
                  <a:pt x="2240" y="919"/>
                  <a:pt x="2243" y="919"/>
                </a:cubicBezTo>
                <a:cubicBezTo>
                  <a:pt x="2254" y="919"/>
                  <a:pt x="2260" y="914"/>
                  <a:pt x="2260" y="906"/>
                </a:cubicBezTo>
                <a:cubicBezTo>
                  <a:pt x="2266" y="908"/>
                  <a:pt x="2270" y="910"/>
                  <a:pt x="2271" y="914"/>
                </a:cubicBezTo>
                <a:cubicBezTo>
                  <a:pt x="2271" y="915"/>
                  <a:pt x="2271" y="917"/>
                  <a:pt x="2272" y="919"/>
                </a:cubicBezTo>
                <a:cubicBezTo>
                  <a:pt x="2272" y="922"/>
                  <a:pt x="2272" y="925"/>
                  <a:pt x="2274" y="928"/>
                </a:cubicBezTo>
                <a:cubicBezTo>
                  <a:pt x="2276" y="932"/>
                  <a:pt x="2279" y="935"/>
                  <a:pt x="2283" y="938"/>
                </a:cubicBezTo>
                <a:cubicBezTo>
                  <a:pt x="2284" y="939"/>
                  <a:pt x="2284" y="939"/>
                  <a:pt x="2284" y="939"/>
                </a:cubicBezTo>
                <a:cubicBezTo>
                  <a:pt x="2286" y="942"/>
                  <a:pt x="2286" y="942"/>
                  <a:pt x="2286" y="942"/>
                </a:cubicBezTo>
                <a:cubicBezTo>
                  <a:pt x="2288" y="947"/>
                  <a:pt x="2291" y="952"/>
                  <a:pt x="2293" y="957"/>
                </a:cubicBezTo>
                <a:cubicBezTo>
                  <a:pt x="2293" y="957"/>
                  <a:pt x="2293" y="957"/>
                  <a:pt x="2293" y="957"/>
                </a:cubicBezTo>
                <a:cubicBezTo>
                  <a:pt x="2293" y="958"/>
                  <a:pt x="2293" y="959"/>
                  <a:pt x="2294" y="960"/>
                </a:cubicBezTo>
                <a:cubicBezTo>
                  <a:pt x="2294" y="960"/>
                  <a:pt x="2295" y="961"/>
                  <a:pt x="2295" y="962"/>
                </a:cubicBezTo>
                <a:cubicBezTo>
                  <a:pt x="2295" y="964"/>
                  <a:pt x="2294" y="965"/>
                  <a:pt x="2294" y="967"/>
                </a:cubicBezTo>
                <a:cubicBezTo>
                  <a:pt x="2294" y="968"/>
                  <a:pt x="2293" y="970"/>
                  <a:pt x="2293" y="972"/>
                </a:cubicBezTo>
                <a:cubicBezTo>
                  <a:pt x="2293" y="976"/>
                  <a:pt x="2293" y="981"/>
                  <a:pt x="2298" y="981"/>
                </a:cubicBezTo>
                <a:cubicBezTo>
                  <a:pt x="2305" y="981"/>
                  <a:pt x="2308" y="976"/>
                  <a:pt x="2311" y="971"/>
                </a:cubicBezTo>
                <a:cubicBezTo>
                  <a:pt x="2312" y="969"/>
                  <a:pt x="2313" y="967"/>
                  <a:pt x="2314" y="966"/>
                </a:cubicBezTo>
                <a:cubicBezTo>
                  <a:pt x="2315" y="966"/>
                  <a:pt x="2315" y="967"/>
                  <a:pt x="2315" y="968"/>
                </a:cubicBezTo>
                <a:cubicBezTo>
                  <a:pt x="2316" y="969"/>
                  <a:pt x="2316" y="970"/>
                  <a:pt x="2317" y="971"/>
                </a:cubicBezTo>
                <a:cubicBezTo>
                  <a:pt x="2317" y="971"/>
                  <a:pt x="2318" y="971"/>
                  <a:pt x="2318" y="971"/>
                </a:cubicBezTo>
                <a:cubicBezTo>
                  <a:pt x="2319" y="971"/>
                  <a:pt x="2320" y="972"/>
                  <a:pt x="2321" y="973"/>
                </a:cubicBezTo>
                <a:cubicBezTo>
                  <a:pt x="2322" y="975"/>
                  <a:pt x="2322" y="979"/>
                  <a:pt x="2321" y="982"/>
                </a:cubicBezTo>
                <a:cubicBezTo>
                  <a:pt x="2321" y="985"/>
                  <a:pt x="2321" y="987"/>
                  <a:pt x="2322" y="988"/>
                </a:cubicBezTo>
                <a:cubicBezTo>
                  <a:pt x="2322" y="988"/>
                  <a:pt x="2322" y="988"/>
                  <a:pt x="2323" y="988"/>
                </a:cubicBezTo>
                <a:cubicBezTo>
                  <a:pt x="2323" y="993"/>
                  <a:pt x="2324" y="998"/>
                  <a:pt x="2326" y="1003"/>
                </a:cubicBezTo>
                <a:cubicBezTo>
                  <a:pt x="2328" y="1009"/>
                  <a:pt x="2331" y="1015"/>
                  <a:pt x="2331" y="1024"/>
                </a:cubicBezTo>
                <a:cubicBezTo>
                  <a:pt x="2331" y="1025"/>
                  <a:pt x="2330" y="1026"/>
                  <a:pt x="2330" y="1028"/>
                </a:cubicBezTo>
                <a:cubicBezTo>
                  <a:pt x="2330" y="1031"/>
                  <a:pt x="2329" y="1035"/>
                  <a:pt x="2330" y="1036"/>
                </a:cubicBezTo>
                <a:cubicBezTo>
                  <a:pt x="2329" y="1036"/>
                  <a:pt x="2329" y="1036"/>
                  <a:pt x="2329" y="1036"/>
                </a:cubicBezTo>
                <a:cubicBezTo>
                  <a:pt x="2329" y="1037"/>
                  <a:pt x="2329" y="1037"/>
                  <a:pt x="2329" y="1037"/>
                </a:cubicBezTo>
                <a:cubicBezTo>
                  <a:pt x="2328" y="1042"/>
                  <a:pt x="2328" y="1045"/>
                  <a:pt x="2328" y="1050"/>
                </a:cubicBezTo>
                <a:cubicBezTo>
                  <a:pt x="2327" y="1051"/>
                  <a:pt x="2327" y="1051"/>
                  <a:pt x="2327" y="1051"/>
                </a:cubicBezTo>
                <a:cubicBezTo>
                  <a:pt x="2327" y="1051"/>
                  <a:pt x="2327" y="1052"/>
                  <a:pt x="2327" y="1052"/>
                </a:cubicBezTo>
                <a:cubicBezTo>
                  <a:pt x="2328" y="1053"/>
                  <a:pt x="2328" y="1053"/>
                  <a:pt x="2328" y="1053"/>
                </a:cubicBezTo>
                <a:cubicBezTo>
                  <a:pt x="2328" y="1053"/>
                  <a:pt x="2328" y="1053"/>
                  <a:pt x="2328" y="1053"/>
                </a:cubicBezTo>
                <a:cubicBezTo>
                  <a:pt x="2329" y="1054"/>
                  <a:pt x="2330" y="1054"/>
                  <a:pt x="2330" y="1053"/>
                </a:cubicBezTo>
                <a:cubicBezTo>
                  <a:pt x="2330" y="1053"/>
                  <a:pt x="2331" y="1053"/>
                  <a:pt x="2332" y="1053"/>
                </a:cubicBezTo>
                <a:cubicBezTo>
                  <a:pt x="2335" y="1053"/>
                  <a:pt x="2337" y="1059"/>
                  <a:pt x="2339" y="1065"/>
                </a:cubicBezTo>
                <a:cubicBezTo>
                  <a:pt x="2340" y="1067"/>
                  <a:pt x="2340" y="1069"/>
                  <a:pt x="2341" y="1070"/>
                </a:cubicBezTo>
                <a:cubicBezTo>
                  <a:pt x="2343" y="1075"/>
                  <a:pt x="2344" y="1079"/>
                  <a:pt x="2345" y="1085"/>
                </a:cubicBezTo>
                <a:cubicBezTo>
                  <a:pt x="2346" y="1088"/>
                  <a:pt x="2347" y="1091"/>
                  <a:pt x="2348" y="1095"/>
                </a:cubicBezTo>
                <a:cubicBezTo>
                  <a:pt x="2351" y="1107"/>
                  <a:pt x="2360" y="1118"/>
                  <a:pt x="2369" y="1121"/>
                </a:cubicBezTo>
                <a:cubicBezTo>
                  <a:pt x="2370" y="1121"/>
                  <a:pt x="2371" y="1122"/>
                  <a:pt x="2371" y="1122"/>
                </a:cubicBezTo>
                <a:cubicBezTo>
                  <a:pt x="2372" y="1123"/>
                  <a:pt x="2373" y="1124"/>
                  <a:pt x="2375" y="1124"/>
                </a:cubicBezTo>
                <a:cubicBezTo>
                  <a:pt x="2375" y="1124"/>
                  <a:pt x="2376" y="1124"/>
                  <a:pt x="2376" y="1123"/>
                </a:cubicBezTo>
                <a:cubicBezTo>
                  <a:pt x="2377" y="1123"/>
                  <a:pt x="2377" y="1123"/>
                  <a:pt x="2377" y="1123"/>
                </a:cubicBezTo>
                <a:cubicBezTo>
                  <a:pt x="2378" y="1123"/>
                  <a:pt x="2378" y="1123"/>
                  <a:pt x="2381" y="1122"/>
                </a:cubicBezTo>
                <a:cubicBezTo>
                  <a:pt x="2381" y="1122"/>
                  <a:pt x="2381" y="1122"/>
                  <a:pt x="2381" y="1122"/>
                </a:cubicBezTo>
                <a:cubicBezTo>
                  <a:pt x="2381" y="1122"/>
                  <a:pt x="2381" y="1122"/>
                  <a:pt x="2381" y="1122"/>
                </a:cubicBezTo>
                <a:cubicBezTo>
                  <a:pt x="2380" y="1119"/>
                  <a:pt x="2380" y="1118"/>
                  <a:pt x="2380" y="1116"/>
                </a:cubicBezTo>
                <a:cubicBezTo>
                  <a:pt x="2379" y="1115"/>
                  <a:pt x="2379" y="1113"/>
                  <a:pt x="2379" y="1112"/>
                </a:cubicBezTo>
                <a:cubicBezTo>
                  <a:pt x="2378" y="1110"/>
                  <a:pt x="2377" y="1109"/>
                  <a:pt x="2376" y="1107"/>
                </a:cubicBezTo>
                <a:cubicBezTo>
                  <a:pt x="2374" y="1105"/>
                  <a:pt x="2373" y="1103"/>
                  <a:pt x="2373" y="1099"/>
                </a:cubicBezTo>
                <a:cubicBezTo>
                  <a:pt x="2373" y="1098"/>
                  <a:pt x="2373" y="1097"/>
                  <a:pt x="2373" y="1096"/>
                </a:cubicBezTo>
                <a:cubicBezTo>
                  <a:pt x="2374" y="1095"/>
                  <a:pt x="2374" y="1095"/>
                  <a:pt x="2374" y="1093"/>
                </a:cubicBezTo>
                <a:cubicBezTo>
                  <a:pt x="2374" y="1081"/>
                  <a:pt x="2366" y="1076"/>
                  <a:pt x="2358" y="1071"/>
                </a:cubicBezTo>
                <a:cubicBezTo>
                  <a:pt x="2354" y="1069"/>
                  <a:pt x="2350" y="1067"/>
                  <a:pt x="2347" y="1063"/>
                </a:cubicBezTo>
                <a:cubicBezTo>
                  <a:pt x="2346" y="1062"/>
                  <a:pt x="2345" y="1059"/>
                  <a:pt x="2345" y="1057"/>
                </a:cubicBezTo>
                <a:cubicBezTo>
                  <a:pt x="2345" y="1055"/>
                  <a:pt x="2344" y="1054"/>
                  <a:pt x="2344" y="1053"/>
                </a:cubicBezTo>
                <a:cubicBezTo>
                  <a:pt x="2344" y="1053"/>
                  <a:pt x="2344" y="1053"/>
                  <a:pt x="2344" y="1053"/>
                </a:cubicBezTo>
                <a:cubicBezTo>
                  <a:pt x="2344" y="1053"/>
                  <a:pt x="2344" y="1053"/>
                  <a:pt x="2344" y="1053"/>
                </a:cubicBezTo>
                <a:cubicBezTo>
                  <a:pt x="2344" y="1047"/>
                  <a:pt x="2342" y="1046"/>
                  <a:pt x="2339" y="1044"/>
                </a:cubicBezTo>
                <a:cubicBezTo>
                  <a:pt x="2336" y="1043"/>
                  <a:pt x="2334" y="1041"/>
                  <a:pt x="2334" y="1036"/>
                </a:cubicBezTo>
                <a:cubicBezTo>
                  <a:pt x="2334" y="1031"/>
                  <a:pt x="2336" y="1028"/>
                  <a:pt x="2338" y="1025"/>
                </a:cubicBezTo>
                <a:cubicBezTo>
                  <a:pt x="2340" y="1022"/>
                  <a:pt x="2343" y="1019"/>
                  <a:pt x="2343" y="1013"/>
                </a:cubicBezTo>
                <a:cubicBezTo>
                  <a:pt x="2343" y="1012"/>
                  <a:pt x="2343" y="1011"/>
                  <a:pt x="2342" y="1010"/>
                </a:cubicBezTo>
                <a:cubicBezTo>
                  <a:pt x="2342" y="1009"/>
                  <a:pt x="2342" y="1008"/>
                  <a:pt x="2342" y="1006"/>
                </a:cubicBezTo>
                <a:cubicBezTo>
                  <a:pt x="2342" y="1006"/>
                  <a:pt x="2342" y="1006"/>
                  <a:pt x="2342" y="1006"/>
                </a:cubicBezTo>
                <a:cubicBezTo>
                  <a:pt x="2342" y="1005"/>
                  <a:pt x="2341" y="1004"/>
                  <a:pt x="2342" y="1003"/>
                </a:cubicBezTo>
                <a:cubicBezTo>
                  <a:pt x="2342" y="1003"/>
                  <a:pt x="2342" y="1003"/>
                  <a:pt x="2343" y="1003"/>
                </a:cubicBezTo>
                <a:cubicBezTo>
                  <a:pt x="2348" y="1003"/>
                  <a:pt x="2350" y="1004"/>
                  <a:pt x="2351" y="1007"/>
                </a:cubicBezTo>
                <a:cubicBezTo>
                  <a:pt x="2352" y="1012"/>
                  <a:pt x="2352" y="1012"/>
                  <a:pt x="2353" y="1012"/>
                </a:cubicBezTo>
                <a:cubicBezTo>
                  <a:pt x="2354" y="1012"/>
                  <a:pt x="2355" y="1013"/>
                  <a:pt x="2356" y="1013"/>
                </a:cubicBezTo>
                <a:cubicBezTo>
                  <a:pt x="2359" y="1014"/>
                  <a:pt x="2363" y="1015"/>
                  <a:pt x="2366" y="1019"/>
                </a:cubicBezTo>
                <a:cubicBezTo>
                  <a:pt x="2367" y="1021"/>
                  <a:pt x="2368" y="1022"/>
                  <a:pt x="2368" y="1024"/>
                </a:cubicBezTo>
                <a:cubicBezTo>
                  <a:pt x="2368" y="1026"/>
                  <a:pt x="2369" y="1028"/>
                  <a:pt x="2373" y="1029"/>
                </a:cubicBezTo>
                <a:cubicBezTo>
                  <a:pt x="2373" y="1033"/>
                  <a:pt x="2378" y="1035"/>
                  <a:pt x="2384" y="1036"/>
                </a:cubicBezTo>
                <a:cubicBezTo>
                  <a:pt x="2384" y="1038"/>
                  <a:pt x="2385" y="1040"/>
                  <a:pt x="2386" y="1040"/>
                </a:cubicBezTo>
                <a:cubicBezTo>
                  <a:pt x="2385" y="1041"/>
                  <a:pt x="2385" y="1043"/>
                  <a:pt x="2385" y="1045"/>
                </a:cubicBezTo>
                <a:cubicBezTo>
                  <a:pt x="2385" y="1047"/>
                  <a:pt x="2386" y="1053"/>
                  <a:pt x="2387" y="1053"/>
                </a:cubicBezTo>
                <a:cubicBezTo>
                  <a:pt x="2389" y="1053"/>
                  <a:pt x="2395" y="1047"/>
                  <a:pt x="2395" y="1043"/>
                </a:cubicBezTo>
                <a:cubicBezTo>
                  <a:pt x="2395" y="1043"/>
                  <a:pt x="2395" y="1043"/>
                  <a:pt x="2395" y="1043"/>
                </a:cubicBezTo>
                <a:cubicBezTo>
                  <a:pt x="2395" y="1043"/>
                  <a:pt x="2395" y="1043"/>
                  <a:pt x="2396" y="1043"/>
                </a:cubicBezTo>
                <a:cubicBezTo>
                  <a:pt x="2398" y="1043"/>
                  <a:pt x="2399" y="1041"/>
                  <a:pt x="2400" y="1040"/>
                </a:cubicBezTo>
                <a:cubicBezTo>
                  <a:pt x="2400" y="1038"/>
                  <a:pt x="2401" y="1036"/>
                  <a:pt x="2403" y="1035"/>
                </a:cubicBezTo>
                <a:cubicBezTo>
                  <a:pt x="2406" y="1034"/>
                  <a:pt x="2408" y="1032"/>
                  <a:pt x="2410" y="1031"/>
                </a:cubicBezTo>
                <a:cubicBezTo>
                  <a:pt x="2413" y="1028"/>
                  <a:pt x="2415" y="1026"/>
                  <a:pt x="2421" y="1024"/>
                </a:cubicBezTo>
                <a:cubicBezTo>
                  <a:pt x="2422" y="1024"/>
                  <a:pt x="2422" y="1024"/>
                  <a:pt x="2422" y="1024"/>
                </a:cubicBezTo>
                <a:cubicBezTo>
                  <a:pt x="2422" y="1024"/>
                  <a:pt x="2422" y="1024"/>
                  <a:pt x="2422" y="1024"/>
                </a:cubicBezTo>
                <a:cubicBezTo>
                  <a:pt x="2422" y="1021"/>
                  <a:pt x="2422" y="1019"/>
                  <a:pt x="2423" y="1017"/>
                </a:cubicBezTo>
                <a:cubicBezTo>
                  <a:pt x="2424" y="1014"/>
                  <a:pt x="2425" y="1011"/>
                  <a:pt x="2425" y="1006"/>
                </a:cubicBezTo>
                <a:cubicBezTo>
                  <a:pt x="2425" y="995"/>
                  <a:pt x="2421" y="980"/>
                  <a:pt x="2413" y="974"/>
                </a:cubicBezTo>
                <a:cubicBezTo>
                  <a:pt x="2408" y="970"/>
                  <a:pt x="2405" y="966"/>
                  <a:pt x="2402" y="961"/>
                </a:cubicBezTo>
                <a:cubicBezTo>
                  <a:pt x="2400" y="958"/>
                  <a:pt x="2398" y="954"/>
                  <a:pt x="2395" y="951"/>
                </a:cubicBezTo>
                <a:cubicBezTo>
                  <a:pt x="2394" y="950"/>
                  <a:pt x="2394" y="950"/>
                  <a:pt x="2394" y="950"/>
                </a:cubicBezTo>
                <a:cubicBezTo>
                  <a:pt x="2393" y="949"/>
                  <a:pt x="2392" y="948"/>
                  <a:pt x="2392" y="946"/>
                </a:cubicBezTo>
                <a:cubicBezTo>
                  <a:pt x="2392" y="937"/>
                  <a:pt x="2398" y="933"/>
                  <a:pt x="2404" y="928"/>
                </a:cubicBezTo>
                <a:cubicBezTo>
                  <a:pt x="2407" y="925"/>
                  <a:pt x="2411" y="922"/>
                  <a:pt x="2413" y="918"/>
                </a:cubicBezTo>
                <a:cubicBezTo>
                  <a:pt x="2416" y="920"/>
                  <a:pt x="2418" y="920"/>
                  <a:pt x="2420" y="920"/>
                </a:cubicBezTo>
                <a:cubicBezTo>
                  <a:pt x="2422" y="920"/>
                  <a:pt x="2425" y="921"/>
                  <a:pt x="2428" y="922"/>
                </a:cubicBezTo>
                <a:cubicBezTo>
                  <a:pt x="2427" y="923"/>
                  <a:pt x="2427" y="928"/>
                  <a:pt x="2428" y="930"/>
                </a:cubicBezTo>
                <a:cubicBezTo>
                  <a:pt x="2428" y="931"/>
                  <a:pt x="2429" y="931"/>
                  <a:pt x="2430" y="931"/>
                </a:cubicBezTo>
                <a:cubicBezTo>
                  <a:pt x="2432" y="931"/>
                  <a:pt x="2432" y="929"/>
                  <a:pt x="2432" y="927"/>
                </a:cubicBezTo>
                <a:cubicBezTo>
                  <a:pt x="2433" y="926"/>
                  <a:pt x="2433" y="925"/>
                  <a:pt x="2434" y="923"/>
                </a:cubicBezTo>
                <a:cubicBezTo>
                  <a:pt x="2435" y="922"/>
                  <a:pt x="2438" y="921"/>
                  <a:pt x="2441" y="920"/>
                </a:cubicBezTo>
                <a:cubicBezTo>
                  <a:pt x="2442" y="920"/>
                  <a:pt x="2444" y="919"/>
                  <a:pt x="2445" y="919"/>
                </a:cubicBezTo>
                <a:cubicBezTo>
                  <a:pt x="2447" y="917"/>
                  <a:pt x="2449" y="917"/>
                  <a:pt x="2452" y="916"/>
                </a:cubicBezTo>
                <a:cubicBezTo>
                  <a:pt x="2455" y="916"/>
                  <a:pt x="2458" y="915"/>
                  <a:pt x="2460" y="913"/>
                </a:cubicBezTo>
                <a:cubicBezTo>
                  <a:pt x="2460" y="913"/>
                  <a:pt x="2460" y="913"/>
                  <a:pt x="2460" y="913"/>
                </a:cubicBezTo>
                <a:cubicBezTo>
                  <a:pt x="2460" y="912"/>
                  <a:pt x="2460" y="912"/>
                  <a:pt x="2460" y="912"/>
                </a:cubicBezTo>
                <a:cubicBezTo>
                  <a:pt x="2461" y="910"/>
                  <a:pt x="2463" y="906"/>
                  <a:pt x="2464" y="906"/>
                </a:cubicBezTo>
                <a:cubicBezTo>
                  <a:pt x="2465" y="906"/>
                  <a:pt x="2466" y="907"/>
                  <a:pt x="2467" y="907"/>
                </a:cubicBezTo>
                <a:cubicBezTo>
                  <a:pt x="2468" y="908"/>
                  <a:pt x="2470" y="909"/>
                  <a:pt x="2471" y="909"/>
                </a:cubicBezTo>
                <a:cubicBezTo>
                  <a:pt x="2481" y="909"/>
                  <a:pt x="2486" y="904"/>
                  <a:pt x="2490" y="899"/>
                </a:cubicBezTo>
                <a:cubicBezTo>
                  <a:pt x="2493" y="897"/>
                  <a:pt x="2495" y="895"/>
                  <a:pt x="2497" y="893"/>
                </a:cubicBezTo>
                <a:cubicBezTo>
                  <a:pt x="2500" y="892"/>
                  <a:pt x="2502" y="891"/>
                  <a:pt x="2502" y="887"/>
                </a:cubicBezTo>
                <a:cubicBezTo>
                  <a:pt x="2508" y="887"/>
                  <a:pt x="2511" y="879"/>
                  <a:pt x="2513" y="873"/>
                </a:cubicBezTo>
                <a:cubicBezTo>
                  <a:pt x="2513" y="871"/>
                  <a:pt x="2514" y="869"/>
                  <a:pt x="2515" y="867"/>
                </a:cubicBezTo>
                <a:cubicBezTo>
                  <a:pt x="2517" y="863"/>
                  <a:pt x="2525" y="849"/>
                  <a:pt x="2529" y="848"/>
                </a:cubicBezTo>
                <a:cubicBezTo>
                  <a:pt x="2529" y="848"/>
                  <a:pt x="2529" y="848"/>
                  <a:pt x="2529" y="848"/>
                </a:cubicBezTo>
                <a:cubicBezTo>
                  <a:pt x="2529" y="848"/>
                  <a:pt x="2529" y="848"/>
                  <a:pt x="2529" y="848"/>
                </a:cubicBezTo>
                <a:cubicBezTo>
                  <a:pt x="2529" y="845"/>
                  <a:pt x="2530" y="842"/>
                  <a:pt x="2531" y="839"/>
                </a:cubicBezTo>
                <a:cubicBezTo>
                  <a:pt x="2533" y="836"/>
                  <a:pt x="2534" y="832"/>
                  <a:pt x="2534" y="827"/>
                </a:cubicBezTo>
                <a:cubicBezTo>
                  <a:pt x="2534" y="812"/>
                  <a:pt x="2531" y="806"/>
                  <a:pt x="2525" y="797"/>
                </a:cubicBezTo>
                <a:cubicBezTo>
                  <a:pt x="2525" y="796"/>
                  <a:pt x="2525" y="795"/>
                  <a:pt x="2525" y="794"/>
                </a:cubicBezTo>
                <a:cubicBezTo>
                  <a:pt x="2524" y="793"/>
                  <a:pt x="2524" y="790"/>
                  <a:pt x="2522" y="789"/>
                </a:cubicBezTo>
                <a:cubicBezTo>
                  <a:pt x="2522" y="789"/>
                  <a:pt x="2522" y="789"/>
                  <a:pt x="2522" y="789"/>
                </a:cubicBezTo>
                <a:cubicBezTo>
                  <a:pt x="2523" y="788"/>
                  <a:pt x="2523" y="788"/>
                  <a:pt x="2523" y="788"/>
                </a:cubicBezTo>
                <a:cubicBezTo>
                  <a:pt x="2521" y="788"/>
                  <a:pt x="2521" y="788"/>
                  <a:pt x="2521" y="788"/>
                </a:cubicBezTo>
                <a:cubicBezTo>
                  <a:pt x="2521" y="787"/>
                  <a:pt x="2521" y="783"/>
                  <a:pt x="2521" y="782"/>
                </a:cubicBezTo>
                <a:cubicBezTo>
                  <a:pt x="2521" y="782"/>
                  <a:pt x="2521" y="782"/>
                  <a:pt x="2521" y="782"/>
                </a:cubicBezTo>
                <a:cubicBezTo>
                  <a:pt x="2521" y="782"/>
                  <a:pt x="2521" y="782"/>
                  <a:pt x="2521" y="782"/>
                </a:cubicBezTo>
                <a:cubicBezTo>
                  <a:pt x="2518" y="781"/>
                  <a:pt x="2513" y="778"/>
                  <a:pt x="2513" y="773"/>
                </a:cubicBezTo>
                <a:cubicBezTo>
                  <a:pt x="2513" y="771"/>
                  <a:pt x="2514" y="770"/>
                  <a:pt x="2516" y="769"/>
                </a:cubicBezTo>
                <a:cubicBezTo>
                  <a:pt x="2517" y="768"/>
                  <a:pt x="2519" y="767"/>
                  <a:pt x="2519" y="765"/>
                </a:cubicBezTo>
                <a:cubicBezTo>
                  <a:pt x="2521" y="760"/>
                  <a:pt x="2526" y="757"/>
                  <a:pt x="2531" y="755"/>
                </a:cubicBezTo>
                <a:cubicBezTo>
                  <a:pt x="2535" y="753"/>
                  <a:pt x="2539" y="752"/>
                  <a:pt x="2541" y="749"/>
                </a:cubicBezTo>
                <a:cubicBezTo>
                  <a:pt x="2542" y="748"/>
                  <a:pt x="2542" y="748"/>
                  <a:pt x="2542" y="748"/>
                </a:cubicBezTo>
                <a:cubicBezTo>
                  <a:pt x="2541" y="748"/>
                  <a:pt x="2541" y="748"/>
                  <a:pt x="2541" y="748"/>
                </a:cubicBezTo>
                <a:cubicBezTo>
                  <a:pt x="2540" y="746"/>
                  <a:pt x="2538" y="746"/>
                  <a:pt x="2536" y="746"/>
                </a:cubicBezTo>
                <a:cubicBezTo>
                  <a:pt x="2534" y="746"/>
                  <a:pt x="2532" y="746"/>
                  <a:pt x="2530" y="745"/>
                </a:cubicBezTo>
                <a:cubicBezTo>
                  <a:pt x="2529" y="744"/>
                  <a:pt x="2529" y="744"/>
                  <a:pt x="2528" y="743"/>
                </a:cubicBezTo>
                <a:cubicBezTo>
                  <a:pt x="2527" y="742"/>
                  <a:pt x="2525" y="741"/>
                  <a:pt x="2523" y="741"/>
                </a:cubicBezTo>
                <a:cubicBezTo>
                  <a:pt x="2521" y="741"/>
                  <a:pt x="2521" y="743"/>
                  <a:pt x="2520" y="745"/>
                </a:cubicBezTo>
                <a:cubicBezTo>
                  <a:pt x="2520" y="747"/>
                  <a:pt x="2519" y="748"/>
                  <a:pt x="2519" y="748"/>
                </a:cubicBezTo>
                <a:cubicBezTo>
                  <a:pt x="2518" y="748"/>
                  <a:pt x="2517" y="748"/>
                  <a:pt x="2516" y="748"/>
                </a:cubicBezTo>
                <a:cubicBezTo>
                  <a:pt x="2515" y="749"/>
                  <a:pt x="2512" y="749"/>
                  <a:pt x="2511" y="748"/>
                </a:cubicBezTo>
                <a:cubicBezTo>
                  <a:pt x="2509" y="746"/>
                  <a:pt x="2508" y="745"/>
                  <a:pt x="2508" y="743"/>
                </a:cubicBezTo>
                <a:cubicBezTo>
                  <a:pt x="2507" y="741"/>
                  <a:pt x="2507" y="740"/>
                  <a:pt x="2505" y="738"/>
                </a:cubicBezTo>
                <a:cubicBezTo>
                  <a:pt x="2504" y="738"/>
                  <a:pt x="2504" y="738"/>
                  <a:pt x="2503" y="737"/>
                </a:cubicBezTo>
                <a:cubicBezTo>
                  <a:pt x="2501" y="736"/>
                  <a:pt x="2498" y="735"/>
                  <a:pt x="2498" y="733"/>
                </a:cubicBezTo>
                <a:cubicBezTo>
                  <a:pt x="2498" y="728"/>
                  <a:pt x="2502" y="728"/>
                  <a:pt x="2505" y="727"/>
                </a:cubicBezTo>
                <a:cubicBezTo>
                  <a:pt x="2507" y="726"/>
                  <a:pt x="2510" y="726"/>
                  <a:pt x="2511" y="725"/>
                </a:cubicBezTo>
                <a:cubicBezTo>
                  <a:pt x="2512" y="724"/>
                  <a:pt x="2513" y="723"/>
                  <a:pt x="2514" y="723"/>
                </a:cubicBezTo>
                <a:cubicBezTo>
                  <a:pt x="2517" y="720"/>
                  <a:pt x="2523" y="715"/>
                  <a:pt x="2525" y="712"/>
                </a:cubicBezTo>
                <a:cubicBezTo>
                  <a:pt x="2525" y="711"/>
                  <a:pt x="2525" y="711"/>
                  <a:pt x="2525" y="711"/>
                </a:cubicBezTo>
                <a:cubicBezTo>
                  <a:pt x="2526" y="710"/>
                  <a:pt x="2527" y="707"/>
                  <a:pt x="2529" y="707"/>
                </a:cubicBezTo>
                <a:cubicBezTo>
                  <a:pt x="2532" y="707"/>
                  <a:pt x="2535" y="712"/>
                  <a:pt x="2535" y="713"/>
                </a:cubicBezTo>
                <a:cubicBezTo>
                  <a:pt x="2535" y="716"/>
                  <a:pt x="2533" y="718"/>
                  <a:pt x="2532" y="720"/>
                </a:cubicBezTo>
                <a:cubicBezTo>
                  <a:pt x="2531" y="722"/>
                  <a:pt x="2529" y="724"/>
                  <a:pt x="2529" y="728"/>
                </a:cubicBezTo>
                <a:cubicBezTo>
                  <a:pt x="2529" y="728"/>
                  <a:pt x="2529" y="728"/>
                  <a:pt x="2529" y="728"/>
                </a:cubicBezTo>
                <a:cubicBezTo>
                  <a:pt x="2529" y="728"/>
                  <a:pt x="2529" y="728"/>
                  <a:pt x="2529" y="728"/>
                </a:cubicBezTo>
                <a:cubicBezTo>
                  <a:pt x="2534" y="728"/>
                  <a:pt x="2537" y="726"/>
                  <a:pt x="2541" y="723"/>
                </a:cubicBezTo>
                <a:cubicBezTo>
                  <a:pt x="2546" y="720"/>
                  <a:pt x="2550" y="718"/>
                  <a:pt x="2555" y="718"/>
                </a:cubicBezTo>
                <a:cubicBezTo>
                  <a:pt x="2557" y="718"/>
                  <a:pt x="2558" y="718"/>
                  <a:pt x="2559" y="719"/>
                </a:cubicBezTo>
                <a:cubicBezTo>
                  <a:pt x="2560" y="720"/>
                  <a:pt x="2562" y="721"/>
                  <a:pt x="2564" y="721"/>
                </a:cubicBezTo>
                <a:cubicBezTo>
                  <a:pt x="2564" y="723"/>
                  <a:pt x="2564" y="724"/>
                  <a:pt x="2564" y="725"/>
                </a:cubicBezTo>
                <a:cubicBezTo>
                  <a:pt x="2564" y="726"/>
                  <a:pt x="2564" y="727"/>
                  <a:pt x="2564" y="729"/>
                </a:cubicBezTo>
                <a:cubicBezTo>
                  <a:pt x="2564" y="730"/>
                  <a:pt x="2564" y="731"/>
                  <a:pt x="2563" y="732"/>
                </a:cubicBezTo>
                <a:cubicBezTo>
                  <a:pt x="2562" y="733"/>
                  <a:pt x="2561" y="734"/>
                  <a:pt x="2561" y="736"/>
                </a:cubicBezTo>
                <a:cubicBezTo>
                  <a:pt x="2561" y="738"/>
                  <a:pt x="2562" y="742"/>
                  <a:pt x="2564" y="742"/>
                </a:cubicBezTo>
                <a:cubicBezTo>
                  <a:pt x="2565" y="742"/>
                  <a:pt x="2565" y="742"/>
                  <a:pt x="2566" y="742"/>
                </a:cubicBezTo>
                <a:cubicBezTo>
                  <a:pt x="2567" y="741"/>
                  <a:pt x="2568" y="741"/>
                  <a:pt x="2569" y="741"/>
                </a:cubicBezTo>
                <a:cubicBezTo>
                  <a:pt x="2572" y="741"/>
                  <a:pt x="2577" y="743"/>
                  <a:pt x="2577" y="747"/>
                </a:cubicBezTo>
                <a:cubicBezTo>
                  <a:pt x="2577" y="749"/>
                  <a:pt x="2574" y="751"/>
                  <a:pt x="2572" y="751"/>
                </a:cubicBezTo>
                <a:cubicBezTo>
                  <a:pt x="2572" y="751"/>
                  <a:pt x="2572" y="751"/>
                  <a:pt x="2572" y="751"/>
                </a:cubicBezTo>
                <a:cubicBezTo>
                  <a:pt x="2572" y="755"/>
                  <a:pt x="2572" y="755"/>
                  <a:pt x="2572" y="755"/>
                </a:cubicBezTo>
                <a:cubicBezTo>
                  <a:pt x="2572" y="756"/>
                  <a:pt x="2572" y="756"/>
                  <a:pt x="2572" y="756"/>
                </a:cubicBezTo>
                <a:cubicBezTo>
                  <a:pt x="2572" y="756"/>
                  <a:pt x="2572" y="756"/>
                  <a:pt x="2572" y="756"/>
                </a:cubicBezTo>
                <a:cubicBezTo>
                  <a:pt x="2573" y="757"/>
                  <a:pt x="2573" y="758"/>
                  <a:pt x="2575" y="758"/>
                </a:cubicBezTo>
                <a:cubicBezTo>
                  <a:pt x="2575" y="759"/>
                  <a:pt x="2575" y="760"/>
                  <a:pt x="2576" y="761"/>
                </a:cubicBezTo>
                <a:cubicBezTo>
                  <a:pt x="2576" y="762"/>
                  <a:pt x="2576" y="763"/>
                  <a:pt x="2576" y="764"/>
                </a:cubicBezTo>
                <a:cubicBezTo>
                  <a:pt x="2576" y="764"/>
                  <a:pt x="2576" y="765"/>
                  <a:pt x="2575" y="766"/>
                </a:cubicBezTo>
                <a:cubicBezTo>
                  <a:pt x="2575" y="768"/>
                  <a:pt x="2574" y="770"/>
                  <a:pt x="2574" y="772"/>
                </a:cubicBezTo>
                <a:cubicBezTo>
                  <a:pt x="2574" y="773"/>
                  <a:pt x="2574" y="775"/>
                  <a:pt x="2575" y="775"/>
                </a:cubicBezTo>
                <a:cubicBezTo>
                  <a:pt x="2575" y="776"/>
                  <a:pt x="2575" y="776"/>
                  <a:pt x="2574" y="777"/>
                </a:cubicBezTo>
                <a:cubicBezTo>
                  <a:pt x="2574" y="778"/>
                  <a:pt x="2573" y="779"/>
                  <a:pt x="2573" y="780"/>
                </a:cubicBezTo>
                <a:cubicBezTo>
                  <a:pt x="2573" y="780"/>
                  <a:pt x="2573" y="780"/>
                  <a:pt x="2573" y="780"/>
                </a:cubicBezTo>
                <a:cubicBezTo>
                  <a:pt x="2578" y="780"/>
                  <a:pt x="2578" y="780"/>
                  <a:pt x="2578" y="780"/>
                </a:cubicBezTo>
                <a:cubicBezTo>
                  <a:pt x="2579" y="780"/>
                  <a:pt x="2579" y="780"/>
                  <a:pt x="2579" y="780"/>
                </a:cubicBezTo>
                <a:cubicBezTo>
                  <a:pt x="2580" y="778"/>
                  <a:pt x="2581" y="778"/>
                  <a:pt x="2584" y="777"/>
                </a:cubicBezTo>
                <a:cubicBezTo>
                  <a:pt x="2585" y="777"/>
                  <a:pt x="2585" y="777"/>
                  <a:pt x="2585" y="777"/>
                </a:cubicBezTo>
                <a:cubicBezTo>
                  <a:pt x="2585" y="777"/>
                  <a:pt x="2585" y="777"/>
                  <a:pt x="2585" y="777"/>
                </a:cubicBezTo>
                <a:cubicBezTo>
                  <a:pt x="2585" y="777"/>
                  <a:pt x="2585" y="777"/>
                  <a:pt x="2585" y="777"/>
                </a:cubicBezTo>
                <a:cubicBezTo>
                  <a:pt x="2585" y="775"/>
                  <a:pt x="2589" y="774"/>
                  <a:pt x="2592" y="773"/>
                </a:cubicBezTo>
                <a:cubicBezTo>
                  <a:pt x="2593" y="773"/>
                  <a:pt x="2594" y="773"/>
                  <a:pt x="2594" y="773"/>
                </a:cubicBezTo>
                <a:cubicBezTo>
                  <a:pt x="2599" y="771"/>
                  <a:pt x="2601" y="767"/>
                  <a:pt x="2601" y="759"/>
                </a:cubicBezTo>
                <a:cubicBezTo>
                  <a:pt x="2601" y="745"/>
                  <a:pt x="2596" y="737"/>
                  <a:pt x="2589" y="729"/>
                </a:cubicBezTo>
                <a:cubicBezTo>
                  <a:pt x="2589" y="729"/>
                  <a:pt x="2589" y="729"/>
                  <a:pt x="2589" y="729"/>
                </a:cubicBezTo>
                <a:cubicBezTo>
                  <a:pt x="2586" y="726"/>
                  <a:pt x="2583" y="723"/>
                  <a:pt x="2584" y="718"/>
                </a:cubicBezTo>
                <a:cubicBezTo>
                  <a:pt x="2587" y="718"/>
                  <a:pt x="2590" y="716"/>
                  <a:pt x="2593" y="713"/>
                </a:cubicBezTo>
                <a:cubicBezTo>
                  <a:pt x="2594" y="712"/>
                  <a:pt x="2595" y="711"/>
                  <a:pt x="2596" y="710"/>
                </a:cubicBezTo>
                <a:cubicBezTo>
                  <a:pt x="2599" y="708"/>
                  <a:pt x="2601" y="706"/>
                  <a:pt x="2602" y="704"/>
                </a:cubicBezTo>
                <a:cubicBezTo>
                  <a:pt x="2606" y="695"/>
                  <a:pt x="2608" y="689"/>
                  <a:pt x="2616" y="682"/>
                </a:cubicBezTo>
                <a:cubicBezTo>
                  <a:pt x="2617" y="683"/>
                  <a:pt x="2628" y="686"/>
                  <a:pt x="2637" y="686"/>
                </a:cubicBezTo>
                <a:cubicBezTo>
                  <a:pt x="2649" y="686"/>
                  <a:pt x="2661" y="667"/>
                  <a:pt x="2671" y="650"/>
                </a:cubicBezTo>
                <a:cubicBezTo>
                  <a:pt x="2675" y="642"/>
                  <a:pt x="2680" y="634"/>
                  <a:pt x="2684" y="630"/>
                </a:cubicBezTo>
                <a:cubicBezTo>
                  <a:pt x="2688" y="625"/>
                  <a:pt x="2696" y="613"/>
                  <a:pt x="2697" y="604"/>
                </a:cubicBezTo>
                <a:cubicBezTo>
                  <a:pt x="2698" y="599"/>
                  <a:pt x="2698" y="596"/>
                  <a:pt x="2698" y="592"/>
                </a:cubicBezTo>
                <a:cubicBezTo>
                  <a:pt x="2698" y="588"/>
                  <a:pt x="2698" y="583"/>
                  <a:pt x="2701" y="577"/>
                </a:cubicBezTo>
                <a:cubicBezTo>
                  <a:pt x="2704" y="570"/>
                  <a:pt x="2706" y="564"/>
                  <a:pt x="2706" y="558"/>
                </a:cubicBezTo>
                <a:cubicBezTo>
                  <a:pt x="2706" y="551"/>
                  <a:pt x="2699" y="539"/>
                  <a:pt x="2692" y="535"/>
                </a:cubicBezTo>
                <a:cubicBezTo>
                  <a:pt x="2690" y="534"/>
                  <a:pt x="2688" y="534"/>
                  <a:pt x="2686" y="535"/>
                </a:cubicBezTo>
                <a:cubicBezTo>
                  <a:pt x="2680" y="540"/>
                  <a:pt x="2674" y="542"/>
                  <a:pt x="2669" y="539"/>
                </a:cubicBezTo>
                <a:cubicBezTo>
                  <a:pt x="2662" y="535"/>
                  <a:pt x="2659" y="526"/>
                  <a:pt x="2659" y="525"/>
                </a:cubicBezTo>
                <a:cubicBezTo>
                  <a:pt x="2659" y="518"/>
                  <a:pt x="2667" y="511"/>
                  <a:pt x="2674" y="504"/>
                </a:cubicBezTo>
                <a:cubicBezTo>
                  <a:pt x="2677" y="502"/>
                  <a:pt x="2680" y="499"/>
                  <a:pt x="2682" y="497"/>
                </a:cubicBezTo>
                <a:cubicBezTo>
                  <a:pt x="2684" y="495"/>
                  <a:pt x="2686" y="493"/>
                  <a:pt x="2688" y="490"/>
                </a:cubicBezTo>
                <a:cubicBezTo>
                  <a:pt x="2696" y="480"/>
                  <a:pt x="2707" y="468"/>
                  <a:pt x="2717" y="464"/>
                </a:cubicBezTo>
                <a:cubicBezTo>
                  <a:pt x="2729" y="461"/>
                  <a:pt x="2765" y="457"/>
                  <a:pt x="2776" y="457"/>
                </a:cubicBezTo>
                <a:cubicBezTo>
                  <a:pt x="2783" y="457"/>
                  <a:pt x="2788" y="460"/>
                  <a:pt x="2792" y="461"/>
                </a:cubicBezTo>
                <a:cubicBezTo>
                  <a:pt x="2795" y="463"/>
                  <a:pt x="2798" y="464"/>
                  <a:pt x="2802" y="464"/>
                </a:cubicBezTo>
                <a:cubicBezTo>
                  <a:pt x="2819" y="464"/>
                  <a:pt x="2819" y="464"/>
                  <a:pt x="2819" y="464"/>
                </a:cubicBezTo>
                <a:cubicBezTo>
                  <a:pt x="2819" y="464"/>
                  <a:pt x="2819" y="464"/>
                  <a:pt x="2819" y="464"/>
                </a:cubicBezTo>
                <a:cubicBezTo>
                  <a:pt x="2825" y="439"/>
                  <a:pt x="2835" y="428"/>
                  <a:pt x="2854" y="428"/>
                </a:cubicBezTo>
                <a:cubicBezTo>
                  <a:pt x="2856" y="428"/>
                  <a:pt x="2857" y="428"/>
                  <a:pt x="2859" y="427"/>
                </a:cubicBezTo>
                <a:cubicBezTo>
                  <a:pt x="2862" y="427"/>
                  <a:pt x="2865" y="427"/>
                  <a:pt x="2872" y="428"/>
                </a:cubicBezTo>
                <a:cubicBezTo>
                  <a:pt x="2870" y="430"/>
                  <a:pt x="2869" y="435"/>
                  <a:pt x="2869" y="438"/>
                </a:cubicBezTo>
                <a:cubicBezTo>
                  <a:pt x="2870" y="440"/>
                  <a:pt x="2871" y="441"/>
                  <a:pt x="2872" y="441"/>
                </a:cubicBezTo>
                <a:cubicBezTo>
                  <a:pt x="2877" y="443"/>
                  <a:pt x="2886" y="434"/>
                  <a:pt x="2899" y="415"/>
                </a:cubicBezTo>
                <a:cubicBezTo>
                  <a:pt x="2901" y="415"/>
                  <a:pt x="2905" y="417"/>
                  <a:pt x="2907" y="421"/>
                </a:cubicBezTo>
                <a:cubicBezTo>
                  <a:pt x="2908" y="424"/>
                  <a:pt x="2906" y="430"/>
                  <a:pt x="2894" y="439"/>
                </a:cubicBezTo>
                <a:cubicBezTo>
                  <a:pt x="2891" y="442"/>
                  <a:pt x="2887" y="443"/>
                  <a:pt x="2884" y="443"/>
                </a:cubicBezTo>
                <a:cubicBezTo>
                  <a:pt x="2880" y="445"/>
                  <a:pt x="2876" y="446"/>
                  <a:pt x="2872" y="451"/>
                </a:cubicBezTo>
                <a:cubicBezTo>
                  <a:pt x="2871" y="454"/>
                  <a:pt x="2869" y="456"/>
                  <a:pt x="2868" y="459"/>
                </a:cubicBezTo>
                <a:cubicBezTo>
                  <a:pt x="2863" y="468"/>
                  <a:pt x="2858" y="476"/>
                  <a:pt x="2851" y="481"/>
                </a:cubicBezTo>
                <a:cubicBezTo>
                  <a:pt x="2842" y="486"/>
                  <a:pt x="2832" y="495"/>
                  <a:pt x="2832" y="509"/>
                </a:cubicBezTo>
                <a:cubicBezTo>
                  <a:pt x="2832" y="520"/>
                  <a:pt x="2835" y="564"/>
                  <a:pt x="2845" y="572"/>
                </a:cubicBezTo>
                <a:cubicBezTo>
                  <a:pt x="2845" y="573"/>
                  <a:pt x="2845" y="573"/>
                  <a:pt x="2845" y="573"/>
                </a:cubicBezTo>
                <a:cubicBezTo>
                  <a:pt x="2845" y="572"/>
                  <a:pt x="2845" y="572"/>
                  <a:pt x="2845" y="572"/>
                </a:cubicBezTo>
                <a:cubicBezTo>
                  <a:pt x="2847" y="569"/>
                  <a:pt x="2848" y="566"/>
                  <a:pt x="2850" y="562"/>
                </a:cubicBezTo>
                <a:cubicBezTo>
                  <a:pt x="2854" y="553"/>
                  <a:pt x="2859" y="542"/>
                  <a:pt x="2868" y="539"/>
                </a:cubicBezTo>
                <a:cubicBezTo>
                  <a:pt x="2868" y="539"/>
                  <a:pt x="2868" y="539"/>
                  <a:pt x="2868" y="539"/>
                </a:cubicBezTo>
                <a:cubicBezTo>
                  <a:pt x="2868" y="539"/>
                  <a:pt x="2868" y="539"/>
                  <a:pt x="2868" y="539"/>
                </a:cubicBezTo>
                <a:cubicBezTo>
                  <a:pt x="2868" y="534"/>
                  <a:pt x="2871" y="531"/>
                  <a:pt x="2875" y="528"/>
                </a:cubicBezTo>
                <a:cubicBezTo>
                  <a:pt x="2878" y="526"/>
                  <a:pt x="2881" y="523"/>
                  <a:pt x="2881" y="520"/>
                </a:cubicBezTo>
                <a:cubicBezTo>
                  <a:pt x="2881" y="513"/>
                  <a:pt x="2884" y="510"/>
                  <a:pt x="2887" y="506"/>
                </a:cubicBezTo>
                <a:cubicBezTo>
                  <a:pt x="2889" y="504"/>
                  <a:pt x="2891" y="502"/>
                  <a:pt x="2891" y="499"/>
                </a:cubicBezTo>
                <a:cubicBezTo>
                  <a:pt x="2891" y="497"/>
                  <a:pt x="2891" y="496"/>
                  <a:pt x="2891" y="495"/>
                </a:cubicBezTo>
                <a:cubicBezTo>
                  <a:pt x="2890" y="492"/>
                  <a:pt x="2889" y="488"/>
                  <a:pt x="2891" y="483"/>
                </a:cubicBezTo>
                <a:cubicBezTo>
                  <a:pt x="2900" y="463"/>
                  <a:pt x="2908" y="452"/>
                  <a:pt x="2918" y="448"/>
                </a:cubicBezTo>
                <a:cubicBezTo>
                  <a:pt x="2927" y="445"/>
                  <a:pt x="2935" y="449"/>
                  <a:pt x="2940" y="452"/>
                </a:cubicBezTo>
                <a:cubicBezTo>
                  <a:pt x="2943" y="454"/>
                  <a:pt x="2946" y="456"/>
                  <a:pt x="2948" y="456"/>
                </a:cubicBezTo>
                <a:cubicBezTo>
                  <a:pt x="2962" y="456"/>
                  <a:pt x="2975" y="445"/>
                  <a:pt x="2986" y="434"/>
                </a:cubicBezTo>
                <a:cubicBezTo>
                  <a:pt x="2997" y="425"/>
                  <a:pt x="3007" y="416"/>
                  <a:pt x="3019" y="415"/>
                </a:cubicBezTo>
                <a:cubicBezTo>
                  <a:pt x="3033" y="415"/>
                  <a:pt x="3041" y="413"/>
                  <a:pt x="3042" y="409"/>
                </a:cubicBezTo>
                <a:cubicBezTo>
                  <a:pt x="3043" y="405"/>
                  <a:pt x="3038" y="400"/>
                  <a:pt x="3034" y="395"/>
                </a:cubicBezTo>
                <a:cubicBezTo>
                  <a:pt x="3031" y="393"/>
                  <a:pt x="3028" y="390"/>
                  <a:pt x="3028" y="389"/>
                </a:cubicBezTo>
                <a:cubicBezTo>
                  <a:pt x="3028" y="380"/>
                  <a:pt x="3035" y="378"/>
                  <a:pt x="3041" y="375"/>
                </a:cubicBezTo>
                <a:cubicBezTo>
                  <a:pt x="3045" y="373"/>
                  <a:pt x="3048" y="372"/>
                  <a:pt x="3050" y="368"/>
                </a:cubicBezTo>
                <a:cubicBezTo>
                  <a:pt x="3051" y="367"/>
                  <a:pt x="3051" y="365"/>
                  <a:pt x="3051" y="363"/>
                </a:cubicBezTo>
                <a:cubicBezTo>
                  <a:pt x="3051" y="361"/>
                  <a:pt x="3051" y="358"/>
                  <a:pt x="3052" y="357"/>
                </a:cubicBezTo>
                <a:cubicBezTo>
                  <a:pt x="3052" y="356"/>
                  <a:pt x="3053" y="356"/>
                  <a:pt x="3054" y="356"/>
                </a:cubicBezTo>
                <a:cubicBezTo>
                  <a:pt x="3065" y="356"/>
                  <a:pt x="3074" y="365"/>
                  <a:pt x="3083" y="373"/>
                </a:cubicBezTo>
                <a:cubicBezTo>
                  <a:pt x="3090" y="379"/>
                  <a:pt x="3097" y="386"/>
                  <a:pt x="3104" y="386"/>
                </a:cubicBezTo>
                <a:cubicBezTo>
                  <a:pt x="3108" y="386"/>
                  <a:pt x="3110" y="380"/>
                  <a:pt x="3112" y="375"/>
                </a:cubicBezTo>
                <a:cubicBezTo>
                  <a:pt x="3113" y="372"/>
                  <a:pt x="3113" y="370"/>
                  <a:pt x="3115" y="368"/>
                </a:cubicBezTo>
                <a:cubicBezTo>
                  <a:pt x="3118" y="363"/>
                  <a:pt x="3122" y="362"/>
                  <a:pt x="3127" y="361"/>
                </a:cubicBezTo>
                <a:cubicBezTo>
                  <a:pt x="3129" y="360"/>
                  <a:pt x="3131" y="360"/>
                  <a:pt x="3133" y="359"/>
                </a:cubicBezTo>
                <a:cubicBezTo>
                  <a:pt x="3133" y="359"/>
                  <a:pt x="3133" y="359"/>
                  <a:pt x="3133" y="359"/>
                </a:cubicBezTo>
                <a:lnTo>
                  <a:pt x="3133" y="358"/>
                </a:lnTo>
                <a:close/>
                <a:moveTo>
                  <a:pt x="1906" y="660"/>
                </a:moveTo>
                <a:cubicBezTo>
                  <a:pt x="1906" y="665"/>
                  <a:pt x="1908" y="666"/>
                  <a:pt x="1910" y="668"/>
                </a:cubicBezTo>
                <a:cubicBezTo>
                  <a:pt x="1911" y="669"/>
                  <a:pt x="1912" y="669"/>
                  <a:pt x="1913" y="671"/>
                </a:cubicBezTo>
                <a:cubicBezTo>
                  <a:pt x="1915" y="675"/>
                  <a:pt x="1917" y="678"/>
                  <a:pt x="1919" y="681"/>
                </a:cubicBezTo>
                <a:cubicBezTo>
                  <a:pt x="1923" y="686"/>
                  <a:pt x="1927" y="691"/>
                  <a:pt x="1927" y="700"/>
                </a:cubicBezTo>
                <a:cubicBezTo>
                  <a:pt x="1927" y="701"/>
                  <a:pt x="1927" y="701"/>
                  <a:pt x="1927" y="701"/>
                </a:cubicBezTo>
                <a:cubicBezTo>
                  <a:pt x="1927" y="701"/>
                  <a:pt x="1927" y="701"/>
                  <a:pt x="1927" y="701"/>
                </a:cubicBezTo>
                <a:cubicBezTo>
                  <a:pt x="1929" y="700"/>
                  <a:pt x="1929" y="700"/>
                  <a:pt x="1929" y="700"/>
                </a:cubicBezTo>
                <a:cubicBezTo>
                  <a:pt x="1931" y="698"/>
                  <a:pt x="1935" y="696"/>
                  <a:pt x="1937" y="695"/>
                </a:cubicBezTo>
                <a:cubicBezTo>
                  <a:pt x="1938" y="698"/>
                  <a:pt x="1939" y="700"/>
                  <a:pt x="1940" y="702"/>
                </a:cubicBezTo>
                <a:cubicBezTo>
                  <a:pt x="1941" y="704"/>
                  <a:pt x="1942" y="705"/>
                  <a:pt x="1942" y="708"/>
                </a:cubicBezTo>
                <a:cubicBezTo>
                  <a:pt x="1934" y="708"/>
                  <a:pt x="1934" y="708"/>
                  <a:pt x="1934" y="708"/>
                </a:cubicBezTo>
                <a:cubicBezTo>
                  <a:pt x="1930" y="708"/>
                  <a:pt x="1928" y="712"/>
                  <a:pt x="1927" y="717"/>
                </a:cubicBezTo>
                <a:cubicBezTo>
                  <a:pt x="1927" y="717"/>
                  <a:pt x="1927" y="717"/>
                  <a:pt x="1927" y="717"/>
                </a:cubicBezTo>
                <a:cubicBezTo>
                  <a:pt x="1927" y="717"/>
                  <a:pt x="1927" y="717"/>
                  <a:pt x="1927" y="717"/>
                </a:cubicBezTo>
                <a:cubicBezTo>
                  <a:pt x="1934" y="718"/>
                  <a:pt x="1938" y="725"/>
                  <a:pt x="1938" y="732"/>
                </a:cubicBezTo>
                <a:cubicBezTo>
                  <a:pt x="1938" y="733"/>
                  <a:pt x="1937" y="735"/>
                  <a:pt x="1937" y="736"/>
                </a:cubicBezTo>
                <a:cubicBezTo>
                  <a:pt x="1936" y="737"/>
                  <a:pt x="1936" y="738"/>
                  <a:pt x="1936" y="740"/>
                </a:cubicBezTo>
                <a:cubicBezTo>
                  <a:pt x="1936" y="743"/>
                  <a:pt x="1938" y="746"/>
                  <a:pt x="1939" y="747"/>
                </a:cubicBezTo>
                <a:cubicBezTo>
                  <a:pt x="1939" y="753"/>
                  <a:pt x="1939" y="753"/>
                  <a:pt x="1939" y="753"/>
                </a:cubicBezTo>
                <a:cubicBezTo>
                  <a:pt x="1937" y="753"/>
                  <a:pt x="1931" y="755"/>
                  <a:pt x="1925" y="755"/>
                </a:cubicBezTo>
                <a:cubicBezTo>
                  <a:pt x="1924" y="755"/>
                  <a:pt x="1923" y="755"/>
                  <a:pt x="1923" y="755"/>
                </a:cubicBezTo>
                <a:cubicBezTo>
                  <a:pt x="1919" y="755"/>
                  <a:pt x="1913" y="755"/>
                  <a:pt x="1911" y="753"/>
                </a:cubicBezTo>
                <a:cubicBezTo>
                  <a:pt x="1910" y="752"/>
                  <a:pt x="1910" y="751"/>
                  <a:pt x="1909" y="750"/>
                </a:cubicBezTo>
                <a:cubicBezTo>
                  <a:pt x="1908" y="749"/>
                  <a:pt x="1907" y="747"/>
                  <a:pt x="1905" y="746"/>
                </a:cubicBezTo>
                <a:cubicBezTo>
                  <a:pt x="1904" y="746"/>
                  <a:pt x="1903" y="746"/>
                  <a:pt x="1902" y="746"/>
                </a:cubicBezTo>
                <a:cubicBezTo>
                  <a:pt x="1900" y="747"/>
                  <a:pt x="1898" y="747"/>
                  <a:pt x="1897" y="744"/>
                </a:cubicBezTo>
                <a:cubicBezTo>
                  <a:pt x="1896" y="742"/>
                  <a:pt x="1896" y="741"/>
                  <a:pt x="1896" y="739"/>
                </a:cubicBezTo>
                <a:cubicBezTo>
                  <a:pt x="1896" y="737"/>
                  <a:pt x="1896" y="735"/>
                  <a:pt x="1895" y="733"/>
                </a:cubicBezTo>
                <a:cubicBezTo>
                  <a:pt x="1894" y="732"/>
                  <a:pt x="1894" y="731"/>
                  <a:pt x="1893" y="731"/>
                </a:cubicBezTo>
                <a:cubicBezTo>
                  <a:pt x="1892" y="730"/>
                  <a:pt x="1891" y="729"/>
                  <a:pt x="1891" y="728"/>
                </a:cubicBezTo>
                <a:cubicBezTo>
                  <a:pt x="1895" y="728"/>
                  <a:pt x="1895" y="728"/>
                  <a:pt x="1895" y="728"/>
                </a:cubicBezTo>
                <a:cubicBezTo>
                  <a:pt x="1895" y="728"/>
                  <a:pt x="1895" y="728"/>
                  <a:pt x="1895" y="728"/>
                </a:cubicBezTo>
                <a:cubicBezTo>
                  <a:pt x="1895" y="728"/>
                  <a:pt x="1895" y="728"/>
                  <a:pt x="1895" y="728"/>
                </a:cubicBezTo>
                <a:cubicBezTo>
                  <a:pt x="1897" y="726"/>
                  <a:pt x="1898" y="723"/>
                  <a:pt x="1899" y="721"/>
                </a:cubicBezTo>
                <a:cubicBezTo>
                  <a:pt x="1900" y="717"/>
                  <a:pt x="1901" y="713"/>
                  <a:pt x="1904" y="712"/>
                </a:cubicBezTo>
                <a:cubicBezTo>
                  <a:pt x="1905" y="711"/>
                  <a:pt x="1905" y="711"/>
                  <a:pt x="1905" y="711"/>
                </a:cubicBezTo>
                <a:cubicBezTo>
                  <a:pt x="1904" y="711"/>
                  <a:pt x="1904" y="711"/>
                  <a:pt x="1904" y="711"/>
                </a:cubicBezTo>
                <a:cubicBezTo>
                  <a:pt x="1896" y="706"/>
                  <a:pt x="1883" y="685"/>
                  <a:pt x="1883" y="673"/>
                </a:cubicBezTo>
                <a:cubicBezTo>
                  <a:pt x="1883" y="672"/>
                  <a:pt x="1882" y="670"/>
                  <a:pt x="1880" y="667"/>
                </a:cubicBezTo>
                <a:cubicBezTo>
                  <a:pt x="1878" y="665"/>
                  <a:pt x="1876" y="662"/>
                  <a:pt x="1876" y="659"/>
                </a:cubicBezTo>
                <a:cubicBezTo>
                  <a:pt x="1876" y="658"/>
                  <a:pt x="1882" y="645"/>
                  <a:pt x="1884" y="643"/>
                </a:cubicBezTo>
                <a:cubicBezTo>
                  <a:pt x="1885" y="643"/>
                  <a:pt x="1888" y="642"/>
                  <a:pt x="1894" y="639"/>
                </a:cubicBezTo>
                <a:cubicBezTo>
                  <a:pt x="1894" y="638"/>
                  <a:pt x="1895" y="638"/>
                  <a:pt x="1895" y="638"/>
                </a:cubicBezTo>
                <a:cubicBezTo>
                  <a:pt x="1897" y="637"/>
                  <a:pt x="1897" y="637"/>
                  <a:pt x="1897" y="637"/>
                </a:cubicBezTo>
                <a:cubicBezTo>
                  <a:pt x="1904" y="634"/>
                  <a:pt x="1909" y="632"/>
                  <a:pt x="1918" y="632"/>
                </a:cubicBezTo>
                <a:cubicBezTo>
                  <a:pt x="1933" y="632"/>
                  <a:pt x="1936" y="639"/>
                  <a:pt x="1941" y="647"/>
                </a:cubicBezTo>
                <a:cubicBezTo>
                  <a:pt x="1942" y="649"/>
                  <a:pt x="1943" y="650"/>
                  <a:pt x="1943" y="651"/>
                </a:cubicBezTo>
                <a:cubicBezTo>
                  <a:pt x="1940" y="653"/>
                  <a:pt x="1937" y="652"/>
                  <a:pt x="1933" y="652"/>
                </a:cubicBezTo>
                <a:cubicBezTo>
                  <a:pt x="1931" y="651"/>
                  <a:pt x="1929" y="651"/>
                  <a:pt x="1927" y="651"/>
                </a:cubicBezTo>
                <a:cubicBezTo>
                  <a:pt x="1922" y="651"/>
                  <a:pt x="1914" y="655"/>
                  <a:pt x="1909" y="658"/>
                </a:cubicBezTo>
                <a:cubicBezTo>
                  <a:pt x="1908" y="659"/>
                  <a:pt x="1906" y="660"/>
                  <a:pt x="1906" y="660"/>
                </a:cubicBezTo>
                <a:cubicBezTo>
                  <a:pt x="1905" y="659"/>
                  <a:pt x="1905" y="659"/>
                  <a:pt x="1905" y="659"/>
                </a:cubicBezTo>
                <a:lnTo>
                  <a:pt x="1906" y="660"/>
                </a:lnTo>
                <a:close/>
                <a:moveTo>
                  <a:pt x="3035" y="274"/>
                </a:moveTo>
                <a:cubicBezTo>
                  <a:pt x="3035" y="274"/>
                  <a:pt x="3063" y="273"/>
                  <a:pt x="3063" y="267"/>
                </a:cubicBezTo>
                <a:cubicBezTo>
                  <a:pt x="3063" y="262"/>
                  <a:pt x="3051" y="258"/>
                  <a:pt x="3047" y="258"/>
                </a:cubicBezTo>
                <a:cubicBezTo>
                  <a:pt x="3041" y="258"/>
                  <a:pt x="3032" y="265"/>
                  <a:pt x="3032" y="270"/>
                </a:cubicBezTo>
                <a:cubicBezTo>
                  <a:pt x="3032" y="272"/>
                  <a:pt x="3033" y="274"/>
                  <a:pt x="3035" y="274"/>
                </a:cubicBezTo>
                <a:close/>
                <a:moveTo>
                  <a:pt x="2948" y="296"/>
                </a:moveTo>
                <a:cubicBezTo>
                  <a:pt x="2950" y="296"/>
                  <a:pt x="2952" y="294"/>
                  <a:pt x="2952" y="292"/>
                </a:cubicBezTo>
                <a:cubicBezTo>
                  <a:pt x="2952" y="290"/>
                  <a:pt x="2951" y="290"/>
                  <a:pt x="2950" y="289"/>
                </a:cubicBezTo>
                <a:cubicBezTo>
                  <a:pt x="2949" y="288"/>
                  <a:pt x="2949" y="288"/>
                  <a:pt x="2949" y="288"/>
                </a:cubicBezTo>
                <a:cubicBezTo>
                  <a:pt x="2949" y="287"/>
                  <a:pt x="2949" y="287"/>
                  <a:pt x="2949" y="287"/>
                </a:cubicBezTo>
                <a:cubicBezTo>
                  <a:pt x="2938" y="287"/>
                  <a:pt x="2938" y="287"/>
                  <a:pt x="2938" y="287"/>
                </a:cubicBezTo>
                <a:cubicBezTo>
                  <a:pt x="2938" y="288"/>
                  <a:pt x="2938" y="288"/>
                  <a:pt x="2938" y="288"/>
                </a:cubicBezTo>
                <a:cubicBezTo>
                  <a:pt x="2941" y="293"/>
                  <a:pt x="2944" y="296"/>
                  <a:pt x="2948" y="296"/>
                </a:cubicBezTo>
                <a:close/>
                <a:moveTo>
                  <a:pt x="2655" y="185"/>
                </a:moveTo>
                <a:cubicBezTo>
                  <a:pt x="2658" y="185"/>
                  <a:pt x="2658" y="182"/>
                  <a:pt x="2658" y="180"/>
                </a:cubicBezTo>
                <a:cubicBezTo>
                  <a:pt x="2658" y="180"/>
                  <a:pt x="2658" y="180"/>
                  <a:pt x="2658" y="180"/>
                </a:cubicBezTo>
                <a:cubicBezTo>
                  <a:pt x="2658" y="179"/>
                  <a:pt x="2658" y="179"/>
                  <a:pt x="2658" y="179"/>
                </a:cubicBezTo>
                <a:cubicBezTo>
                  <a:pt x="2658" y="179"/>
                  <a:pt x="2658" y="179"/>
                  <a:pt x="2658" y="179"/>
                </a:cubicBezTo>
                <a:cubicBezTo>
                  <a:pt x="2658" y="179"/>
                  <a:pt x="2658" y="179"/>
                  <a:pt x="2658" y="179"/>
                </a:cubicBezTo>
                <a:cubicBezTo>
                  <a:pt x="2655" y="176"/>
                  <a:pt x="2655" y="176"/>
                  <a:pt x="2655" y="176"/>
                </a:cubicBezTo>
                <a:cubicBezTo>
                  <a:pt x="2655" y="176"/>
                  <a:pt x="2655" y="176"/>
                  <a:pt x="2655" y="176"/>
                </a:cubicBezTo>
                <a:cubicBezTo>
                  <a:pt x="2655" y="176"/>
                  <a:pt x="2655" y="176"/>
                  <a:pt x="2655" y="176"/>
                </a:cubicBezTo>
                <a:cubicBezTo>
                  <a:pt x="2654" y="177"/>
                  <a:pt x="2654" y="177"/>
                  <a:pt x="2654" y="177"/>
                </a:cubicBezTo>
                <a:cubicBezTo>
                  <a:pt x="2653" y="179"/>
                  <a:pt x="2652" y="180"/>
                  <a:pt x="2652" y="182"/>
                </a:cubicBezTo>
                <a:cubicBezTo>
                  <a:pt x="2652" y="184"/>
                  <a:pt x="2653" y="185"/>
                  <a:pt x="2655" y="185"/>
                </a:cubicBezTo>
                <a:close/>
                <a:moveTo>
                  <a:pt x="2452" y="202"/>
                </a:moveTo>
                <a:cubicBezTo>
                  <a:pt x="2449" y="202"/>
                  <a:pt x="2445" y="204"/>
                  <a:pt x="2445" y="207"/>
                </a:cubicBezTo>
                <a:cubicBezTo>
                  <a:pt x="2445" y="210"/>
                  <a:pt x="2448" y="212"/>
                  <a:pt x="2452" y="212"/>
                </a:cubicBezTo>
                <a:cubicBezTo>
                  <a:pt x="2454" y="212"/>
                  <a:pt x="2456" y="212"/>
                  <a:pt x="2457" y="211"/>
                </a:cubicBezTo>
                <a:cubicBezTo>
                  <a:pt x="2457" y="211"/>
                  <a:pt x="2457" y="211"/>
                  <a:pt x="2457" y="211"/>
                </a:cubicBezTo>
                <a:cubicBezTo>
                  <a:pt x="2457" y="211"/>
                  <a:pt x="2457" y="211"/>
                  <a:pt x="2457" y="211"/>
                </a:cubicBezTo>
                <a:cubicBezTo>
                  <a:pt x="2457" y="211"/>
                  <a:pt x="2457" y="211"/>
                  <a:pt x="2457" y="211"/>
                </a:cubicBezTo>
                <a:cubicBezTo>
                  <a:pt x="2457" y="212"/>
                  <a:pt x="2457" y="212"/>
                  <a:pt x="2457" y="212"/>
                </a:cubicBezTo>
                <a:cubicBezTo>
                  <a:pt x="2460" y="209"/>
                  <a:pt x="2460" y="209"/>
                  <a:pt x="2460" y="209"/>
                </a:cubicBezTo>
                <a:cubicBezTo>
                  <a:pt x="2459" y="209"/>
                  <a:pt x="2459" y="209"/>
                  <a:pt x="2459" y="209"/>
                </a:cubicBezTo>
                <a:cubicBezTo>
                  <a:pt x="2460" y="209"/>
                  <a:pt x="2460" y="208"/>
                  <a:pt x="2460" y="207"/>
                </a:cubicBezTo>
                <a:cubicBezTo>
                  <a:pt x="2460" y="202"/>
                  <a:pt x="2456" y="202"/>
                  <a:pt x="2452" y="202"/>
                </a:cubicBezTo>
                <a:close/>
                <a:moveTo>
                  <a:pt x="2340" y="123"/>
                </a:moveTo>
                <a:cubicBezTo>
                  <a:pt x="2339" y="124"/>
                  <a:pt x="2337" y="125"/>
                  <a:pt x="2337" y="130"/>
                </a:cubicBezTo>
                <a:cubicBezTo>
                  <a:pt x="2337" y="133"/>
                  <a:pt x="2337" y="135"/>
                  <a:pt x="2342" y="135"/>
                </a:cubicBezTo>
                <a:cubicBezTo>
                  <a:pt x="2342" y="135"/>
                  <a:pt x="2342" y="135"/>
                  <a:pt x="2342" y="135"/>
                </a:cubicBezTo>
                <a:cubicBezTo>
                  <a:pt x="2342" y="135"/>
                  <a:pt x="2342" y="135"/>
                  <a:pt x="2342" y="135"/>
                </a:cubicBezTo>
                <a:cubicBezTo>
                  <a:pt x="2358" y="130"/>
                  <a:pt x="2358" y="130"/>
                  <a:pt x="2358" y="130"/>
                </a:cubicBezTo>
                <a:cubicBezTo>
                  <a:pt x="2361" y="129"/>
                  <a:pt x="2368" y="128"/>
                  <a:pt x="2369" y="128"/>
                </a:cubicBezTo>
                <a:cubicBezTo>
                  <a:pt x="2373" y="129"/>
                  <a:pt x="2384" y="128"/>
                  <a:pt x="2388" y="124"/>
                </a:cubicBezTo>
                <a:cubicBezTo>
                  <a:pt x="2390" y="123"/>
                  <a:pt x="2391" y="121"/>
                  <a:pt x="2391" y="119"/>
                </a:cubicBezTo>
                <a:cubicBezTo>
                  <a:pt x="2391" y="114"/>
                  <a:pt x="2378" y="105"/>
                  <a:pt x="2373" y="105"/>
                </a:cubicBezTo>
                <a:cubicBezTo>
                  <a:pt x="2372" y="105"/>
                  <a:pt x="2371" y="106"/>
                  <a:pt x="2370" y="107"/>
                </a:cubicBezTo>
                <a:cubicBezTo>
                  <a:pt x="2370" y="107"/>
                  <a:pt x="2369" y="107"/>
                  <a:pt x="2369" y="107"/>
                </a:cubicBezTo>
                <a:cubicBezTo>
                  <a:pt x="2370" y="106"/>
                  <a:pt x="2370" y="106"/>
                  <a:pt x="2369" y="105"/>
                </a:cubicBezTo>
                <a:cubicBezTo>
                  <a:pt x="2369" y="104"/>
                  <a:pt x="2369" y="103"/>
                  <a:pt x="2369" y="101"/>
                </a:cubicBezTo>
                <a:cubicBezTo>
                  <a:pt x="2369" y="101"/>
                  <a:pt x="2369" y="101"/>
                  <a:pt x="2369" y="101"/>
                </a:cubicBezTo>
                <a:cubicBezTo>
                  <a:pt x="2365" y="101"/>
                  <a:pt x="2365" y="101"/>
                  <a:pt x="2365" y="101"/>
                </a:cubicBezTo>
                <a:cubicBezTo>
                  <a:pt x="2356" y="101"/>
                  <a:pt x="2352" y="107"/>
                  <a:pt x="2348" y="114"/>
                </a:cubicBezTo>
                <a:cubicBezTo>
                  <a:pt x="2346" y="116"/>
                  <a:pt x="2344" y="119"/>
                  <a:pt x="2342" y="122"/>
                </a:cubicBezTo>
                <a:cubicBezTo>
                  <a:pt x="2342" y="122"/>
                  <a:pt x="2341" y="123"/>
                  <a:pt x="2340" y="123"/>
                </a:cubicBezTo>
                <a:close/>
                <a:moveTo>
                  <a:pt x="2283" y="89"/>
                </a:moveTo>
                <a:cubicBezTo>
                  <a:pt x="2283" y="89"/>
                  <a:pt x="2283" y="89"/>
                  <a:pt x="2283" y="89"/>
                </a:cubicBezTo>
                <a:cubicBezTo>
                  <a:pt x="2282" y="89"/>
                  <a:pt x="2280" y="88"/>
                  <a:pt x="2278" y="87"/>
                </a:cubicBezTo>
                <a:cubicBezTo>
                  <a:pt x="2274" y="85"/>
                  <a:pt x="2272" y="84"/>
                  <a:pt x="2271" y="84"/>
                </a:cubicBezTo>
                <a:cubicBezTo>
                  <a:pt x="2269" y="84"/>
                  <a:pt x="2262" y="84"/>
                  <a:pt x="2262" y="88"/>
                </a:cubicBezTo>
                <a:cubicBezTo>
                  <a:pt x="2262" y="91"/>
                  <a:pt x="2266" y="97"/>
                  <a:pt x="2269" y="97"/>
                </a:cubicBezTo>
                <a:cubicBezTo>
                  <a:pt x="2272" y="97"/>
                  <a:pt x="2283" y="96"/>
                  <a:pt x="2283" y="90"/>
                </a:cubicBezTo>
                <a:lnTo>
                  <a:pt x="2283" y="89"/>
                </a:lnTo>
                <a:close/>
                <a:moveTo>
                  <a:pt x="2292" y="86"/>
                </a:moveTo>
                <a:cubicBezTo>
                  <a:pt x="2292" y="86"/>
                  <a:pt x="2294" y="87"/>
                  <a:pt x="2297" y="87"/>
                </a:cubicBezTo>
                <a:cubicBezTo>
                  <a:pt x="2299" y="87"/>
                  <a:pt x="2301" y="87"/>
                  <a:pt x="2303" y="87"/>
                </a:cubicBezTo>
                <a:cubicBezTo>
                  <a:pt x="2299" y="89"/>
                  <a:pt x="2296" y="90"/>
                  <a:pt x="2293" y="92"/>
                </a:cubicBezTo>
                <a:cubicBezTo>
                  <a:pt x="2290" y="94"/>
                  <a:pt x="2286" y="96"/>
                  <a:pt x="2281" y="97"/>
                </a:cubicBezTo>
                <a:cubicBezTo>
                  <a:pt x="2281" y="98"/>
                  <a:pt x="2281" y="98"/>
                  <a:pt x="2281" y="98"/>
                </a:cubicBezTo>
                <a:cubicBezTo>
                  <a:pt x="2281" y="98"/>
                  <a:pt x="2281" y="98"/>
                  <a:pt x="2281" y="98"/>
                </a:cubicBezTo>
                <a:cubicBezTo>
                  <a:pt x="2283" y="99"/>
                  <a:pt x="2285" y="102"/>
                  <a:pt x="2288" y="104"/>
                </a:cubicBezTo>
                <a:cubicBezTo>
                  <a:pt x="2292" y="107"/>
                  <a:pt x="2295" y="111"/>
                  <a:pt x="2298" y="111"/>
                </a:cubicBezTo>
                <a:cubicBezTo>
                  <a:pt x="2303" y="111"/>
                  <a:pt x="2308" y="112"/>
                  <a:pt x="2313" y="114"/>
                </a:cubicBezTo>
                <a:cubicBezTo>
                  <a:pt x="2319" y="115"/>
                  <a:pt x="2325" y="117"/>
                  <a:pt x="2332" y="117"/>
                </a:cubicBezTo>
                <a:cubicBezTo>
                  <a:pt x="2335" y="117"/>
                  <a:pt x="2339" y="115"/>
                  <a:pt x="2339" y="111"/>
                </a:cubicBezTo>
                <a:cubicBezTo>
                  <a:pt x="2339" y="109"/>
                  <a:pt x="2337" y="108"/>
                  <a:pt x="2335" y="107"/>
                </a:cubicBezTo>
                <a:cubicBezTo>
                  <a:pt x="2335" y="107"/>
                  <a:pt x="2335" y="107"/>
                  <a:pt x="2335" y="107"/>
                </a:cubicBezTo>
                <a:cubicBezTo>
                  <a:pt x="2337" y="107"/>
                  <a:pt x="2340" y="106"/>
                  <a:pt x="2340" y="103"/>
                </a:cubicBezTo>
                <a:cubicBezTo>
                  <a:pt x="2340" y="102"/>
                  <a:pt x="2340" y="102"/>
                  <a:pt x="2340" y="101"/>
                </a:cubicBezTo>
                <a:cubicBezTo>
                  <a:pt x="2340" y="99"/>
                  <a:pt x="2340" y="98"/>
                  <a:pt x="2343" y="96"/>
                </a:cubicBezTo>
                <a:cubicBezTo>
                  <a:pt x="2343" y="96"/>
                  <a:pt x="2343" y="96"/>
                  <a:pt x="2343" y="96"/>
                </a:cubicBezTo>
                <a:cubicBezTo>
                  <a:pt x="2343" y="95"/>
                  <a:pt x="2343" y="95"/>
                  <a:pt x="2343" y="95"/>
                </a:cubicBezTo>
                <a:cubicBezTo>
                  <a:pt x="2342" y="94"/>
                  <a:pt x="2341" y="93"/>
                  <a:pt x="2340" y="93"/>
                </a:cubicBezTo>
                <a:cubicBezTo>
                  <a:pt x="2338" y="90"/>
                  <a:pt x="2337" y="88"/>
                  <a:pt x="2332" y="88"/>
                </a:cubicBezTo>
                <a:cubicBezTo>
                  <a:pt x="2326" y="88"/>
                  <a:pt x="2326" y="88"/>
                  <a:pt x="2326" y="88"/>
                </a:cubicBezTo>
                <a:cubicBezTo>
                  <a:pt x="2324" y="88"/>
                  <a:pt x="2323" y="88"/>
                  <a:pt x="2322" y="87"/>
                </a:cubicBezTo>
                <a:cubicBezTo>
                  <a:pt x="2320" y="86"/>
                  <a:pt x="2319" y="85"/>
                  <a:pt x="2317" y="85"/>
                </a:cubicBezTo>
                <a:cubicBezTo>
                  <a:pt x="2316" y="85"/>
                  <a:pt x="2315" y="85"/>
                  <a:pt x="2315" y="85"/>
                </a:cubicBezTo>
                <a:cubicBezTo>
                  <a:pt x="2314" y="85"/>
                  <a:pt x="2313" y="84"/>
                  <a:pt x="2312" y="84"/>
                </a:cubicBezTo>
                <a:cubicBezTo>
                  <a:pt x="2315" y="83"/>
                  <a:pt x="2317" y="81"/>
                  <a:pt x="2317" y="79"/>
                </a:cubicBezTo>
                <a:cubicBezTo>
                  <a:pt x="2317" y="78"/>
                  <a:pt x="2317" y="78"/>
                  <a:pt x="2317" y="78"/>
                </a:cubicBezTo>
                <a:cubicBezTo>
                  <a:pt x="2317" y="76"/>
                  <a:pt x="2317" y="75"/>
                  <a:pt x="2317" y="73"/>
                </a:cubicBezTo>
                <a:cubicBezTo>
                  <a:pt x="2317" y="73"/>
                  <a:pt x="2317" y="73"/>
                  <a:pt x="2317" y="73"/>
                </a:cubicBezTo>
                <a:cubicBezTo>
                  <a:pt x="2317" y="73"/>
                  <a:pt x="2318" y="73"/>
                  <a:pt x="2320" y="72"/>
                </a:cubicBezTo>
                <a:cubicBezTo>
                  <a:pt x="2321" y="72"/>
                  <a:pt x="2321" y="72"/>
                  <a:pt x="2321" y="72"/>
                </a:cubicBezTo>
                <a:cubicBezTo>
                  <a:pt x="2320" y="71"/>
                  <a:pt x="2320" y="71"/>
                  <a:pt x="2320" y="71"/>
                </a:cubicBezTo>
                <a:cubicBezTo>
                  <a:pt x="2319" y="70"/>
                  <a:pt x="2317" y="69"/>
                  <a:pt x="2316" y="67"/>
                </a:cubicBezTo>
                <a:cubicBezTo>
                  <a:pt x="2312" y="63"/>
                  <a:pt x="2308" y="58"/>
                  <a:pt x="2302" y="58"/>
                </a:cubicBezTo>
                <a:cubicBezTo>
                  <a:pt x="2293" y="58"/>
                  <a:pt x="2288" y="63"/>
                  <a:pt x="2283" y="68"/>
                </a:cubicBezTo>
                <a:cubicBezTo>
                  <a:pt x="2279" y="72"/>
                  <a:pt x="2275" y="76"/>
                  <a:pt x="2269" y="78"/>
                </a:cubicBezTo>
                <a:cubicBezTo>
                  <a:pt x="2268" y="79"/>
                  <a:pt x="2268" y="79"/>
                  <a:pt x="2268" y="79"/>
                </a:cubicBezTo>
                <a:cubicBezTo>
                  <a:pt x="2269" y="79"/>
                  <a:pt x="2269" y="79"/>
                  <a:pt x="2269" y="79"/>
                </a:cubicBezTo>
                <a:cubicBezTo>
                  <a:pt x="2277" y="83"/>
                  <a:pt x="2283" y="86"/>
                  <a:pt x="2292" y="86"/>
                </a:cubicBezTo>
                <a:close/>
                <a:moveTo>
                  <a:pt x="2305" y="151"/>
                </a:moveTo>
                <a:cubicBezTo>
                  <a:pt x="2304" y="152"/>
                  <a:pt x="2302" y="153"/>
                  <a:pt x="2301" y="154"/>
                </a:cubicBezTo>
                <a:cubicBezTo>
                  <a:pt x="2300" y="154"/>
                  <a:pt x="2300" y="154"/>
                  <a:pt x="2300" y="154"/>
                </a:cubicBezTo>
                <a:cubicBezTo>
                  <a:pt x="2301" y="154"/>
                  <a:pt x="2301" y="154"/>
                  <a:pt x="2301" y="154"/>
                </a:cubicBezTo>
                <a:cubicBezTo>
                  <a:pt x="2301" y="156"/>
                  <a:pt x="2302" y="158"/>
                  <a:pt x="2304" y="158"/>
                </a:cubicBezTo>
                <a:cubicBezTo>
                  <a:pt x="2308" y="158"/>
                  <a:pt x="2310" y="156"/>
                  <a:pt x="2310" y="151"/>
                </a:cubicBezTo>
                <a:cubicBezTo>
                  <a:pt x="2311" y="150"/>
                  <a:pt x="2311" y="150"/>
                  <a:pt x="2311" y="150"/>
                </a:cubicBezTo>
                <a:cubicBezTo>
                  <a:pt x="2305" y="150"/>
                  <a:pt x="2305" y="150"/>
                  <a:pt x="2305" y="150"/>
                </a:cubicBezTo>
                <a:cubicBezTo>
                  <a:pt x="2305" y="150"/>
                  <a:pt x="2305" y="150"/>
                  <a:pt x="2305" y="150"/>
                </a:cubicBezTo>
                <a:lnTo>
                  <a:pt x="2305" y="151"/>
                </a:lnTo>
                <a:close/>
                <a:moveTo>
                  <a:pt x="2267" y="63"/>
                </a:moveTo>
                <a:cubicBezTo>
                  <a:pt x="2267" y="63"/>
                  <a:pt x="2267" y="63"/>
                  <a:pt x="2267" y="63"/>
                </a:cubicBezTo>
                <a:cubicBezTo>
                  <a:pt x="2268" y="63"/>
                  <a:pt x="2268" y="63"/>
                  <a:pt x="2268" y="63"/>
                </a:cubicBezTo>
                <a:cubicBezTo>
                  <a:pt x="2267" y="62"/>
                  <a:pt x="2267" y="62"/>
                  <a:pt x="2267" y="62"/>
                </a:cubicBezTo>
                <a:cubicBezTo>
                  <a:pt x="2266" y="60"/>
                  <a:pt x="2266" y="60"/>
                  <a:pt x="2266" y="60"/>
                </a:cubicBezTo>
                <a:cubicBezTo>
                  <a:pt x="2266" y="59"/>
                  <a:pt x="2266" y="59"/>
                  <a:pt x="2266" y="59"/>
                </a:cubicBezTo>
                <a:cubicBezTo>
                  <a:pt x="2254" y="59"/>
                  <a:pt x="2254" y="59"/>
                  <a:pt x="2254" y="59"/>
                </a:cubicBezTo>
                <a:cubicBezTo>
                  <a:pt x="2254" y="60"/>
                  <a:pt x="2254" y="60"/>
                  <a:pt x="2254" y="60"/>
                </a:cubicBezTo>
                <a:cubicBezTo>
                  <a:pt x="2256" y="65"/>
                  <a:pt x="2262" y="64"/>
                  <a:pt x="2267" y="63"/>
                </a:cubicBezTo>
                <a:close/>
                <a:moveTo>
                  <a:pt x="2406" y="133"/>
                </a:moveTo>
                <a:cubicBezTo>
                  <a:pt x="2408" y="133"/>
                  <a:pt x="2410" y="130"/>
                  <a:pt x="2411" y="127"/>
                </a:cubicBezTo>
                <a:cubicBezTo>
                  <a:pt x="2411" y="126"/>
                  <a:pt x="2411" y="126"/>
                  <a:pt x="2411" y="126"/>
                </a:cubicBezTo>
                <a:cubicBezTo>
                  <a:pt x="2410" y="127"/>
                  <a:pt x="2410" y="127"/>
                  <a:pt x="2410" y="127"/>
                </a:cubicBezTo>
                <a:cubicBezTo>
                  <a:pt x="2409" y="127"/>
                  <a:pt x="2408" y="127"/>
                  <a:pt x="2407" y="127"/>
                </a:cubicBezTo>
                <a:cubicBezTo>
                  <a:pt x="2405" y="127"/>
                  <a:pt x="2403" y="127"/>
                  <a:pt x="2400" y="128"/>
                </a:cubicBezTo>
                <a:cubicBezTo>
                  <a:pt x="2399" y="128"/>
                  <a:pt x="2399" y="128"/>
                  <a:pt x="2399" y="128"/>
                </a:cubicBezTo>
                <a:cubicBezTo>
                  <a:pt x="2400" y="128"/>
                  <a:pt x="2400" y="128"/>
                  <a:pt x="2400" y="128"/>
                </a:cubicBezTo>
                <a:cubicBezTo>
                  <a:pt x="2401" y="131"/>
                  <a:pt x="2403" y="133"/>
                  <a:pt x="2406" y="133"/>
                </a:cubicBezTo>
                <a:close/>
                <a:moveTo>
                  <a:pt x="1856" y="76"/>
                </a:moveTo>
                <a:cubicBezTo>
                  <a:pt x="1857" y="77"/>
                  <a:pt x="1858" y="77"/>
                  <a:pt x="1860" y="77"/>
                </a:cubicBezTo>
                <a:cubicBezTo>
                  <a:pt x="1862" y="77"/>
                  <a:pt x="1865" y="76"/>
                  <a:pt x="1868" y="74"/>
                </a:cubicBezTo>
                <a:cubicBezTo>
                  <a:pt x="1870" y="73"/>
                  <a:pt x="1872" y="72"/>
                  <a:pt x="1874" y="72"/>
                </a:cubicBezTo>
                <a:cubicBezTo>
                  <a:pt x="1875" y="72"/>
                  <a:pt x="1876" y="73"/>
                  <a:pt x="1878" y="74"/>
                </a:cubicBezTo>
                <a:cubicBezTo>
                  <a:pt x="1878" y="74"/>
                  <a:pt x="1879" y="75"/>
                  <a:pt x="1880" y="75"/>
                </a:cubicBezTo>
                <a:cubicBezTo>
                  <a:pt x="1879" y="76"/>
                  <a:pt x="1878" y="76"/>
                  <a:pt x="1877" y="77"/>
                </a:cubicBezTo>
                <a:cubicBezTo>
                  <a:pt x="1877" y="77"/>
                  <a:pt x="1876" y="78"/>
                  <a:pt x="1876" y="78"/>
                </a:cubicBezTo>
                <a:cubicBezTo>
                  <a:pt x="1875" y="78"/>
                  <a:pt x="1875" y="78"/>
                  <a:pt x="1875" y="78"/>
                </a:cubicBezTo>
                <a:cubicBezTo>
                  <a:pt x="1876" y="79"/>
                  <a:pt x="1876" y="79"/>
                  <a:pt x="1876" y="79"/>
                </a:cubicBezTo>
                <a:cubicBezTo>
                  <a:pt x="1877" y="79"/>
                  <a:pt x="1878" y="79"/>
                  <a:pt x="1879" y="79"/>
                </a:cubicBezTo>
                <a:cubicBezTo>
                  <a:pt x="1878" y="80"/>
                  <a:pt x="1877" y="80"/>
                  <a:pt x="1875" y="81"/>
                </a:cubicBezTo>
                <a:cubicBezTo>
                  <a:pt x="1875" y="82"/>
                  <a:pt x="1875" y="82"/>
                  <a:pt x="1875" y="82"/>
                </a:cubicBezTo>
                <a:cubicBezTo>
                  <a:pt x="1875" y="82"/>
                  <a:pt x="1875" y="82"/>
                  <a:pt x="1875" y="82"/>
                </a:cubicBezTo>
                <a:cubicBezTo>
                  <a:pt x="1876" y="85"/>
                  <a:pt x="1878" y="86"/>
                  <a:pt x="1883" y="86"/>
                </a:cubicBezTo>
                <a:cubicBezTo>
                  <a:pt x="1883" y="87"/>
                  <a:pt x="1883" y="87"/>
                  <a:pt x="1883" y="87"/>
                </a:cubicBezTo>
                <a:cubicBezTo>
                  <a:pt x="1884" y="88"/>
                  <a:pt x="1885" y="90"/>
                  <a:pt x="1887" y="90"/>
                </a:cubicBezTo>
                <a:cubicBezTo>
                  <a:pt x="1889" y="90"/>
                  <a:pt x="1890" y="88"/>
                  <a:pt x="1890" y="86"/>
                </a:cubicBezTo>
                <a:cubicBezTo>
                  <a:pt x="1891" y="85"/>
                  <a:pt x="1892" y="83"/>
                  <a:pt x="1893" y="82"/>
                </a:cubicBezTo>
                <a:cubicBezTo>
                  <a:pt x="1895" y="81"/>
                  <a:pt x="1897" y="81"/>
                  <a:pt x="1899" y="81"/>
                </a:cubicBezTo>
                <a:cubicBezTo>
                  <a:pt x="1900" y="82"/>
                  <a:pt x="1902" y="82"/>
                  <a:pt x="1903" y="81"/>
                </a:cubicBezTo>
                <a:cubicBezTo>
                  <a:pt x="1903" y="83"/>
                  <a:pt x="1903" y="83"/>
                  <a:pt x="1903" y="83"/>
                </a:cubicBezTo>
                <a:cubicBezTo>
                  <a:pt x="1904" y="82"/>
                  <a:pt x="1904" y="82"/>
                  <a:pt x="1904" y="82"/>
                </a:cubicBezTo>
                <a:cubicBezTo>
                  <a:pt x="1906" y="79"/>
                  <a:pt x="1906" y="79"/>
                  <a:pt x="1906" y="79"/>
                </a:cubicBezTo>
                <a:cubicBezTo>
                  <a:pt x="1906" y="79"/>
                  <a:pt x="1906" y="79"/>
                  <a:pt x="1906" y="79"/>
                </a:cubicBezTo>
                <a:cubicBezTo>
                  <a:pt x="1906" y="79"/>
                  <a:pt x="1907" y="79"/>
                  <a:pt x="1907" y="79"/>
                </a:cubicBezTo>
                <a:cubicBezTo>
                  <a:pt x="1907" y="79"/>
                  <a:pt x="1907" y="79"/>
                  <a:pt x="1907" y="79"/>
                </a:cubicBezTo>
                <a:cubicBezTo>
                  <a:pt x="1907" y="79"/>
                  <a:pt x="1907" y="79"/>
                  <a:pt x="1907" y="79"/>
                </a:cubicBezTo>
                <a:cubicBezTo>
                  <a:pt x="1908" y="78"/>
                  <a:pt x="1910" y="77"/>
                  <a:pt x="1911" y="77"/>
                </a:cubicBezTo>
                <a:cubicBezTo>
                  <a:pt x="1913" y="77"/>
                  <a:pt x="1915" y="76"/>
                  <a:pt x="1915" y="72"/>
                </a:cubicBezTo>
                <a:cubicBezTo>
                  <a:pt x="1916" y="72"/>
                  <a:pt x="1916" y="72"/>
                  <a:pt x="1916" y="72"/>
                </a:cubicBezTo>
                <a:cubicBezTo>
                  <a:pt x="1915" y="72"/>
                  <a:pt x="1915" y="72"/>
                  <a:pt x="1915" y="72"/>
                </a:cubicBezTo>
                <a:cubicBezTo>
                  <a:pt x="1915" y="71"/>
                  <a:pt x="1914" y="71"/>
                  <a:pt x="1913" y="71"/>
                </a:cubicBezTo>
                <a:cubicBezTo>
                  <a:pt x="1911" y="70"/>
                  <a:pt x="1909" y="68"/>
                  <a:pt x="1906" y="68"/>
                </a:cubicBezTo>
                <a:cubicBezTo>
                  <a:pt x="1903" y="68"/>
                  <a:pt x="1902" y="69"/>
                  <a:pt x="1900" y="70"/>
                </a:cubicBezTo>
                <a:cubicBezTo>
                  <a:pt x="1898" y="72"/>
                  <a:pt x="1897" y="73"/>
                  <a:pt x="1894" y="73"/>
                </a:cubicBezTo>
                <a:cubicBezTo>
                  <a:pt x="1892" y="73"/>
                  <a:pt x="1889" y="72"/>
                  <a:pt x="1887" y="71"/>
                </a:cubicBezTo>
                <a:cubicBezTo>
                  <a:pt x="1884" y="69"/>
                  <a:pt x="1881" y="68"/>
                  <a:pt x="1877" y="68"/>
                </a:cubicBezTo>
                <a:cubicBezTo>
                  <a:pt x="1875" y="68"/>
                  <a:pt x="1856" y="68"/>
                  <a:pt x="1853" y="75"/>
                </a:cubicBezTo>
                <a:cubicBezTo>
                  <a:pt x="1852" y="76"/>
                  <a:pt x="1852" y="76"/>
                  <a:pt x="1852" y="76"/>
                </a:cubicBezTo>
                <a:cubicBezTo>
                  <a:pt x="1853" y="76"/>
                  <a:pt x="1853" y="76"/>
                  <a:pt x="1853" y="76"/>
                </a:cubicBezTo>
                <a:cubicBezTo>
                  <a:pt x="1854" y="76"/>
                  <a:pt x="1855" y="76"/>
                  <a:pt x="1856" y="76"/>
                </a:cubicBezTo>
                <a:close/>
                <a:moveTo>
                  <a:pt x="1904" y="79"/>
                </a:moveTo>
                <a:cubicBezTo>
                  <a:pt x="1904" y="79"/>
                  <a:pt x="1905" y="79"/>
                  <a:pt x="1905" y="79"/>
                </a:cubicBezTo>
                <a:cubicBezTo>
                  <a:pt x="1905" y="79"/>
                  <a:pt x="1904" y="80"/>
                  <a:pt x="1904" y="80"/>
                </a:cubicBezTo>
                <a:lnTo>
                  <a:pt x="1904" y="79"/>
                </a:lnTo>
                <a:close/>
                <a:moveTo>
                  <a:pt x="2020" y="71"/>
                </a:moveTo>
                <a:cubicBezTo>
                  <a:pt x="2022" y="71"/>
                  <a:pt x="2034" y="68"/>
                  <a:pt x="2036" y="66"/>
                </a:cubicBezTo>
                <a:cubicBezTo>
                  <a:pt x="2037" y="66"/>
                  <a:pt x="2037" y="66"/>
                  <a:pt x="2037" y="66"/>
                </a:cubicBezTo>
                <a:cubicBezTo>
                  <a:pt x="2036" y="66"/>
                  <a:pt x="2036" y="66"/>
                  <a:pt x="2036" y="66"/>
                </a:cubicBezTo>
                <a:cubicBezTo>
                  <a:pt x="2032" y="54"/>
                  <a:pt x="2032" y="54"/>
                  <a:pt x="2032" y="54"/>
                </a:cubicBezTo>
                <a:cubicBezTo>
                  <a:pt x="2032" y="54"/>
                  <a:pt x="2032" y="54"/>
                  <a:pt x="2032" y="54"/>
                </a:cubicBezTo>
                <a:cubicBezTo>
                  <a:pt x="2032" y="54"/>
                  <a:pt x="2032" y="54"/>
                  <a:pt x="2032" y="54"/>
                </a:cubicBezTo>
                <a:cubicBezTo>
                  <a:pt x="2027" y="54"/>
                  <a:pt x="2014" y="60"/>
                  <a:pt x="2014" y="65"/>
                </a:cubicBezTo>
                <a:cubicBezTo>
                  <a:pt x="2014" y="69"/>
                  <a:pt x="2016" y="71"/>
                  <a:pt x="2020" y="71"/>
                </a:cubicBezTo>
                <a:close/>
                <a:moveTo>
                  <a:pt x="2003" y="79"/>
                </a:moveTo>
                <a:cubicBezTo>
                  <a:pt x="2003" y="79"/>
                  <a:pt x="2003" y="79"/>
                  <a:pt x="2003" y="79"/>
                </a:cubicBezTo>
                <a:cubicBezTo>
                  <a:pt x="2003" y="79"/>
                  <a:pt x="2003" y="79"/>
                  <a:pt x="2003" y="79"/>
                </a:cubicBezTo>
                <a:cubicBezTo>
                  <a:pt x="2002" y="75"/>
                  <a:pt x="2002" y="75"/>
                  <a:pt x="2002" y="75"/>
                </a:cubicBezTo>
                <a:cubicBezTo>
                  <a:pt x="2002" y="75"/>
                  <a:pt x="2003" y="75"/>
                  <a:pt x="2003" y="75"/>
                </a:cubicBezTo>
                <a:cubicBezTo>
                  <a:pt x="2005" y="76"/>
                  <a:pt x="2008" y="76"/>
                  <a:pt x="2009" y="73"/>
                </a:cubicBezTo>
                <a:cubicBezTo>
                  <a:pt x="2009" y="73"/>
                  <a:pt x="2009" y="73"/>
                  <a:pt x="2009" y="73"/>
                </a:cubicBezTo>
                <a:cubicBezTo>
                  <a:pt x="2009" y="73"/>
                  <a:pt x="2009" y="73"/>
                  <a:pt x="2009" y="73"/>
                </a:cubicBezTo>
                <a:cubicBezTo>
                  <a:pt x="2009" y="72"/>
                  <a:pt x="2009" y="72"/>
                  <a:pt x="2009" y="72"/>
                </a:cubicBezTo>
                <a:cubicBezTo>
                  <a:pt x="2010" y="71"/>
                  <a:pt x="2010" y="70"/>
                  <a:pt x="2009" y="68"/>
                </a:cubicBezTo>
                <a:cubicBezTo>
                  <a:pt x="2009" y="67"/>
                  <a:pt x="2009" y="67"/>
                  <a:pt x="2009" y="67"/>
                </a:cubicBezTo>
                <a:cubicBezTo>
                  <a:pt x="2009" y="67"/>
                  <a:pt x="2009" y="67"/>
                  <a:pt x="2009" y="67"/>
                </a:cubicBezTo>
                <a:cubicBezTo>
                  <a:pt x="2007" y="68"/>
                  <a:pt x="2003" y="68"/>
                  <a:pt x="2001" y="68"/>
                </a:cubicBezTo>
                <a:cubicBezTo>
                  <a:pt x="2001" y="67"/>
                  <a:pt x="2002" y="66"/>
                  <a:pt x="2003" y="65"/>
                </a:cubicBezTo>
                <a:cubicBezTo>
                  <a:pt x="2003" y="65"/>
                  <a:pt x="2003" y="65"/>
                  <a:pt x="2003" y="65"/>
                </a:cubicBezTo>
                <a:cubicBezTo>
                  <a:pt x="1992" y="65"/>
                  <a:pt x="1992" y="65"/>
                  <a:pt x="1992" y="65"/>
                </a:cubicBezTo>
                <a:cubicBezTo>
                  <a:pt x="1992" y="65"/>
                  <a:pt x="1992" y="65"/>
                  <a:pt x="1992" y="65"/>
                </a:cubicBezTo>
                <a:cubicBezTo>
                  <a:pt x="1992" y="66"/>
                  <a:pt x="1992" y="66"/>
                  <a:pt x="1992" y="66"/>
                </a:cubicBezTo>
                <a:cubicBezTo>
                  <a:pt x="1992" y="66"/>
                  <a:pt x="1991" y="67"/>
                  <a:pt x="1992" y="69"/>
                </a:cubicBezTo>
                <a:cubicBezTo>
                  <a:pt x="1988" y="71"/>
                  <a:pt x="1986" y="74"/>
                  <a:pt x="1986" y="79"/>
                </a:cubicBezTo>
                <a:cubicBezTo>
                  <a:pt x="1986" y="80"/>
                  <a:pt x="1986" y="80"/>
                  <a:pt x="1986" y="80"/>
                </a:cubicBezTo>
                <a:cubicBezTo>
                  <a:pt x="1988" y="81"/>
                  <a:pt x="2001" y="80"/>
                  <a:pt x="2003" y="79"/>
                </a:cubicBezTo>
                <a:close/>
                <a:moveTo>
                  <a:pt x="1971" y="78"/>
                </a:moveTo>
                <a:cubicBezTo>
                  <a:pt x="1968" y="78"/>
                  <a:pt x="1955" y="80"/>
                  <a:pt x="1955" y="85"/>
                </a:cubicBezTo>
                <a:cubicBezTo>
                  <a:pt x="1955" y="87"/>
                  <a:pt x="1957" y="88"/>
                  <a:pt x="1958" y="88"/>
                </a:cubicBezTo>
                <a:cubicBezTo>
                  <a:pt x="1961" y="88"/>
                  <a:pt x="1962" y="88"/>
                  <a:pt x="1963" y="85"/>
                </a:cubicBezTo>
                <a:cubicBezTo>
                  <a:pt x="1964" y="85"/>
                  <a:pt x="1965" y="86"/>
                  <a:pt x="1966" y="86"/>
                </a:cubicBezTo>
                <a:cubicBezTo>
                  <a:pt x="1967" y="87"/>
                  <a:pt x="1968" y="88"/>
                  <a:pt x="1969" y="88"/>
                </a:cubicBezTo>
                <a:cubicBezTo>
                  <a:pt x="1971" y="88"/>
                  <a:pt x="1972" y="87"/>
                  <a:pt x="1973" y="86"/>
                </a:cubicBezTo>
                <a:cubicBezTo>
                  <a:pt x="1975" y="84"/>
                  <a:pt x="1976" y="83"/>
                  <a:pt x="1979" y="83"/>
                </a:cubicBezTo>
                <a:cubicBezTo>
                  <a:pt x="1980" y="83"/>
                  <a:pt x="1980" y="83"/>
                  <a:pt x="1980" y="83"/>
                </a:cubicBezTo>
                <a:cubicBezTo>
                  <a:pt x="1979" y="82"/>
                  <a:pt x="1979" y="82"/>
                  <a:pt x="1979" y="82"/>
                </a:cubicBezTo>
                <a:cubicBezTo>
                  <a:pt x="1978" y="80"/>
                  <a:pt x="1974" y="78"/>
                  <a:pt x="1971" y="78"/>
                </a:cubicBezTo>
                <a:close/>
                <a:moveTo>
                  <a:pt x="1957" y="76"/>
                </a:moveTo>
                <a:cubicBezTo>
                  <a:pt x="1959" y="76"/>
                  <a:pt x="1961" y="75"/>
                  <a:pt x="1963" y="74"/>
                </a:cubicBezTo>
                <a:cubicBezTo>
                  <a:pt x="1965" y="73"/>
                  <a:pt x="1967" y="72"/>
                  <a:pt x="1969" y="72"/>
                </a:cubicBezTo>
                <a:cubicBezTo>
                  <a:pt x="1970" y="72"/>
                  <a:pt x="1970" y="72"/>
                  <a:pt x="1971" y="72"/>
                </a:cubicBezTo>
                <a:cubicBezTo>
                  <a:pt x="1974" y="72"/>
                  <a:pt x="1976" y="72"/>
                  <a:pt x="1978" y="70"/>
                </a:cubicBezTo>
                <a:cubicBezTo>
                  <a:pt x="1979" y="70"/>
                  <a:pt x="1979" y="70"/>
                  <a:pt x="1979" y="70"/>
                </a:cubicBezTo>
                <a:cubicBezTo>
                  <a:pt x="1978" y="70"/>
                  <a:pt x="1978" y="70"/>
                  <a:pt x="1978" y="70"/>
                </a:cubicBezTo>
                <a:cubicBezTo>
                  <a:pt x="1972" y="66"/>
                  <a:pt x="1969" y="66"/>
                  <a:pt x="1962" y="64"/>
                </a:cubicBezTo>
                <a:cubicBezTo>
                  <a:pt x="1963" y="63"/>
                  <a:pt x="1966" y="61"/>
                  <a:pt x="1969" y="60"/>
                </a:cubicBezTo>
                <a:cubicBezTo>
                  <a:pt x="1971" y="59"/>
                  <a:pt x="1973" y="57"/>
                  <a:pt x="1975" y="56"/>
                </a:cubicBezTo>
                <a:cubicBezTo>
                  <a:pt x="1975" y="56"/>
                  <a:pt x="1975" y="56"/>
                  <a:pt x="1975" y="56"/>
                </a:cubicBezTo>
                <a:cubicBezTo>
                  <a:pt x="1975" y="56"/>
                  <a:pt x="1975" y="56"/>
                  <a:pt x="1975" y="56"/>
                </a:cubicBezTo>
                <a:cubicBezTo>
                  <a:pt x="1975" y="54"/>
                  <a:pt x="1977" y="52"/>
                  <a:pt x="1978" y="51"/>
                </a:cubicBezTo>
                <a:cubicBezTo>
                  <a:pt x="1978" y="51"/>
                  <a:pt x="1978" y="51"/>
                  <a:pt x="1978" y="51"/>
                </a:cubicBezTo>
                <a:cubicBezTo>
                  <a:pt x="1978" y="51"/>
                  <a:pt x="1978" y="51"/>
                  <a:pt x="1978" y="51"/>
                </a:cubicBezTo>
                <a:cubicBezTo>
                  <a:pt x="1978" y="51"/>
                  <a:pt x="1978" y="46"/>
                  <a:pt x="1977" y="46"/>
                </a:cubicBezTo>
                <a:cubicBezTo>
                  <a:pt x="1974" y="46"/>
                  <a:pt x="1972" y="49"/>
                  <a:pt x="1971" y="52"/>
                </a:cubicBezTo>
                <a:cubicBezTo>
                  <a:pt x="1967" y="53"/>
                  <a:pt x="1964" y="54"/>
                  <a:pt x="1962" y="56"/>
                </a:cubicBezTo>
                <a:cubicBezTo>
                  <a:pt x="1960" y="58"/>
                  <a:pt x="1958" y="59"/>
                  <a:pt x="1953" y="59"/>
                </a:cubicBezTo>
                <a:cubicBezTo>
                  <a:pt x="1953" y="59"/>
                  <a:pt x="1953" y="59"/>
                  <a:pt x="1953" y="59"/>
                </a:cubicBezTo>
                <a:cubicBezTo>
                  <a:pt x="1953" y="65"/>
                  <a:pt x="1953" y="65"/>
                  <a:pt x="1953" y="65"/>
                </a:cubicBezTo>
                <a:cubicBezTo>
                  <a:pt x="1945" y="65"/>
                  <a:pt x="1945" y="65"/>
                  <a:pt x="1945" y="65"/>
                </a:cubicBezTo>
                <a:cubicBezTo>
                  <a:pt x="1945" y="65"/>
                  <a:pt x="1945" y="65"/>
                  <a:pt x="1945" y="65"/>
                </a:cubicBezTo>
                <a:cubicBezTo>
                  <a:pt x="1944" y="66"/>
                  <a:pt x="1944" y="66"/>
                  <a:pt x="1943" y="67"/>
                </a:cubicBezTo>
                <a:cubicBezTo>
                  <a:pt x="1942" y="67"/>
                  <a:pt x="1942" y="68"/>
                  <a:pt x="1941" y="69"/>
                </a:cubicBezTo>
                <a:cubicBezTo>
                  <a:pt x="1941" y="69"/>
                  <a:pt x="1941" y="69"/>
                  <a:pt x="1941" y="69"/>
                </a:cubicBezTo>
                <a:cubicBezTo>
                  <a:pt x="1941" y="69"/>
                  <a:pt x="1941" y="69"/>
                  <a:pt x="1941" y="69"/>
                </a:cubicBezTo>
                <a:cubicBezTo>
                  <a:pt x="1942" y="70"/>
                  <a:pt x="1954" y="76"/>
                  <a:pt x="1957" y="76"/>
                </a:cubicBezTo>
                <a:close/>
                <a:moveTo>
                  <a:pt x="1956" y="64"/>
                </a:moveTo>
                <a:cubicBezTo>
                  <a:pt x="1956" y="64"/>
                  <a:pt x="1956" y="64"/>
                  <a:pt x="1957" y="65"/>
                </a:cubicBezTo>
                <a:cubicBezTo>
                  <a:pt x="1953" y="65"/>
                  <a:pt x="1953" y="65"/>
                  <a:pt x="1953" y="65"/>
                </a:cubicBezTo>
                <a:cubicBezTo>
                  <a:pt x="1955" y="64"/>
                  <a:pt x="1955" y="64"/>
                  <a:pt x="1956" y="64"/>
                </a:cubicBezTo>
                <a:close/>
                <a:moveTo>
                  <a:pt x="1561" y="104"/>
                </a:moveTo>
                <a:cubicBezTo>
                  <a:pt x="1563" y="107"/>
                  <a:pt x="1566" y="110"/>
                  <a:pt x="1567" y="110"/>
                </a:cubicBezTo>
                <a:cubicBezTo>
                  <a:pt x="1568" y="111"/>
                  <a:pt x="1568" y="111"/>
                  <a:pt x="1568" y="111"/>
                </a:cubicBezTo>
                <a:cubicBezTo>
                  <a:pt x="1569" y="111"/>
                  <a:pt x="1569" y="111"/>
                  <a:pt x="1569" y="111"/>
                </a:cubicBezTo>
                <a:cubicBezTo>
                  <a:pt x="1568" y="117"/>
                  <a:pt x="1572" y="120"/>
                  <a:pt x="1577" y="122"/>
                </a:cubicBezTo>
                <a:cubicBezTo>
                  <a:pt x="1577" y="122"/>
                  <a:pt x="1577" y="123"/>
                  <a:pt x="1576" y="123"/>
                </a:cubicBezTo>
                <a:cubicBezTo>
                  <a:pt x="1576" y="123"/>
                  <a:pt x="1576" y="123"/>
                  <a:pt x="1576" y="123"/>
                </a:cubicBezTo>
                <a:cubicBezTo>
                  <a:pt x="1575" y="123"/>
                  <a:pt x="1575" y="123"/>
                  <a:pt x="1575" y="123"/>
                </a:cubicBezTo>
                <a:cubicBezTo>
                  <a:pt x="1575" y="124"/>
                  <a:pt x="1575" y="124"/>
                  <a:pt x="1575" y="124"/>
                </a:cubicBezTo>
                <a:cubicBezTo>
                  <a:pt x="1577" y="127"/>
                  <a:pt x="1581" y="129"/>
                  <a:pt x="1586" y="129"/>
                </a:cubicBezTo>
                <a:cubicBezTo>
                  <a:pt x="1590" y="129"/>
                  <a:pt x="1592" y="126"/>
                  <a:pt x="1593" y="123"/>
                </a:cubicBezTo>
                <a:cubicBezTo>
                  <a:pt x="1594" y="122"/>
                  <a:pt x="1594" y="121"/>
                  <a:pt x="1595" y="120"/>
                </a:cubicBezTo>
                <a:cubicBezTo>
                  <a:pt x="1597" y="120"/>
                  <a:pt x="1597" y="120"/>
                  <a:pt x="1597" y="120"/>
                </a:cubicBezTo>
                <a:cubicBezTo>
                  <a:pt x="1598" y="120"/>
                  <a:pt x="1601" y="123"/>
                  <a:pt x="1602" y="123"/>
                </a:cubicBezTo>
                <a:cubicBezTo>
                  <a:pt x="1609" y="123"/>
                  <a:pt x="1609" y="123"/>
                  <a:pt x="1609" y="123"/>
                </a:cubicBezTo>
                <a:cubicBezTo>
                  <a:pt x="1605" y="126"/>
                  <a:pt x="1598" y="130"/>
                  <a:pt x="1594" y="131"/>
                </a:cubicBezTo>
                <a:cubicBezTo>
                  <a:pt x="1594" y="131"/>
                  <a:pt x="1593" y="131"/>
                  <a:pt x="1593" y="131"/>
                </a:cubicBezTo>
                <a:cubicBezTo>
                  <a:pt x="1590" y="131"/>
                  <a:pt x="1585" y="132"/>
                  <a:pt x="1585" y="135"/>
                </a:cubicBezTo>
                <a:cubicBezTo>
                  <a:pt x="1585" y="137"/>
                  <a:pt x="1586" y="139"/>
                  <a:pt x="1587" y="139"/>
                </a:cubicBezTo>
                <a:cubicBezTo>
                  <a:pt x="1589" y="141"/>
                  <a:pt x="1592" y="141"/>
                  <a:pt x="1594" y="140"/>
                </a:cubicBezTo>
                <a:cubicBezTo>
                  <a:pt x="1596" y="140"/>
                  <a:pt x="1597" y="140"/>
                  <a:pt x="1597" y="140"/>
                </a:cubicBezTo>
                <a:cubicBezTo>
                  <a:pt x="1600" y="140"/>
                  <a:pt x="1607" y="140"/>
                  <a:pt x="1610" y="141"/>
                </a:cubicBezTo>
                <a:cubicBezTo>
                  <a:pt x="1609" y="141"/>
                  <a:pt x="1608" y="141"/>
                  <a:pt x="1607" y="141"/>
                </a:cubicBezTo>
                <a:cubicBezTo>
                  <a:pt x="1605" y="142"/>
                  <a:pt x="1603" y="142"/>
                  <a:pt x="1601" y="143"/>
                </a:cubicBezTo>
                <a:cubicBezTo>
                  <a:pt x="1600" y="143"/>
                  <a:pt x="1594" y="142"/>
                  <a:pt x="1590" y="143"/>
                </a:cubicBezTo>
                <a:cubicBezTo>
                  <a:pt x="1589" y="143"/>
                  <a:pt x="1589" y="143"/>
                  <a:pt x="1589" y="143"/>
                </a:cubicBezTo>
                <a:cubicBezTo>
                  <a:pt x="1589" y="144"/>
                  <a:pt x="1589" y="144"/>
                  <a:pt x="1589" y="144"/>
                </a:cubicBezTo>
                <a:cubicBezTo>
                  <a:pt x="1589" y="153"/>
                  <a:pt x="1598" y="157"/>
                  <a:pt x="1606" y="161"/>
                </a:cubicBezTo>
                <a:cubicBezTo>
                  <a:pt x="1609" y="163"/>
                  <a:pt x="1612" y="164"/>
                  <a:pt x="1613" y="166"/>
                </a:cubicBezTo>
                <a:cubicBezTo>
                  <a:pt x="1614" y="166"/>
                  <a:pt x="1614" y="166"/>
                  <a:pt x="1614" y="166"/>
                </a:cubicBezTo>
                <a:cubicBezTo>
                  <a:pt x="1614" y="166"/>
                  <a:pt x="1614" y="166"/>
                  <a:pt x="1614" y="166"/>
                </a:cubicBezTo>
                <a:cubicBezTo>
                  <a:pt x="1616" y="164"/>
                  <a:pt x="1617" y="160"/>
                  <a:pt x="1618" y="157"/>
                </a:cubicBezTo>
                <a:cubicBezTo>
                  <a:pt x="1619" y="153"/>
                  <a:pt x="1620" y="149"/>
                  <a:pt x="1623" y="147"/>
                </a:cubicBezTo>
                <a:cubicBezTo>
                  <a:pt x="1623" y="146"/>
                  <a:pt x="1624" y="146"/>
                  <a:pt x="1625" y="146"/>
                </a:cubicBezTo>
                <a:cubicBezTo>
                  <a:pt x="1626" y="145"/>
                  <a:pt x="1627" y="145"/>
                  <a:pt x="1628" y="144"/>
                </a:cubicBezTo>
                <a:cubicBezTo>
                  <a:pt x="1628" y="143"/>
                  <a:pt x="1628" y="141"/>
                  <a:pt x="1629" y="140"/>
                </a:cubicBezTo>
                <a:cubicBezTo>
                  <a:pt x="1632" y="131"/>
                  <a:pt x="1635" y="120"/>
                  <a:pt x="1644" y="120"/>
                </a:cubicBezTo>
                <a:cubicBezTo>
                  <a:pt x="1644" y="120"/>
                  <a:pt x="1646" y="123"/>
                  <a:pt x="1649" y="124"/>
                </a:cubicBezTo>
                <a:cubicBezTo>
                  <a:pt x="1649" y="124"/>
                  <a:pt x="1648" y="124"/>
                  <a:pt x="1648" y="125"/>
                </a:cubicBezTo>
                <a:cubicBezTo>
                  <a:pt x="1647" y="125"/>
                  <a:pt x="1647" y="125"/>
                  <a:pt x="1647" y="125"/>
                </a:cubicBezTo>
                <a:cubicBezTo>
                  <a:pt x="1647" y="125"/>
                  <a:pt x="1647" y="125"/>
                  <a:pt x="1647" y="125"/>
                </a:cubicBezTo>
                <a:cubicBezTo>
                  <a:pt x="1647" y="125"/>
                  <a:pt x="1647" y="125"/>
                  <a:pt x="1647" y="125"/>
                </a:cubicBezTo>
                <a:cubicBezTo>
                  <a:pt x="1648" y="128"/>
                  <a:pt x="1651" y="134"/>
                  <a:pt x="1653" y="135"/>
                </a:cubicBezTo>
                <a:cubicBezTo>
                  <a:pt x="1653" y="137"/>
                  <a:pt x="1652" y="138"/>
                  <a:pt x="1651" y="139"/>
                </a:cubicBezTo>
                <a:cubicBezTo>
                  <a:pt x="1650" y="140"/>
                  <a:pt x="1649" y="141"/>
                  <a:pt x="1648" y="145"/>
                </a:cubicBezTo>
                <a:cubicBezTo>
                  <a:pt x="1648" y="145"/>
                  <a:pt x="1648" y="145"/>
                  <a:pt x="1648" y="145"/>
                </a:cubicBezTo>
                <a:cubicBezTo>
                  <a:pt x="1649" y="145"/>
                  <a:pt x="1649" y="145"/>
                  <a:pt x="1649" y="145"/>
                </a:cubicBezTo>
                <a:cubicBezTo>
                  <a:pt x="1650" y="145"/>
                  <a:pt x="1652" y="145"/>
                  <a:pt x="1654" y="145"/>
                </a:cubicBezTo>
                <a:cubicBezTo>
                  <a:pt x="1657" y="145"/>
                  <a:pt x="1660" y="145"/>
                  <a:pt x="1662" y="146"/>
                </a:cubicBezTo>
                <a:cubicBezTo>
                  <a:pt x="1662" y="147"/>
                  <a:pt x="1662" y="149"/>
                  <a:pt x="1662" y="152"/>
                </a:cubicBezTo>
                <a:cubicBezTo>
                  <a:pt x="1662" y="152"/>
                  <a:pt x="1662" y="152"/>
                  <a:pt x="1662" y="152"/>
                </a:cubicBezTo>
                <a:cubicBezTo>
                  <a:pt x="1663" y="152"/>
                  <a:pt x="1663" y="152"/>
                  <a:pt x="1663" y="152"/>
                </a:cubicBezTo>
                <a:cubicBezTo>
                  <a:pt x="1667" y="151"/>
                  <a:pt x="1669" y="148"/>
                  <a:pt x="1672" y="146"/>
                </a:cubicBezTo>
                <a:cubicBezTo>
                  <a:pt x="1675" y="144"/>
                  <a:pt x="1678" y="142"/>
                  <a:pt x="1682" y="140"/>
                </a:cubicBezTo>
                <a:cubicBezTo>
                  <a:pt x="1683" y="140"/>
                  <a:pt x="1683" y="140"/>
                  <a:pt x="1683" y="140"/>
                </a:cubicBezTo>
                <a:cubicBezTo>
                  <a:pt x="1682" y="140"/>
                  <a:pt x="1682" y="140"/>
                  <a:pt x="1682" y="140"/>
                </a:cubicBezTo>
                <a:cubicBezTo>
                  <a:pt x="1681" y="138"/>
                  <a:pt x="1679" y="137"/>
                  <a:pt x="1677" y="136"/>
                </a:cubicBezTo>
                <a:cubicBezTo>
                  <a:pt x="1674" y="135"/>
                  <a:pt x="1671" y="134"/>
                  <a:pt x="1671" y="127"/>
                </a:cubicBezTo>
                <a:cubicBezTo>
                  <a:pt x="1671" y="127"/>
                  <a:pt x="1671" y="127"/>
                  <a:pt x="1671" y="127"/>
                </a:cubicBezTo>
                <a:cubicBezTo>
                  <a:pt x="1661" y="127"/>
                  <a:pt x="1661" y="127"/>
                  <a:pt x="1661" y="127"/>
                </a:cubicBezTo>
                <a:cubicBezTo>
                  <a:pt x="1662" y="125"/>
                  <a:pt x="1661" y="123"/>
                  <a:pt x="1661" y="122"/>
                </a:cubicBezTo>
                <a:cubicBezTo>
                  <a:pt x="1661" y="121"/>
                  <a:pt x="1661" y="121"/>
                  <a:pt x="1661" y="121"/>
                </a:cubicBezTo>
                <a:cubicBezTo>
                  <a:pt x="1660" y="122"/>
                  <a:pt x="1660" y="122"/>
                  <a:pt x="1660" y="122"/>
                </a:cubicBezTo>
                <a:cubicBezTo>
                  <a:pt x="1660" y="122"/>
                  <a:pt x="1660" y="122"/>
                  <a:pt x="1660" y="122"/>
                </a:cubicBezTo>
                <a:cubicBezTo>
                  <a:pt x="1659" y="122"/>
                  <a:pt x="1659" y="122"/>
                  <a:pt x="1659" y="122"/>
                </a:cubicBezTo>
                <a:cubicBezTo>
                  <a:pt x="1659" y="122"/>
                  <a:pt x="1659" y="122"/>
                  <a:pt x="1659" y="122"/>
                </a:cubicBezTo>
                <a:cubicBezTo>
                  <a:pt x="1658" y="121"/>
                  <a:pt x="1658" y="121"/>
                  <a:pt x="1658" y="121"/>
                </a:cubicBezTo>
                <a:cubicBezTo>
                  <a:pt x="1655" y="117"/>
                  <a:pt x="1639" y="107"/>
                  <a:pt x="1633" y="107"/>
                </a:cubicBezTo>
                <a:cubicBezTo>
                  <a:pt x="1633" y="107"/>
                  <a:pt x="1632" y="106"/>
                  <a:pt x="1632" y="106"/>
                </a:cubicBezTo>
                <a:cubicBezTo>
                  <a:pt x="1632" y="106"/>
                  <a:pt x="1631" y="106"/>
                  <a:pt x="1631" y="106"/>
                </a:cubicBezTo>
                <a:cubicBezTo>
                  <a:pt x="1631" y="104"/>
                  <a:pt x="1631" y="101"/>
                  <a:pt x="1630" y="99"/>
                </a:cubicBezTo>
                <a:cubicBezTo>
                  <a:pt x="1629" y="98"/>
                  <a:pt x="1628" y="98"/>
                  <a:pt x="1627" y="98"/>
                </a:cubicBezTo>
                <a:cubicBezTo>
                  <a:pt x="1625" y="98"/>
                  <a:pt x="1624" y="99"/>
                  <a:pt x="1623" y="100"/>
                </a:cubicBezTo>
                <a:cubicBezTo>
                  <a:pt x="1623" y="101"/>
                  <a:pt x="1622" y="101"/>
                  <a:pt x="1622" y="102"/>
                </a:cubicBezTo>
                <a:cubicBezTo>
                  <a:pt x="1622" y="101"/>
                  <a:pt x="1622" y="100"/>
                  <a:pt x="1622" y="99"/>
                </a:cubicBezTo>
                <a:cubicBezTo>
                  <a:pt x="1622" y="98"/>
                  <a:pt x="1622" y="97"/>
                  <a:pt x="1622" y="96"/>
                </a:cubicBezTo>
                <a:cubicBezTo>
                  <a:pt x="1622" y="92"/>
                  <a:pt x="1614" y="88"/>
                  <a:pt x="1610" y="88"/>
                </a:cubicBezTo>
                <a:cubicBezTo>
                  <a:pt x="1606" y="88"/>
                  <a:pt x="1603" y="88"/>
                  <a:pt x="1603" y="94"/>
                </a:cubicBezTo>
                <a:cubicBezTo>
                  <a:pt x="1603" y="99"/>
                  <a:pt x="1604" y="102"/>
                  <a:pt x="1606" y="106"/>
                </a:cubicBezTo>
                <a:cubicBezTo>
                  <a:pt x="1606" y="107"/>
                  <a:pt x="1606" y="108"/>
                  <a:pt x="1606" y="108"/>
                </a:cubicBezTo>
                <a:cubicBezTo>
                  <a:pt x="1604" y="107"/>
                  <a:pt x="1602" y="104"/>
                  <a:pt x="1601" y="101"/>
                </a:cubicBezTo>
                <a:cubicBezTo>
                  <a:pt x="1600" y="97"/>
                  <a:pt x="1598" y="94"/>
                  <a:pt x="1593" y="94"/>
                </a:cubicBezTo>
                <a:cubicBezTo>
                  <a:pt x="1590" y="94"/>
                  <a:pt x="1588" y="97"/>
                  <a:pt x="1588" y="100"/>
                </a:cubicBezTo>
                <a:cubicBezTo>
                  <a:pt x="1588" y="101"/>
                  <a:pt x="1588" y="102"/>
                  <a:pt x="1588" y="102"/>
                </a:cubicBezTo>
                <a:cubicBezTo>
                  <a:pt x="1588" y="102"/>
                  <a:pt x="1587" y="102"/>
                  <a:pt x="1587" y="102"/>
                </a:cubicBezTo>
                <a:cubicBezTo>
                  <a:pt x="1585" y="101"/>
                  <a:pt x="1584" y="100"/>
                  <a:pt x="1583" y="99"/>
                </a:cubicBezTo>
                <a:cubicBezTo>
                  <a:pt x="1583" y="98"/>
                  <a:pt x="1584" y="98"/>
                  <a:pt x="1584" y="97"/>
                </a:cubicBezTo>
                <a:cubicBezTo>
                  <a:pt x="1585" y="96"/>
                  <a:pt x="1585" y="95"/>
                  <a:pt x="1586" y="95"/>
                </a:cubicBezTo>
                <a:cubicBezTo>
                  <a:pt x="1586" y="94"/>
                  <a:pt x="1586" y="94"/>
                  <a:pt x="1586" y="94"/>
                </a:cubicBezTo>
                <a:cubicBezTo>
                  <a:pt x="1586" y="94"/>
                  <a:pt x="1586" y="94"/>
                  <a:pt x="1586" y="94"/>
                </a:cubicBezTo>
                <a:cubicBezTo>
                  <a:pt x="1579" y="93"/>
                  <a:pt x="1575" y="93"/>
                  <a:pt x="1570" y="93"/>
                </a:cubicBezTo>
                <a:cubicBezTo>
                  <a:pt x="1567" y="93"/>
                  <a:pt x="1560" y="99"/>
                  <a:pt x="1559" y="101"/>
                </a:cubicBezTo>
                <a:cubicBezTo>
                  <a:pt x="1559" y="101"/>
                  <a:pt x="1559" y="101"/>
                  <a:pt x="1559" y="101"/>
                </a:cubicBezTo>
                <a:cubicBezTo>
                  <a:pt x="1559" y="102"/>
                  <a:pt x="1559" y="102"/>
                  <a:pt x="1559" y="102"/>
                </a:cubicBezTo>
                <a:cubicBezTo>
                  <a:pt x="1560" y="102"/>
                  <a:pt x="1561" y="103"/>
                  <a:pt x="1561" y="104"/>
                </a:cubicBezTo>
                <a:close/>
                <a:moveTo>
                  <a:pt x="1628" y="91"/>
                </a:moveTo>
                <a:cubicBezTo>
                  <a:pt x="1628" y="93"/>
                  <a:pt x="1628" y="95"/>
                  <a:pt x="1629" y="95"/>
                </a:cubicBezTo>
                <a:cubicBezTo>
                  <a:pt x="1630" y="97"/>
                  <a:pt x="1632" y="96"/>
                  <a:pt x="1635" y="96"/>
                </a:cubicBezTo>
                <a:cubicBezTo>
                  <a:pt x="1636" y="95"/>
                  <a:pt x="1638" y="95"/>
                  <a:pt x="1639" y="95"/>
                </a:cubicBezTo>
                <a:cubicBezTo>
                  <a:pt x="1639" y="95"/>
                  <a:pt x="1642" y="95"/>
                  <a:pt x="1644" y="96"/>
                </a:cubicBezTo>
                <a:cubicBezTo>
                  <a:pt x="1646" y="96"/>
                  <a:pt x="1649" y="96"/>
                  <a:pt x="1651" y="96"/>
                </a:cubicBezTo>
                <a:cubicBezTo>
                  <a:pt x="1650" y="96"/>
                  <a:pt x="1650" y="96"/>
                  <a:pt x="1650" y="96"/>
                </a:cubicBezTo>
                <a:cubicBezTo>
                  <a:pt x="1649" y="96"/>
                  <a:pt x="1647" y="97"/>
                  <a:pt x="1646" y="97"/>
                </a:cubicBezTo>
                <a:cubicBezTo>
                  <a:pt x="1644" y="97"/>
                  <a:pt x="1641" y="97"/>
                  <a:pt x="1639" y="97"/>
                </a:cubicBezTo>
                <a:cubicBezTo>
                  <a:pt x="1639" y="98"/>
                  <a:pt x="1639" y="98"/>
                  <a:pt x="1639" y="98"/>
                </a:cubicBezTo>
                <a:cubicBezTo>
                  <a:pt x="1639" y="98"/>
                  <a:pt x="1639" y="98"/>
                  <a:pt x="1639" y="98"/>
                </a:cubicBezTo>
                <a:cubicBezTo>
                  <a:pt x="1639" y="101"/>
                  <a:pt x="1640" y="103"/>
                  <a:pt x="1643" y="104"/>
                </a:cubicBezTo>
                <a:cubicBezTo>
                  <a:pt x="1643" y="104"/>
                  <a:pt x="1643" y="104"/>
                  <a:pt x="1643" y="104"/>
                </a:cubicBezTo>
                <a:cubicBezTo>
                  <a:pt x="1661" y="104"/>
                  <a:pt x="1661" y="104"/>
                  <a:pt x="1661" y="104"/>
                </a:cubicBezTo>
                <a:cubicBezTo>
                  <a:pt x="1663" y="108"/>
                  <a:pt x="1667" y="110"/>
                  <a:pt x="1672" y="110"/>
                </a:cubicBezTo>
                <a:cubicBezTo>
                  <a:pt x="1680" y="110"/>
                  <a:pt x="1695" y="99"/>
                  <a:pt x="1702" y="93"/>
                </a:cubicBezTo>
                <a:cubicBezTo>
                  <a:pt x="1704" y="92"/>
                  <a:pt x="1704" y="92"/>
                  <a:pt x="1704" y="92"/>
                </a:cubicBezTo>
                <a:cubicBezTo>
                  <a:pt x="1704" y="92"/>
                  <a:pt x="1704" y="92"/>
                  <a:pt x="1704" y="92"/>
                </a:cubicBezTo>
                <a:cubicBezTo>
                  <a:pt x="1704" y="92"/>
                  <a:pt x="1704" y="92"/>
                  <a:pt x="1704" y="92"/>
                </a:cubicBezTo>
                <a:cubicBezTo>
                  <a:pt x="1702" y="88"/>
                  <a:pt x="1696" y="82"/>
                  <a:pt x="1690" y="82"/>
                </a:cubicBezTo>
                <a:cubicBezTo>
                  <a:pt x="1680" y="82"/>
                  <a:pt x="1680" y="82"/>
                  <a:pt x="1680" y="82"/>
                </a:cubicBezTo>
                <a:cubicBezTo>
                  <a:pt x="1677" y="82"/>
                  <a:pt x="1675" y="83"/>
                  <a:pt x="1674" y="84"/>
                </a:cubicBezTo>
                <a:cubicBezTo>
                  <a:pt x="1673" y="85"/>
                  <a:pt x="1672" y="85"/>
                  <a:pt x="1671" y="86"/>
                </a:cubicBezTo>
                <a:cubicBezTo>
                  <a:pt x="1670" y="84"/>
                  <a:pt x="1670" y="83"/>
                  <a:pt x="1671" y="82"/>
                </a:cubicBezTo>
                <a:cubicBezTo>
                  <a:pt x="1671" y="80"/>
                  <a:pt x="1671" y="79"/>
                  <a:pt x="1671" y="77"/>
                </a:cubicBezTo>
                <a:cubicBezTo>
                  <a:pt x="1671" y="77"/>
                  <a:pt x="1671" y="77"/>
                  <a:pt x="1671" y="77"/>
                </a:cubicBezTo>
                <a:cubicBezTo>
                  <a:pt x="1667" y="77"/>
                  <a:pt x="1667" y="77"/>
                  <a:pt x="1667" y="77"/>
                </a:cubicBezTo>
                <a:cubicBezTo>
                  <a:pt x="1666" y="77"/>
                  <a:pt x="1666" y="77"/>
                  <a:pt x="1666" y="77"/>
                </a:cubicBezTo>
                <a:cubicBezTo>
                  <a:pt x="1666" y="77"/>
                  <a:pt x="1665" y="78"/>
                  <a:pt x="1665" y="79"/>
                </a:cubicBezTo>
                <a:cubicBezTo>
                  <a:pt x="1663" y="82"/>
                  <a:pt x="1661" y="85"/>
                  <a:pt x="1659" y="85"/>
                </a:cubicBezTo>
                <a:cubicBezTo>
                  <a:pt x="1657" y="85"/>
                  <a:pt x="1649" y="80"/>
                  <a:pt x="1647" y="78"/>
                </a:cubicBezTo>
                <a:cubicBezTo>
                  <a:pt x="1647" y="78"/>
                  <a:pt x="1647" y="78"/>
                  <a:pt x="1647" y="78"/>
                </a:cubicBezTo>
                <a:cubicBezTo>
                  <a:pt x="1637" y="78"/>
                  <a:pt x="1637" y="78"/>
                  <a:pt x="1637" y="78"/>
                </a:cubicBezTo>
                <a:cubicBezTo>
                  <a:pt x="1638" y="79"/>
                  <a:pt x="1638" y="79"/>
                  <a:pt x="1638" y="79"/>
                </a:cubicBezTo>
                <a:cubicBezTo>
                  <a:pt x="1639" y="81"/>
                  <a:pt x="1639" y="81"/>
                  <a:pt x="1639" y="81"/>
                </a:cubicBezTo>
                <a:cubicBezTo>
                  <a:pt x="1634" y="81"/>
                  <a:pt x="1634" y="81"/>
                  <a:pt x="1634" y="81"/>
                </a:cubicBezTo>
                <a:cubicBezTo>
                  <a:pt x="1634" y="83"/>
                  <a:pt x="1634" y="83"/>
                  <a:pt x="1634" y="83"/>
                </a:cubicBezTo>
                <a:cubicBezTo>
                  <a:pt x="1632" y="84"/>
                  <a:pt x="1630" y="84"/>
                  <a:pt x="1628" y="82"/>
                </a:cubicBezTo>
                <a:cubicBezTo>
                  <a:pt x="1628" y="82"/>
                  <a:pt x="1628" y="82"/>
                  <a:pt x="1628" y="82"/>
                </a:cubicBezTo>
                <a:cubicBezTo>
                  <a:pt x="1623" y="82"/>
                  <a:pt x="1623" y="82"/>
                  <a:pt x="1623" y="82"/>
                </a:cubicBezTo>
                <a:cubicBezTo>
                  <a:pt x="1623" y="83"/>
                  <a:pt x="1623" y="83"/>
                  <a:pt x="1623" y="83"/>
                </a:cubicBezTo>
                <a:cubicBezTo>
                  <a:pt x="1623" y="86"/>
                  <a:pt x="1625" y="89"/>
                  <a:pt x="1628" y="91"/>
                </a:cubicBezTo>
                <a:close/>
                <a:moveTo>
                  <a:pt x="1570" y="129"/>
                </a:moveTo>
                <a:cubicBezTo>
                  <a:pt x="1571" y="130"/>
                  <a:pt x="1571" y="130"/>
                  <a:pt x="1571" y="130"/>
                </a:cubicBezTo>
                <a:cubicBezTo>
                  <a:pt x="1570" y="129"/>
                  <a:pt x="1570" y="129"/>
                  <a:pt x="1570" y="129"/>
                </a:cubicBezTo>
                <a:cubicBezTo>
                  <a:pt x="1569" y="124"/>
                  <a:pt x="1567" y="121"/>
                  <a:pt x="1564" y="119"/>
                </a:cubicBezTo>
                <a:cubicBezTo>
                  <a:pt x="1563" y="118"/>
                  <a:pt x="1562" y="116"/>
                  <a:pt x="1561" y="115"/>
                </a:cubicBezTo>
                <a:cubicBezTo>
                  <a:pt x="1561" y="113"/>
                  <a:pt x="1561" y="113"/>
                  <a:pt x="1561" y="113"/>
                </a:cubicBezTo>
                <a:cubicBezTo>
                  <a:pt x="1560" y="114"/>
                  <a:pt x="1560" y="114"/>
                  <a:pt x="1560" y="114"/>
                </a:cubicBezTo>
                <a:cubicBezTo>
                  <a:pt x="1560" y="114"/>
                  <a:pt x="1560" y="114"/>
                  <a:pt x="1560" y="114"/>
                </a:cubicBezTo>
                <a:cubicBezTo>
                  <a:pt x="1560" y="114"/>
                  <a:pt x="1560" y="114"/>
                  <a:pt x="1560" y="114"/>
                </a:cubicBezTo>
                <a:cubicBezTo>
                  <a:pt x="1559" y="114"/>
                  <a:pt x="1559" y="114"/>
                  <a:pt x="1559" y="114"/>
                </a:cubicBezTo>
                <a:cubicBezTo>
                  <a:pt x="1559" y="114"/>
                  <a:pt x="1559" y="114"/>
                  <a:pt x="1559" y="114"/>
                </a:cubicBezTo>
                <a:cubicBezTo>
                  <a:pt x="1558" y="115"/>
                  <a:pt x="1558" y="116"/>
                  <a:pt x="1558" y="117"/>
                </a:cubicBezTo>
                <a:cubicBezTo>
                  <a:pt x="1558" y="122"/>
                  <a:pt x="1565" y="128"/>
                  <a:pt x="1570" y="129"/>
                </a:cubicBezTo>
                <a:close/>
                <a:moveTo>
                  <a:pt x="1380" y="568"/>
                </a:moveTo>
                <a:cubicBezTo>
                  <a:pt x="1380" y="572"/>
                  <a:pt x="1384" y="576"/>
                  <a:pt x="1388" y="576"/>
                </a:cubicBezTo>
                <a:cubicBezTo>
                  <a:pt x="1389" y="576"/>
                  <a:pt x="1392" y="576"/>
                  <a:pt x="1394" y="575"/>
                </a:cubicBezTo>
                <a:cubicBezTo>
                  <a:pt x="1395" y="574"/>
                  <a:pt x="1396" y="573"/>
                  <a:pt x="1397" y="572"/>
                </a:cubicBezTo>
                <a:cubicBezTo>
                  <a:pt x="1399" y="570"/>
                  <a:pt x="1402" y="567"/>
                  <a:pt x="1405" y="567"/>
                </a:cubicBezTo>
                <a:cubicBezTo>
                  <a:pt x="1406" y="567"/>
                  <a:pt x="1406" y="567"/>
                  <a:pt x="1406" y="567"/>
                </a:cubicBezTo>
                <a:cubicBezTo>
                  <a:pt x="1409" y="567"/>
                  <a:pt x="1412" y="567"/>
                  <a:pt x="1414" y="565"/>
                </a:cubicBezTo>
                <a:cubicBezTo>
                  <a:pt x="1415" y="563"/>
                  <a:pt x="1415" y="560"/>
                  <a:pt x="1414" y="558"/>
                </a:cubicBezTo>
                <a:cubicBezTo>
                  <a:pt x="1414" y="557"/>
                  <a:pt x="1414" y="556"/>
                  <a:pt x="1414" y="555"/>
                </a:cubicBezTo>
                <a:cubicBezTo>
                  <a:pt x="1414" y="543"/>
                  <a:pt x="1414" y="543"/>
                  <a:pt x="1414" y="543"/>
                </a:cubicBezTo>
                <a:cubicBezTo>
                  <a:pt x="1414" y="542"/>
                  <a:pt x="1415" y="541"/>
                  <a:pt x="1416" y="541"/>
                </a:cubicBezTo>
                <a:cubicBezTo>
                  <a:pt x="1418" y="540"/>
                  <a:pt x="1419" y="540"/>
                  <a:pt x="1419" y="538"/>
                </a:cubicBezTo>
                <a:cubicBezTo>
                  <a:pt x="1419" y="532"/>
                  <a:pt x="1416" y="523"/>
                  <a:pt x="1409" y="523"/>
                </a:cubicBezTo>
                <a:cubicBezTo>
                  <a:pt x="1403" y="523"/>
                  <a:pt x="1403" y="523"/>
                  <a:pt x="1403" y="523"/>
                </a:cubicBezTo>
                <a:cubicBezTo>
                  <a:pt x="1400" y="523"/>
                  <a:pt x="1394" y="527"/>
                  <a:pt x="1394" y="530"/>
                </a:cubicBezTo>
                <a:cubicBezTo>
                  <a:pt x="1394" y="532"/>
                  <a:pt x="1394" y="533"/>
                  <a:pt x="1395" y="534"/>
                </a:cubicBezTo>
                <a:cubicBezTo>
                  <a:pt x="1396" y="535"/>
                  <a:pt x="1396" y="535"/>
                  <a:pt x="1396" y="535"/>
                </a:cubicBezTo>
                <a:cubicBezTo>
                  <a:pt x="1394" y="537"/>
                  <a:pt x="1389" y="538"/>
                  <a:pt x="1387" y="538"/>
                </a:cubicBezTo>
                <a:cubicBezTo>
                  <a:pt x="1387" y="538"/>
                  <a:pt x="1387" y="538"/>
                  <a:pt x="1387" y="538"/>
                </a:cubicBezTo>
                <a:cubicBezTo>
                  <a:pt x="1386" y="538"/>
                  <a:pt x="1385" y="538"/>
                  <a:pt x="1384" y="539"/>
                </a:cubicBezTo>
                <a:cubicBezTo>
                  <a:pt x="1384" y="540"/>
                  <a:pt x="1383" y="541"/>
                  <a:pt x="1383" y="542"/>
                </a:cubicBezTo>
                <a:cubicBezTo>
                  <a:pt x="1383" y="546"/>
                  <a:pt x="1386" y="548"/>
                  <a:pt x="1389" y="550"/>
                </a:cubicBezTo>
                <a:cubicBezTo>
                  <a:pt x="1388" y="554"/>
                  <a:pt x="1387" y="556"/>
                  <a:pt x="1385" y="558"/>
                </a:cubicBezTo>
                <a:cubicBezTo>
                  <a:pt x="1383" y="560"/>
                  <a:pt x="1380" y="563"/>
                  <a:pt x="1380" y="568"/>
                </a:cubicBezTo>
                <a:close/>
                <a:moveTo>
                  <a:pt x="1408" y="488"/>
                </a:moveTo>
                <a:cubicBezTo>
                  <a:pt x="1412" y="488"/>
                  <a:pt x="1415" y="483"/>
                  <a:pt x="1415" y="479"/>
                </a:cubicBezTo>
                <a:cubicBezTo>
                  <a:pt x="1415" y="479"/>
                  <a:pt x="1415" y="479"/>
                  <a:pt x="1415" y="479"/>
                </a:cubicBezTo>
                <a:cubicBezTo>
                  <a:pt x="1414" y="479"/>
                  <a:pt x="1414" y="479"/>
                  <a:pt x="1414" y="479"/>
                </a:cubicBezTo>
                <a:cubicBezTo>
                  <a:pt x="1412" y="479"/>
                  <a:pt x="1406" y="481"/>
                  <a:pt x="1406" y="483"/>
                </a:cubicBezTo>
                <a:cubicBezTo>
                  <a:pt x="1406" y="484"/>
                  <a:pt x="1407" y="488"/>
                  <a:pt x="1408" y="488"/>
                </a:cubicBezTo>
                <a:close/>
                <a:moveTo>
                  <a:pt x="1411" y="490"/>
                </a:moveTo>
                <a:cubicBezTo>
                  <a:pt x="1411" y="491"/>
                  <a:pt x="1411" y="491"/>
                  <a:pt x="1411" y="491"/>
                </a:cubicBezTo>
                <a:cubicBezTo>
                  <a:pt x="1411" y="496"/>
                  <a:pt x="1414" y="497"/>
                  <a:pt x="1418" y="498"/>
                </a:cubicBezTo>
                <a:cubicBezTo>
                  <a:pt x="1418" y="500"/>
                  <a:pt x="1418" y="500"/>
                  <a:pt x="1418" y="500"/>
                </a:cubicBezTo>
                <a:cubicBezTo>
                  <a:pt x="1417" y="501"/>
                  <a:pt x="1417" y="501"/>
                  <a:pt x="1417" y="501"/>
                </a:cubicBezTo>
                <a:cubicBezTo>
                  <a:pt x="1417" y="502"/>
                  <a:pt x="1416" y="503"/>
                  <a:pt x="1416" y="505"/>
                </a:cubicBezTo>
                <a:cubicBezTo>
                  <a:pt x="1416" y="506"/>
                  <a:pt x="1419" y="507"/>
                  <a:pt x="1420" y="508"/>
                </a:cubicBezTo>
                <a:cubicBezTo>
                  <a:pt x="1420" y="510"/>
                  <a:pt x="1420" y="510"/>
                  <a:pt x="1420" y="510"/>
                </a:cubicBezTo>
                <a:cubicBezTo>
                  <a:pt x="1419" y="511"/>
                  <a:pt x="1419" y="512"/>
                  <a:pt x="1419" y="513"/>
                </a:cubicBezTo>
                <a:cubicBezTo>
                  <a:pt x="1419" y="519"/>
                  <a:pt x="1419" y="519"/>
                  <a:pt x="1419" y="519"/>
                </a:cubicBezTo>
                <a:cubicBezTo>
                  <a:pt x="1422" y="519"/>
                  <a:pt x="1422" y="519"/>
                  <a:pt x="1422" y="519"/>
                </a:cubicBezTo>
                <a:cubicBezTo>
                  <a:pt x="1422" y="518"/>
                  <a:pt x="1422" y="518"/>
                  <a:pt x="1422" y="518"/>
                </a:cubicBezTo>
                <a:cubicBezTo>
                  <a:pt x="1422" y="518"/>
                  <a:pt x="1422" y="518"/>
                  <a:pt x="1422" y="518"/>
                </a:cubicBezTo>
                <a:cubicBezTo>
                  <a:pt x="1421" y="517"/>
                  <a:pt x="1421" y="516"/>
                  <a:pt x="1422" y="514"/>
                </a:cubicBezTo>
                <a:cubicBezTo>
                  <a:pt x="1423" y="515"/>
                  <a:pt x="1424" y="515"/>
                  <a:pt x="1427" y="516"/>
                </a:cubicBezTo>
                <a:cubicBezTo>
                  <a:pt x="1426" y="517"/>
                  <a:pt x="1426" y="518"/>
                  <a:pt x="1426" y="519"/>
                </a:cubicBezTo>
                <a:cubicBezTo>
                  <a:pt x="1427" y="520"/>
                  <a:pt x="1427" y="521"/>
                  <a:pt x="1427" y="522"/>
                </a:cubicBezTo>
                <a:cubicBezTo>
                  <a:pt x="1427" y="523"/>
                  <a:pt x="1426" y="524"/>
                  <a:pt x="1425" y="525"/>
                </a:cubicBezTo>
                <a:cubicBezTo>
                  <a:pt x="1424" y="526"/>
                  <a:pt x="1424" y="528"/>
                  <a:pt x="1424" y="529"/>
                </a:cubicBezTo>
                <a:cubicBezTo>
                  <a:pt x="1424" y="532"/>
                  <a:pt x="1426" y="532"/>
                  <a:pt x="1429" y="532"/>
                </a:cubicBezTo>
                <a:cubicBezTo>
                  <a:pt x="1430" y="532"/>
                  <a:pt x="1431" y="532"/>
                  <a:pt x="1432" y="532"/>
                </a:cubicBezTo>
                <a:cubicBezTo>
                  <a:pt x="1433" y="531"/>
                  <a:pt x="1434" y="531"/>
                  <a:pt x="1436" y="531"/>
                </a:cubicBezTo>
                <a:cubicBezTo>
                  <a:pt x="1437" y="531"/>
                  <a:pt x="1437" y="531"/>
                  <a:pt x="1437" y="531"/>
                </a:cubicBezTo>
                <a:cubicBezTo>
                  <a:pt x="1438" y="531"/>
                  <a:pt x="1438" y="531"/>
                  <a:pt x="1438" y="531"/>
                </a:cubicBezTo>
                <a:cubicBezTo>
                  <a:pt x="1438" y="531"/>
                  <a:pt x="1438" y="531"/>
                  <a:pt x="1438" y="531"/>
                </a:cubicBezTo>
                <a:cubicBezTo>
                  <a:pt x="1437" y="532"/>
                  <a:pt x="1436" y="533"/>
                  <a:pt x="1436" y="535"/>
                </a:cubicBezTo>
                <a:cubicBezTo>
                  <a:pt x="1436" y="536"/>
                  <a:pt x="1437" y="537"/>
                  <a:pt x="1437" y="538"/>
                </a:cubicBezTo>
                <a:cubicBezTo>
                  <a:pt x="1439" y="540"/>
                  <a:pt x="1441" y="540"/>
                  <a:pt x="1444" y="540"/>
                </a:cubicBezTo>
                <a:cubicBezTo>
                  <a:pt x="1444" y="544"/>
                  <a:pt x="1444" y="544"/>
                  <a:pt x="1444" y="544"/>
                </a:cubicBezTo>
                <a:cubicBezTo>
                  <a:pt x="1442" y="548"/>
                  <a:pt x="1436" y="551"/>
                  <a:pt x="1430" y="551"/>
                </a:cubicBezTo>
                <a:cubicBezTo>
                  <a:pt x="1430" y="551"/>
                  <a:pt x="1430" y="551"/>
                  <a:pt x="1430" y="551"/>
                </a:cubicBezTo>
                <a:cubicBezTo>
                  <a:pt x="1430" y="551"/>
                  <a:pt x="1430" y="551"/>
                  <a:pt x="1430" y="551"/>
                </a:cubicBezTo>
                <a:cubicBezTo>
                  <a:pt x="1430" y="553"/>
                  <a:pt x="1430" y="555"/>
                  <a:pt x="1431" y="556"/>
                </a:cubicBezTo>
                <a:cubicBezTo>
                  <a:pt x="1432" y="557"/>
                  <a:pt x="1432" y="559"/>
                  <a:pt x="1432" y="561"/>
                </a:cubicBezTo>
                <a:cubicBezTo>
                  <a:pt x="1432" y="564"/>
                  <a:pt x="1430" y="565"/>
                  <a:pt x="1428" y="566"/>
                </a:cubicBezTo>
                <a:cubicBezTo>
                  <a:pt x="1426" y="568"/>
                  <a:pt x="1424" y="569"/>
                  <a:pt x="1424" y="572"/>
                </a:cubicBezTo>
                <a:cubicBezTo>
                  <a:pt x="1424" y="573"/>
                  <a:pt x="1425" y="574"/>
                  <a:pt x="1426" y="574"/>
                </a:cubicBezTo>
                <a:cubicBezTo>
                  <a:pt x="1426" y="574"/>
                  <a:pt x="1427" y="574"/>
                  <a:pt x="1427" y="573"/>
                </a:cubicBezTo>
                <a:cubicBezTo>
                  <a:pt x="1428" y="573"/>
                  <a:pt x="1428" y="572"/>
                  <a:pt x="1429" y="572"/>
                </a:cubicBezTo>
                <a:cubicBezTo>
                  <a:pt x="1430" y="572"/>
                  <a:pt x="1431" y="573"/>
                  <a:pt x="1432" y="574"/>
                </a:cubicBezTo>
                <a:cubicBezTo>
                  <a:pt x="1434" y="575"/>
                  <a:pt x="1435" y="577"/>
                  <a:pt x="1437" y="577"/>
                </a:cubicBezTo>
                <a:cubicBezTo>
                  <a:pt x="1439" y="577"/>
                  <a:pt x="1441" y="575"/>
                  <a:pt x="1443" y="574"/>
                </a:cubicBezTo>
                <a:cubicBezTo>
                  <a:pt x="1443" y="574"/>
                  <a:pt x="1443" y="574"/>
                  <a:pt x="1443" y="574"/>
                </a:cubicBezTo>
                <a:cubicBezTo>
                  <a:pt x="1443" y="575"/>
                  <a:pt x="1443" y="575"/>
                  <a:pt x="1443" y="575"/>
                </a:cubicBezTo>
                <a:cubicBezTo>
                  <a:pt x="1443" y="578"/>
                  <a:pt x="1441" y="578"/>
                  <a:pt x="1437" y="579"/>
                </a:cubicBezTo>
                <a:cubicBezTo>
                  <a:pt x="1436" y="579"/>
                  <a:pt x="1434" y="579"/>
                  <a:pt x="1433" y="579"/>
                </a:cubicBezTo>
                <a:cubicBezTo>
                  <a:pt x="1432" y="580"/>
                  <a:pt x="1422" y="591"/>
                  <a:pt x="1422" y="592"/>
                </a:cubicBezTo>
                <a:cubicBezTo>
                  <a:pt x="1422" y="593"/>
                  <a:pt x="1422" y="593"/>
                  <a:pt x="1422" y="593"/>
                </a:cubicBezTo>
                <a:cubicBezTo>
                  <a:pt x="1422" y="595"/>
                  <a:pt x="1422" y="595"/>
                  <a:pt x="1422" y="595"/>
                </a:cubicBezTo>
                <a:cubicBezTo>
                  <a:pt x="1424" y="595"/>
                  <a:pt x="1424" y="595"/>
                  <a:pt x="1424" y="595"/>
                </a:cubicBezTo>
                <a:cubicBezTo>
                  <a:pt x="1425" y="595"/>
                  <a:pt x="1425" y="595"/>
                  <a:pt x="1425" y="595"/>
                </a:cubicBezTo>
                <a:cubicBezTo>
                  <a:pt x="1425" y="595"/>
                  <a:pt x="1425" y="595"/>
                  <a:pt x="1425" y="595"/>
                </a:cubicBezTo>
                <a:cubicBezTo>
                  <a:pt x="1426" y="593"/>
                  <a:pt x="1427" y="592"/>
                  <a:pt x="1429" y="592"/>
                </a:cubicBezTo>
                <a:cubicBezTo>
                  <a:pt x="1433" y="592"/>
                  <a:pt x="1433" y="592"/>
                  <a:pt x="1433" y="592"/>
                </a:cubicBezTo>
                <a:cubicBezTo>
                  <a:pt x="1433" y="592"/>
                  <a:pt x="1433" y="592"/>
                  <a:pt x="1433" y="592"/>
                </a:cubicBezTo>
                <a:cubicBezTo>
                  <a:pt x="1433" y="589"/>
                  <a:pt x="1435" y="586"/>
                  <a:pt x="1438" y="586"/>
                </a:cubicBezTo>
                <a:cubicBezTo>
                  <a:pt x="1439" y="586"/>
                  <a:pt x="1440" y="587"/>
                  <a:pt x="1440" y="587"/>
                </a:cubicBezTo>
                <a:cubicBezTo>
                  <a:pt x="1441" y="588"/>
                  <a:pt x="1442" y="589"/>
                  <a:pt x="1443" y="589"/>
                </a:cubicBezTo>
                <a:cubicBezTo>
                  <a:pt x="1446" y="589"/>
                  <a:pt x="1450" y="588"/>
                  <a:pt x="1453" y="587"/>
                </a:cubicBezTo>
                <a:cubicBezTo>
                  <a:pt x="1456" y="586"/>
                  <a:pt x="1458" y="585"/>
                  <a:pt x="1459" y="585"/>
                </a:cubicBezTo>
                <a:cubicBezTo>
                  <a:pt x="1472" y="585"/>
                  <a:pt x="1472" y="585"/>
                  <a:pt x="1472" y="585"/>
                </a:cubicBezTo>
                <a:cubicBezTo>
                  <a:pt x="1476" y="585"/>
                  <a:pt x="1478" y="583"/>
                  <a:pt x="1481" y="580"/>
                </a:cubicBezTo>
                <a:cubicBezTo>
                  <a:pt x="1481" y="580"/>
                  <a:pt x="1481" y="580"/>
                  <a:pt x="1481" y="580"/>
                </a:cubicBezTo>
                <a:cubicBezTo>
                  <a:pt x="1481" y="577"/>
                  <a:pt x="1481" y="577"/>
                  <a:pt x="1481" y="577"/>
                </a:cubicBezTo>
                <a:cubicBezTo>
                  <a:pt x="1480" y="577"/>
                  <a:pt x="1480" y="577"/>
                  <a:pt x="1480" y="577"/>
                </a:cubicBezTo>
                <a:cubicBezTo>
                  <a:pt x="1479" y="577"/>
                  <a:pt x="1477" y="577"/>
                  <a:pt x="1475" y="576"/>
                </a:cubicBezTo>
                <a:cubicBezTo>
                  <a:pt x="1476" y="574"/>
                  <a:pt x="1477" y="573"/>
                  <a:pt x="1479" y="571"/>
                </a:cubicBezTo>
                <a:cubicBezTo>
                  <a:pt x="1481" y="569"/>
                  <a:pt x="1484" y="566"/>
                  <a:pt x="1484" y="562"/>
                </a:cubicBezTo>
                <a:cubicBezTo>
                  <a:pt x="1484" y="558"/>
                  <a:pt x="1481" y="555"/>
                  <a:pt x="1478" y="555"/>
                </a:cubicBezTo>
                <a:cubicBezTo>
                  <a:pt x="1477" y="555"/>
                  <a:pt x="1477" y="555"/>
                  <a:pt x="1477" y="555"/>
                </a:cubicBezTo>
                <a:cubicBezTo>
                  <a:pt x="1476" y="555"/>
                  <a:pt x="1475" y="555"/>
                  <a:pt x="1475" y="555"/>
                </a:cubicBezTo>
                <a:cubicBezTo>
                  <a:pt x="1475" y="555"/>
                  <a:pt x="1475" y="555"/>
                  <a:pt x="1475" y="555"/>
                </a:cubicBezTo>
                <a:cubicBezTo>
                  <a:pt x="1475" y="555"/>
                  <a:pt x="1475" y="555"/>
                  <a:pt x="1475" y="555"/>
                </a:cubicBezTo>
                <a:cubicBezTo>
                  <a:pt x="1475" y="555"/>
                  <a:pt x="1475" y="555"/>
                  <a:pt x="1475" y="555"/>
                </a:cubicBezTo>
                <a:cubicBezTo>
                  <a:pt x="1475" y="555"/>
                  <a:pt x="1475" y="555"/>
                  <a:pt x="1475" y="555"/>
                </a:cubicBezTo>
                <a:cubicBezTo>
                  <a:pt x="1474" y="556"/>
                  <a:pt x="1474" y="556"/>
                  <a:pt x="1474" y="556"/>
                </a:cubicBezTo>
                <a:cubicBezTo>
                  <a:pt x="1473" y="556"/>
                  <a:pt x="1473" y="557"/>
                  <a:pt x="1472" y="557"/>
                </a:cubicBezTo>
                <a:cubicBezTo>
                  <a:pt x="1472" y="556"/>
                  <a:pt x="1472" y="556"/>
                  <a:pt x="1472" y="556"/>
                </a:cubicBezTo>
                <a:cubicBezTo>
                  <a:pt x="1473" y="555"/>
                  <a:pt x="1473" y="554"/>
                  <a:pt x="1473" y="553"/>
                </a:cubicBezTo>
                <a:cubicBezTo>
                  <a:pt x="1473" y="551"/>
                  <a:pt x="1472" y="550"/>
                  <a:pt x="1472" y="549"/>
                </a:cubicBezTo>
                <a:cubicBezTo>
                  <a:pt x="1471" y="548"/>
                  <a:pt x="1470" y="547"/>
                  <a:pt x="1470" y="546"/>
                </a:cubicBezTo>
                <a:cubicBezTo>
                  <a:pt x="1470" y="540"/>
                  <a:pt x="1466" y="537"/>
                  <a:pt x="1462" y="533"/>
                </a:cubicBezTo>
                <a:cubicBezTo>
                  <a:pt x="1460" y="532"/>
                  <a:pt x="1458" y="531"/>
                  <a:pt x="1457" y="529"/>
                </a:cubicBezTo>
                <a:cubicBezTo>
                  <a:pt x="1455" y="527"/>
                  <a:pt x="1455" y="525"/>
                  <a:pt x="1454" y="523"/>
                </a:cubicBezTo>
                <a:cubicBezTo>
                  <a:pt x="1453" y="519"/>
                  <a:pt x="1452" y="515"/>
                  <a:pt x="1448" y="514"/>
                </a:cubicBezTo>
                <a:cubicBezTo>
                  <a:pt x="1447" y="514"/>
                  <a:pt x="1446" y="514"/>
                  <a:pt x="1445" y="514"/>
                </a:cubicBezTo>
                <a:cubicBezTo>
                  <a:pt x="1444" y="514"/>
                  <a:pt x="1443" y="514"/>
                  <a:pt x="1442" y="514"/>
                </a:cubicBezTo>
                <a:cubicBezTo>
                  <a:pt x="1442" y="513"/>
                  <a:pt x="1443" y="512"/>
                  <a:pt x="1444" y="512"/>
                </a:cubicBezTo>
                <a:cubicBezTo>
                  <a:pt x="1444" y="512"/>
                  <a:pt x="1444" y="512"/>
                  <a:pt x="1444" y="512"/>
                </a:cubicBezTo>
                <a:cubicBezTo>
                  <a:pt x="1444" y="511"/>
                  <a:pt x="1444" y="511"/>
                  <a:pt x="1444" y="511"/>
                </a:cubicBezTo>
                <a:cubicBezTo>
                  <a:pt x="1444" y="508"/>
                  <a:pt x="1446" y="506"/>
                  <a:pt x="1448" y="503"/>
                </a:cubicBezTo>
                <a:cubicBezTo>
                  <a:pt x="1450" y="500"/>
                  <a:pt x="1453" y="496"/>
                  <a:pt x="1452" y="490"/>
                </a:cubicBezTo>
                <a:cubicBezTo>
                  <a:pt x="1452" y="490"/>
                  <a:pt x="1452" y="490"/>
                  <a:pt x="1452" y="490"/>
                </a:cubicBezTo>
                <a:cubicBezTo>
                  <a:pt x="1434" y="490"/>
                  <a:pt x="1434" y="490"/>
                  <a:pt x="1434" y="490"/>
                </a:cubicBezTo>
                <a:cubicBezTo>
                  <a:pt x="1433" y="489"/>
                  <a:pt x="1433" y="488"/>
                  <a:pt x="1433" y="487"/>
                </a:cubicBezTo>
                <a:cubicBezTo>
                  <a:pt x="1433" y="485"/>
                  <a:pt x="1435" y="484"/>
                  <a:pt x="1437" y="483"/>
                </a:cubicBezTo>
                <a:cubicBezTo>
                  <a:pt x="1439" y="482"/>
                  <a:pt x="1441" y="481"/>
                  <a:pt x="1441" y="478"/>
                </a:cubicBezTo>
                <a:cubicBezTo>
                  <a:pt x="1441" y="477"/>
                  <a:pt x="1439" y="475"/>
                  <a:pt x="1437" y="475"/>
                </a:cubicBezTo>
                <a:cubicBezTo>
                  <a:pt x="1428" y="475"/>
                  <a:pt x="1428" y="475"/>
                  <a:pt x="1428" y="475"/>
                </a:cubicBezTo>
                <a:cubicBezTo>
                  <a:pt x="1426" y="475"/>
                  <a:pt x="1423" y="478"/>
                  <a:pt x="1423" y="480"/>
                </a:cubicBezTo>
                <a:cubicBezTo>
                  <a:pt x="1423" y="480"/>
                  <a:pt x="1423" y="481"/>
                  <a:pt x="1423" y="482"/>
                </a:cubicBezTo>
                <a:cubicBezTo>
                  <a:pt x="1422" y="483"/>
                  <a:pt x="1422" y="484"/>
                  <a:pt x="1422" y="485"/>
                </a:cubicBezTo>
                <a:cubicBezTo>
                  <a:pt x="1420" y="485"/>
                  <a:pt x="1418" y="487"/>
                  <a:pt x="1418" y="490"/>
                </a:cubicBezTo>
                <a:cubicBezTo>
                  <a:pt x="1418" y="491"/>
                  <a:pt x="1418" y="492"/>
                  <a:pt x="1419" y="492"/>
                </a:cubicBezTo>
                <a:cubicBezTo>
                  <a:pt x="1419" y="493"/>
                  <a:pt x="1418" y="493"/>
                  <a:pt x="1418" y="493"/>
                </a:cubicBezTo>
                <a:cubicBezTo>
                  <a:pt x="1418" y="493"/>
                  <a:pt x="1416" y="493"/>
                  <a:pt x="1416" y="491"/>
                </a:cubicBezTo>
                <a:cubicBezTo>
                  <a:pt x="1416" y="490"/>
                  <a:pt x="1416" y="490"/>
                  <a:pt x="1416" y="490"/>
                </a:cubicBezTo>
                <a:lnTo>
                  <a:pt x="1411" y="490"/>
                </a:lnTo>
                <a:close/>
                <a:moveTo>
                  <a:pt x="1430" y="541"/>
                </a:moveTo>
                <a:cubicBezTo>
                  <a:pt x="1430" y="540"/>
                  <a:pt x="1430" y="539"/>
                  <a:pt x="1430" y="538"/>
                </a:cubicBezTo>
                <a:cubicBezTo>
                  <a:pt x="1430" y="538"/>
                  <a:pt x="1431" y="537"/>
                  <a:pt x="1431" y="537"/>
                </a:cubicBezTo>
                <a:cubicBezTo>
                  <a:pt x="1431" y="536"/>
                  <a:pt x="1431" y="536"/>
                  <a:pt x="1431" y="536"/>
                </a:cubicBezTo>
                <a:cubicBezTo>
                  <a:pt x="1429" y="536"/>
                  <a:pt x="1429" y="536"/>
                  <a:pt x="1429" y="536"/>
                </a:cubicBezTo>
                <a:cubicBezTo>
                  <a:pt x="1428" y="536"/>
                  <a:pt x="1428" y="536"/>
                  <a:pt x="1428" y="536"/>
                </a:cubicBezTo>
                <a:cubicBezTo>
                  <a:pt x="1427" y="538"/>
                  <a:pt x="1426" y="539"/>
                  <a:pt x="1426" y="541"/>
                </a:cubicBezTo>
                <a:cubicBezTo>
                  <a:pt x="1426" y="541"/>
                  <a:pt x="1426" y="541"/>
                  <a:pt x="1426" y="541"/>
                </a:cubicBezTo>
                <a:cubicBezTo>
                  <a:pt x="1430" y="541"/>
                  <a:pt x="1430" y="541"/>
                  <a:pt x="1430" y="541"/>
                </a:cubicBezTo>
                <a:close/>
                <a:moveTo>
                  <a:pt x="1335" y="390"/>
                </a:moveTo>
                <a:cubicBezTo>
                  <a:pt x="1339" y="389"/>
                  <a:pt x="1347" y="382"/>
                  <a:pt x="1349" y="377"/>
                </a:cubicBezTo>
                <a:cubicBezTo>
                  <a:pt x="1350" y="376"/>
                  <a:pt x="1350" y="376"/>
                  <a:pt x="1350" y="376"/>
                </a:cubicBezTo>
                <a:cubicBezTo>
                  <a:pt x="1350" y="376"/>
                  <a:pt x="1350" y="376"/>
                  <a:pt x="1350" y="376"/>
                </a:cubicBezTo>
                <a:cubicBezTo>
                  <a:pt x="1350" y="371"/>
                  <a:pt x="1347" y="369"/>
                  <a:pt x="1344" y="367"/>
                </a:cubicBezTo>
                <a:cubicBezTo>
                  <a:pt x="1341" y="366"/>
                  <a:pt x="1338" y="364"/>
                  <a:pt x="1338" y="359"/>
                </a:cubicBezTo>
                <a:cubicBezTo>
                  <a:pt x="1338" y="358"/>
                  <a:pt x="1339" y="357"/>
                  <a:pt x="1340" y="356"/>
                </a:cubicBezTo>
                <a:cubicBezTo>
                  <a:pt x="1341" y="355"/>
                  <a:pt x="1341" y="355"/>
                  <a:pt x="1341" y="355"/>
                </a:cubicBezTo>
                <a:cubicBezTo>
                  <a:pt x="1340" y="355"/>
                  <a:pt x="1340" y="355"/>
                  <a:pt x="1340" y="355"/>
                </a:cubicBezTo>
                <a:cubicBezTo>
                  <a:pt x="1339" y="355"/>
                  <a:pt x="1337" y="356"/>
                  <a:pt x="1336" y="356"/>
                </a:cubicBezTo>
                <a:cubicBezTo>
                  <a:pt x="1335" y="357"/>
                  <a:pt x="1334" y="357"/>
                  <a:pt x="1333" y="357"/>
                </a:cubicBezTo>
                <a:cubicBezTo>
                  <a:pt x="1330" y="357"/>
                  <a:pt x="1327" y="357"/>
                  <a:pt x="1327" y="353"/>
                </a:cubicBezTo>
                <a:cubicBezTo>
                  <a:pt x="1327" y="352"/>
                  <a:pt x="1327" y="352"/>
                  <a:pt x="1327" y="352"/>
                </a:cubicBezTo>
                <a:cubicBezTo>
                  <a:pt x="1327" y="353"/>
                  <a:pt x="1327" y="353"/>
                  <a:pt x="1327" y="353"/>
                </a:cubicBezTo>
                <a:cubicBezTo>
                  <a:pt x="1326" y="353"/>
                  <a:pt x="1326" y="353"/>
                  <a:pt x="1325" y="353"/>
                </a:cubicBezTo>
                <a:cubicBezTo>
                  <a:pt x="1324" y="353"/>
                  <a:pt x="1324" y="353"/>
                  <a:pt x="1324" y="353"/>
                </a:cubicBezTo>
                <a:cubicBezTo>
                  <a:pt x="1323" y="352"/>
                  <a:pt x="1323" y="352"/>
                  <a:pt x="1323" y="352"/>
                </a:cubicBezTo>
                <a:cubicBezTo>
                  <a:pt x="1323" y="353"/>
                  <a:pt x="1323" y="353"/>
                  <a:pt x="1323" y="353"/>
                </a:cubicBezTo>
                <a:cubicBezTo>
                  <a:pt x="1323" y="353"/>
                  <a:pt x="1323" y="353"/>
                  <a:pt x="1323" y="353"/>
                </a:cubicBezTo>
                <a:cubicBezTo>
                  <a:pt x="1323" y="354"/>
                  <a:pt x="1322" y="355"/>
                  <a:pt x="1322" y="357"/>
                </a:cubicBezTo>
                <a:cubicBezTo>
                  <a:pt x="1320" y="356"/>
                  <a:pt x="1318" y="357"/>
                  <a:pt x="1316" y="358"/>
                </a:cubicBezTo>
                <a:cubicBezTo>
                  <a:pt x="1315" y="358"/>
                  <a:pt x="1313" y="359"/>
                  <a:pt x="1312" y="359"/>
                </a:cubicBezTo>
                <a:cubicBezTo>
                  <a:pt x="1311" y="359"/>
                  <a:pt x="1310" y="359"/>
                  <a:pt x="1308" y="358"/>
                </a:cubicBezTo>
                <a:cubicBezTo>
                  <a:pt x="1307" y="358"/>
                  <a:pt x="1305" y="358"/>
                  <a:pt x="1302" y="358"/>
                </a:cubicBezTo>
                <a:cubicBezTo>
                  <a:pt x="1302" y="358"/>
                  <a:pt x="1302" y="358"/>
                  <a:pt x="1302" y="358"/>
                </a:cubicBezTo>
                <a:cubicBezTo>
                  <a:pt x="1302" y="358"/>
                  <a:pt x="1302" y="358"/>
                  <a:pt x="1302" y="358"/>
                </a:cubicBezTo>
                <a:cubicBezTo>
                  <a:pt x="1302" y="359"/>
                  <a:pt x="1302" y="359"/>
                  <a:pt x="1302" y="359"/>
                </a:cubicBezTo>
                <a:cubicBezTo>
                  <a:pt x="1302" y="360"/>
                  <a:pt x="1302" y="360"/>
                  <a:pt x="1302" y="361"/>
                </a:cubicBezTo>
                <a:cubicBezTo>
                  <a:pt x="1301" y="361"/>
                  <a:pt x="1301" y="361"/>
                  <a:pt x="1301" y="361"/>
                </a:cubicBezTo>
                <a:cubicBezTo>
                  <a:pt x="1300" y="360"/>
                  <a:pt x="1300" y="359"/>
                  <a:pt x="1298" y="359"/>
                </a:cubicBezTo>
                <a:cubicBezTo>
                  <a:pt x="1298" y="359"/>
                  <a:pt x="1298" y="359"/>
                  <a:pt x="1298" y="359"/>
                </a:cubicBezTo>
                <a:cubicBezTo>
                  <a:pt x="1298" y="359"/>
                  <a:pt x="1298" y="359"/>
                  <a:pt x="1298" y="359"/>
                </a:cubicBezTo>
                <a:cubicBezTo>
                  <a:pt x="1290" y="361"/>
                  <a:pt x="1290" y="361"/>
                  <a:pt x="1290" y="361"/>
                </a:cubicBezTo>
                <a:cubicBezTo>
                  <a:pt x="1289" y="361"/>
                  <a:pt x="1288" y="360"/>
                  <a:pt x="1287" y="359"/>
                </a:cubicBezTo>
                <a:cubicBezTo>
                  <a:pt x="1287" y="358"/>
                  <a:pt x="1287" y="358"/>
                  <a:pt x="1287" y="358"/>
                </a:cubicBezTo>
                <a:cubicBezTo>
                  <a:pt x="1286" y="358"/>
                  <a:pt x="1286" y="358"/>
                  <a:pt x="1286" y="358"/>
                </a:cubicBezTo>
                <a:cubicBezTo>
                  <a:pt x="1286" y="358"/>
                  <a:pt x="1286" y="358"/>
                  <a:pt x="1286" y="358"/>
                </a:cubicBezTo>
                <a:cubicBezTo>
                  <a:pt x="1285" y="359"/>
                  <a:pt x="1285" y="360"/>
                  <a:pt x="1286" y="362"/>
                </a:cubicBezTo>
                <a:cubicBezTo>
                  <a:pt x="1286" y="362"/>
                  <a:pt x="1286" y="362"/>
                  <a:pt x="1286" y="362"/>
                </a:cubicBezTo>
                <a:cubicBezTo>
                  <a:pt x="1285" y="363"/>
                  <a:pt x="1285" y="363"/>
                  <a:pt x="1284" y="363"/>
                </a:cubicBezTo>
                <a:cubicBezTo>
                  <a:pt x="1283" y="364"/>
                  <a:pt x="1282" y="364"/>
                  <a:pt x="1281" y="364"/>
                </a:cubicBezTo>
                <a:cubicBezTo>
                  <a:pt x="1280" y="364"/>
                  <a:pt x="1279" y="364"/>
                  <a:pt x="1278" y="363"/>
                </a:cubicBezTo>
                <a:cubicBezTo>
                  <a:pt x="1277" y="361"/>
                  <a:pt x="1276" y="359"/>
                  <a:pt x="1277" y="358"/>
                </a:cubicBezTo>
                <a:cubicBezTo>
                  <a:pt x="1277" y="358"/>
                  <a:pt x="1277" y="358"/>
                  <a:pt x="1277" y="358"/>
                </a:cubicBezTo>
                <a:cubicBezTo>
                  <a:pt x="1277" y="358"/>
                  <a:pt x="1277" y="358"/>
                  <a:pt x="1277" y="358"/>
                </a:cubicBezTo>
                <a:cubicBezTo>
                  <a:pt x="1276" y="357"/>
                  <a:pt x="1276" y="356"/>
                  <a:pt x="1276" y="355"/>
                </a:cubicBezTo>
                <a:cubicBezTo>
                  <a:pt x="1275" y="354"/>
                  <a:pt x="1275" y="353"/>
                  <a:pt x="1275" y="353"/>
                </a:cubicBezTo>
                <a:cubicBezTo>
                  <a:pt x="1275" y="352"/>
                  <a:pt x="1275" y="352"/>
                  <a:pt x="1275" y="352"/>
                </a:cubicBezTo>
                <a:cubicBezTo>
                  <a:pt x="1272" y="352"/>
                  <a:pt x="1272" y="352"/>
                  <a:pt x="1272" y="352"/>
                </a:cubicBezTo>
                <a:cubicBezTo>
                  <a:pt x="1271" y="352"/>
                  <a:pt x="1270" y="353"/>
                  <a:pt x="1269" y="354"/>
                </a:cubicBezTo>
                <a:cubicBezTo>
                  <a:pt x="1268" y="355"/>
                  <a:pt x="1267" y="356"/>
                  <a:pt x="1266" y="356"/>
                </a:cubicBezTo>
                <a:cubicBezTo>
                  <a:pt x="1266" y="356"/>
                  <a:pt x="1266" y="356"/>
                  <a:pt x="1266" y="356"/>
                </a:cubicBezTo>
                <a:cubicBezTo>
                  <a:pt x="1266" y="359"/>
                  <a:pt x="1266" y="359"/>
                  <a:pt x="1266" y="359"/>
                </a:cubicBezTo>
                <a:cubicBezTo>
                  <a:pt x="1264" y="358"/>
                  <a:pt x="1263" y="357"/>
                  <a:pt x="1260" y="358"/>
                </a:cubicBezTo>
                <a:cubicBezTo>
                  <a:pt x="1260" y="358"/>
                  <a:pt x="1260" y="358"/>
                  <a:pt x="1260" y="358"/>
                </a:cubicBezTo>
                <a:cubicBezTo>
                  <a:pt x="1260" y="359"/>
                  <a:pt x="1260" y="359"/>
                  <a:pt x="1260" y="359"/>
                </a:cubicBezTo>
                <a:cubicBezTo>
                  <a:pt x="1261" y="363"/>
                  <a:pt x="1272" y="366"/>
                  <a:pt x="1276" y="367"/>
                </a:cubicBezTo>
                <a:cubicBezTo>
                  <a:pt x="1276" y="367"/>
                  <a:pt x="1276" y="368"/>
                  <a:pt x="1277" y="369"/>
                </a:cubicBezTo>
                <a:cubicBezTo>
                  <a:pt x="1273" y="370"/>
                  <a:pt x="1265" y="372"/>
                  <a:pt x="1261" y="372"/>
                </a:cubicBezTo>
                <a:cubicBezTo>
                  <a:pt x="1260" y="372"/>
                  <a:pt x="1260" y="372"/>
                  <a:pt x="1260" y="372"/>
                </a:cubicBezTo>
                <a:cubicBezTo>
                  <a:pt x="1261" y="372"/>
                  <a:pt x="1261" y="372"/>
                  <a:pt x="1261" y="372"/>
                </a:cubicBezTo>
                <a:cubicBezTo>
                  <a:pt x="1263" y="375"/>
                  <a:pt x="1265" y="374"/>
                  <a:pt x="1268" y="374"/>
                </a:cubicBezTo>
                <a:cubicBezTo>
                  <a:pt x="1270" y="374"/>
                  <a:pt x="1272" y="373"/>
                  <a:pt x="1274" y="374"/>
                </a:cubicBezTo>
                <a:cubicBezTo>
                  <a:pt x="1274" y="375"/>
                  <a:pt x="1274" y="376"/>
                  <a:pt x="1273" y="377"/>
                </a:cubicBezTo>
                <a:cubicBezTo>
                  <a:pt x="1273" y="379"/>
                  <a:pt x="1273" y="381"/>
                  <a:pt x="1272" y="384"/>
                </a:cubicBezTo>
                <a:cubicBezTo>
                  <a:pt x="1272" y="384"/>
                  <a:pt x="1271" y="384"/>
                  <a:pt x="1271" y="385"/>
                </a:cubicBezTo>
                <a:cubicBezTo>
                  <a:pt x="1270" y="385"/>
                  <a:pt x="1270" y="385"/>
                  <a:pt x="1270" y="385"/>
                </a:cubicBezTo>
                <a:cubicBezTo>
                  <a:pt x="1269" y="386"/>
                  <a:pt x="1269" y="386"/>
                  <a:pt x="1269" y="386"/>
                </a:cubicBezTo>
                <a:cubicBezTo>
                  <a:pt x="1270" y="386"/>
                  <a:pt x="1270" y="386"/>
                  <a:pt x="1270" y="386"/>
                </a:cubicBezTo>
                <a:cubicBezTo>
                  <a:pt x="1274" y="386"/>
                  <a:pt x="1277" y="388"/>
                  <a:pt x="1279" y="390"/>
                </a:cubicBezTo>
                <a:cubicBezTo>
                  <a:pt x="1280" y="391"/>
                  <a:pt x="1282" y="392"/>
                  <a:pt x="1284" y="392"/>
                </a:cubicBezTo>
                <a:cubicBezTo>
                  <a:pt x="1284" y="393"/>
                  <a:pt x="1284" y="393"/>
                  <a:pt x="1284" y="393"/>
                </a:cubicBezTo>
                <a:cubicBezTo>
                  <a:pt x="1292" y="396"/>
                  <a:pt x="1300" y="399"/>
                  <a:pt x="1311" y="399"/>
                </a:cubicBezTo>
                <a:cubicBezTo>
                  <a:pt x="1319" y="399"/>
                  <a:pt x="1324" y="396"/>
                  <a:pt x="1328" y="393"/>
                </a:cubicBezTo>
                <a:cubicBezTo>
                  <a:pt x="1331" y="392"/>
                  <a:pt x="1333" y="391"/>
                  <a:pt x="1335" y="390"/>
                </a:cubicBezTo>
                <a:close/>
                <a:moveTo>
                  <a:pt x="818" y="939"/>
                </a:moveTo>
                <a:cubicBezTo>
                  <a:pt x="818" y="939"/>
                  <a:pt x="818" y="939"/>
                  <a:pt x="818" y="939"/>
                </a:cubicBezTo>
                <a:cubicBezTo>
                  <a:pt x="818" y="939"/>
                  <a:pt x="818" y="939"/>
                  <a:pt x="818" y="939"/>
                </a:cubicBezTo>
                <a:cubicBezTo>
                  <a:pt x="817" y="938"/>
                  <a:pt x="816" y="937"/>
                  <a:pt x="816" y="936"/>
                </a:cubicBezTo>
                <a:cubicBezTo>
                  <a:pt x="814" y="934"/>
                  <a:pt x="813" y="932"/>
                  <a:pt x="811" y="932"/>
                </a:cubicBezTo>
                <a:cubicBezTo>
                  <a:pt x="811" y="932"/>
                  <a:pt x="811" y="932"/>
                  <a:pt x="811" y="932"/>
                </a:cubicBezTo>
                <a:cubicBezTo>
                  <a:pt x="811" y="932"/>
                  <a:pt x="811" y="932"/>
                  <a:pt x="811" y="932"/>
                </a:cubicBezTo>
                <a:cubicBezTo>
                  <a:pt x="806" y="931"/>
                  <a:pt x="806" y="931"/>
                  <a:pt x="806" y="931"/>
                </a:cubicBezTo>
                <a:cubicBezTo>
                  <a:pt x="806" y="930"/>
                  <a:pt x="806" y="930"/>
                  <a:pt x="806" y="930"/>
                </a:cubicBezTo>
                <a:cubicBezTo>
                  <a:pt x="806" y="929"/>
                  <a:pt x="806" y="929"/>
                  <a:pt x="806" y="929"/>
                </a:cubicBezTo>
                <a:cubicBezTo>
                  <a:pt x="806" y="929"/>
                  <a:pt x="806" y="929"/>
                  <a:pt x="806" y="929"/>
                </a:cubicBezTo>
                <a:cubicBezTo>
                  <a:pt x="806" y="929"/>
                  <a:pt x="806" y="929"/>
                  <a:pt x="806" y="929"/>
                </a:cubicBezTo>
                <a:cubicBezTo>
                  <a:pt x="799" y="929"/>
                  <a:pt x="792" y="925"/>
                  <a:pt x="787" y="920"/>
                </a:cubicBezTo>
                <a:cubicBezTo>
                  <a:pt x="787" y="920"/>
                  <a:pt x="787" y="920"/>
                  <a:pt x="787" y="920"/>
                </a:cubicBezTo>
                <a:cubicBezTo>
                  <a:pt x="786" y="919"/>
                  <a:pt x="784" y="916"/>
                  <a:pt x="782" y="916"/>
                </a:cubicBezTo>
                <a:cubicBezTo>
                  <a:pt x="777" y="916"/>
                  <a:pt x="773" y="914"/>
                  <a:pt x="769" y="912"/>
                </a:cubicBezTo>
                <a:cubicBezTo>
                  <a:pt x="764" y="910"/>
                  <a:pt x="759" y="907"/>
                  <a:pt x="752" y="907"/>
                </a:cubicBezTo>
                <a:cubicBezTo>
                  <a:pt x="736" y="907"/>
                  <a:pt x="730" y="915"/>
                  <a:pt x="726" y="923"/>
                </a:cubicBezTo>
                <a:cubicBezTo>
                  <a:pt x="726" y="924"/>
                  <a:pt x="726" y="924"/>
                  <a:pt x="726" y="924"/>
                </a:cubicBezTo>
                <a:cubicBezTo>
                  <a:pt x="729" y="924"/>
                  <a:pt x="729" y="924"/>
                  <a:pt x="729" y="924"/>
                </a:cubicBezTo>
                <a:cubicBezTo>
                  <a:pt x="729" y="923"/>
                  <a:pt x="729" y="923"/>
                  <a:pt x="729" y="923"/>
                </a:cubicBezTo>
                <a:cubicBezTo>
                  <a:pt x="732" y="920"/>
                  <a:pt x="741" y="915"/>
                  <a:pt x="746" y="915"/>
                </a:cubicBezTo>
                <a:cubicBezTo>
                  <a:pt x="747" y="915"/>
                  <a:pt x="747" y="915"/>
                  <a:pt x="747" y="915"/>
                </a:cubicBezTo>
                <a:cubicBezTo>
                  <a:pt x="748" y="915"/>
                  <a:pt x="749" y="915"/>
                  <a:pt x="750" y="916"/>
                </a:cubicBezTo>
                <a:cubicBezTo>
                  <a:pt x="750" y="916"/>
                  <a:pt x="750" y="917"/>
                  <a:pt x="750" y="918"/>
                </a:cubicBezTo>
                <a:cubicBezTo>
                  <a:pt x="750" y="918"/>
                  <a:pt x="750" y="919"/>
                  <a:pt x="751" y="920"/>
                </a:cubicBezTo>
                <a:cubicBezTo>
                  <a:pt x="751" y="920"/>
                  <a:pt x="751" y="920"/>
                  <a:pt x="751" y="920"/>
                </a:cubicBezTo>
                <a:cubicBezTo>
                  <a:pt x="760" y="920"/>
                  <a:pt x="760" y="920"/>
                  <a:pt x="760" y="920"/>
                </a:cubicBezTo>
                <a:cubicBezTo>
                  <a:pt x="762" y="920"/>
                  <a:pt x="764" y="921"/>
                  <a:pt x="765" y="923"/>
                </a:cubicBezTo>
                <a:cubicBezTo>
                  <a:pt x="767" y="924"/>
                  <a:pt x="769" y="925"/>
                  <a:pt x="771" y="925"/>
                </a:cubicBezTo>
                <a:cubicBezTo>
                  <a:pt x="772" y="925"/>
                  <a:pt x="772" y="925"/>
                  <a:pt x="773" y="925"/>
                </a:cubicBezTo>
                <a:cubicBezTo>
                  <a:pt x="775" y="925"/>
                  <a:pt x="776" y="925"/>
                  <a:pt x="777" y="926"/>
                </a:cubicBezTo>
                <a:cubicBezTo>
                  <a:pt x="778" y="927"/>
                  <a:pt x="778" y="927"/>
                  <a:pt x="778" y="927"/>
                </a:cubicBezTo>
                <a:cubicBezTo>
                  <a:pt x="779" y="928"/>
                  <a:pt x="779" y="929"/>
                  <a:pt x="781" y="929"/>
                </a:cubicBezTo>
                <a:cubicBezTo>
                  <a:pt x="781" y="932"/>
                  <a:pt x="784" y="933"/>
                  <a:pt x="787" y="934"/>
                </a:cubicBezTo>
                <a:cubicBezTo>
                  <a:pt x="788" y="935"/>
                  <a:pt x="790" y="935"/>
                  <a:pt x="791" y="936"/>
                </a:cubicBezTo>
                <a:cubicBezTo>
                  <a:pt x="790" y="937"/>
                  <a:pt x="789" y="938"/>
                  <a:pt x="788" y="938"/>
                </a:cubicBezTo>
                <a:cubicBezTo>
                  <a:pt x="788" y="938"/>
                  <a:pt x="788" y="938"/>
                  <a:pt x="788" y="938"/>
                </a:cubicBezTo>
                <a:cubicBezTo>
                  <a:pt x="788" y="941"/>
                  <a:pt x="788" y="941"/>
                  <a:pt x="788" y="941"/>
                </a:cubicBezTo>
                <a:cubicBezTo>
                  <a:pt x="788" y="941"/>
                  <a:pt x="788" y="941"/>
                  <a:pt x="788" y="941"/>
                </a:cubicBezTo>
                <a:cubicBezTo>
                  <a:pt x="791" y="941"/>
                  <a:pt x="794" y="942"/>
                  <a:pt x="796" y="942"/>
                </a:cubicBezTo>
                <a:cubicBezTo>
                  <a:pt x="799" y="943"/>
                  <a:pt x="802" y="944"/>
                  <a:pt x="806" y="944"/>
                </a:cubicBezTo>
                <a:cubicBezTo>
                  <a:pt x="810" y="944"/>
                  <a:pt x="816" y="944"/>
                  <a:pt x="818" y="939"/>
                </a:cubicBezTo>
                <a:close/>
                <a:moveTo>
                  <a:pt x="743" y="921"/>
                </a:moveTo>
                <a:cubicBezTo>
                  <a:pt x="742" y="921"/>
                  <a:pt x="742" y="921"/>
                  <a:pt x="742" y="921"/>
                </a:cubicBezTo>
                <a:cubicBezTo>
                  <a:pt x="742" y="921"/>
                  <a:pt x="742" y="921"/>
                  <a:pt x="742" y="921"/>
                </a:cubicBezTo>
                <a:cubicBezTo>
                  <a:pt x="741" y="921"/>
                  <a:pt x="741" y="921"/>
                  <a:pt x="741" y="921"/>
                </a:cubicBezTo>
                <a:cubicBezTo>
                  <a:pt x="741" y="923"/>
                  <a:pt x="741" y="923"/>
                  <a:pt x="741" y="923"/>
                </a:cubicBezTo>
                <a:cubicBezTo>
                  <a:pt x="740" y="923"/>
                  <a:pt x="739" y="924"/>
                  <a:pt x="739" y="927"/>
                </a:cubicBezTo>
                <a:cubicBezTo>
                  <a:pt x="739" y="927"/>
                  <a:pt x="739" y="927"/>
                  <a:pt x="739" y="927"/>
                </a:cubicBezTo>
                <a:cubicBezTo>
                  <a:pt x="739" y="927"/>
                  <a:pt x="740" y="927"/>
                  <a:pt x="743" y="927"/>
                </a:cubicBezTo>
                <a:cubicBezTo>
                  <a:pt x="743" y="927"/>
                  <a:pt x="743" y="927"/>
                  <a:pt x="743" y="927"/>
                </a:cubicBezTo>
                <a:cubicBezTo>
                  <a:pt x="744" y="927"/>
                  <a:pt x="744" y="927"/>
                  <a:pt x="744" y="927"/>
                </a:cubicBezTo>
                <a:cubicBezTo>
                  <a:pt x="744" y="927"/>
                  <a:pt x="744" y="927"/>
                  <a:pt x="744" y="927"/>
                </a:cubicBezTo>
                <a:cubicBezTo>
                  <a:pt x="744" y="925"/>
                  <a:pt x="744" y="923"/>
                  <a:pt x="744" y="921"/>
                </a:cubicBezTo>
                <a:cubicBezTo>
                  <a:pt x="744" y="921"/>
                  <a:pt x="744" y="921"/>
                  <a:pt x="744" y="921"/>
                </a:cubicBezTo>
                <a:lnTo>
                  <a:pt x="743" y="921"/>
                </a:lnTo>
                <a:close/>
                <a:moveTo>
                  <a:pt x="797" y="958"/>
                </a:moveTo>
                <a:cubicBezTo>
                  <a:pt x="797" y="958"/>
                  <a:pt x="797" y="958"/>
                  <a:pt x="797" y="958"/>
                </a:cubicBezTo>
                <a:cubicBezTo>
                  <a:pt x="797" y="958"/>
                  <a:pt x="797" y="958"/>
                  <a:pt x="797" y="958"/>
                </a:cubicBezTo>
                <a:cubicBezTo>
                  <a:pt x="795" y="957"/>
                  <a:pt x="791" y="956"/>
                  <a:pt x="788" y="956"/>
                </a:cubicBezTo>
                <a:cubicBezTo>
                  <a:pt x="787" y="956"/>
                  <a:pt x="784" y="957"/>
                  <a:pt x="784" y="958"/>
                </a:cubicBezTo>
                <a:cubicBezTo>
                  <a:pt x="784" y="961"/>
                  <a:pt x="787" y="964"/>
                  <a:pt x="790" y="964"/>
                </a:cubicBezTo>
                <a:cubicBezTo>
                  <a:pt x="792" y="964"/>
                  <a:pt x="794" y="963"/>
                  <a:pt x="796" y="963"/>
                </a:cubicBezTo>
                <a:cubicBezTo>
                  <a:pt x="797" y="962"/>
                  <a:pt x="799" y="962"/>
                  <a:pt x="800" y="962"/>
                </a:cubicBezTo>
                <a:cubicBezTo>
                  <a:pt x="800" y="962"/>
                  <a:pt x="800" y="962"/>
                  <a:pt x="800" y="962"/>
                </a:cubicBezTo>
                <a:cubicBezTo>
                  <a:pt x="800" y="961"/>
                  <a:pt x="800" y="961"/>
                  <a:pt x="800" y="961"/>
                </a:cubicBezTo>
                <a:cubicBezTo>
                  <a:pt x="800" y="960"/>
                  <a:pt x="799" y="959"/>
                  <a:pt x="797" y="958"/>
                </a:cubicBezTo>
                <a:close/>
                <a:moveTo>
                  <a:pt x="885" y="955"/>
                </a:moveTo>
                <a:cubicBezTo>
                  <a:pt x="884" y="955"/>
                  <a:pt x="881" y="956"/>
                  <a:pt x="881" y="958"/>
                </a:cubicBezTo>
                <a:cubicBezTo>
                  <a:pt x="881" y="962"/>
                  <a:pt x="887" y="962"/>
                  <a:pt x="890" y="962"/>
                </a:cubicBezTo>
                <a:cubicBezTo>
                  <a:pt x="891" y="962"/>
                  <a:pt x="894" y="962"/>
                  <a:pt x="895" y="960"/>
                </a:cubicBezTo>
                <a:cubicBezTo>
                  <a:pt x="895" y="959"/>
                  <a:pt x="895" y="959"/>
                  <a:pt x="895" y="959"/>
                </a:cubicBezTo>
                <a:cubicBezTo>
                  <a:pt x="895" y="959"/>
                  <a:pt x="895" y="959"/>
                  <a:pt x="895" y="959"/>
                </a:cubicBezTo>
                <a:cubicBezTo>
                  <a:pt x="894" y="957"/>
                  <a:pt x="886" y="955"/>
                  <a:pt x="885" y="955"/>
                </a:cubicBezTo>
                <a:close/>
                <a:moveTo>
                  <a:pt x="822" y="962"/>
                </a:moveTo>
                <a:cubicBezTo>
                  <a:pt x="822" y="962"/>
                  <a:pt x="822" y="962"/>
                  <a:pt x="822" y="962"/>
                </a:cubicBezTo>
                <a:cubicBezTo>
                  <a:pt x="822" y="962"/>
                  <a:pt x="822" y="962"/>
                  <a:pt x="822" y="962"/>
                </a:cubicBezTo>
                <a:cubicBezTo>
                  <a:pt x="823" y="961"/>
                  <a:pt x="823" y="961"/>
                  <a:pt x="823" y="961"/>
                </a:cubicBezTo>
                <a:cubicBezTo>
                  <a:pt x="823" y="960"/>
                  <a:pt x="823" y="960"/>
                  <a:pt x="823" y="960"/>
                </a:cubicBezTo>
                <a:cubicBezTo>
                  <a:pt x="823" y="960"/>
                  <a:pt x="824" y="960"/>
                  <a:pt x="824" y="960"/>
                </a:cubicBezTo>
                <a:cubicBezTo>
                  <a:pt x="825" y="960"/>
                  <a:pt x="825" y="959"/>
                  <a:pt x="826" y="959"/>
                </a:cubicBezTo>
                <a:cubicBezTo>
                  <a:pt x="827" y="959"/>
                  <a:pt x="828" y="959"/>
                  <a:pt x="829" y="959"/>
                </a:cubicBezTo>
                <a:cubicBezTo>
                  <a:pt x="833" y="959"/>
                  <a:pt x="838" y="959"/>
                  <a:pt x="840" y="960"/>
                </a:cubicBezTo>
                <a:cubicBezTo>
                  <a:pt x="840" y="961"/>
                  <a:pt x="841" y="961"/>
                  <a:pt x="841" y="962"/>
                </a:cubicBezTo>
                <a:cubicBezTo>
                  <a:pt x="841" y="963"/>
                  <a:pt x="842" y="965"/>
                  <a:pt x="844" y="965"/>
                </a:cubicBezTo>
                <a:cubicBezTo>
                  <a:pt x="845" y="965"/>
                  <a:pt x="846" y="963"/>
                  <a:pt x="847" y="962"/>
                </a:cubicBezTo>
                <a:cubicBezTo>
                  <a:pt x="848" y="960"/>
                  <a:pt x="849" y="959"/>
                  <a:pt x="851" y="959"/>
                </a:cubicBezTo>
                <a:cubicBezTo>
                  <a:pt x="851" y="959"/>
                  <a:pt x="852" y="959"/>
                  <a:pt x="852" y="959"/>
                </a:cubicBezTo>
                <a:cubicBezTo>
                  <a:pt x="852" y="960"/>
                  <a:pt x="853" y="961"/>
                  <a:pt x="854" y="961"/>
                </a:cubicBezTo>
                <a:cubicBezTo>
                  <a:pt x="856" y="961"/>
                  <a:pt x="857" y="960"/>
                  <a:pt x="858" y="959"/>
                </a:cubicBezTo>
                <a:cubicBezTo>
                  <a:pt x="859" y="958"/>
                  <a:pt x="859" y="958"/>
                  <a:pt x="859" y="958"/>
                </a:cubicBezTo>
                <a:cubicBezTo>
                  <a:pt x="871" y="958"/>
                  <a:pt x="871" y="958"/>
                  <a:pt x="871" y="958"/>
                </a:cubicBezTo>
                <a:cubicBezTo>
                  <a:pt x="871" y="957"/>
                  <a:pt x="871" y="957"/>
                  <a:pt x="871" y="957"/>
                </a:cubicBezTo>
                <a:cubicBezTo>
                  <a:pt x="870" y="955"/>
                  <a:pt x="868" y="953"/>
                  <a:pt x="866" y="952"/>
                </a:cubicBezTo>
                <a:cubicBezTo>
                  <a:pt x="865" y="951"/>
                  <a:pt x="864" y="950"/>
                  <a:pt x="863" y="949"/>
                </a:cubicBezTo>
                <a:cubicBezTo>
                  <a:pt x="863" y="950"/>
                  <a:pt x="863" y="950"/>
                  <a:pt x="863" y="950"/>
                </a:cubicBezTo>
                <a:cubicBezTo>
                  <a:pt x="862" y="949"/>
                  <a:pt x="861" y="948"/>
                  <a:pt x="860" y="947"/>
                </a:cubicBezTo>
                <a:cubicBezTo>
                  <a:pt x="857" y="944"/>
                  <a:pt x="854" y="942"/>
                  <a:pt x="847" y="942"/>
                </a:cubicBezTo>
                <a:cubicBezTo>
                  <a:pt x="845" y="942"/>
                  <a:pt x="844" y="942"/>
                  <a:pt x="842" y="942"/>
                </a:cubicBezTo>
                <a:cubicBezTo>
                  <a:pt x="841" y="943"/>
                  <a:pt x="840" y="943"/>
                  <a:pt x="838" y="943"/>
                </a:cubicBezTo>
                <a:cubicBezTo>
                  <a:pt x="836" y="943"/>
                  <a:pt x="835" y="942"/>
                  <a:pt x="834" y="942"/>
                </a:cubicBezTo>
                <a:cubicBezTo>
                  <a:pt x="833" y="941"/>
                  <a:pt x="832" y="940"/>
                  <a:pt x="830" y="940"/>
                </a:cubicBezTo>
                <a:cubicBezTo>
                  <a:pt x="829" y="940"/>
                  <a:pt x="827" y="942"/>
                  <a:pt x="827" y="943"/>
                </a:cubicBezTo>
                <a:cubicBezTo>
                  <a:pt x="827" y="946"/>
                  <a:pt x="829" y="947"/>
                  <a:pt x="831" y="948"/>
                </a:cubicBezTo>
                <a:cubicBezTo>
                  <a:pt x="831" y="950"/>
                  <a:pt x="832" y="952"/>
                  <a:pt x="833" y="954"/>
                </a:cubicBezTo>
                <a:cubicBezTo>
                  <a:pt x="831" y="955"/>
                  <a:pt x="829" y="955"/>
                  <a:pt x="826" y="955"/>
                </a:cubicBezTo>
                <a:cubicBezTo>
                  <a:pt x="825" y="955"/>
                  <a:pt x="823" y="954"/>
                  <a:pt x="820" y="954"/>
                </a:cubicBezTo>
                <a:cubicBezTo>
                  <a:pt x="820" y="954"/>
                  <a:pt x="820" y="954"/>
                  <a:pt x="820" y="954"/>
                </a:cubicBezTo>
                <a:cubicBezTo>
                  <a:pt x="820" y="955"/>
                  <a:pt x="820" y="955"/>
                  <a:pt x="820" y="955"/>
                </a:cubicBezTo>
                <a:cubicBezTo>
                  <a:pt x="819" y="955"/>
                  <a:pt x="819" y="955"/>
                  <a:pt x="819" y="955"/>
                </a:cubicBezTo>
                <a:cubicBezTo>
                  <a:pt x="818" y="956"/>
                  <a:pt x="818" y="956"/>
                  <a:pt x="818" y="956"/>
                </a:cubicBezTo>
                <a:cubicBezTo>
                  <a:pt x="818" y="956"/>
                  <a:pt x="818" y="956"/>
                  <a:pt x="818" y="956"/>
                </a:cubicBezTo>
                <a:cubicBezTo>
                  <a:pt x="818" y="956"/>
                  <a:pt x="818" y="956"/>
                  <a:pt x="818" y="956"/>
                </a:cubicBezTo>
                <a:cubicBezTo>
                  <a:pt x="818" y="959"/>
                  <a:pt x="820" y="962"/>
                  <a:pt x="822" y="962"/>
                </a:cubicBezTo>
                <a:close/>
                <a:moveTo>
                  <a:pt x="929" y="1043"/>
                </a:moveTo>
                <a:cubicBezTo>
                  <a:pt x="929" y="1044"/>
                  <a:pt x="929" y="1044"/>
                  <a:pt x="929" y="1044"/>
                </a:cubicBezTo>
                <a:cubicBezTo>
                  <a:pt x="930" y="1044"/>
                  <a:pt x="931" y="1044"/>
                  <a:pt x="931" y="1044"/>
                </a:cubicBezTo>
                <a:cubicBezTo>
                  <a:pt x="932" y="1044"/>
                  <a:pt x="932" y="1044"/>
                  <a:pt x="932" y="1044"/>
                </a:cubicBezTo>
                <a:cubicBezTo>
                  <a:pt x="934" y="1044"/>
                  <a:pt x="936" y="1041"/>
                  <a:pt x="936" y="1039"/>
                </a:cubicBezTo>
                <a:cubicBezTo>
                  <a:pt x="936" y="1039"/>
                  <a:pt x="936" y="1039"/>
                  <a:pt x="936" y="1039"/>
                </a:cubicBezTo>
                <a:cubicBezTo>
                  <a:pt x="936" y="1039"/>
                  <a:pt x="936" y="1039"/>
                  <a:pt x="936" y="1039"/>
                </a:cubicBezTo>
                <a:cubicBezTo>
                  <a:pt x="936" y="1036"/>
                  <a:pt x="936" y="1036"/>
                  <a:pt x="936" y="1036"/>
                </a:cubicBezTo>
                <a:cubicBezTo>
                  <a:pt x="933" y="1036"/>
                  <a:pt x="933" y="1036"/>
                  <a:pt x="933" y="1036"/>
                </a:cubicBezTo>
                <a:cubicBezTo>
                  <a:pt x="931" y="1036"/>
                  <a:pt x="929" y="1039"/>
                  <a:pt x="929" y="1043"/>
                </a:cubicBezTo>
                <a:close/>
                <a:moveTo>
                  <a:pt x="1033" y="1141"/>
                </a:moveTo>
                <a:cubicBezTo>
                  <a:pt x="1032" y="1141"/>
                  <a:pt x="1032" y="1141"/>
                  <a:pt x="1032" y="1141"/>
                </a:cubicBezTo>
                <a:cubicBezTo>
                  <a:pt x="1032" y="1141"/>
                  <a:pt x="1032" y="1141"/>
                  <a:pt x="1032" y="1141"/>
                </a:cubicBezTo>
                <a:cubicBezTo>
                  <a:pt x="1032" y="1141"/>
                  <a:pt x="1032" y="1141"/>
                  <a:pt x="1032" y="1141"/>
                </a:cubicBezTo>
                <a:cubicBezTo>
                  <a:pt x="1031" y="1141"/>
                  <a:pt x="1031" y="1141"/>
                  <a:pt x="1031" y="1141"/>
                </a:cubicBezTo>
                <a:cubicBezTo>
                  <a:pt x="1028" y="1141"/>
                  <a:pt x="1025" y="1145"/>
                  <a:pt x="1025" y="1150"/>
                </a:cubicBezTo>
                <a:cubicBezTo>
                  <a:pt x="1025" y="1154"/>
                  <a:pt x="1033" y="1160"/>
                  <a:pt x="1038" y="1160"/>
                </a:cubicBezTo>
                <a:cubicBezTo>
                  <a:pt x="1042" y="1160"/>
                  <a:pt x="1047" y="1152"/>
                  <a:pt x="1047" y="1149"/>
                </a:cubicBezTo>
                <a:cubicBezTo>
                  <a:pt x="1047" y="1148"/>
                  <a:pt x="1046" y="1145"/>
                  <a:pt x="1044" y="1145"/>
                </a:cubicBezTo>
                <a:cubicBezTo>
                  <a:pt x="1044" y="1145"/>
                  <a:pt x="1043" y="1145"/>
                  <a:pt x="1042" y="1146"/>
                </a:cubicBezTo>
                <a:cubicBezTo>
                  <a:pt x="1042" y="1146"/>
                  <a:pt x="1041" y="1147"/>
                  <a:pt x="1040" y="1146"/>
                </a:cubicBezTo>
                <a:cubicBezTo>
                  <a:pt x="1040" y="1146"/>
                  <a:pt x="1040" y="1146"/>
                  <a:pt x="1040" y="1145"/>
                </a:cubicBezTo>
                <a:cubicBezTo>
                  <a:pt x="1039" y="1144"/>
                  <a:pt x="1039" y="1144"/>
                  <a:pt x="1039" y="1144"/>
                </a:cubicBezTo>
                <a:cubicBezTo>
                  <a:pt x="1039" y="1144"/>
                  <a:pt x="1039" y="1144"/>
                  <a:pt x="1039" y="1144"/>
                </a:cubicBezTo>
                <a:cubicBezTo>
                  <a:pt x="1037" y="1144"/>
                  <a:pt x="1035" y="1143"/>
                  <a:pt x="1033" y="1141"/>
                </a:cubicBezTo>
                <a:close/>
                <a:moveTo>
                  <a:pt x="824" y="1611"/>
                </a:moveTo>
                <a:cubicBezTo>
                  <a:pt x="824" y="1611"/>
                  <a:pt x="824" y="1611"/>
                  <a:pt x="824" y="1611"/>
                </a:cubicBezTo>
                <a:cubicBezTo>
                  <a:pt x="827" y="1611"/>
                  <a:pt x="827" y="1611"/>
                  <a:pt x="827" y="1611"/>
                </a:cubicBezTo>
                <a:cubicBezTo>
                  <a:pt x="827" y="1600"/>
                  <a:pt x="827" y="1600"/>
                  <a:pt x="827" y="1600"/>
                </a:cubicBezTo>
                <a:cubicBezTo>
                  <a:pt x="827" y="1599"/>
                  <a:pt x="827" y="1599"/>
                  <a:pt x="827" y="1599"/>
                </a:cubicBezTo>
                <a:cubicBezTo>
                  <a:pt x="828" y="1599"/>
                  <a:pt x="828" y="1598"/>
                  <a:pt x="828" y="1596"/>
                </a:cubicBezTo>
                <a:cubicBezTo>
                  <a:pt x="828" y="1592"/>
                  <a:pt x="827" y="1590"/>
                  <a:pt x="824" y="1590"/>
                </a:cubicBezTo>
                <a:cubicBezTo>
                  <a:pt x="822" y="1590"/>
                  <a:pt x="820" y="1598"/>
                  <a:pt x="820" y="1601"/>
                </a:cubicBezTo>
                <a:cubicBezTo>
                  <a:pt x="820" y="1601"/>
                  <a:pt x="820" y="1601"/>
                  <a:pt x="820" y="1601"/>
                </a:cubicBezTo>
                <a:cubicBezTo>
                  <a:pt x="820" y="1606"/>
                  <a:pt x="820" y="1606"/>
                  <a:pt x="820" y="1606"/>
                </a:cubicBezTo>
                <a:cubicBezTo>
                  <a:pt x="820" y="1607"/>
                  <a:pt x="821" y="1611"/>
                  <a:pt x="824" y="1611"/>
                </a:cubicBezTo>
                <a:close/>
                <a:moveTo>
                  <a:pt x="1159" y="1193"/>
                </a:moveTo>
                <a:cubicBezTo>
                  <a:pt x="1157" y="1192"/>
                  <a:pt x="1155" y="1193"/>
                  <a:pt x="1153" y="1193"/>
                </a:cubicBezTo>
                <a:cubicBezTo>
                  <a:pt x="1151" y="1193"/>
                  <a:pt x="1149" y="1193"/>
                  <a:pt x="1147" y="1192"/>
                </a:cubicBezTo>
                <a:cubicBezTo>
                  <a:pt x="1143" y="1191"/>
                  <a:pt x="1133" y="1181"/>
                  <a:pt x="1130" y="1176"/>
                </a:cubicBezTo>
                <a:cubicBezTo>
                  <a:pt x="1130" y="1176"/>
                  <a:pt x="1130" y="1176"/>
                  <a:pt x="1130" y="1176"/>
                </a:cubicBezTo>
                <a:cubicBezTo>
                  <a:pt x="1130" y="1176"/>
                  <a:pt x="1130" y="1176"/>
                  <a:pt x="1130" y="1176"/>
                </a:cubicBezTo>
                <a:cubicBezTo>
                  <a:pt x="1125" y="1173"/>
                  <a:pt x="1120" y="1171"/>
                  <a:pt x="1116" y="1170"/>
                </a:cubicBezTo>
                <a:cubicBezTo>
                  <a:pt x="1116" y="1170"/>
                  <a:pt x="1116" y="1170"/>
                  <a:pt x="1116" y="1170"/>
                </a:cubicBezTo>
                <a:cubicBezTo>
                  <a:pt x="1115" y="1170"/>
                  <a:pt x="1115" y="1170"/>
                  <a:pt x="1115" y="1170"/>
                </a:cubicBezTo>
                <a:cubicBezTo>
                  <a:pt x="1104" y="1172"/>
                  <a:pt x="1104" y="1172"/>
                  <a:pt x="1104" y="1172"/>
                </a:cubicBezTo>
                <a:cubicBezTo>
                  <a:pt x="1101" y="1172"/>
                  <a:pt x="1099" y="1171"/>
                  <a:pt x="1097" y="1169"/>
                </a:cubicBezTo>
                <a:cubicBezTo>
                  <a:pt x="1095" y="1168"/>
                  <a:pt x="1093" y="1166"/>
                  <a:pt x="1090" y="1166"/>
                </a:cubicBezTo>
                <a:cubicBezTo>
                  <a:pt x="1088" y="1166"/>
                  <a:pt x="1087" y="1167"/>
                  <a:pt x="1086" y="1168"/>
                </a:cubicBezTo>
                <a:cubicBezTo>
                  <a:pt x="1085" y="1169"/>
                  <a:pt x="1084" y="1170"/>
                  <a:pt x="1083" y="1170"/>
                </a:cubicBezTo>
                <a:cubicBezTo>
                  <a:pt x="1081" y="1170"/>
                  <a:pt x="1081" y="1170"/>
                  <a:pt x="1081" y="1170"/>
                </a:cubicBezTo>
                <a:cubicBezTo>
                  <a:pt x="1081" y="1170"/>
                  <a:pt x="1081" y="1169"/>
                  <a:pt x="1081" y="1169"/>
                </a:cubicBezTo>
                <a:cubicBezTo>
                  <a:pt x="1081" y="1166"/>
                  <a:pt x="1082" y="1164"/>
                  <a:pt x="1081" y="1162"/>
                </a:cubicBezTo>
                <a:cubicBezTo>
                  <a:pt x="1080" y="1160"/>
                  <a:pt x="1079" y="1159"/>
                  <a:pt x="1077" y="1159"/>
                </a:cubicBezTo>
                <a:cubicBezTo>
                  <a:pt x="1077" y="1158"/>
                  <a:pt x="1076" y="1158"/>
                  <a:pt x="1075" y="1158"/>
                </a:cubicBezTo>
                <a:cubicBezTo>
                  <a:pt x="1070" y="1154"/>
                  <a:pt x="1059" y="1148"/>
                  <a:pt x="1054" y="1148"/>
                </a:cubicBezTo>
                <a:cubicBezTo>
                  <a:pt x="1049" y="1148"/>
                  <a:pt x="1045" y="1155"/>
                  <a:pt x="1042" y="1160"/>
                </a:cubicBezTo>
                <a:cubicBezTo>
                  <a:pt x="1042" y="1161"/>
                  <a:pt x="1042" y="1161"/>
                  <a:pt x="1042" y="1161"/>
                </a:cubicBezTo>
                <a:cubicBezTo>
                  <a:pt x="1042" y="1161"/>
                  <a:pt x="1042" y="1161"/>
                  <a:pt x="1042" y="1161"/>
                </a:cubicBezTo>
                <a:cubicBezTo>
                  <a:pt x="1041" y="1163"/>
                  <a:pt x="1040" y="1165"/>
                  <a:pt x="1039" y="1165"/>
                </a:cubicBezTo>
                <a:cubicBezTo>
                  <a:pt x="1038" y="1165"/>
                  <a:pt x="1038" y="1163"/>
                  <a:pt x="1038" y="1162"/>
                </a:cubicBezTo>
                <a:cubicBezTo>
                  <a:pt x="1038" y="1161"/>
                  <a:pt x="1038" y="1161"/>
                  <a:pt x="1038" y="1161"/>
                </a:cubicBezTo>
                <a:cubicBezTo>
                  <a:pt x="1030" y="1161"/>
                  <a:pt x="1030" y="1161"/>
                  <a:pt x="1030" y="1161"/>
                </a:cubicBezTo>
                <a:cubicBezTo>
                  <a:pt x="1029" y="1158"/>
                  <a:pt x="1028" y="1155"/>
                  <a:pt x="1025" y="1153"/>
                </a:cubicBezTo>
                <a:cubicBezTo>
                  <a:pt x="1024" y="1153"/>
                  <a:pt x="1024" y="1153"/>
                  <a:pt x="1024" y="1153"/>
                </a:cubicBezTo>
                <a:cubicBezTo>
                  <a:pt x="1022" y="1153"/>
                  <a:pt x="1021" y="1152"/>
                  <a:pt x="1021" y="1150"/>
                </a:cubicBezTo>
                <a:cubicBezTo>
                  <a:pt x="1021" y="1143"/>
                  <a:pt x="1025" y="1139"/>
                  <a:pt x="1029" y="1135"/>
                </a:cubicBezTo>
                <a:cubicBezTo>
                  <a:pt x="1031" y="1133"/>
                  <a:pt x="1033" y="1132"/>
                  <a:pt x="1035" y="1129"/>
                </a:cubicBezTo>
                <a:cubicBezTo>
                  <a:pt x="1035" y="1129"/>
                  <a:pt x="1035" y="1129"/>
                  <a:pt x="1035" y="1129"/>
                </a:cubicBezTo>
                <a:cubicBezTo>
                  <a:pt x="1035" y="1129"/>
                  <a:pt x="1035" y="1129"/>
                  <a:pt x="1035" y="1129"/>
                </a:cubicBezTo>
                <a:cubicBezTo>
                  <a:pt x="1035" y="1127"/>
                  <a:pt x="1033" y="1126"/>
                  <a:pt x="1032" y="1125"/>
                </a:cubicBezTo>
                <a:cubicBezTo>
                  <a:pt x="1031" y="1124"/>
                  <a:pt x="1030" y="1123"/>
                  <a:pt x="1029" y="1122"/>
                </a:cubicBezTo>
                <a:cubicBezTo>
                  <a:pt x="1027" y="1118"/>
                  <a:pt x="1024" y="1107"/>
                  <a:pt x="1024" y="1103"/>
                </a:cubicBezTo>
                <a:cubicBezTo>
                  <a:pt x="1024" y="1102"/>
                  <a:pt x="1024" y="1102"/>
                  <a:pt x="1024" y="1102"/>
                </a:cubicBezTo>
                <a:cubicBezTo>
                  <a:pt x="1023" y="1102"/>
                  <a:pt x="1023" y="1102"/>
                  <a:pt x="1023" y="1102"/>
                </a:cubicBezTo>
                <a:cubicBezTo>
                  <a:pt x="1021" y="1102"/>
                  <a:pt x="1018" y="1099"/>
                  <a:pt x="1015" y="1096"/>
                </a:cubicBezTo>
                <a:cubicBezTo>
                  <a:pt x="1012" y="1093"/>
                  <a:pt x="1009" y="1089"/>
                  <a:pt x="1007" y="1089"/>
                </a:cubicBezTo>
                <a:cubicBezTo>
                  <a:pt x="1005" y="1089"/>
                  <a:pt x="1005" y="1089"/>
                  <a:pt x="1005" y="1089"/>
                </a:cubicBezTo>
                <a:cubicBezTo>
                  <a:pt x="1005" y="1089"/>
                  <a:pt x="1005" y="1089"/>
                  <a:pt x="1005" y="1089"/>
                </a:cubicBezTo>
                <a:cubicBezTo>
                  <a:pt x="1005" y="1089"/>
                  <a:pt x="1005" y="1089"/>
                  <a:pt x="1005" y="1089"/>
                </a:cubicBezTo>
                <a:cubicBezTo>
                  <a:pt x="1002" y="1089"/>
                  <a:pt x="998" y="1087"/>
                  <a:pt x="996" y="1086"/>
                </a:cubicBezTo>
                <a:cubicBezTo>
                  <a:pt x="995" y="1085"/>
                  <a:pt x="995" y="1085"/>
                  <a:pt x="995" y="1085"/>
                </a:cubicBezTo>
                <a:cubicBezTo>
                  <a:pt x="995" y="1085"/>
                  <a:pt x="995" y="1085"/>
                  <a:pt x="995" y="1085"/>
                </a:cubicBezTo>
                <a:cubicBezTo>
                  <a:pt x="987" y="1085"/>
                  <a:pt x="987" y="1085"/>
                  <a:pt x="987" y="1085"/>
                </a:cubicBezTo>
                <a:cubicBezTo>
                  <a:pt x="985" y="1085"/>
                  <a:pt x="983" y="1084"/>
                  <a:pt x="981" y="1084"/>
                </a:cubicBezTo>
                <a:cubicBezTo>
                  <a:pt x="973" y="1083"/>
                  <a:pt x="965" y="1082"/>
                  <a:pt x="963" y="1075"/>
                </a:cubicBezTo>
                <a:cubicBezTo>
                  <a:pt x="963" y="1074"/>
                  <a:pt x="963" y="1074"/>
                  <a:pt x="963" y="1074"/>
                </a:cubicBezTo>
                <a:cubicBezTo>
                  <a:pt x="963" y="1074"/>
                  <a:pt x="963" y="1074"/>
                  <a:pt x="963" y="1074"/>
                </a:cubicBezTo>
                <a:cubicBezTo>
                  <a:pt x="962" y="1074"/>
                  <a:pt x="959" y="1074"/>
                  <a:pt x="959" y="1073"/>
                </a:cubicBezTo>
                <a:cubicBezTo>
                  <a:pt x="956" y="1067"/>
                  <a:pt x="954" y="1065"/>
                  <a:pt x="952" y="1063"/>
                </a:cubicBezTo>
                <a:cubicBezTo>
                  <a:pt x="950" y="1062"/>
                  <a:pt x="949" y="1061"/>
                  <a:pt x="946" y="1058"/>
                </a:cubicBezTo>
                <a:cubicBezTo>
                  <a:pt x="946" y="1058"/>
                  <a:pt x="946" y="1058"/>
                  <a:pt x="946" y="1058"/>
                </a:cubicBezTo>
                <a:cubicBezTo>
                  <a:pt x="938" y="1058"/>
                  <a:pt x="938" y="1058"/>
                  <a:pt x="938" y="1058"/>
                </a:cubicBezTo>
                <a:cubicBezTo>
                  <a:pt x="938" y="1057"/>
                  <a:pt x="937" y="1056"/>
                  <a:pt x="937" y="1054"/>
                </a:cubicBezTo>
                <a:cubicBezTo>
                  <a:pt x="937" y="1051"/>
                  <a:pt x="936" y="1048"/>
                  <a:pt x="933" y="1047"/>
                </a:cubicBezTo>
                <a:cubicBezTo>
                  <a:pt x="932" y="1047"/>
                  <a:pt x="931" y="1046"/>
                  <a:pt x="930" y="1046"/>
                </a:cubicBezTo>
                <a:cubicBezTo>
                  <a:pt x="927" y="1045"/>
                  <a:pt x="922" y="1043"/>
                  <a:pt x="920" y="1040"/>
                </a:cubicBezTo>
                <a:cubicBezTo>
                  <a:pt x="920" y="1037"/>
                  <a:pt x="920" y="1037"/>
                  <a:pt x="920" y="1037"/>
                </a:cubicBezTo>
                <a:cubicBezTo>
                  <a:pt x="922" y="1038"/>
                  <a:pt x="924" y="1037"/>
                  <a:pt x="925" y="1036"/>
                </a:cubicBezTo>
                <a:cubicBezTo>
                  <a:pt x="926" y="1036"/>
                  <a:pt x="926" y="1036"/>
                  <a:pt x="926" y="1036"/>
                </a:cubicBezTo>
                <a:cubicBezTo>
                  <a:pt x="925" y="1036"/>
                  <a:pt x="925" y="1036"/>
                  <a:pt x="925" y="1036"/>
                </a:cubicBezTo>
                <a:cubicBezTo>
                  <a:pt x="924" y="1036"/>
                  <a:pt x="919" y="1035"/>
                  <a:pt x="916" y="1035"/>
                </a:cubicBezTo>
                <a:cubicBezTo>
                  <a:pt x="916" y="1035"/>
                  <a:pt x="916" y="1035"/>
                  <a:pt x="916" y="1035"/>
                </a:cubicBezTo>
                <a:cubicBezTo>
                  <a:pt x="916" y="1035"/>
                  <a:pt x="916" y="1035"/>
                  <a:pt x="916" y="1035"/>
                </a:cubicBezTo>
                <a:cubicBezTo>
                  <a:pt x="915" y="1035"/>
                  <a:pt x="914" y="1035"/>
                  <a:pt x="913" y="1035"/>
                </a:cubicBezTo>
                <a:cubicBezTo>
                  <a:pt x="910" y="1036"/>
                  <a:pt x="908" y="1036"/>
                  <a:pt x="908" y="1037"/>
                </a:cubicBezTo>
                <a:cubicBezTo>
                  <a:pt x="908" y="1037"/>
                  <a:pt x="908" y="1037"/>
                  <a:pt x="908" y="1037"/>
                </a:cubicBezTo>
                <a:cubicBezTo>
                  <a:pt x="906" y="1040"/>
                  <a:pt x="904" y="1041"/>
                  <a:pt x="900" y="1041"/>
                </a:cubicBezTo>
                <a:cubicBezTo>
                  <a:pt x="899" y="1041"/>
                  <a:pt x="899" y="1041"/>
                  <a:pt x="899" y="1041"/>
                </a:cubicBezTo>
                <a:cubicBezTo>
                  <a:pt x="897" y="1041"/>
                  <a:pt x="893" y="1041"/>
                  <a:pt x="893" y="1038"/>
                </a:cubicBezTo>
                <a:cubicBezTo>
                  <a:pt x="893" y="1037"/>
                  <a:pt x="893" y="1037"/>
                  <a:pt x="893" y="1037"/>
                </a:cubicBezTo>
                <a:cubicBezTo>
                  <a:pt x="876" y="1037"/>
                  <a:pt x="876" y="1037"/>
                  <a:pt x="876" y="1037"/>
                </a:cubicBezTo>
                <a:cubicBezTo>
                  <a:pt x="874" y="1037"/>
                  <a:pt x="873" y="1035"/>
                  <a:pt x="873" y="1032"/>
                </a:cubicBezTo>
                <a:cubicBezTo>
                  <a:pt x="873" y="1031"/>
                  <a:pt x="873" y="1031"/>
                  <a:pt x="873" y="1031"/>
                </a:cubicBezTo>
                <a:cubicBezTo>
                  <a:pt x="872" y="1031"/>
                  <a:pt x="872" y="1031"/>
                  <a:pt x="872" y="1031"/>
                </a:cubicBezTo>
                <a:cubicBezTo>
                  <a:pt x="867" y="1030"/>
                  <a:pt x="861" y="1028"/>
                  <a:pt x="860" y="1023"/>
                </a:cubicBezTo>
                <a:cubicBezTo>
                  <a:pt x="860" y="1023"/>
                  <a:pt x="860" y="1023"/>
                  <a:pt x="860" y="1023"/>
                </a:cubicBezTo>
                <a:cubicBezTo>
                  <a:pt x="860" y="1023"/>
                  <a:pt x="860" y="1023"/>
                  <a:pt x="860" y="1023"/>
                </a:cubicBezTo>
                <a:cubicBezTo>
                  <a:pt x="854" y="1022"/>
                  <a:pt x="854" y="1022"/>
                  <a:pt x="854" y="1022"/>
                </a:cubicBezTo>
                <a:cubicBezTo>
                  <a:pt x="854" y="1022"/>
                  <a:pt x="854" y="1022"/>
                  <a:pt x="854" y="1022"/>
                </a:cubicBezTo>
                <a:cubicBezTo>
                  <a:pt x="854" y="1023"/>
                  <a:pt x="854" y="1023"/>
                  <a:pt x="854" y="1023"/>
                </a:cubicBezTo>
                <a:cubicBezTo>
                  <a:pt x="854" y="1025"/>
                  <a:pt x="855" y="1026"/>
                  <a:pt x="857" y="1027"/>
                </a:cubicBezTo>
                <a:cubicBezTo>
                  <a:pt x="858" y="1027"/>
                  <a:pt x="859" y="1028"/>
                  <a:pt x="859" y="1029"/>
                </a:cubicBezTo>
                <a:cubicBezTo>
                  <a:pt x="852" y="1029"/>
                  <a:pt x="852" y="1029"/>
                  <a:pt x="852" y="1029"/>
                </a:cubicBezTo>
                <a:cubicBezTo>
                  <a:pt x="852" y="1029"/>
                  <a:pt x="852" y="1029"/>
                  <a:pt x="852" y="1029"/>
                </a:cubicBezTo>
                <a:cubicBezTo>
                  <a:pt x="852" y="1030"/>
                  <a:pt x="850" y="1030"/>
                  <a:pt x="849" y="1031"/>
                </a:cubicBezTo>
                <a:cubicBezTo>
                  <a:pt x="847" y="1031"/>
                  <a:pt x="845" y="1032"/>
                  <a:pt x="845" y="1036"/>
                </a:cubicBezTo>
                <a:cubicBezTo>
                  <a:pt x="845" y="1038"/>
                  <a:pt x="845" y="1040"/>
                  <a:pt x="846" y="1042"/>
                </a:cubicBezTo>
                <a:cubicBezTo>
                  <a:pt x="847" y="1043"/>
                  <a:pt x="848" y="1045"/>
                  <a:pt x="848" y="1047"/>
                </a:cubicBezTo>
                <a:cubicBezTo>
                  <a:pt x="848" y="1048"/>
                  <a:pt x="847" y="1052"/>
                  <a:pt x="846" y="1052"/>
                </a:cubicBezTo>
                <a:cubicBezTo>
                  <a:pt x="843" y="1052"/>
                  <a:pt x="841" y="1046"/>
                  <a:pt x="841" y="1042"/>
                </a:cubicBezTo>
                <a:cubicBezTo>
                  <a:pt x="841" y="1040"/>
                  <a:pt x="842" y="1037"/>
                  <a:pt x="842" y="1034"/>
                </a:cubicBezTo>
                <a:cubicBezTo>
                  <a:pt x="843" y="1032"/>
                  <a:pt x="843" y="1030"/>
                  <a:pt x="844" y="1028"/>
                </a:cubicBezTo>
                <a:cubicBezTo>
                  <a:pt x="845" y="1028"/>
                  <a:pt x="847" y="1026"/>
                  <a:pt x="847" y="1024"/>
                </a:cubicBezTo>
                <a:cubicBezTo>
                  <a:pt x="847" y="1023"/>
                  <a:pt x="846" y="1019"/>
                  <a:pt x="844" y="1019"/>
                </a:cubicBezTo>
                <a:cubicBezTo>
                  <a:pt x="841" y="1019"/>
                  <a:pt x="840" y="1021"/>
                  <a:pt x="839" y="1022"/>
                </a:cubicBezTo>
                <a:cubicBezTo>
                  <a:pt x="838" y="1024"/>
                  <a:pt x="836" y="1025"/>
                  <a:pt x="835" y="1026"/>
                </a:cubicBezTo>
                <a:cubicBezTo>
                  <a:pt x="831" y="1027"/>
                  <a:pt x="828" y="1028"/>
                  <a:pt x="825" y="1029"/>
                </a:cubicBezTo>
                <a:cubicBezTo>
                  <a:pt x="822" y="1030"/>
                  <a:pt x="819" y="1031"/>
                  <a:pt x="815" y="1033"/>
                </a:cubicBezTo>
                <a:cubicBezTo>
                  <a:pt x="811" y="1034"/>
                  <a:pt x="808" y="1035"/>
                  <a:pt x="806" y="1041"/>
                </a:cubicBezTo>
                <a:cubicBezTo>
                  <a:pt x="806" y="1042"/>
                  <a:pt x="806" y="1042"/>
                  <a:pt x="806" y="1043"/>
                </a:cubicBezTo>
                <a:cubicBezTo>
                  <a:pt x="805" y="1046"/>
                  <a:pt x="805" y="1048"/>
                  <a:pt x="803" y="1049"/>
                </a:cubicBezTo>
                <a:cubicBezTo>
                  <a:pt x="802" y="1050"/>
                  <a:pt x="802" y="1050"/>
                  <a:pt x="802" y="1050"/>
                </a:cubicBezTo>
                <a:cubicBezTo>
                  <a:pt x="801" y="1051"/>
                  <a:pt x="799" y="1053"/>
                  <a:pt x="798" y="1055"/>
                </a:cubicBezTo>
                <a:cubicBezTo>
                  <a:pt x="798" y="1056"/>
                  <a:pt x="796" y="1057"/>
                  <a:pt x="796" y="1057"/>
                </a:cubicBezTo>
                <a:cubicBezTo>
                  <a:pt x="796" y="1059"/>
                  <a:pt x="796" y="1059"/>
                  <a:pt x="796" y="1059"/>
                </a:cubicBezTo>
                <a:cubicBezTo>
                  <a:pt x="796" y="1059"/>
                  <a:pt x="796" y="1059"/>
                  <a:pt x="796" y="1059"/>
                </a:cubicBezTo>
                <a:cubicBezTo>
                  <a:pt x="795" y="1060"/>
                  <a:pt x="795" y="1060"/>
                  <a:pt x="794" y="1059"/>
                </a:cubicBezTo>
                <a:cubicBezTo>
                  <a:pt x="793" y="1059"/>
                  <a:pt x="793" y="1059"/>
                  <a:pt x="793" y="1059"/>
                </a:cubicBezTo>
                <a:cubicBezTo>
                  <a:pt x="793" y="1059"/>
                  <a:pt x="793" y="1059"/>
                  <a:pt x="793" y="1059"/>
                </a:cubicBezTo>
                <a:cubicBezTo>
                  <a:pt x="793" y="1059"/>
                  <a:pt x="793" y="1059"/>
                  <a:pt x="793" y="1059"/>
                </a:cubicBezTo>
                <a:cubicBezTo>
                  <a:pt x="792" y="1058"/>
                  <a:pt x="791" y="1057"/>
                  <a:pt x="790" y="1055"/>
                </a:cubicBezTo>
                <a:cubicBezTo>
                  <a:pt x="786" y="1052"/>
                  <a:pt x="782" y="1048"/>
                  <a:pt x="776" y="1048"/>
                </a:cubicBezTo>
                <a:cubicBezTo>
                  <a:pt x="772" y="1048"/>
                  <a:pt x="769" y="1049"/>
                  <a:pt x="766" y="1051"/>
                </a:cubicBezTo>
                <a:cubicBezTo>
                  <a:pt x="763" y="1053"/>
                  <a:pt x="760" y="1055"/>
                  <a:pt x="756" y="1055"/>
                </a:cubicBezTo>
                <a:cubicBezTo>
                  <a:pt x="753" y="1055"/>
                  <a:pt x="752" y="1052"/>
                  <a:pt x="751" y="1050"/>
                </a:cubicBezTo>
                <a:cubicBezTo>
                  <a:pt x="750" y="1049"/>
                  <a:pt x="749" y="1047"/>
                  <a:pt x="748" y="1046"/>
                </a:cubicBezTo>
                <a:cubicBezTo>
                  <a:pt x="747" y="1046"/>
                  <a:pt x="747" y="1046"/>
                  <a:pt x="747" y="1046"/>
                </a:cubicBezTo>
                <a:cubicBezTo>
                  <a:pt x="742" y="1043"/>
                  <a:pt x="737" y="1040"/>
                  <a:pt x="737" y="1033"/>
                </a:cubicBezTo>
                <a:cubicBezTo>
                  <a:pt x="737" y="1012"/>
                  <a:pt x="737" y="1012"/>
                  <a:pt x="737" y="1012"/>
                </a:cubicBezTo>
                <a:cubicBezTo>
                  <a:pt x="739" y="1008"/>
                  <a:pt x="739" y="997"/>
                  <a:pt x="739" y="996"/>
                </a:cubicBezTo>
                <a:cubicBezTo>
                  <a:pt x="739" y="991"/>
                  <a:pt x="739" y="991"/>
                  <a:pt x="739" y="991"/>
                </a:cubicBezTo>
                <a:cubicBezTo>
                  <a:pt x="738" y="991"/>
                  <a:pt x="738" y="991"/>
                  <a:pt x="738" y="991"/>
                </a:cubicBezTo>
                <a:cubicBezTo>
                  <a:pt x="736" y="990"/>
                  <a:pt x="735" y="989"/>
                  <a:pt x="733" y="987"/>
                </a:cubicBezTo>
                <a:cubicBezTo>
                  <a:pt x="730" y="985"/>
                  <a:pt x="728" y="983"/>
                  <a:pt x="724" y="983"/>
                </a:cubicBezTo>
                <a:cubicBezTo>
                  <a:pt x="718" y="983"/>
                  <a:pt x="713" y="984"/>
                  <a:pt x="708" y="984"/>
                </a:cubicBezTo>
                <a:cubicBezTo>
                  <a:pt x="704" y="985"/>
                  <a:pt x="699" y="985"/>
                  <a:pt x="694" y="985"/>
                </a:cubicBezTo>
                <a:cubicBezTo>
                  <a:pt x="693" y="985"/>
                  <a:pt x="691" y="984"/>
                  <a:pt x="691" y="982"/>
                </a:cubicBezTo>
                <a:cubicBezTo>
                  <a:pt x="691" y="981"/>
                  <a:pt x="691" y="981"/>
                  <a:pt x="691" y="981"/>
                </a:cubicBezTo>
                <a:cubicBezTo>
                  <a:pt x="692" y="980"/>
                  <a:pt x="692" y="979"/>
                  <a:pt x="693" y="979"/>
                </a:cubicBezTo>
                <a:cubicBezTo>
                  <a:pt x="695" y="978"/>
                  <a:pt x="697" y="976"/>
                  <a:pt x="697" y="973"/>
                </a:cubicBezTo>
                <a:cubicBezTo>
                  <a:pt x="697" y="957"/>
                  <a:pt x="697" y="957"/>
                  <a:pt x="697" y="957"/>
                </a:cubicBezTo>
                <a:cubicBezTo>
                  <a:pt x="698" y="957"/>
                  <a:pt x="698" y="957"/>
                  <a:pt x="698" y="957"/>
                </a:cubicBezTo>
                <a:cubicBezTo>
                  <a:pt x="698" y="961"/>
                  <a:pt x="698" y="961"/>
                  <a:pt x="698" y="961"/>
                </a:cubicBezTo>
                <a:cubicBezTo>
                  <a:pt x="699" y="959"/>
                  <a:pt x="699" y="959"/>
                  <a:pt x="699" y="959"/>
                </a:cubicBezTo>
                <a:cubicBezTo>
                  <a:pt x="700" y="958"/>
                  <a:pt x="700" y="958"/>
                  <a:pt x="700" y="958"/>
                </a:cubicBezTo>
                <a:cubicBezTo>
                  <a:pt x="701" y="955"/>
                  <a:pt x="703" y="952"/>
                  <a:pt x="703" y="948"/>
                </a:cubicBezTo>
                <a:cubicBezTo>
                  <a:pt x="703" y="944"/>
                  <a:pt x="704" y="941"/>
                  <a:pt x="706" y="937"/>
                </a:cubicBezTo>
                <a:cubicBezTo>
                  <a:pt x="707" y="935"/>
                  <a:pt x="708" y="932"/>
                  <a:pt x="708" y="930"/>
                </a:cubicBezTo>
                <a:cubicBezTo>
                  <a:pt x="708" y="926"/>
                  <a:pt x="708" y="926"/>
                  <a:pt x="708" y="926"/>
                </a:cubicBezTo>
                <a:cubicBezTo>
                  <a:pt x="708" y="926"/>
                  <a:pt x="708" y="926"/>
                  <a:pt x="708" y="926"/>
                </a:cubicBezTo>
                <a:cubicBezTo>
                  <a:pt x="706" y="926"/>
                  <a:pt x="702" y="926"/>
                  <a:pt x="701" y="925"/>
                </a:cubicBezTo>
                <a:cubicBezTo>
                  <a:pt x="701" y="926"/>
                  <a:pt x="701" y="926"/>
                  <a:pt x="701" y="926"/>
                </a:cubicBezTo>
                <a:cubicBezTo>
                  <a:pt x="699" y="925"/>
                  <a:pt x="697" y="924"/>
                  <a:pt x="694" y="924"/>
                </a:cubicBezTo>
                <a:cubicBezTo>
                  <a:pt x="686" y="924"/>
                  <a:pt x="675" y="928"/>
                  <a:pt x="675" y="938"/>
                </a:cubicBezTo>
                <a:cubicBezTo>
                  <a:pt x="675" y="941"/>
                  <a:pt x="674" y="944"/>
                  <a:pt x="672" y="947"/>
                </a:cubicBezTo>
                <a:cubicBezTo>
                  <a:pt x="671" y="949"/>
                  <a:pt x="670" y="951"/>
                  <a:pt x="669" y="952"/>
                </a:cubicBezTo>
                <a:cubicBezTo>
                  <a:pt x="669" y="953"/>
                  <a:pt x="667" y="958"/>
                  <a:pt x="665" y="958"/>
                </a:cubicBezTo>
                <a:cubicBezTo>
                  <a:pt x="665" y="958"/>
                  <a:pt x="664" y="957"/>
                  <a:pt x="664" y="957"/>
                </a:cubicBezTo>
                <a:cubicBezTo>
                  <a:pt x="663" y="956"/>
                  <a:pt x="661" y="955"/>
                  <a:pt x="659" y="955"/>
                </a:cubicBezTo>
                <a:cubicBezTo>
                  <a:pt x="656" y="955"/>
                  <a:pt x="653" y="957"/>
                  <a:pt x="650" y="958"/>
                </a:cubicBezTo>
                <a:cubicBezTo>
                  <a:pt x="648" y="959"/>
                  <a:pt x="645" y="960"/>
                  <a:pt x="642" y="960"/>
                </a:cubicBezTo>
                <a:cubicBezTo>
                  <a:pt x="641" y="960"/>
                  <a:pt x="641" y="960"/>
                  <a:pt x="640" y="959"/>
                </a:cubicBezTo>
                <a:cubicBezTo>
                  <a:pt x="639" y="958"/>
                  <a:pt x="639" y="957"/>
                  <a:pt x="637" y="956"/>
                </a:cubicBezTo>
                <a:cubicBezTo>
                  <a:pt x="632" y="954"/>
                  <a:pt x="630" y="951"/>
                  <a:pt x="628" y="948"/>
                </a:cubicBezTo>
                <a:cubicBezTo>
                  <a:pt x="627" y="946"/>
                  <a:pt x="626" y="944"/>
                  <a:pt x="624" y="941"/>
                </a:cubicBezTo>
                <a:cubicBezTo>
                  <a:pt x="622" y="939"/>
                  <a:pt x="618" y="934"/>
                  <a:pt x="616" y="931"/>
                </a:cubicBezTo>
                <a:cubicBezTo>
                  <a:pt x="616" y="930"/>
                  <a:pt x="616" y="929"/>
                  <a:pt x="616" y="927"/>
                </a:cubicBezTo>
                <a:cubicBezTo>
                  <a:pt x="616" y="926"/>
                  <a:pt x="616" y="925"/>
                  <a:pt x="616" y="923"/>
                </a:cubicBezTo>
                <a:cubicBezTo>
                  <a:pt x="615" y="922"/>
                  <a:pt x="615" y="922"/>
                  <a:pt x="615" y="922"/>
                </a:cubicBezTo>
                <a:cubicBezTo>
                  <a:pt x="614" y="920"/>
                  <a:pt x="613" y="918"/>
                  <a:pt x="613" y="916"/>
                </a:cubicBezTo>
                <a:cubicBezTo>
                  <a:pt x="613" y="916"/>
                  <a:pt x="613" y="916"/>
                  <a:pt x="613" y="916"/>
                </a:cubicBezTo>
                <a:cubicBezTo>
                  <a:pt x="613" y="897"/>
                  <a:pt x="613" y="897"/>
                  <a:pt x="613" y="897"/>
                </a:cubicBezTo>
                <a:cubicBezTo>
                  <a:pt x="613" y="895"/>
                  <a:pt x="614" y="893"/>
                  <a:pt x="615" y="892"/>
                </a:cubicBezTo>
                <a:cubicBezTo>
                  <a:pt x="615" y="889"/>
                  <a:pt x="616" y="887"/>
                  <a:pt x="616" y="883"/>
                </a:cubicBezTo>
                <a:cubicBezTo>
                  <a:pt x="616" y="881"/>
                  <a:pt x="616" y="880"/>
                  <a:pt x="615" y="878"/>
                </a:cubicBezTo>
                <a:cubicBezTo>
                  <a:pt x="615" y="877"/>
                  <a:pt x="615" y="877"/>
                  <a:pt x="615" y="877"/>
                </a:cubicBezTo>
                <a:cubicBezTo>
                  <a:pt x="615" y="877"/>
                  <a:pt x="615" y="877"/>
                  <a:pt x="615" y="877"/>
                </a:cubicBezTo>
                <a:cubicBezTo>
                  <a:pt x="615" y="877"/>
                  <a:pt x="615" y="877"/>
                  <a:pt x="615" y="877"/>
                </a:cubicBezTo>
                <a:cubicBezTo>
                  <a:pt x="616" y="877"/>
                  <a:pt x="616" y="877"/>
                  <a:pt x="616" y="877"/>
                </a:cubicBezTo>
                <a:cubicBezTo>
                  <a:pt x="616" y="876"/>
                  <a:pt x="616" y="876"/>
                  <a:pt x="616" y="876"/>
                </a:cubicBezTo>
                <a:cubicBezTo>
                  <a:pt x="616" y="876"/>
                  <a:pt x="615" y="875"/>
                  <a:pt x="615" y="874"/>
                </a:cubicBezTo>
                <a:cubicBezTo>
                  <a:pt x="614" y="873"/>
                  <a:pt x="614" y="873"/>
                  <a:pt x="614" y="873"/>
                </a:cubicBezTo>
                <a:cubicBezTo>
                  <a:pt x="614" y="873"/>
                  <a:pt x="614" y="873"/>
                  <a:pt x="614" y="873"/>
                </a:cubicBezTo>
                <a:cubicBezTo>
                  <a:pt x="614" y="862"/>
                  <a:pt x="618" y="853"/>
                  <a:pt x="625" y="851"/>
                </a:cubicBezTo>
                <a:cubicBezTo>
                  <a:pt x="626" y="850"/>
                  <a:pt x="627" y="850"/>
                  <a:pt x="628" y="850"/>
                </a:cubicBezTo>
                <a:cubicBezTo>
                  <a:pt x="630" y="850"/>
                  <a:pt x="631" y="850"/>
                  <a:pt x="633" y="849"/>
                </a:cubicBezTo>
                <a:cubicBezTo>
                  <a:pt x="634" y="848"/>
                  <a:pt x="635" y="847"/>
                  <a:pt x="635" y="846"/>
                </a:cubicBezTo>
                <a:cubicBezTo>
                  <a:pt x="639" y="841"/>
                  <a:pt x="643" y="836"/>
                  <a:pt x="650" y="836"/>
                </a:cubicBezTo>
                <a:cubicBezTo>
                  <a:pt x="651" y="836"/>
                  <a:pt x="653" y="837"/>
                  <a:pt x="654" y="838"/>
                </a:cubicBezTo>
                <a:cubicBezTo>
                  <a:pt x="655" y="839"/>
                  <a:pt x="657" y="839"/>
                  <a:pt x="658" y="839"/>
                </a:cubicBezTo>
                <a:cubicBezTo>
                  <a:pt x="659" y="839"/>
                  <a:pt x="660" y="839"/>
                  <a:pt x="661" y="838"/>
                </a:cubicBezTo>
                <a:cubicBezTo>
                  <a:pt x="662" y="837"/>
                  <a:pt x="662" y="837"/>
                  <a:pt x="663" y="837"/>
                </a:cubicBezTo>
                <a:cubicBezTo>
                  <a:pt x="665" y="837"/>
                  <a:pt x="668" y="838"/>
                  <a:pt x="670" y="840"/>
                </a:cubicBezTo>
                <a:cubicBezTo>
                  <a:pt x="675" y="843"/>
                  <a:pt x="680" y="847"/>
                  <a:pt x="685" y="844"/>
                </a:cubicBezTo>
                <a:cubicBezTo>
                  <a:pt x="686" y="843"/>
                  <a:pt x="686" y="843"/>
                  <a:pt x="686" y="843"/>
                </a:cubicBezTo>
                <a:cubicBezTo>
                  <a:pt x="685" y="843"/>
                  <a:pt x="685" y="843"/>
                  <a:pt x="685" y="843"/>
                </a:cubicBezTo>
                <a:cubicBezTo>
                  <a:pt x="683" y="841"/>
                  <a:pt x="683" y="839"/>
                  <a:pt x="684" y="837"/>
                </a:cubicBezTo>
                <a:cubicBezTo>
                  <a:pt x="684" y="835"/>
                  <a:pt x="685" y="834"/>
                  <a:pt x="685" y="832"/>
                </a:cubicBezTo>
                <a:cubicBezTo>
                  <a:pt x="685" y="831"/>
                  <a:pt x="685" y="831"/>
                  <a:pt x="685" y="831"/>
                </a:cubicBezTo>
                <a:cubicBezTo>
                  <a:pt x="687" y="831"/>
                  <a:pt x="688" y="831"/>
                  <a:pt x="690" y="831"/>
                </a:cubicBezTo>
                <a:cubicBezTo>
                  <a:pt x="692" y="830"/>
                  <a:pt x="694" y="830"/>
                  <a:pt x="697" y="830"/>
                </a:cubicBezTo>
                <a:cubicBezTo>
                  <a:pt x="697" y="831"/>
                  <a:pt x="698" y="832"/>
                  <a:pt x="699" y="832"/>
                </a:cubicBezTo>
                <a:cubicBezTo>
                  <a:pt x="700" y="832"/>
                  <a:pt x="701" y="832"/>
                  <a:pt x="702" y="831"/>
                </a:cubicBezTo>
                <a:cubicBezTo>
                  <a:pt x="703" y="831"/>
                  <a:pt x="704" y="830"/>
                  <a:pt x="707" y="830"/>
                </a:cubicBezTo>
                <a:cubicBezTo>
                  <a:pt x="710" y="830"/>
                  <a:pt x="713" y="832"/>
                  <a:pt x="716" y="834"/>
                </a:cubicBezTo>
                <a:cubicBezTo>
                  <a:pt x="718" y="836"/>
                  <a:pt x="720" y="838"/>
                  <a:pt x="723" y="838"/>
                </a:cubicBezTo>
                <a:cubicBezTo>
                  <a:pt x="725" y="838"/>
                  <a:pt x="726" y="836"/>
                  <a:pt x="727" y="835"/>
                </a:cubicBezTo>
                <a:cubicBezTo>
                  <a:pt x="728" y="834"/>
                  <a:pt x="729" y="833"/>
                  <a:pt x="730" y="833"/>
                </a:cubicBezTo>
                <a:cubicBezTo>
                  <a:pt x="738" y="833"/>
                  <a:pt x="740" y="842"/>
                  <a:pt x="741" y="852"/>
                </a:cubicBezTo>
                <a:cubicBezTo>
                  <a:pt x="742" y="857"/>
                  <a:pt x="743" y="862"/>
                  <a:pt x="744" y="865"/>
                </a:cubicBezTo>
                <a:cubicBezTo>
                  <a:pt x="746" y="869"/>
                  <a:pt x="747" y="871"/>
                  <a:pt x="749" y="873"/>
                </a:cubicBezTo>
                <a:cubicBezTo>
                  <a:pt x="751" y="875"/>
                  <a:pt x="752" y="876"/>
                  <a:pt x="753" y="878"/>
                </a:cubicBezTo>
                <a:cubicBezTo>
                  <a:pt x="754" y="879"/>
                  <a:pt x="754" y="880"/>
                  <a:pt x="755" y="882"/>
                </a:cubicBezTo>
                <a:cubicBezTo>
                  <a:pt x="756" y="884"/>
                  <a:pt x="756" y="887"/>
                  <a:pt x="760" y="887"/>
                </a:cubicBezTo>
                <a:cubicBezTo>
                  <a:pt x="765" y="887"/>
                  <a:pt x="767" y="882"/>
                  <a:pt x="767" y="873"/>
                </a:cubicBezTo>
                <a:cubicBezTo>
                  <a:pt x="767" y="869"/>
                  <a:pt x="766" y="866"/>
                  <a:pt x="765" y="863"/>
                </a:cubicBezTo>
                <a:cubicBezTo>
                  <a:pt x="764" y="862"/>
                  <a:pt x="764" y="860"/>
                  <a:pt x="763" y="859"/>
                </a:cubicBezTo>
                <a:cubicBezTo>
                  <a:pt x="763" y="856"/>
                  <a:pt x="763" y="856"/>
                  <a:pt x="763" y="856"/>
                </a:cubicBezTo>
                <a:cubicBezTo>
                  <a:pt x="763" y="856"/>
                  <a:pt x="763" y="856"/>
                  <a:pt x="763" y="856"/>
                </a:cubicBezTo>
                <a:cubicBezTo>
                  <a:pt x="763" y="851"/>
                  <a:pt x="761" y="848"/>
                  <a:pt x="759" y="844"/>
                </a:cubicBezTo>
                <a:cubicBezTo>
                  <a:pt x="757" y="840"/>
                  <a:pt x="755" y="837"/>
                  <a:pt x="755" y="831"/>
                </a:cubicBezTo>
                <a:cubicBezTo>
                  <a:pt x="755" y="810"/>
                  <a:pt x="768" y="802"/>
                  <a:pt x="781" y="794"/>
                </a:cubicBezTo>
                <a:cubicBezTo>
                  <a:pt x="783" y="793"/>
                  <a:pt x="785" y="791"/>
                  <a:pt x="787" y="790"/>
                </a:cubicBezTo>
                <a:cubicBezTo>
                  <a:pt x="788" y="790"/>
                  <a:pt x="788" y="790"/>
                  <a:pt x="788" y="790"/>
                </a:cubicBezTo>
                <a:cubicBezTo>
                  <a:pt x="787" y="789"/>
                  <a:pt x="787" y="789"/>
                  <a:pt x="787" y="789"/>
                </a:cubicBezTo>
                <a:cubicBezTo>
                  <a:pt x="787" y="789"/>
                  <a:pt x="787" y="789"/>
                  <a:pt x="787" y="789"/>
                </a:cubicBezTo>
                <a:cubicBezTo>
                  <a:pt x="787" y="789"/>
                  <a:pt x="788" y="788"/>
                  <a:pt x="788" y="788"/>
                </a:cubicBezTo>
                <a:cubicBezTo>
                  <a:pt x="789" y="787"/>
                  <a:pt x="789" y="786"/>
                  <a:pt x="792" y="785"/>
                </a:cubicBezTo>
                <a:cubicBezTo>
                  <a:pt x="793" y="785"/>
                  <a:pt x="794" y="784"/>
                  <a:pt x="795" y="783"/>
                </a:cubicBezTo>
                <a:cubicBezTo>
                  <a:pt x="796" y="782"/>
                  <a:pt x="797" y="781"/>
                  <a:pt x="799" y="781"/>
                </a:cubicBezTo>
                <a:cubicBezTo>
                  <a:pt x="801" y="780"/>
                  <a:pt x="802" y="779"/>
                  <a:pt x="803" y="778"/>
                </a:cubicBezTo>
                <a:cubicBezTo>
                  <a:pt x="803" y="777"/>
                  <a:pt x="803" y="777"/>
                  <a:pt x="803" y="777"/>
                </a:cubicBezTo>
                <a:cubicBezTo>
                  <a:pt x="803" y="776"/>
                  <a:pt x="803" y="776"/>
                  <a:pt x="803" y="776"/>
                </a:cubicBezTo>
                <a:cubicBezTo>
                  <a:pt x="803" y="776"/>
                  <a:pt x="803" y="776"/>
                  <a:pt x="803" y="776"/>
                </a:cubicBezTo>
                <a:cubicBezTo>
                  <a:pt x="800" y="774"/>
                  <a:pt x="800" y="774"/>
                  <a:pt x="800" y="774"/>
                </a:cubicBezTo>
                <a:cubicBezTo>
                  <a:pt x="800" y="772"/>
                  <a:pt x="800" y="772"/>
                  <a:pt x="800" y="772"/>
                </a:cubicBezTo>
                <a:cubicBezTo>
                  <a:pt x="800" y="772"/>
                  <a:pt x="800" y="772"/>
                  <a:pt x="800" y="772"/>
                </a:cubicBezTo>
                <a:cubicBezTo>
                  <a:pt x="802" y="772"/>
                  <a:pt x="804" y="772"/>
                  <a:pt x="804" y="768"/>
                </a:cubicBezTo>
                <a:cubicBezTo>
                  <a:pt x="805" y="767"/>
                  <a:pt x="805" y="767"/>
                  <a:pt x="805" y="767"/>
                </a:cubicBezTo>
                <a:cubicBezTo>
                  <a:pt x="804" y="767"/>
                  <a:pt x="804" y="767"/>
                  <a:pt x="804" y="767"/>
                </a:cubicBezTo>
                <a:cubicBezTo>
                  <a:pt x="804" y="767"/>
                  <a:pt x="804" y="767"/>
                  <a:pt x="804" y="767"/>
                </a:cubicBezTo>
                <a:cubicBezTo>
                  <a:pt x="803" y="767"/>
                  <a:pt x="802" y="767"/>
                  <a:pt x="801" y="765"/>
                </a:cubicBezTo>
                <a:cubicBezTo>
                  <a:pt x="802" y="765"/>
                  <a:pt x="804" y="763"/>
                  <a:pt x="804" y="761"/>
                </a:cubicBezTo>
                <a:cubicBezTo>
                  <a:pt x="804" y="757"/>
                  <a:pt x="804" y="757"/>
                  <a:pt x="804" y="757"/>
                </a:cubicBezTo>
                <a:cubicBezTo>
                  <a:pt x="802" y="757"/>
                  <a:pt x="802" y="757"/>
                  <a:pt x="802" y="757"/>
                </a:cubicBezTo>
                <a:cubicBezTo>
                  <a:pt x="801" y="756"/>
                  <a:pt x="801" y="755"/>
                  <a:pt x="802" y="755"/>
                </a:cubicBezTo>
                <a:cubicBezTo>
                  <a:pt x="802" y="754"/>
                  <a:pt x="802" y="753"/>
                  <a:pt x="802" y="752"/>
                </a:cubicBezTo>
                <a:cubicBezTo>
                  <a:pt x="802" y="750"/>
                  <a:pt x="802" y="747"/>
                  <a:pt x="801" y="745"/>
                </a:cubicBezTo>
                <a:cubicBezTo>
                  <a:pt x="801" y="743"/>
                  <a:pt x="801" y="741"/>
                  <a:pt x="801" y="740"/>
                </a:cubicBezTo>
                <a:cubicBezTo>
                  <a:pt x="801" y="740"/>
                  <a:pt x="801" y="740"/>
                  <a:pt x="801" y="740"/>
                </a:cubicBezTo>
                <a:cubicBezTo>
                  <a:pt x="801" y="740"/>
                  <a:pt x="801" y="740"/>
                  <a:pt x="801" y="740"/>
                </a:cubicBezTo>
                <a:cubicBezTo>
                  <a:pt x="801" y="739"/>
                  <a:pt x="800" y="738"/>
                  <a:pt x="801" y="737"/>
                </a:cubicBezTo>
                <a:cubicBezTo>
                  <a:pt x="801" y="738"/>
                  <a:pt x="801" y="739"/>
                  <a:pt x="802" y="741"/>
                </a:cubicBezTo>
                <a:cubicBezTo>
                  <a:pt x="803" y="743"/>
                  <a:pt x="804" y="745"/>
                  <a:pt x="804" y="747"/>
                </a:cubicBezTo>
                <a:cubicBezTo>
                  <a:pt x="804" y="750"/>
                  <a:pt x="804" y="750"/>
                  <a:pt x="804" y="750"/>
                </a:cubicBezTo>
                <a:cubicBezTo>
                  <a:pt x="804" y="751"/>
                  <a:pt x="804" y="753"/>
                  <a:pt x="805" y="753"/>
                </a:cubicBezTo>
                <a:cubicBezTo>
                  <a:pt x="807" y="753"/>
                  <a:pt x="813" y="740"/>
                  <a:pt x="813" y="738"/>
                </a:cubicBezTo>
                <a:cubicBezTo>
                  <a:pt x="813" y="736"/>
                  <a:pt x="812" y="735"/>
                  <a:pt x="811" y="734"/>
                </a:cubicBezTo>
                <a:cubicBezTo>
                  <a:pt x="811" y="734"/>
                  <a:pt x="810" y="733"/>
                  <a:pt x="810" y="732"/>
                </a:cubicBezTo>
                <a:cubicBezTo>
                  <a:pt x="811" y="730"/>
                  <a:pt x="811" y="730"/>
                  <a:pt x="811" y="730"/>
                </a:cubicBezTo>
                <a:cubicBezTo>
                  <a:pt x="811" y="731"/>
                  <a:pt x="811" y="731"/>
                  <a:pt x="811" y="731"/>
                </a:cubicBezTo>
                <a:cubicBezTo>
                  <a:pt x="812" y="732"/>
                  <a:pt x="812" y="733"/>
                  <a:pt x="813" y="733"/>
                </a:cubicBezTo>
                <a:cubicBezTo>
                  <a:pt x="816" y="733"/>
                  <a:pt x="822" y="720"/>
                  <a:pt x="822" y="718"/>
                </a:cubicBezTo>
                <a:cubicBezTo>
                  <a:pt x="822" y="717"/>
                  <a:pt x="822" y="717"/>
                  <a:pt x="822" y="717"/>
                </a:cubicBezTo>
                <a:cubicBezTo>
                  <a:pt x="822" y="717"/>
                  <a:pt x="822" y="717"/>
                  <a:pt x="822" y="717"/>
                </a:cubicBezTo>
                <a:cubicBezTo>
                  <a:pt x="821" y="717"/>
                  <a:pt x="819" y="715"/>
                  <a:pt x="819" y="713"/>
                </a:cubicBezTo>
                <a:cubicBezTo>
                  <a:pt x="819" y="713"/>
                  <a:pt x="820" y="712"/>
                  <a:pt x="821" y="711"/>
                </a:cubicBezTo>
                <a:cubicBezTo>
                  <a:pt x="822" y="712"/>
                  <a:pt x="822" y="712"/>
                  <a:pt x="822" y="712"/>
                </a:cubicBezTo>
                <a:cubicBezTo>
                  <a:pt x="823" y="712"/>
                  <a:pt x="823" y="712"/>
                  <a:pt x="824" y="712"/>
                </a:cubicBezTo>
                <a:cubicBezTo>
                  <a:pt x="828" y="712"/>
                  <a:pt x="831" y="712"/>
                  <a:pt x="835" y="710"/>
                </a:cubicBezTo>
                <a:cubicBezTo>
                  <a:pt x="836" y="710"/>
                  <a:pt x="836" y="710"/>
                  <a:pt x="836" y="710"/>
                </a:cubicBezTo>
                <a:cubicBezTo>
                  <a:pt x="836" y="709"/>
                  <a:pt x="836" y="709"/>
                  <a:pt x="836" y="709"/>
                </a:cubicBezTo>
                <a:cubicBezTo>
                  <a:pt x="834" y="708"/>
                  <a:pt x="832" y="708"/>
                  <a:pt x="830" y="709"/>
                </a:cubicBezTo>
                <a:cubicBezTo>
                  <a:pt x="830" y="709"/>
                  <a:pt x="829" y="709"/>
                  <a:pt x="828" y="709"/>
                </a:cubicBezTo>
                <a:cubicBezTo>
                  <a:pt x="826" y="709"/>
                  <a:pt x="826" y="709"/>
                  <a:pt x="826" y="709"/>
                </a:cubicBezTo>
                <a:cubicBezTo>
                  <a:pt x="829" y="708"/>
                  <a:pt x="832" y="707"/>
                  <a:pt x="835" y="706"/>
                </a:cubicBezTo>
                <a:cubicBezTo>
                  <a:pt x="840" y="706"/>
                  <a:pt x="844" y="705"/>
                  <a:pt x="847" y="702"/>
                </a:cubicBezTo>
                <a:cubicBezTo>
                  <a:pt x="849" y="703"/>
                  <a:pt x="852" y="703"/>
                  <a:pt x="858" y="701"/>
                </a:cubicBezTo>
                <a:cubicBezTo>
                  <a:pt x="858" y="701"/>
                  <a:pt x="858" y="701"/>
                  <a:pt x="858" y="701"/>
                </a:cubicBezTo>
                <a:cubicBezTo>
                  <a:pt x="858" y="698"/>
                  <a:pt x="858" y="698"/>
                  <a:pt x="858" y="698"/>
                </a:cubicBezTo>
                <a:cubicBezTo>
                  <a:pt x="857" y="698"/>
                  <a:pt x="857" y="698"/>
                  <a:pt x="857" y="698"/>
                </a:cubicBezTo>
                <a:cubicBezTo>
                  <a:pt x="856" y="699"/>
                  <a:pt x="854" y="700"/>
                  <a:pt x="854" y="700"/>
                </a:cubicBezTo>
                <a:cubicBezTo>
                  <a:pt x="853" y="700"/>
                  <a:pt x="851" y="696"/>
                  <a:pt x="851" y="695"/>
                </a:cubicBezTo>
                <a:cubicBezTo>
                  <a:pt x="851" y="694"/>
                  <a:pt x="851" y="694"/>
                  <a:pt x="851" y="694"/>
                </a:cubicBezTo>
                <a:cubicBezTo>
                  <a:pt x="851" y="694"/>
                  <a:pt x="851" y="694"/>
                  <a:pt x="851" y="694"/>
                </a:cubicBezTo>
                <a:cubicBezTo>
                  <a:pt x="850" y="694"/>
                  <a:pt x="850" y="692"/>
                  <a:pt x="850" y="691"/>
                </a:cubicBezTo>
                <a:cubicBezTo>
                  <a:pt x="850" y="682"/>
                  <a:pt x="856" y="677"/>
                  <a:pt x="861" y="673"/>
                </a:cubicBezTo>
                <a:cubicBezTo>
                  <a:pt x="863" y="672"/>
                  <a:pt x="864" y="671"/>
                  <a:pt x="865" y="669"/>
                </a:cubicBezTo>
                <a:cubicBezTo>
                  <a:pt x="867" y="668"/>
                  <a:pt x="868" y="668"/>
                  <a:pt x="869" y="669"/>
                </a:cubicBezTo>
                <a:cubicBezTo>
                  <a:pt x="870" y="669"/>
                  <a:pt x="871" y="669"/>
                  <a:pt x="872" y="669"/>
                </a:cubicBezTo>
                <a:cubicBezTo>
                  <a:pt x="877" y="669"/>
                  <a:pt x="880" y="667"/>
                  <a:pt x="882" y="663"/>
                </a:cubicBezTo>
                <a:cubicBezTo>
                  <a:pt x="883" y="663"/>
                  <a:pt x="883" y="663"/>
                  <a:pt x="883" y="663"/>
                </a:cubicBezTo>
                <a:cubicBezTo>
                  <a:pt x="882" y="663"/>
                  <a:pt x="882" y="663"/>
                  <a:pt x="882" y="663"/>
                </a:cubicBezTo>
                <a:cubicBezTo>
                  <a:pt x="882" y="662"/>
                  <a:pt x="881" y="661"/>
                  <a:pt x="881" y="660"/>
                </a:cubicBezTo>
                <a:cubicBezTo>
                  <a:pt x="881" y="659"/>
                  <a:pt x="881" y="659"/>
                  <a:pt x="881" y="659"/>
                </a:cubicBezTo>
                <a:cubicBezTo>
                  <a:pt x="881" y="659"/>
                  <a:pt x="881" y="659"/>
                  <a:pt x="881" y="659"/>
                </a:cubicBezTo>
                <a:cubicBezTo>
                  <a:pt x="881" y="659"/>
                  <a:pt x="882" y="659"/>
                  <a:pt x="883" y="659"/>
                </a:cubicBezTo>
                <a:cubicBezTo>
                  <a:pt x="884" y="659"/>
                  <a:pt x="884" y="659"/>
                  <a:pt x="884" y="659"/>
                </a:cubicBezTo>
                <a:cubicBezTo>
                  <a:pt x="884" y="659"/>
                  <a:pt x="885" y="659"/>
                  <a:pt x="886" y="659"/>
                </a:cubicBezTo>
                <a:cubicBezTo>
                  <a:pt x="889" y="659"/>
                  <a:pt x="894" y="660"/>
                  <a:pt x="896" y="658"/>
                </a:cubicBezTo>
                <a:cubicBezTo>
                  <a:pt x="897" y="657"/>
                  <a:pt x="898" y="656"/>
                  <a:pt x="899" y="655"/>
                </a:cubicBezTo>
                <a:cubicBezTo>
                  <a:pt x="900" y="653"/>
                  <a:pt x="901" y="651"/>
                  <a:pt x="903" y="651"/>
                </a:cubicBezTo>
                <a:cubicBezTo>
                  <a:pt x="903" y="651"/>
                  <a:pt x="903" y="651"/>
                  <a:pt x="903" y="651"/>
                </a:cubicBezTo>
                <a:cubicBezTo>
                  <a:pt x="903" y="654"/>
                  <a:pt x="903" y="655"/>
                  <a:pt x="904" y="655"/>
                </a:cubicBezTo>
                <a:cubicBezTo>
                  <a:pt x="904" y="656"/>
                  <a:pt x="904" y="656"/>
                  <a:pt x="905" y="656"/>
                </a:cubicBezTo>
                <a:cubicBezTo>
                  <a:pt x="898" y="658"/>
                  <a:pt x="889" y="663"/>
                  <a:pt x="889" y="670"/>
                </a:cubicBezTo>
                <a:cubicBezTo>
                  <a:pt x="889" y="673"/>
                  <a:pt x="894" y="679"/>
                  <a:pt x="896" y="679"/>
                </a:cubicBezTo>
                <a:cubicBezTo>
                  <a:pt x="897" y="679"/>
                  <a:pt x="899" y="677"/>
                  <a:pt x="901" y="675"/>
                </a:cubicBezTo>
                <a:cubicBezTo>
                  <a:pt x="904" y="672"/>
                  <a:pt x="907" y="669"/>
                  <a:pt x="910" y="667"/>
                </a:cubicBezTo>
                <a:cubicBezTo>
                  <a:pt x="912" y="667"/>
                  <a:pt x="933" y="658"/>
                  <a:pt x="933" y="655"/>
                </a:cubicBezTo>
                <a:cubicBezTo>
                  <a:pt x="933" y="650"/>
                  <a:pt x="925" y="650"/>
                  <a:pt x="923" y="650"/>
                </a:cubicBezTo>
                <a:cubicBezTo>
                  <a:pt x="914" y="650"/>
                  <a:pt x="900" y="640"/>
                  <a:pt x="900" y="632"/>
                </a:cubicBezTo>
                <a:cubicBezTo>
                  <a:pt x="900" y="631"/>
                  <a:pt x="901" y="630"/>
                  <a:pt x="902" y="629"/>
                </a:cubicBezTo>
                <a:cubicBezTo>
                  <a:pt x="902" y="627"/>
                  <a:pt x="903" y="626"/>
                  <a:pt x="903" y="624"/>
                </a:cubicBezTo>
                <a:cubicBezTo>
                  <a:pt x="904" y="623"/>
                  <a:pt x="904" y="623"/>
                  <a:pt x="904" y="623"/>
                </a:cubicBezTo>
                <a:cubicBezTo>
                  <a:pt x="903" y="623"/>
                  <a:pt x="903" y="623"/>
                  <a:pt x="903" y="623"/>
                </a:cubicBezTo>
                <a:cubicBezTo>
                  <a:pt x="902" y="623"/>
                  <a:pt x="901" y="623"/>
                  <a:pt x="900" y="623"/>
                </a:cubicBezTo>
                <a:cubicBezTo>
                  <a:pt x="899" y="623"/>
                  <a:pt x="898" y="622"/>
                  <a:pt x="896" y="622"/>
                </a:cubicBezTo>
                <a:cubicBezTo>
                  <a:pt x="897" y="622"/>
                  <a:pt x="898" y="621"/>
                  <a:pt x="900" y="620"/>
                </a:cubicBezTo>
                <a:cubicBezTo>
                  <a:pt x="904" y="618"/>
                  <a:pt x="909" y="616"/>
                  <a:pt x="909" y="611"/>
                </a:cubicBezTo>
                <a:cubicBezTo>
                  <a:pt x="909" y="610"/>
                  <a:pt x="908" y="609"/>
                  <a:pt x="907" y="608"/>
                </a:cubicBezTo>
                <a:cubicBezTo>
                  <a:pt x="905" y="605"/>
                  <a:pt x="900" y="605"/>
                  <a:pt x="895" y="605"/>
                </a:cubicBezTo>
                <a:cubicBezTo>
                  <a:pt x="894" y="605"/>
                  <a:pt x="893" y="606"/>
                  <a:pt x="892" y="606"/>
                </a:cubicBezTo>
                <a:cubicBezTo>
                  <a:pt x="884" y="606"/>
                  <a:pt x="879" y="609"/>
                  <a:pt x="874" y="613"/>
                </a:cubicBezTo>
                <a:cubicBezTo>
                  <a:pt x="871" y="615"/>
                  <a:pt x="868" y="617"/>
                  <a:pt x="864" y="618"/>
                </a:cubicBezTo>
                <a:cubicBezTo>
                  <a:pt x="866" y="613"/>
                  <a:pt x="869" y="612"/>
                  <a:pt x="872" y="610"/>
                </a:cubicBezTo>
                <a:cubicBezTo>
                  <a:pt x="875" y="609"/>
                  <a:pt x="878" y="608"/>
                  <a:pt x="881" y="604"/>
                </a:cubicBezTo>
                <a:cubicBezTo>
                  <a:pt x="883" y="602"/>
                  <a:pt x="883" y="601"/>
                  <a:pt x="884" y="599"/>
                </a:cubicBezTo>
                <a:cubicBezTo>
                  <a:pt x="884" y="597"/>
                  <a:pt x="885" y="595"/>
                  <a:pt x="888" y="594"/>
                </a:cubicBezTo>
                <a:cubicBezTo>
                  <a:pt x="897" y="591"/>
                  <a:pt x="903" y="592"/>
                  <a:pt x="909" y="592"/>
                </a:cubicBezTo>
                <a:cubicBezTo>
                  <a:pt x="912" y="592"/>
                  <a:pt x="915" y="592"/>
                  <a:pt x="918" y="592"/>
                </a:cubicBezTo>
                <a:cubicBezTo>
                  <a:pt x="922" y="592"/>
                  <a:pt x="926" y="593"/>
                  <a:pt x="929" y="593"/>
                </a:cubicBezTo>
                <a:cubicBezTo>
                  <a:pt x="938" y="594"/>
                  <a:pt x="945" y="595"/>
                  <a:pt x="952" y="585"/>
                </a:cubicBezTo>
                <a:cubicBezTo>
                  <a:pt x="953" y="582"/>
                  <a:pt x="958" y="580"/>
                  <a:pt x="964" y="578"/>
                </a:cubicBezTo>
                <a:cubicBezTo>
                  <a:pt x="972" y="575"/>
                  <a:pt x="981" y="572"/>
                  <a:pt x="981" y="565"/>
                </a:cubicBezTo>
                <a:cubicBezTo>
                  <a:pt x="981" y="558"/>
                  <a:pt x="979" y="554"/>
                  <a:pt x="977" y="550"/>
                </a:cubicBezTo>
                <a:cubicBezTo>
                  <a:pt x="976" y="548"/>
                  <a:pt x="976" y="548"/>
                  <a:pt x="976" y="548"/>
                </a:cubicBezTo>
                <a:cubicBezTo>
                  <a:pt x="976" y="548"/>
                  <a:pt x="976" y="548"/>
                  <a:pt x="976" y="548"/>
                </a:cubicBezTo>
                <a:cubicBezTo>
                  <a:pt x="975" y="548"/>
                  <a:pt x="975" y="548"/>
                  <a:pt x="975" y="548"/>
                </a:cubicBezTo>
                <a:cubicBezTo>
                  <a:pt x="975" y="548"/>
                  <a:pt x="975" y="548"/>
                  <a:pt x="975" y="548"/>
                </a:cubicBezTo>
                <a:cubicBezTo>
                  <a:pt x="975" y="547"/>
                  <a:pt x="975" y="547"/>
                  <a:pt x="975" y="547"/>
                </a:cubicBezTo>
                <a:cubicBezTo>
                  <a:pt x="975" y="546"/>
                  <a:pt x="975" y="544"/>
                  <a:pt x="973" y="543"/>
                </a:cubicBezTo>
                <a:cubicBezTo>
                  <a:pt x="973" y="538"/>
                  <a:pt x="973" y="538"/>
                  <a:pt x="973" y="538"/>
                </a:cubicBezTo>
                <a:cubicBezTo>
                  <a:pt x="973" y="539"/>
                  <a:pt x="973" y="539"/>
                  <a:pt x="973" y="539"/>
                </a:cubicBezTo>
                <a:cubicBezTo>
                  <a:pt x="965" y="543"/>
                  <a:pt x="951" y="549"/>
                  <a:pt x="944" y="549"/>
                </a:cubicBezTo>
                <a:cubicBezTo>
                  <a:pt x="943" y="549"/>
                  <a:pt x="942" y="549"/>
                  <a:pt x="941" y="548"/>
                </a:cubicBezTo>
                <a:cubicBezTo>
                  <a:pt x="943" y="547"/>
                  <a:pt x="947" y="546"/>
                  <a:pt x="950" y="545"/>
                </a:cubicBezTo>
                <a:cubicBezTo>
                  <a:pt x="957" y="542"/>
                  <a:pt x="965" y="540"/>
                  <a:pt x="966" y="535"/>
                </a:cubicBezTo>
                <a:cubicBezTo>
                  <a:pt x="966" y="535"/>
                  <a:pt x="966" y="535"/>
                  <a:pt x="966" y="535"/>
                </a:cubicBezTo>
                <a:cubicBezTo>
                  <a:pt x="966" y="535"/>
                  <a:pt x="966" y="535"/>
                  <a:pt x="966" y="535"/>
                </a:cubicBezTo>
                <a:cubicBezTo>
                  <a:pt x="966" y="534"/>
                  <a:pt x="965" y="533"/>
                  <a:pt x="965" y="532"/>
                </a:cubicBezTo>
                <a:cubicBezTo>
                  <a:pt x="964" y="532"/>
                  <a:pt x="964" y="531"/>
                  <a:pt x="963" y="531"/>
                </a:cubicBezTo>
                <a:cubicBezTo>
                  <a:pt x="963" y="530"/>
                  <a:pt x="963" y="530"/>
                  <a:pt x="963" y="530"/>
                </a:cubicBezTo>
                <a:cubicBezTo>
                  <a:pt x="963" y="530"/>
                  <a:pt x="963" y="530"/>
                  <a:pt x="963" y="530"/>
                </a:cubicBezTo>
                <a:cubicBezTo>
                  <a:pt x="958" y="531"/>
                  <a:pt x="949" y="530"/>
                  <a:pt x="944" y="525"/>
                </a:cubicBezTo>
                <a:cubicBezTo>
                  <a:pt x="942" y="522"/>
                  <a:pt x="940" y="519"/>
                  <a:pt x="940" y="516"/>
                </a:cubicBezTo>
                <a:cubicBezTo>
                  <a:pt x="940" y="515"/>
                  <a:pt x="940" y="515"/>
                  <a:pt x="940" y="515"/>
                </a:cubicBezTo>
                <a:cubicBezTo>
                  <a:pt x="940" y="515"/>
                  <a:pt x="940" y="515"/>
                  <a:pt x="940" y="515"/>
                </a:cubicBezTo>
                <a:cubicBezTo>
                  <a:pt x="934" y="515"/>
                  <a:pt x="931" y="511"/>
                  <a:pt x="927" y="508"/>
                </a:cubicBezTo>
                <a:cubicBezTo>
                  <a:pt x="927" y="508"/>
                  <a:pt x="926" y="507"/>
                  <a:pt x="926" y="507"/>
                </a:cubicBezTo>
                <a:cubicBezTo>
                  <a:pt x="926" y="507"/>
                  <a:pt x="926" y="507"/>
                  <a:pt x="926" y="507"/>
                </a:cubicBezTo>
                <a:cubicBezTo>
                  <a:pt x="928" y="506"/>
                  <a:pt x="930" y="504"/>
                  <a:pt x="930" y="501"/>
                </a:cubicBezTo>
                <a:cubicBezTo>
                  <a:pt x="930" y="499"/>
                  <a:pt x="930" y="497"/>
                  <a:pt x="929" y="496"/>
                </a:cubicBezTo>
                <a:cubicBezTo>
                  <a:pt x="928" y="494"/>
                  <a:pt x="928" y="493"/>
                  <a:pt x="928" y="491"/>
                </a:cubicBezTo>
                <a:cubicBezTo>
                  <a:pt x="928" y="490"/>
                  <a:pt x="928" y="490"/>
                  <a:pt x="928" y="490"/>
                </a:cubicBezTo>
                <a:cubicBezTo>
                  <a:pt x="928" y="490"/>
                  <a:pt x="928" y="490"/>
                  <a:pt x="928" y="490"/>
                </a:cubicBezTo>
                <a:cubicBezTo>
                  <a:pt x="926" y="490"/>
                  <a:pt x="920" y="485"/>
                  <a:pt x="918" y="481"/>
                </a:cubicBezTo>
                <a:cubicBezTo>
                  <a:pt x="917" y="479"/>
                  <a:pt x="917" y="478"/>
                  <a:pt x="918" y="476"/>
                </a:cubicBezTo>
                <a:cubicBezTo>
                  <a:pt x="920" y="472"/>
                  <a:pt x="917" y="469"/>
                  <a:pt x="913" y="466"/>
                </a:cubicBezTo>
                <a:cubicBezTo>
                  <a:pt x="911" y="464"/>
                  <a:pt x="908" y="461"/>
                  <a:pt x="907" y="457"/>
                </a:cubicBezTo>
                <a:cubicBezTo>
                  <a:pt x="907" y="457"/>
                  <a:pt x="907" y="457"/>
                  <a:pt x="907" y="457"/>
                </a:cubicBezTo>
                <a:cubicBezTo>
                  <a:pt x="907" y="457"/>
                  <a:pt x="907" y="457"/>
                  <a:pt x="907" y="457"/>
                </a:cubicBezTo>
                <a:cubicBezTo>
                  <a:pt x="906" y="457"/>
                  <a:pt x="904" y="454"/>
                  <a:pt x="902" y="452"/>
                </a:cubicBezTo>
                <a:cubicBezTo>
                  <a:pt x="902" y="452"/>
                  <a:pt x="902" y="452"/>
                  <a:pt x="902" y="452"/>
                </a:cubicBezTo>
                <a:cubicBezTo>
                  <a:pt x="901" y="452"/>
                  <a:pt x="901" y="452"/>
                  <a:pt x="901" y="452"/>
                </a:cubicBezTo>
                <a:cubicBezTo>
                  <a:pt x="900" y="453"/>
                  <a:pt x="900" y="453"/>
                  <a:pt x="900" y="453"/>
                </a:cubicBezTo>
                <a:cubicBezTo>
                  <a:pt x="898" y="455"/>
                  <a:pt x="894" y="458"/>
                  <a:pt x="894" y="462"/>
                </a:cubicBezTo>
                <a:cubicBezTo>
                  <a:pt x="894" y="467"/>
                  <a:pt x="885" y="480"/>
                  <a:pt x="877" y="480"/>
                </a:cubicBezTo>
                <a:cubicBezTo>
                  <a:pt x="874" y="480"/>
                  <a:pt x="873" y="478"/>
                  <a:pt x="871" y="476"/>
                </a:cubicBezTo>
                <a:cubicBezTo>
                  <a:pt x="870" y="474"/>
                  <a:pt x="869" y="472"/>
                  <a:pt x="867" y="472"/>
                </a:cubicBezTo>
                <a:cubicBezTo>
                  <a:pt x="862" y="472"/>
                  <a:pt x="860" y="455"/>
                  <a:pt x="859" y="448"/>
                </a:cubicBezTo>
                <a:cubicBezTo>
                  <a:pt x="858" y="443"/>
                  <a:pt x="854" y="442"/>
                  <a:pt x="850" y="441"/>
                </a:cubicBezTo>
                <a:cubicBezTo>
                  <a:pt x="845" y="440"/>
                  <a:pt x="841" y="439"/>
                  <a:pt x="841" y="432"/>
                </a:cubicBezTo>
                <a:cubicBezTo>
                  <a:pt x="841" y="432"/>
                  <a:pt x="841" y="432"/>
                  <a:pt x="841" y="432"/>
                </a:cubicBezTo>
                <a:cubicBezTo>
                  <a:pt x="841" y="432"/>
                  <a:pt x="841" y="432"/>
                  <a:pt x="841" y="432"/>
                </a:cubicBezTo>
                <a:cubicBezTo>
                  <a:pt x="837" y="431"/>
                  <a:pt x="834" y="428"/>
                  <a:pt x="832" y="425"/>
                </a:cubicBezTo>
                <a:cubicBezTo>
                  <a:pt x="829" y="422"/>
                  <a:pt x="826" y="419"/>
                  <a:pt x="821" y="419"/>
                </a:cubicBezTo>
                <a:cubicBezTo>
                  <a:pt x="819" y="419"/>
                  <a:pt x="818" y="420"/>
                  <a:pt x="817" y="421"/>
                </a:cubicBezTo>
                <a:cubicBezTo>
                  <a:pt x="816" y="421"/>
                  <a:pt x="815" y="422"/>
                  <a:pt x="813" y="422"/>
                </a:cubicBezTo>
                <a:cubicBezTo>
                  <a:pt x="808" y="422"/>
                  <a:pt x="805" y="421"/>
                  <a:pt x="801" y="419"/>
                </a:cubicBezTo>
                <a:cubicBezTo>
                  <a:pt x="798" y="418"/>
                  <a:pt x="794" y="416"/>
                  <a:pt x="790" y="416"/>
                </a:cubicBezTo>
                <a:cubicBezTo>
                  <a:pt x="785" y="416"/>
                  <a:pt x="780" y="419"/>
                  <a:pt x="780" y="426"/>
                </a:cubicBezTo>
                <a:cubicBezTo>
                  <a:pt x="780" y="427"/>
                  <a:pt x="781" y="428"/>
                  <a:pt x="782" y="429"/>
                </a:cubicBezTo>
                <a:cubicBezTo>
                  <a:pt x="784" y="431"/>
                  <a:pt x="786" y="433"/>
                  <a:pt x="785" y="436"/>
                </a:cubicBezTo>
                <a:cubicBezTo>
                  <a:pt x="785" y="437"/>
                  <a:pt x="784" y="439"/>
                  <a:pt x="781" y="441"/>
                </a:cubicBezTo>
                <a:cubicBezTo>
                  <a:pt x="781" y="441"/>
                  <a:pt x="780" y="442"/>
                  <a:pt x="780" y="443"/>
                </a:cubicBezTo>
                <a:cubicBezTo>
                  <a:pt x="780" y="445"/>
                  <a:pt x="782" y="447"/>
                  <a:pt x="784" y="450"/>
                </a:cubicBezTo>
                <a:cubicBezTo>
                  <a:pt x="785" y="452"/>
                  <a:pt x="787" y="455"/>
                  <a:pt x="787" y="457"/>
                </a:cubicBezTo>
                <a:cubicBezTo>
                  <a:pt x="788" y="466"/>
                  <a:pt x="781" y="469"/>
                  <a:pt x="777" y="471"/>
                </a:cubicBezTo>
                <a:cubicBezTo>
                  <a:pt x="776" y="471"/>
                  <a:pt x="776" y="471"/>
                  <a:pt x="776" y="471"/>
                </a:cubicBezTo>
                <a:cubicBezTo>
                  <a:pt x="775" y="471"/>
                  <a:pt x="775" y="471"/>
                  <a:pt x="775" y="471"/>
                </a:cubicBezTo>
                <a:cubicBezTo>
                  <a:pt x="776" y="472"/>
                  <a:pt x="776" y="472"/>
                  <a:pt x="776" y="472"/>
                </a:cubicBezTo>
                <a:cubicBezTo>
                  <a:pt x="778" y="476"/>
                  <a:pt x="780" y="479"/>
                  <a:pt x="783" y="482"/>
                </a:cubicBezTo>
                <a:cubicBezTo>
                  <a:pt x="788" y="490"/>
                  <a:pt x="793" y="497"/>
                  <a:pt x="793" y="513"/>
                </a:cubicBezTo>
                <a:cubicBezTo>
                  <a:pt x="793" y="519"/>
                  <a:pt x="775" y="534"/>
                  <a:pt x="769" y="536"/>
                </a:cubicBezTo>
                <a:cubicBezTo>
                  <a:pt x="768" y="536"/>
                  <a:pt x="768" y="536"/>
                  <a:pt x="768" y="536"/>
                </a:cubicBezTo>
                <a:cubicBezTo>
                  <a:pt x="769" y="537"/>
                  <a:pt x="769" y="537"/>
                  <a:pt x="769" y="537"/>
                </a:cubicBezTo>
                <a:cubicBezTo>
                  <a:pt x="775" y="540"/>
                  <a:pt x="776" y="549"/>
                  <a:pt x="777" y="556"/>
                </a:cubicBezTo>
                <a:cubicBezTo>
                  <a:pt x="778" y="561"/>
                  <a:pt x="778" y="565"/>
                  <a:pt x="779" y="567"/>
                </a:cubicBezTo>
                <a:cubicBezTo>
                  <a:pt x="779" y="568"/>
                  <a:pt x="778" y="568"/>
                  <a:pt x="778" y="569"/>
                </a:cubicBezTo>
                <a:cubicBezTo>
                  <a:pt x="776" y="571"/>
                  <a:pt x="774" y="573"/>
                  <a:pt x="774" y="575"/>
                </a:cubicBezTo>
                <a:cubicBezTo>
                  <a:pt x="772" y="575"/>
                  <a:pt x="771" y="577"/>
                  <a:pt x="770" y="578"/>
                </a:cubicBezTo>
                <a:cubicBezTo>
                  <a:pt x="768" y="580"/>
                  <a:pt x="767" y="581"/>
                  <a:pt x="765" y="579"/>
                </a:cubicBezTo>
                <a:cubicBezTo>
                  <a:pt x="758" y="572"/>
                  <a:pt x="747" y="562"/>
                  <a:pt x="747" y="552"/>
                </a:cubicBezTo>
                <a:cubicBezTo>
                  <a:pt x="747" y="550"/>
                  <a:pt x="747" y="548"/>
                  <a:pt x="747" y="547"/>
                </a:cubicBezTo>
                <a:cubicBezTo>
                  <a:pt x="747" y="538"/>
                  <a:pt x="748" y="531"/>
                  <a:pt x="740" y="525"/>
                </a:cubicBezTo>
                <a:cubicBezTo>
                  <a:pt x="740" y="525"/>
                  <a:pt x="740" y="525"/>
                  <a:pt x="740" y="525"/>
                </a:cubicBezTo>
                <a:cubicBezTo>
                  <a:pt x="720" y="525"/>
                  <a:pt x="720" y="525"/>
                  <a:pt x="720" y="525"/>
                </a:cubicBezTo>
                <a:cubicBezTo>
                  <a:pt x="709" y="516"/>
                  <a:pt x="696" y="510"/>
                  <a:pt x="683" y="505"/>
                </a:cubicBezTo>
                <a:cubicBezTo>
                  <a:pt x="682" y="504"/>
                  <a:pt x="682" y="504"/>
                  <a:pt x="682" y="504"/>
                </a:cubicBezTo>
                <a:cubicBezTo>
                  <a:pt x="681" y="504"/>
                  <a:pt x="680" y="503"/>
                  <a:pt x="679" y="502"/>
                </a:cubicBezTo>
                <a:cubicBezTo>
                  <a:pt x="676" y="500"/>
                  <a:pt x="671" y="497"/>
                  <a:pt x="668" y="497"/>
                </a:cubicBezTo>
                <a:cubicBezTo>
                  <a:pt x="666" y="497"/>
                  <a:pt x="664" y="499"/>
                  <a:pt x="662" y="500"/>
                </a:cubicBezTo>
                <a:cubicBezTo>
                  <a:pt x="661" y="501"/>
                  <a:pt x="659" y="502"/>
                  <a:pt x="657" y="503"/>
                </a:cubicBezTo>
                <a:cubicBezTo>
                  <a:pt x="657" y="494"/>
                  <a:pt x="652" y="475"/>
                  <a:pt x="645" y="475"/>
                </a:cubicBezTo>
                <a:cubicBezTo>
                  <a:pt x="643" y="475"/>
                  <a:pt x="642" y="476"/>
                  <a:pt x="641" y="476"/>
                </a:cubicBezTo>
                <a:cubicBezTo>
                  <a:pt x="640" y="477"/>
                  <a:pt x="639" y="478"/>
                  <a:pt x="638" y="478"/>
                </a:cubicBezTo>
                <a:cubicBezTo>
                  <a:pt x="638" y="476"/>
                  <a:pt x="638" y="474"/>
                  <a:pt x="638" y="472"/>
                </a:cubicBezTo>
                <a:cubicBezTo>
                  <a:pt x="638" y="470"/>
                  <a:pt x="638" y="467"/>
                  <a:pt x="638" y="463"/>
                </a:cubicBezTo>
                <a:cubicBezTo>
                  <a:pt x="638" y="450"/>
                  <a:pt x="641" y="442"/>
                  <a:pt x="648" y="433"/>
                </a:cubicBezTo>
                <a:cubicBezTo>
                  <a:pt x="649" y="432"/>
                  <a:pt x="651" y="428"/>
                  <a:pt x="653" y="425"/>
                </a:cubicBezTo>
                <a:cubicBezTo>
                  <a:pt x="655" y="421"/>
                  <a:pt x="657" y="416"/>
                  <a:pt x="658" y="415"/>
                </a:cubicBezTo>
                <a:cubicBezTo>
                  <a:pt x="660" y="415"/>
                  <a:pt x="662" y="415"/>
                  <a:pt x="664" y="415"/>
                </a:cubicBezTo>
                <a:cubicBezTo>
                  <a:pt x="669" y="414"/>
                  <a:pt x="673" y="414"/>
                  <a:pt x="673" y="408"/>
                </a:cubicBezTo>
                <a:cubicBezTo>
                  <a:pt x="673" y="404"/>
                  <a:pt x="668" y="403"/>
                  <a:pt x="663" y="402"/>
                </a:cubicBezTo>
                <a:cubicBezTo>
                  <a:pt x="661" y="401"/>
                  <a:pt x="659" y="400"/>
                  <a:pt x="658" y="400"/>
                </a:cubicBezTo>
                <a:cubicBezTo>
                  <a:pt x="658" y="399"/>
                  <a:pt x="658" y="399"/>
                  <a:pt x="658" y="399"/>
                </a:cubicBezTo>
                <a:cubicBezTo>
                  <a:pt x="658" y="399"/>
                  <a:pt x="658" y="399"/>
                  <a:pt x="658" y="399"/>
                </a:cubicBezTo>
                <a:cubicBezTo>
                  <a:pt x="658" y="398"/>
                  <a:pt x="661" y="398"/>
                  <a:pt x="675" y="403"/>
                </a:cubicBezTo>
                <a:cubicBezTo>
                  <a:pt x="676" y="403"/>
                  <a:pt x="678" y="403"/>
                  <a:pt x="678" y="403"/>
                </a:cubicBezTo>
                <a:cubicBezTo>
                  <a:pt x="679" y="402"/>
                  <a:pt x="680" y="400"/>
                  <a:pt x="680" y="398"/>
                </a:cubicBezTo>
                <a:cubicBezTo>
                  <a:pt x="680" y="396"/>
                  <a:pt x="680" y="395"/>
                  <a:pt x="681" y="395"/>
                </a:cubicBezTo>
                <a:cubicBezTo>
                  <a:pt x="688" y="395"/>
                  <a:pt x="688" y="395"/>
                  <a:pt x="688" y="395"/>
                </a:cubicBezTo>
                <a:cubicBezTo>
                  <a:pt x="693" y="395"/>
                  <a:pt x="697" y="391"/>
                  <a:pt x="700" y="387"/>
                </a:cubicBezTo>
                <a:cubicBezTo>
                  <a:pt x="702" y="385"/>
                  <a:pt x="703" y="383"/>
                  <a:pt x="705" y="382"/>
                </a:cubicBezTo>
                <a:cubicBezTo>
                  <a:pt x="705" y="382"/>
                  <a:pt x="705" y="382"/>
                  <a:pt x="705" y="382"/>
                </a:cubicBezTo>
                <a:cubicBezTo>
                  <a:pt x="705" y="376"/>
                  <a:pt x="705" y="376"/>
                  <a:pt x="705" y="376"/>
                </a:cubicBezTo>
                <a:cubicBezTo>
                  <a:pt x="705" y="376"/>
                  <a:pt x="705" y="376"/>
                  <a:pt x="705" y="376"/>
                </a:cubicBezTo>
                <a:cubicBezTo>
                  <a:pt x="702" y="376"/>
                  <a:pt x="699" y="375"/>
                  <a:pt x="697" y="375"/>
                </a:cubicBezTo>
                <a:cubicBezTo>
                  <a:pt x="689" y="374"/>
                  <a:pt x="683" y="373"/>
                  <a:pt x="680" y="366"/>
                </a:cubicBezTo>
                <a:cubicBezTo>
                  <a:pt x="684" y="366"/>
                  <a:pt x="684" y="366"/>
                  <a:pt x="684" y="366"/>
                </a:cubicBezTo>
                <a:cubicBezTo>
                  <a:pt x="685" y="366"/>
                  <a:pt x="686" y="367"/>
                  <a:pt x="687" y="368"/>
                </a:cubicBezTo>
                <a:cubicBezTo>
                  <a:pt x="690" y="371"/>
                  <a:pt x="694" y="374"/>
                  <a:pt x="698" y="374"/>
                </a:cubicBezTo>
                <a:cubicBezTo>
                  <a:pt x="704" y="374"/>
                  <a:pt x="713" y="366"/>
                  <a:pt x="713" y="362"/>
                </a:cubicBezTo>
                <a:cubicBezTo>
                  <a:pt x="713" y="361"/>
                  <a:pt x="712" y="360"/>
                  <a:pt x="711" y="359"/>
                </a:cubicBezTo>
                <a:cubicBezTo>
                  <a:pt x="711" y="357"/>
                  <a:pt x="709" y="355"/>
                  <a:pt x="710" y="355"/>
                </a:cubicBezTo>
                <a:cubicBezTo>
                  <a:pt x="710" y="354"/>
                  <a:pt x="710" y="354"/>
                  <a:pt x="710" y="354"/>
                </a:cubicBezTo>
                <a:cubicBezTo>
                  <a:pt x="714" y="354"/>
                  <a:pt x="716" y="357"/>
                  <a:pt x="718" y="358"/>
                </a:cubicBezTo>
                <a:cubicBezTo>
                  <a:pt x="720" y="360"/>
                  <a:pt x="722" y="361"/>
                  <a:pt x="724" y="361"/>
                </a:cubicBezTo>
                <a:cubicBezTo>
                  <a:pt x="725" y="361"/>
                  <a:pt x="726" y="361"/>
                  <a:pt x="727" y="360"/>
                </a:cubicBezTo>
                <a:cubicBezTo>
                  <a:pt x="729" y="360"/>
                  <a:pt x="731" y="359"/>
                  <a:pt x="734" y="359"/>
                </a:cubicBezTo>
                <a:cubicBezTo>
                  <a:pt x="735" y="359"/>
                  <a:pt x="735" y="359"/>
                  <a:pt x="735" y="359"/>
                </a:cubicBezTo>
                <a:cubicBezTo>
                  <a:pt x="734" y="358"/>
                  <a:pt x="734" y="358"/>
                  <a:pt x="734" y="358"/>
                </a:cubicBezTo>
                <a:cubicBezTo>
                  <a:pt x="733" y="357"/>
                  <a:pt x="733" y="356"/>
                  <a:pt x="734" y="355"/>
                </a:cubicBezTo>
                <a:cubicBezTo>
                  <a:pt x="734" y="354"/>
                  <a:pt x="734" y="354"/>
                  <a:pt x="734" y="354"/>
                </a:cubicBezTo>
                <a:cubicBezTo>
                  <a:pt x="735" y="354"/>
                  <a:pt x="736" y="354"/>
                  <a:pt x="737" y="357"/>
                </a:cubicBezTo>
                <a:cubicBezTo>
                  <a:pt x="738" y="357"/>
                  <a:pt x="738" y="358"/>
                  <a:pt x="740" y="357"/>
                </a:cubicBezTo>
                <a:cubicBezTo>
                  <a:pt x="744" y="356"/>
                  <a:pt x="756" y="344"/>
                  <a:pt x="756" y="340"/>
                </a:cubicBezTo>
                <a:cubicBezTo>
                  <a:pt x="756" y="338"/>
                  <a:pt x="754" y="336"/>
                  <a:pt x="751" y="334"/>
                </a:cubicBezTo>
                <a:cubicBezTo>
                  <a:pt x="750" y="333"/>
                  <a:pt x="749" y="332"/>
                  <a:pt x="749" y="331"/>
                </a:cubicBezTo>
                <a:cubicBezTo>
                  <a:pt x="749" y="331"/>
                  <a:pt x="748" y="330"/>
                  <a:pt x="748" y="329"/>
                </a:cubicBezTo>
                <a:cubicBezTo>
                  <a:pt x="747" y="327"/>
                  <a:pt x="746" y="323"/>
                  <a:pt x="754" y="318"/>
                </a:cubicBezTo>
                <a:cubicBezTo>
                  <a:pt x="754" y="318"/>
                  <a:pt x="754" y="318"/>
                  <a:pt x="754" y="318"/>
                </a:cubicBezTo>
                <a:cubicBezTo>
                  <a:pt x="754" y="318"/>
                  <a:pt x="754" y="318"/>
                  <a:pt x="754" y="318"/>
                </a:cubicBezTo>
                <a:cubicBezTo>
                  <a:pt x="755" y="316"/>
                  <a:pt x="755" y="316"/>
                  <a:pt x="755" y="314"/>
                </a:cubicBezTo>
                <a:cubicBezTo>
                  <a:pt x="754" y="313"/>
                  <a:pt x="754" y="312"/>
                  <a:pt x="754" y="309"/>
                </a:cubicBezTo>
                <a:cubicBezTo>
                  <a:pt x="754" y="309"/>
                  <a:pt x="754" y="309"/>
                  <a:pt x="754" y="309"/>
                </a:cubicBezTo>
                <a:cubicBezTo>
                  <a:pt x="754" y="309"/>
                  <a:pt x="754" y="309"/>
                  <a:pt x="754" y="309"/>
                </a:cubicBezTo>
                <a:cubicBezTo>
                  <a:pt x="749" y="309"/>
                  <a:pt x="747" y="307"/>
                  <a:pt x="745" y="305"/>
                </a:cubicBezTo>
                <a:cubicBezTo>
                  <a:pt x="743" y="303"/>
                  <a:pt x="741" y="300"/>
                  <a:pt x="734" y="300"/>
                </a:cubicBezTo>
                <a:cubicBezTo>
                  <a:pt x="733" y="300"/>
                  <a:pt x="731" y="300"/>
                  <a:pt x="730" y="299"/>
                </a:cubicBezTo>
                <a:cubicBezTo>
                  <a:pt x="729" y="298"/>
                  <a:pt x="728" y="298"/>
                  <a:pt x="726" y="298"/>
                </a:cubicBezTo>
                <a:cubicBezTo>
                  <a:pt x="722" y="298"/>
                  <a:pt x="718" y="301"/>
                  <a:pt x="718" y="305"/>
                </a:cubicBezTo>
                <a:cubicBezTo>
                  <a:pt x="718" y="308"/>
                  <a:pt x="719" y="310"/>
                  <a:pt x="721" y="311"/>
                </a:cubicBezTo>
                <a:cubicBezTo>
                  <a:pt x="722" y="312"/>
                  <a:pt x="723" y="313"/>
                  <a:pt x="723" y="315"/>
                </a:cubicBezTo>
                <a:cubicBezTo>
                  <a:pt x="723" y="316"/>
                  <a:pt x="721" y="317"/>
                  <a:pt x="719" y="318"/>
                </a:cubicBezTo>
                <a:cubicBezTo>
                  <a:pt x="717" y="319"/>
                  <a:pt x="715" y="320"/>
                  <a:pt x="714" y="321"/>
                </a:cubicBezTo>
                <a:cubicBezTo>
                  <a:pt x="713" y="324"/>
                  <a:pt x="713" y="326"/>
                  <a:pt x="712" y="328"/>
                </a:cubicBezTo>
                <a:cubicBezTo>
                  <a:pt x="711" y="331"/>
                  <a:pt x="711" y="334"/>
                  <a:pt x="708" y="338"/>
                </a:cubicBezTo>
                <a:cubicBezTo>
                  <a:pt x="706" y="341"/>
                  <a:pt x="704" y="342"/>
                  <a:pt x="701" y="341"/>
                </a:cubicBezTo>
                <a:cubicBezTo>
                  <a:pt x="697" y="339"/>
                  <a:pt x="693" y="331"/>
                  <a:pt x="693" y="329"/>
                </a:cubicBezTo>
                <a:cubicBezTo>
                  <a:pt x="693" y="327"/>
                  <a:pt x="694" y="326"/>
                  <a:pt x="695" y="325"/>
                </a:cubicBezTo>
                <a:cubicBezTo>
                  <a:pt x="696" y="324"/>
                  <a:pt x="698" y="323"/>
                  <a:pt x="698" y="320"/>
                </a:cubicBezTo>
                <a:cubicBezTo>
                  <a:pt x="698" y="317"/>
                  <a:pt x="689" y="307"/>
                  <a:pt x="686" y="307"/>
                </a:cubicBezTo>
                <a:cubicBezTo>
                  <a:pt x="681" y="307"/>
                  <a:pt x="681" y="311"/>
                  <a:pt x="680" y="315"/>
                </a:cubicBezTo>
                <a:cubicBezTo>
                  <a:pt x="679" y="318"/>
                  <a:pt x="678" y="322"/>
                  <a:pt x="674" y="322"/>
                </a:cubicBezTo>
                <a:cubicBezTo>
                  <a:pt x="674" y="317"/>
                  <a:pt x="673" y="312"/>
                  <a:pt x="667" y="309"/>
                </a:cubicBezTo>
                <a:cubicBezTo>
                  <a:pt x="668" y="307"/>
                  <a:pt x="669" y="306"/>
                  <a:pt x="670" y="305"/>
                </a:cubicBezTo>
                <a:cubicBezTo>
                  <a:pt x="670" y="305"/>
                  <a:pt x="670" y="305"/>
                  <a:pt x="670" y="305"/>
                </a:cubicBezTo>
                <a:cubicBezTo>
                  <a:pt x="670" y="304"/>
                  <a:pt x="670" y="304"/>
                  <a:pt x="670" y="304"/>
                </a:cubicBezTo>
                <a:cubicBezTo>
                  <a:pt x="668" y="303"/>
                  <a:pt x="665" y="303"/>
                  <a:pt x="663" y="302"/>
                </a:cubicBezTo>
                <a:cubicBezTo>
                  <a:pt x="660" y="302"/>
                  <a:pt x="657" y="302"/>
                  <a:pt x="655" y="300"/>
                </a:cubicBezTo>
                <a:cubicBezTo>
                  <a:pt x="656" y="299"/>
                  <a:pt x="656" y="299"/>
                  <a:pt x="656" y="299"/>
                </a:cubicBezTo>
                <a:cubicBezTo>
                  <a:pt x="658" y="298"/>
                  <a:pt x="662" y="295"/>
                  <a:pt x="662" y="291"/>
                </a:cubicBezTo>
                <a:cubicBezTo>
                  <a:pt x="662" y="287"/>
                  <a:pt x="660" y="286"/>
                  <a:pt x="657" y="284"/>
                </a:cubicBezTo>
                <a:cubicBezTo>
                  <a:pt x="655" y="283"/>
                  <a:pt x="653" y="282"/>
                  <a:pt x="653" y="280"/>
                </a:cubicBezTo>
                <a:cubicBezTo>
                  <a:pt x="653" y="268"/>
                  <a:pt x="646" y="261"/>
                  <a:pt x="634" y="261"/>
                </a:cubicBezTo>
                <a:cubicBezTo>
                  <a:pt x="632" y="261"/>
                  <a:pt x="631" y="261"/>
                  <a:pt x="630" y="262"/>
                </a:cubicBezTo>
                <a:cubicBezTo>
                  <a:pt x="629" y="264"/>
                  <a:pt x="629" y="265"/>
                  <a:pt x="630" y="267"/>
                </a:cubicBezTo>
                <a:cubicBezTo>
                  <a:pt x="630" y="268"/>
                  <a:pt x="630" y="268"/>
                  <a:pt x="630" y="269"/>
                </a:cubicBezTo>
                <a:cubicBezTo>
                  <a:pt x="629" y="269"/>
                  <a:pt x="629" y="269"/>
                  <a:pt x="628" y="269"/>
                </a:cubicBezTo>
                <a:cubicBezTo>
                  <a:pt x="625" y="270"/>
                  <a:pt x="622" y="270"/>
                  <a:pt x="622" y="274"/>
                </a:cubicBezTo>
                <a:cubicBezTo>
                  <a:pt x="622" y="276"/>
                  <a:pt x="622" y="278"/>
                  <a:pt x="623" y="279"/>
                </a:cubicBezTo>
                <a:cubicBezTo>
                  <a:pt x="623" y="280"/>
                  <a:pt x="624" y="282"/>
                  <a:pt x="624" y="283"/>
                </a:cubicBezTo>
                <a:cubicBezTo>
                  <a:pt x="624" y="285"/>
                  <a:pt x="623" y="285"/>
                  <a:pt x="622" y="286"/>
                </a:cubicBezTo>
                <a:cubicBezTo>
                  <a:pt x="621" y="287"/>
                  <a:pt x="620" y="288"/>
                  <a:pt x="620" y="291"/>
                </a:cubicBezTo>
                <a:cubicBezTo>
                  <a:pt x="620" y="297"/>
                  <a:pt x="625" y="298"/>
                  <a:pt x="631" y="300"/>
                </a:cubicBezTo>
                <a:cubicBezTo>
                  <a:pt x="636" y="301"/>
                  <a:pt x="641" y="302"/>
                  <a:pt x="641" y="308"/>
                </a:cubicBezTo>
                <a:cubicBezTo>
                  <a:pt x="641" y="310"/>
                  <a:pt x="639" y="318"/>
                  <a:pt x="639" y="318"/>
                </a:cubicBezTo>
                <a:cubicBezTo>
                  <a:pt x="638" y="319"/>
                  <a:pt x="638" y="319"/>
                  <a:pt x="638" y="319"/>
                </a:cubicBezTo>
                <a:cubicBezTo>
                  <a:pt x="639" y="318"/>
                  <a:pt x="639" y="318"/>
                  <a:pt x="639" y="318"/>
                </a:cubicBezTo>
                <a:cubicBezTo>
                  <a:pt x="640" y="318"/>
                  <a:pt x="642" y="317"/>
                  <a:pt x="643" y="316"/>
                </a:cubicBezTo>
                <a:cubicBezTo>
                  <a:pt x="643" y="316"/>
                  <a:pt x="644" y="316"/>
                  <a:pt x="645" y="315"/>
                </a:cubicBezTo>
                <a:cubicBezTo>
                  <a:pt x="647" y="321"/>
                  <a:pt x="643" y="323"/>
                  <a:pt x="639" y="325"/>
                </a:cubicBezTo>
                <a:cubicBezTo>
                  <a:pt x="634" y="327"/>
                  <a:pt x="629" y="330"/>
                  <a:pt x="629" y="339"/>
                </a:cubicBezTo>
                <a:cubicBezTo>
                  <a:pt x="627" y="339"/>
                  <a:pt x="625" y="339"/>
                  <a:pt x="625" y="339"/>
                </a:cubicBezTo>
                <a:cubicBezTo>
                  <a:pt x="624" y="338"/>
                  <a:pt x="624" y="335"/>
                  <a:pt x="625" y="333"/>
                </a:cubicBezTo>
                <a:cubicBezTo>
                  <a:pt x="625" y="331"/>
                  <a:pt x="626" y="328"/>
                  <a:pt x="625" y="327"/>
                </a:cubicBezTo>
                <a:cubicBezTo>
                  <a:pt x="624" y="325"/>
                  <a:pt x="615" y="322"/>
                  <a:pt x="611" y="322"/>
                </a:cubicBezTo>
                <a:cubicBezTo>
                  <a:pt x="605" y="322"/>
                  <a:pt x="603" y="326"/>
                  <a:pt x="603" y="333"/>
                </a:cubicBezTo>
                <a:cubicBezTo>
                  <a:pt x="600" y="333"/>
                  <a:pt x="597" y="333"/>
                  <a:pt x="593" y="333"/>
                </a:cubicBezTo>
                <a:cubicBezTo>
                  <a:pt x="589" y="333"/>
                  <a:pt x="584" y="333"/>
                  <a:pt x="577" y="333"/>
                </a:cubicBezTo>
                <a:cubicBezTo>
                  <a:pt x="560" y="333"/>
                  <a:pt x="541" y="327"/>
                  <a:pt x="537" y="313"/>
                </a:cubicBezTo>
                <a:cubicBezTo>
                  <a:pt x="537" y="312"/>
                  <a:pt x="537" y="312"/>
                  <a:pt x="537" y="312"/>
                </a:cubicBezTo>
                <a:cubicBezTo>
                  <a:pt x="537" y="312"/>
                  <a:pt x="537" y="312"/>
                  <a:pt x="537" y="312"/>
                </a:cubicBezTo>
                <a:cubicBezTo>
                  <a:pt x="535" y="313"/>
                  <a:pt x="533" y="313"/>
                  <a:pt x="531" y="314"/>
                </a:cubicBezTo>
                <a:cubicBezTo>
                  <a:pt x="523" y="315"/>
                  <a:pt x="512" y="316"/>
                  <a:pt x="512" y="323"/>
                </a:cubicBezTo>
                <a:cubicBezTo>
                  <a:pt x="512" y="325"/>
                  <a:pt x="514" y="327"/>
                  <a:pt x="517" y="327"/>
                </a:cubicBezTo>
                <a:cubicBezTo>
                  <a:pt x="521" y="327"/>
                  <a:pt x="529" y="324"/>
                  <a:pt x="533" y="322"/>
                </a:cubicBezTo>
                <a:cubicBezTo>
                  <a:pt x="533" y="326"/>
                  <a:pt x="530" y="327"/>
                  <a:pt x="527" y="327"/>
                </a:cubicBezTo>
                <a:cubicBezTo>
                  <a:pt x="523" y="328"/>
                  <a:pt x="518" y="328"/>
                  <a:pt x="518" y="335"/>
                </a:cubicBezTo>
                <a:cubicBezTo>
                  <a:pt x="518" y="336"/>
                  <a:pt x="519" y="338"/>
                  <a:pt x="520" y="340"/>
                </a:cubicBezTo>
                <a:cubicBezTo>
                  <a:pt x="520" y="341"/>
                  <a:pt x="521" y="344"/>
                  <a:pt x="521" y="345"/>
                </a:cubicBezTo>
                <a:cubicBezTo>
                  <a:pt x="517" y="345"/>
                  <a:pt x="515" y="342"/>
                  <a:pt x="514" y="339"/>
                </a:cubicBezTo>
                <a:cubicBezTo>
                  <a:pt x="512" y="337"/>
                  <a:pt x="511" y="335"/>
                  <a:pt x="508" y="333"/>
                </a:cubicBezTo>
                <a:cubicBezTo>
                  <a:pt x="504" y="331"/>
                  <a:pt x="504" y="331"/>
                  <a:pt x="504" y="331"/>
                </a:cubicBezTo>
                <a:cubicBezTo>
                  <a:pt x="504" y="331"/>
                  <a:pt x="504" y="331"/>
                  <a:pt x="504" y="331"/>
                </a:cubicBezTo>
                <a:cubicBezTo>
                  <a:pt x="484" y="331"/>
                  <a:pt x="484" y="331"/>
                  <a:pt x="484" y="331"/>
                </a:cubicBezTo>
                <a:cubicBezTo>
                  <a:pt x="481" y="331"/>
                  <a:pt x="478" y="332"/>
                  <a:pt x="475" y="332"/>
                </a:cubicBezTo>
                <a:cubicBezTo>
                  <a:pt x="473" y="333"/>
                  <a:pt x="470" y="334"/>
                  <a:pt x="467" y="334"/>
                </a:cubicBezTo>
                <a:cubicBezTo>
                  <a:pt x="460" y="334"/>
                  <a:pt x="457" y="333"/>
                  <a:pt x="456" y="332"/>
                </a:cubicBezTo>
                <a:cubicBezTo>
                  <a:pt x="455" y="331"/>
                  <a:pt x="455" y="329"/>
                  <a:pt x="455" y="329"/>
                </a:cubicBezTo>
                <a:cubicBezTo>
                  <a:pt x="455" y="328"/>
                  <a:pt x="458" y="327"/>
                  <a:pt x="461" y="327"/>
                </a:cubicBezTo>
                <a:cubicBezTo>
                  <a:pt x="463" y="327"/>
                  <a:pt x="465" y="326"/>
                  <a:pt x="466" y="325"/>
                </a:cubicBezTo>
                <a:cubicBezTo>
                  <a:pt x="466" y="325"/>
                  <a:pt x="466" y="325"/>
                  <a:pt x="466" y="325"/>
                </a:cubicBezTo>
                <a:cubicBezTo>
                  <a:pt x="466" y="325"/>
                  <a:pt x="466" y="325"/>
                  <a:pt x="466" y="325"/>
                </a:cubicBezTo>
                <a:cubicBezTo>
                  <a:pt x="466" y="324"/>
                  <a:pt x="466" y="324"/>
                  <a:pt x="466" y="324"/>
                </a:cubicBezTo>
                <a:cubicBezTo>
                  <a:pt x="459" y="313"/>
                  <a:pt x="459" y="313"/>
                  <a:pt x="448" y="314"/>
                </a:cubicBezTo>
                <a:cubicBezTo>
                  <a:pt x="446" y="314"/>
                  <a:pt x="444" y="315"/>
                  <a:pt x="441" y="315"/>
                </a:cubicBezTo>
                <a:cubicBezTo>
                  <a:pt x="432" y="316"/>
                  <a:pt x="425" y="312"/>
                  <a:pt x="417" y="307"/>
                </a:cubicBezTo>
                <a:cubicBezTo>
                  <a:pt x="411" y="303"/>
                  <a:pt x="404" y="299"/>
                  <a:pt x="394" y="299"/>
                </a:cubicBezTo>
                <a:cubicBezTo>
                  <a:pt x="391" y="299"/>
                  <a:pt x="389" y="300"/>
                  <a:pt x="387" y="302"/>
                </a:cubicBezTo>
                <a:cubicBezTo>
                  <a:pt x="385" y="303"/>
                  <a:pt x="383" y="304"/>
                  <a:pt x="381" y="304"/>
                </a:cubicBezTo>
                <a:cubicBezTo>
                  <a:pt x="378" y="304"/>
                  <a:pt x="375" y="297"/>
                  <a:pt x="374" y="295"/>
                </a:cubicBezTo>
                <a:cubicBezTo>
                  <a:pt x="374" y="294"/>
                  <a:pt x="374" y="294"/>
                  <a:pt x="374" y="294"/>
                </a:cubicBezTo>
                <a:cubicBezTo>
                  <a:pt x="374" y="294"/>
                  <a:pt x="374" y="294"/>
                  <a:pt x="374" y="294"/>
                </a:cubicBezTo>
                <a:cubicBezTo>
                  <a:pt x="371" y="295"/>
                  <a:pt x="369" y="297"/>
                  <a:pt x="368" y="299"/>
                </a:cubicBezTo>
                <a:cubicBezTo>
                  <a:pt x="366" y="301"/>
                  <a:pt x="365" y="303"/>
                  <a:pt x="362" y="303"/>
                </a:cubicBezTo>
                <a:cubicBezTo>
                  <a:pt x="358" y="303"/>
                  <a:pt x="354" y="297"/>
                  <a:pt x="350" y="292"/>
                </a:cubicBezTo>
                <a:cubicBezTo>
                  <a:pt x="348" y="289"/>
                  <a:pt x="347" y="288"/>
                  <a:pt x="346" y="288"/>
                </a:cubicBezTo>
                <a:cubicBezTo>
                  <a:pt x="343" y="288"/>
                  <a:pt x="341" y="290"/>
                  <a:pt x="340" y="293"/>
                </a:cubicBezTo>
                <a:cubicBezTo>
                  <a:pt x="339" y="295"/>
                  <a:pt x="338" y="298"/>
                  <a:pt x="335" y="298"/>
                </a:cubicBezTo>
                <a:cubicBezTo>
                  <a:pt x="333" y="298"/>
                  <a:pt x="331" y="296"/>
                  <a:pt x="330" y="293"/>
                </a:cubicBezTo>
                <a:cubicBezTo>
                  <a:pt x="330" y="293"/>
                  <a:pt x="330" y="293"/>
                  <a:pt x="330" y="293"/>
                </a:cubicBezTo>
                <a:cubicBezTo>
                  <a:pt x="330" y="293"/>
                  <a:pt x="330" y="293"/>
                  <a:pt x="330" y="293"/>
                </a:cubicBezTo>
                <a:cubicBezTo>
                  <a:pt x="327" y="293"/>
                  <a:pt x="327" y="293"/>
                  <a:pt x="327" y="293"/>
                </a:cubicBezTo>
                <a:cubicBezTo>
                  <a:pt x="320" y="295"/>
                  <a:pt x="316" y="296"/>
                  <a:pt x="308" y="300"/>
                </a:cubicBezTo>
                <a:cubicBezTo>
                  <a:pt x="308" y="300"/>
                  <a:pt x="308" y="300"/>
                  <a:pt x="308" y="300"/>
                </a:cubicBezTo>
                <a:cubicBezTo>
                  <a:pt x="307" y="300"/>
                  <a:pt x="305" y="301"/>
                  <a:pt x="303" y="302"/>
                </a:cubicBezTo>
                <a:cubicBezTo>
                  <a:pt x="300" y="304"/>
                  <a:pt x="296" y="306"/>
                  <a:pt x="294" y="304"/>
                </a:cubicBezTo>
                <a:cubicBezTo>
                  <a:pt x="292" y="302"/>
                  <a:pt x="290" y="301"/>
                  <a:pt x="289" y="301"/>
                </a:cubicBezTo>
                <a:cubicBezTo>
                  <a:pt x="287" y="301"/>
                  <a:pt x="287" y="303"/>
                  <a:pt x="286" y="304"/>
                </a:cubicBezTo>
                <a:cubicBezTo>
                  <a:pt x="286" y="306"/>
                  <a:pt x="285" y="307"/>
                  <a:pt x="285" y="307"/>
                </a:cubicBezTo>
                <a:cubicBezTo>
                  <a:pt x="278" y="307"/>
                  <a:pt x="274" y="308"/>
                  <a:pt x="273" y="310"/>
                </a:cubicBezTo>
                <a:cubicBezTo>
                  <a:pt x="273" y="312"/>
                  <a:pt x="274" y="314"/>
                  <a:pt x="275" y="315"/>
                </a:cubicBezTo>
                <a:cubicBezTo>
                  <a:pt x="275" y="316"/>
                  <a:pt x="275" y="316"/>
                  <a:pt x="275" y="316"/>
                </a:cubicBezTo>
                <a:cubicBezTo>
                  <a:pt x="270" y="316"/>
                  <a:pt x="255" y="315"/>
                  <a:pt x="242" y="305"/>
                </a:cubicBezTo>
                <a:cubicBezTo>
                  <a:pt x="241" y="305"/>
                  <a:pt x="238" y="302"/>
                  <a:pt x="237" y="301"/>
                </a:cubicBezTo>
                <a:cubicBezTo>
                  <a:pt x="237" y="301"/>
                  <a:pt x="237" y="301"/>
                  <a:pt x="237" y="301"/>
                </a:cubicBezTo>
                <a:cubicBezTo>
                  <a:pt x="237" y="301"/>
                  <a:pt x="237" y="301"/>
                  <a:pt x="237" y="301"/>
                </a:cubicBezTo>
                <a:cubicBezTo>
                  <a:pt x="236" y="301"/>
                  <a:pt x="236" y="301"/>
                  <a:pt x="236" y="301"/>
                </a:cubicBezTo>
                <a:cubicBezTo>
                  <a:pt x="236" y="302"/>
                  <a:pt x="236" y="302"/>
                  <a:pt x="236" y="302"/>
                </a:cubicBezTo>
                <a:cubicBezTo>
                  <a:pt x="235" y="301"/>
                  <a:pt x="235" y="301"/>
                  <a:pt x="234" y="301"/>
                </a:cubicBezTo>
                <a:cubicBezTo>
                  <a:pt x="234" y="301"/>
                  <a:pt x="234" y="301"/>
                  <a:pt x="234" y="301"/>
                </a:cubicBezTo>
                <a:cubicBezTo>
                  <a:pt x="233" y="301"/>
                  <a:pt x="233" y="301"/>
                  <a:pt x="233" y="301"/>
                </a:cubicBezTo>
                <a:cubicBezTo>
                  <a:pt x="233" y="301"/>
                  <a:pt x="233" y="301"/>
                  <a:pt x="233" y="301"/>
                </a:cubicBezTo>
                <a:cubicBezTo>
                  <a:pt x="231" y="300"/>
                  <a:pt x="229" y="299"/>
                  <a:pt x="227" y="298"/>
                </a:cubicBezTo>
                <a:cubicBezTo>
                  <a:pt x="223" y="296"/>
                  <a:pt x="220" y="294"/>
                  <a:pt x="214" y="294"/>
                </a:cubicBezTo>
                <a:cubicBezTo>
                  <a:pt x="211" y="294"/>
                  <a:pt x="209" y="295"/>
                  <a:pt x="207" y="295"/>
                </a:cubicBezTo>
                <a:cubicBezTo>
                  <a:pt x="205" y="296"/>
                  <a:pt x="202" y="297"/>
                  <a:pt x="200" y="297"/>
                </a:cubicBezTo>
                <a:cubicBezTo>
                  <a:pt x="190" y="297"/>
                  <a:pt x="171" y="295"/>
                  <a:pt x="165" y="288"/>
                </a:cubicBezTo>
                <a:cubicBezTo>
                  <a:pt x="165" y="288"/>
                  <a:pt x="165" y="288"/>
                  <a:pt x="165" y="288"/>
                </a:cubicBezTo>
                <a:cubicBezTo>
                  <a:pt x="141" y="288"/>
                  <a:pt x="141" y="288"/>
                  <a:pt x="141" y="288"/>
                </a:cubicBezTo>
                <a:cubicBezTo>
                  <a:pt x="138" y="286"/>
                  <a:pt x="137" y="285"/>
                  <a:pt x="135" y="284"/>
                </a:cubicBezTo>
                <a:cubicBezTo>
                  <a:pt x="134" y="283"/>
                  <a:pt x="133" y="282"/>
                  <a:pt x="132" y="281"/>
                </a:cubicBezTo>
                <a:cubicBezTo>
                  <a:pt x="132" y="281"/>
                  <a:pt x="132" y="281"/>
                  <a:pt x="132" y="281"/>
                </a:cubicBezTo>
                <a:cubicBezTo>
                  <a:pt x="117" y="281"/>
                  <a:pt x="117" y="281"/>
                  <a:pt x="117" y="281"/>
                </a:cubicBezTo>
                <a:cubicBezTo>
                  <a:pt x="115" y="280"/>
                  <a:pt x="114" y="280"/>
                  <a:pt x="113" y="279"/>
                </a:cubicBezTo>
                <a:cubicBezTo>
                  <a:pt x="112" y="279"/>
                  <a:pt x="111" y="278"/>
                  <a:pt x="109" y="278"/>
                </a:cubicBezTo>
                <a:cubicBezTo>
                  <a:pt x="109" y="277"/>
                  <a:pt x="109" y="277"/>
                  <a:pt x="109" y="277"/>
                </a:cubicBezTo>
                <a:cubicBezTo>
                  <a:pt x="109" y="278"/>
                  <a:pt x="109" y="278"/>
                  <a:pt x="109" y="278"/>
                </a:cubicBezTo>
                <a:cubicBezTo>
                  <a:pt x="108" y="280"/>
                  <a:pt x="105" y="282"/>
                  <a:pt x="102" y="282"/>
                </a:cubicBezTo>
                <a:cubicBezTo>
                  <a:pt x="103" y="281"/>
                  <a:pt x="103" y="280"/>
                  <a:pt x="105" y="278"/>
                </a:cubicBezTo>
                <a:cubicBezTo>
                  <a:pt x="105" y="278"/>
                  <a:pt x="105" y="278"/>
                  <a:pt x="105" y="278"/>
                </a:cubicBezTo>
                <a:cubicBezTo>
                  <a:pt x="105" y="278"/>
                  <a:pt x="105" y="278"/>
                  <a:pt x="105" y="278"/>
                </a:cubicBezTo>
                <a:cubicBezTo>
                  <a:pt x="103" y="277"/>
                  <a:pt x="102" y="276"/>
                  <a:pt x="100" y="275"/>
                </a:cubicBezTo>
                <a:cubicBezTo>
                  <a:pt x="99" y="274"/>
                  <a:pt x="97" y="272"/>
                  <a:pt x="95" y="272"/>
                </a:cubicBezTo>
                <a:cubicBezTo>
                  <a:pt x="92" y="272"/>
                  <a:pt x="89" y="275"/>
                  <a:pt x="87" y="277"/>
                </a:cubicBezTo>
                <a:cubicBezTo>
                  <a:pt x="85" y="279"/>
                  <a:pt x="84" y="281"/>
                  <a:pt x="82" y="282"/>
                </a:cubicBezTo>
                <a:cubicBezTo>
                  <a:pt x="79" y="283"/>
                  <a:pt x="78" y="283"/>
                  <a:pt x="76" y="282"/>
                </a:cubicBezTo>
                <a:cubicBezTo>
                  <a:pt x="74" y="282"/>
                  <a:pt x="72" y="282"/>
                  <a:pt x="70" y="283"/>
                </a:cubicBezTo>
                <a:cubicBezTo>
                  <a:pt x="55" y="288"/>
                  <a:pt x="41" y="300"/>
                  <a:pt x="31" y="316"/>
                </a:cubicBezTo>
                <a:cubicBezTo>
                  <a:pt x="14" y="316"/>
                  <a:pt x="14" y="316"/>
                  <a:pt x="14" y="316"/>
                </a:cubicBezTo>
                <a:cubicBezTo>
                  <a:pt x="14" y="316"/>
                  <a:pt x="14" y="316"/>
                  <a:pt x="14" y="316"/>
                </a:cubicBezTo>
                <a:cubicBezTo>
                  <a:pt x="13" y="317"/>
                  <a:pt x="10" y="323"/>
                  <a:pt x="9" y="326"/>
                </a:cubicBezTo>
                <a:cubicBezTo>
                  <a:pt x="9" y="326"/>
                  <a:pt x="9" y="326"/>
                  <a:pt x="9" y="326"/>
                </a:cubicBezTo>
                <a:cubicBezTo>
                  <a:pt x="9" y="326"/>
                  <a:pt x="9" y="326"/>
                  <a:pt x="9" y="326"/>
                </a:cubicBezTo>
                <a:cubicBezTo>
                  <a:pt x="9" y="328"/>
                  <a:pt x="12" y="329"/>
                  <a:pt x="18" y="331"/>
                </a:cubicBezTo>
                <a:cubicBezTo>
                  <a:pt x="21" y="332"/>
                  <a:pt x="24" y="333"/>
                  <a:pt x="25" y="334"/>
                </a:cubicBezTo>
                <a:cubicBezTo>
                  <a:pt x="27" y="335"/>
                  <a:pt x="29" y="339"/>
                  <a:pt x="30" y="342"/>
                </a:cubicBezTo>
                <a:cubicBezTo>
                  <a:pt x="32" y="345"/>
                  <a:pt x="33" y="347"/>
                  <a:pt x="35" y="348"/>
                </a:cubicBezTo>
                <a:cubicBezTo>
                  <a:pt x="36" y="349"/>
                  <a:pt x="38" y="350"/>
                  <a:pt x="40" y="351"/>
                </a:cubicBezTo>
                <a:cubicBezTo>
                  <a:pt x="46" y="354"/>
                  <a:pt x="50" y="356"/>
                  <a:pt x="53" y="364"/>
                </a:cubicBezTo>
                <a:cubicBezTo>
                  <a:pt x="51" y="365"/>
                  <a:pt x="50" y="365"/>
                  <a:pt x="48" y="364"/>
                </a:cubicBezTo>
                <a:cubicBezTo>
                  <a:pt x="47" y="364"/>
                  <a:pt x="46" y="364"/>
                  <a:pt x="45" y="364"/>
                </a:cubicBezTo>
                <a:cubicBezTo>
                  <a:pt x="43" y="364"/>
                  <a:pt x="42" y="364"/>
                  <a:pt x="41" y="364"/>
                </a:cubicBezTo>
                <a:cubicBezTo>
                  <a:pt x="39" y="365"/>
                  <a:pt x="37" y="365"/>
                  <a:pt x="35" y="363"/>
                </a:cubicBezTo>
                <a:cubicBezTo>
                  <a:pt x="34" y="362"/>
                  <a:pt x="34" y="360"/>
                  <a:pt x="34" y="356"/>
                </a:cubicBezTo>
                <a:cubicBezTo>
                  <a:pt x="34" y="356"/>
                  <a:pt x="34" y="356"/>
                  <a:pt x="34" y="356"/>
                </a:cubicBezTo>
                <a:cubicBezTo>
                  <a:pt x="28" y="356"/>
                  <a:pt x="28" y="356"/>
                  <a:pt x="28" y="356"/>
                </a:cubicBezTo>
                <a:cubicBezTo>
                  <a:pt x="28" y="356"/>
                  <a:pt x="28" y="356"/>
                  <a:pt x="28" y="356"/>
                </a:cubicBezTo>
                <a:cubicBezTo>
                  <a:pt x="24" y="359"/>
                  <a:pt x="18" y="362"/>
                  <a:pt x="13" y="364"/>
                </a:cubicBezTo>
                <a:cubicBezTo>
                  <a:pt x="8" y="367"/>
                  <a:pt x="3" y="369"/>
                  <a:pt x="0" y="371"/>
                </a:cubicBezTo>
                <a:cubicBezTo>
                  <a:pt x="0" y="372"/>
                  <a:pt x="0" y="372"/>
                  <a:pt x="0" y="372"/>
                </a:cubicBezTo>
                <a:cubicBezTo>
                  <a:pt x="0" y="372"/>
                  <a:pt x="0" y="372"/>
                  <a:pt x="0" y="372"/>
                </a:cubicBezTo>
                <a:cubicBezTo>
                  <a:pt x="1" y="376"/>
                  <a:pt x="4" y="378"/>
                  <a:pt x="9" y="378"/>
                </a:cubicBezTo>
                <a:cubicBezTo>
                  <a:pt x="9" y="378"/>
                  <a:pt x="9" y="378"/>
                  <a:pt x="9" y="378"/>
                </a:cubicBezTo>
                <a:cubicBezTo>
                  <a:pt x="8" y="379"/>
                  <a:pt x="8" y="380"/>
                  <a:pt x="8" y="381"/>
                </a:cubicBezTo>
                <a:cubicBezTo>
                  <a:pt x="8" y="382"/>
                  <a:pt x="9" y="384"/>
                  <a:pt x="10" y="385"/>
                </a:cubicBezTo>
                <a:cubicBezTo>
                  <a:pt x="11" y="386"/>
                  <a:pt x="12" y="388"/>
                  <a:pt x="12" y="391"/>
                </a:cubicBezTo>
                <a:cubicBezTo>
                  <a:pt x="12" y="391"/>
                  <a:pt x="12" y="391"/>
                  <a:pt x="12" y="391"/>
                </a:cubicBezTo>
                <a:cubicBezTo>
                  <a:pt x="29" y="391"/>
                  <a:pt x="29" y="391"/>
                  <a:pt x="29" y="391"/>
                </a:cubicBezTo>
                <a:cubicBezTo>
                  <a:pt x="29" y="391"/>
                  <a:pt x="29" y="391"/>
                  <a:pt x="29" y="391"/>
                </a:cubicBezTo>
                <a:cubicBezTo>
                  <a:pt x="31" y="391"/>
                  <a:pt x="33" y="391"/>
                  <a:pt x="35" y="392"/>
                </a:cubicBezTo>
                <a:cubicBezTo>
                  <a:pt x="37" y="393"/>
                  <a:pt x="39" y="393"/>
                  <a:pt x="42" y="393"/>
                </a:cubicBezTo>
                <a:cubicBezTo>
                  <a:pt x="45" y="393"/>
                  <a:pt x="47" y="392"/>
                  <a:pt x="49" y="390"/>
                </a:cubicBezTo>
                <a:cubicBezTo>
                  <a:pt x="51" y="389"/>
                  <a:pt x="53" y="388"/>
                  <a:pt x="55" y="388"/>
                </a:cubicBezTo>
                <a:cubicBezTo>
                  <a:pt x="56" y="388"/>
                  <a:pt x="56" y="388"/>
                  <a:pt x="56" y="387"/>
                </a:cubicBezTo>
                <a:cubicBezTo>
                  <a:pt x="57" y="387"/>
                  <a:pt x="58" y="387"/>
                  <a:pt x="59" y="388"/>
                </a:cubicBezTo>
                <a:cubicBezTo>
                  <a:pt x="59" y="392"/>
                  <a:pt x="59" y="392"/>
                  <a:pt x="59" y="392"/>
                </a:cubicBezTo>
                <a:cubicBezTo>
                  <a:pt x="59" y="391"/>
                  <a:pt x="59" y="391"/>
                  <a:pt x="59" y="391"/>
                </a:cubicBezTo>
                <a:cubicBezTo>
                  <a:pt x="57" y="390"/>
                  <a:pt x="57" y="391"/>
                  <a:pt x="55" y="392"/>
                </a:cubicBezTo>
                <a:cubicBezTo>
                  <a:pt x="55" y="392"/>
                  <a:pt x="55" y="392"/>
                  <a:pt x="55" y="392"/>
                </a:cubicBezTo>
                <a:cubicBezTo>
                  <a:pt x="54" y="393"/>
                  <a:pt x="54" y="393"/>
                  <a:pt x="54" y="393"/>
                </a:cubicBezTo>
                <a:cubicBezTo>
                  <a:pt x="54" y="393"/>
                  <a:pt x="54" y="393"/>
                  <a:pt x="54" y="393"/>
                </a:cubicBezTo>
                <a:cubicBezTo>
                  <a:pt x="55" y="393"/>
                  <a:pt x="55" y="394"/>
                  <a:pt x="56" y="395"/>
                </a:cubicBezTo>
                <a:cubicBezTo>
                  <a:pt x="58" y="397"/>
                  <a:pt x="60" y="400"/>
                  <a:pt x="60" y="401"/>
                </a:cubicBezTo>
                <a:cubicBezTo>
                  <a:pt x="60" y="405"/>
                  <a:pt x="40" y="415"/>
                  <a:pt x="36" y="415"/>
                </a:cubicBezTo>
                <a:cubicBezTo>
                  <a:pt x="33" y="415"/>
                  <a:pt x="27" y="417"/>
                  <a:pt x="22" y="420"/>
                </a:cubicBezTo>
                <a:cubicBezTo>
                  <a:pt x="19" y="423"/>
                  <a:pt x="13" y="428"/>
                  <a:pt x="13" y="434"/>
                </a:cubicBezTo>
                <a:cubicBezTo>
                  <a:pt x="13" y="437"/>
                  <a:pt x="16" y="439"/>
                  <a:pt x="18" y="441"/>
                </a:cubicBezTo>
                <a:cubicBezTo>
                  <a:pt x="21" y="443"/>
                  <a:pt x="24" y="445"/>
                  <a:pt x="25" y="449"/>
                </a:cubicBezTo>
                <a:cubicBezTo>
                  <a:pt x="24" y="449"/>
                  <a:pt x="24" y="449"/>
                  <a:pt x="23" y="449"/>
                </a:cubicBezTo>
                <a:cubicBezTo>
                  <a:pt x="22" y="450"/>
                  <a:pt x="22" y="450"/>
                  <a:pt x="21" y="450"/>
                </a:cubicBezTo>
                <a:cubicBezTo>
                  <a:pt x="20" y="450"/>
                  <a:pt x="20" y="450"/>
                  <a:pt x="20" y="450"/>
                </a:cubicBezTo>
                <a:cubicBezTo>
                  <a:pt x="21" y="451"/>
                  <a:pt x="21" y="451"/>
                  <a:pt x="21" y="451"/>
                </a:cubicBezTo>
                <a:cubicBezTo>
                  <a:pt x="23" y="454"/>
                  <a:pt x="38" y="467"/>
                  <a:pt x="42" y="467"/>
                </a:cubicBezTo>
                <a:cubicBezTo>
                  <a:pt x="42" y="467"/>
                  <a:pt x="43" y="466"/>
                  <a:pt x="44" y="464"/>
                </a:cubicBezTo>
                <a:cubicBezTo>
                  <a:pt x="45" y="463"/>
                  <a:pt x="47" y="461"/>
                  <a:pt x="48" y="461"/>
                </a:cubicBezTo>
                <a:cubicBezTo>
                  <a:pt x="48" y="461"/>
                  <a:pt x="49" y="461"/>
                  <a:pt x="49" y="461"/>
                </a:cubicBezTo>
                <a:cubicBezTo>
                  <a:pt x="50" y="462"/>
                  <a:pt x="50" y="464"/>
                  <a:pt x="50" y="465"/>
                </a:cubicBezTo>
                <a:cubicBezTo>
                  <a:pt x="50" y="466"/>
                  <a:pt x="50" y="466"/>
                  <a:pt x="50" y="466"/>
                </a:cubicBezTo>
                <a:cubicBezTo>
                  <a:pt x="50" y="473"/>
                  <a:pt x="50" y="473"/>
                  <a:pt x="50" y="473"/>
                </a:cubicBezTo>
                <a:cubicBezTo>
                  <a:pt x="50" y="475"/>
                  <a:pt x="51" y="482"/>
                  <a:pt x="53" y="482"/>
                </a:cubicBezTo>
                <a:cubicBezTo>
                  <a:pt x="54" y="482"/>
                  <a:pt x="55" y="481"/>
                  <a:pt x="55" y="480"/>
                </a:cubicBezTo>
                <a:cubicBezTo>
                  <a:pt x="56" y="480"/>
                  <a:pt x="57" y="479"/>
                  <a:pt x="58" y="479"/>
                </a:cubicBezTo>
                <a:cubicBezTo>
                  <a:pt x="62" y="479"/>
                  <a:pt x="62" y="479"/>
                  <a:pt x="62" y="479"/>
                </a:cubicBezTo>
                <a:cubicBezTo>
                  <a:pt x="62" y="479"/>
                  <a:pt x="62" y="479"/>
                  <a:pt x="62" y="479"/>
                </a:cubicBezTo>
                <a:cubicBezTo>
                  <a:pt x="62" y="477"/>
                  <a:pt x="62" y="477"/>
                  <a:pt x="62" y="477"/>
                </a:cubicBezTo>
                <a:cubicBezTo>
                  <a:pt x="62" y="476"/>
                  <a:pt x="62" y="475"/>
                  <a:pt x="62" y="474"/>
                </a:cubicBezTo>
                <a:cubicBezTo>
                  <a:pt x="63" y="474"/>
                  <a:pt x="63" y="474"/>
                  <a:pt x="63" y="474"/>
                </a:cubicBezTo>
                <a:cubicBezTo>
                  <a:pt x="67" y="478"/>
                  <a:pt x="70" y="481"/>
                  <a:pt x="77" y="483"/>
                </a:cubicBezTo>
                <a:cubicBezTo>
                  <a:pt x="77" y="484"/>
                  <a:pt x="77" y="484"/>
                  <a:pt x="77" y="484"/>
                </a:cubicBezTo>
                <a:cubicBezTo>
                  <a:pt x="77" y="483"/>
                  <a:pt x="77" y="483"/>
                  <a:pt x="77" y="483"/>
                </a:cubicBezTo>
                <a:cubicBezTo>
                  <a:pt x="77" y="482"/>
                  <a:pt x="78" y="481"/>
                  <a:pt x="78" y="480"/>
                </a:cubicBezTo>
                <a:cubicBezTo>
                  <a:pt x="78" y="479"/>
                  <a:pt x="79" y="478"/>
                  <a:pt x="79" y="477"/>
                </a:cubicBezTo>
                <a:cubicBezTo>
                  <a:pt x="80" y="478"/>
                  <a:pt x="81" y="478"/>
                  <a:pt x="81" y="478"/>
                </a:cubicBezTo>
                <a:cubicBezTo>
                  <a:pt x="83" y="479"/>
                  <a:pt x="85" y="480"/>
                  <a:pt x="87" y="480"/>
                </a:cubicBezTo>
                <a:cubicBezTo>
                  <a:pt x="90" y="480"/>
                  <a:pt x="93" y="479"/>
                  <a:pt x="95" y="477"/>
                </a:cubicBezTo>
                <a:cubicBezTo>
                  <a:pt x="96" y="477"/>
                  <a:pt x="97" y="476"/>
                  <a:pt x="99" y="475"/>
                </a:cubicBezTo>
                <a:cubicBezTo>
                  <a:pt x="102" y="475"/>
                  <a:pt x="102" y="475"/>
                  <a:pt x="102" y="475"/>
                </a:cubicBezTo>
                <a:cubicBezTo>
                  <a:pt x="99" y="478"/>
                  <a:pt x="97" y="482"/>
                  <a:pt x="95" y="486"/>
                </a:cubicBezTo>
                <a:cubicBezTo>
                  <a:pt x="94" y="489"/>
                  <a:pt x="92" y="493"/>
                  <a:pt x="89" y="496"/>
                </a:cubicBezTo>
                <a:cubicBezTo>
                  <a:pt x="86" y="497"/>
                  <a:pt x="84" y="499"/>
                  <a:pt x="81" y="501"/>
                </a:cubicBezTo>
                <a:cubicBezTo>
                  <a:pt x="75" y="505"/>
                  <a:pt x="67" y="510"/>
                  <a:pt x="64" y="515"/>
                </a:cubicBezTo>
                <a:cubicBezTo>
                  <a:pt x="62" y="518"/>
                  <a:pt x="59" y="518"/>
                  <a:pt x="56" y="518"/>
                </a:cubicBezTo>
                <a:cubicBezTo>
                  <a:pt x="54" y="518"/>
                  <a:pt x="52" y="518"/>
                  <a:pt x="49" y="520"/>
                </a:cubicBezTo>
                <a:cubicBezTo>
                  <a:pt x="47" y="521"/>
                  <a:pt x="46" y="523"/>
                  <a:pt x="44" y="526"/>
                </a:cubicBezTo>
                <a:cubicBezTo>
                  <a:pt x="43" y="528"/>
                  <a:pt x="41" y="530"/>
                  <a:pt x="39" y="532"/>
                </a:cubicBezTo>
                <a:cubicBezTo>
                  <a:pt x="37" y="533"/>
                  <a:pt x="35" y="533"/>
                  <a:pt x="33" y="534"/>
                </a:cubicBezTo>
                <a:cubicBezTo>
                  <a:pt x="30" y="534"/>
                  <a:pt x="27" y="535"/>
                  <a:pt x="24" y="539"/>
                </a:cubicBezTo>
                <a:cubicBezTo>
                  <a:pt x="24" y="540"/>
                  <a:pt x="24" y="540"/>
                  <a:pt x="24" y="540"/>
                </a:cubicBezTo>
                <a:cubicBezTo>
                  <a:pt x="25" y="540"/>
                  <a:pt x="25" y="540"/>
                  <a:pt x="25" y="540"/>
                </a:cubicBezTo>
                <a:cubicBezTo>
                  <a:pt x="32" y="542"/>
                  <a:pt x="38" y="538"/>
                  <a:pt x="43" y="534"/>
                </a:cubicBezTo>
                <a:cubicBezTo>
                  <a:pt x="47" y="531"/>
                  <a:pt x="51" y="528"/>
                  <a:pt x="55" y="527"/>
                </a:cubicBezTo>
                <a:cubicBezTo>
                  <a:pt x="64" y="526"/>
                  <a:pt x="75" y="522"/>
                  <a:pt x="80" y="517"/>
                </a:cubicBezTo>
                <a:cubicBezTo>
                  <a:pt x="82" y="514"/>
                  <a:pt x="85" y="512"/>
                  <a:pt x="89" y="510"/>
                </a:cubicBezTo>
                <a:cubicBezTo>
                  <a:pt x="93" y="507"/>
                  <a:pt x="97" y="505"/>
                  <a:pt x="100" y="501"/>
                </a:cubicBezTo>
                <a:cubicBezTo>
                  <a:pt x="100" y="500"/>
                  <a:pt x="101" y="499"/>
                  <a:pt x="101" y="498"/>
                </a:cubicBezTo>
                <a:cubicBezTo>
                  <a:pt x="103" y="496"/>
                  <a:pt x="104" y="493"/>
                  <a:pt x="107" y="492"/>
                </a:cubicBezTo>
                <a:cubicBezTo>
                  <a:pt x="108" y="492"/>
                  <a:pt x="108" y="492"/>
                  <a:pt x="108" y="492"/>
                </a:cubicBezTo>
                <a:cubicBezTo>
                  <a:pt x="115" y="489"/>
                  <a:pt x="121" y="486"/>
                  <a:pt x="121" y="478"/>
                </a:cubicBezTo>
                <a:cubicBezTo>
                  <a:pt x="121" y="473"/>
                  <a:pt x="121" y="473"/>
                  <a:pt x="121" y="473"/>
                </a:cubicBezTo>
                <a:cubicBezTo>
                  <a:pt x="121" y="461"/>
                  <a:pt x="142" y="442"/>
                  <a:pt x="149" y="442"/>
                </a:cubicBezTo>
                <a:cubicBezTo>
                  <a:pt x="152" y="442"/>
                  <a:pt x="152" y="442"/>
                  <a:pt x="152" y="442"/>
                </a:cubicBezTo>
                <a:cubicBezTo>
                  <a:pt x="152" y="443"/>
                  <a:pt x="152" y="443"/>
                  <a:pt x="152" y="444"/>
                </a:cubicBezTo>
                <a:cubicBezTo>
                  <a:pt x="152" y="444"/>
                  <a:pt x="152" y="445"/>
                  <a:pt x="152" y="445"/>
                </a:cubicBezTo>
                <a:cubicBezTo>
                  <a:pt x="143" y="448"/>
                  <a:pt x="138" y="454"/>
                  <a:pt x="138" y="462"/>
                </a:cubicBezTo>
                <a:cubicBezTo>
                  <a:pt x="138" y="463"/>
                  <a:pt x="138" y="463"/>
                  <a:pt x="138" y="463"/>
                </a:cubicBezTo>
                <a:cubicBezTo>
                  <a:pt x="138" y="464"/>
                  <a:pt x="138" y="465"/>
                  <a:pt x="138" y="466"/>
                </a:cubicBezTo>
                <a:cubicBezTo>
                  <a:pt x="138" y="466"/>
                  <a:pt x="136" y="467"/>
                  <a:pt x="136" y="469"/>
                </a:cubicBezTo>
                <a:cubicBezTo>
                  <a:pt x="136" y="471"/>
                  <a:pt x="138" y="472"/>
                  <a:pt x="140" y="472"/>
                </a:cubicBezTo>
                <a:cubicBezTo>
                  <a:pt x="147" y="472"/>
                  <a:pt x="166" y="459"/>
                  <a:pt x="171" y="452"/>
                </a:cubicBezTo>
                <a:cubicBezTo>
                  <a:pt x="171" y="452"/>
                  <a:pt x="171" y="452"/>
                  <a:pt x="171" y="452"/>
                </a:cubicBezTo>
                <a:cubicBezTo>
                  <a:pt x="171" y="452"/>
                  <a:pt x="171" y="452"/>
                  <a:pt x="171" y="452"/>
                </a:cubicBezTo>
                <a:cubicBezTo>
                  <a:pt x="169" y="450"/>
                  <a:pt x="169" y="450"/>
                  <a:pt x="168" y="447"/>
                </a:cubicBezTo>
                <a:cubicBezTo>
                  <a:pt x="169" y="446"/>
                  <a:pt x="172" y="445"/>
                  <a:pt x="174" y="445"/>
                </a:cubicBezTo>
                <a:cubicBezTo>
                  <a:pt x="176" y="444"/>
                  <a:pt x="178" y="443"/>
                  <a:pt x="180" y="442"/>
                </a:cubicBezTo>
                <a:cubicBezTo>
                  <a:pt x="184" y="452"/>
                  <a:pt x="193" y="455"/>
                  <a:pt x="202" y="458"/>
                </a:cubicBezTo>
                <a:cubicBezTo>
                  <a:pt x="204" y="458"/>
                  <a:pt x="207" y="459"/>
                  <a:pt x="209" y="460"/>
                </a:cubicBezTo>
                <a:cubicBezTo>
                  <a:pt x="209" y="460"/>
                  <a:pt x="209" y="460"/>
                  <a:pt x="209" y="460"/>
                </a:cubicBezTo>
                <a:cubicBezTo>
                  <a:pt x="226" y="460"/>
                  <a:pt x="226" y="460"/>
                  <a:pt x="226" y="460"/>
                </a:cubicBezTo>
                <a:cubicBezTo>
                  <a:pt x="230" y="463"/>
                  <a:pt x="234" y="464"/>
                  <a:pt x="239" y="465"/>
                </a:cubicBezTo>
                <a:cubicBezTo>
                  <a:pt x="244" y="467"/>
                  <a:pt x="249" y="468"/>
                  <a:pt x="253" y="472"/>
                </a:cubicBezTo>
                <a:cubicBezTo>
                  <a:pt x="254" y="473"/>
                  <a:pt x="256" y="475"/>
                  <a:pt x="257" y="476"/>
                </a:cubicBezTo>
                <a:cubicBezTo>
                  <a:pt x="260" y="480"/>
                  <a:pt x="263" y="485"/>
                  <a:pt x="268" y="485"/>
                </a:cubicBezTo>
                <a:cubicBezTo>
                  <a:pt x="270" y="485"/>
                  <a:pt x="272" y="482"/>
                  <a:pt x="273" y="479"/>
                </a:cubicBezTo>
                <a:cubicBezTo>
                  <a:pt x="275" y="482"/>
                  <a:pt x="277" y="484"/>
                  <a:pt x="282" y="484"/>
                </a:cubicBezTo>
                <a:cubicBezTo>
                  <a:pt x="282" y="484"/>
                  <a:pt x="282" y="484"/>
                  <a:pt x="282" y="484"/>
                </a:cubicBezTo>
                <a:cubicBezTo>
                  <a:pt x="282" y="484"/>
                  <a:pt x="282" y="484"/>
                  <a:pt x="282" y="484"/>
                </a:cubicBezTo>
                <a:cubicBezTo>
                  <a:pt x="283" y="483"/>
                  <a:pt x="283" y="483"/>
                  <a:pt x="283" y="483"/>
                </a:cubicBezTo>
                <a:cubicBezTo>
                  <a:pt x="284" y="483"/>
                  <a:pt x="286" y="485"/>
                  <a:pt x="287" y="486"/>
                </a:cubicBezTo>
                <a:cubicBezTo>
                  <a:pt x="286" y="487"/>
                  <a:pt x="286" y="487"/>
                  <a:pt x="286" y="487"/>
                </a:cubicBezTo>
                <a:cubicBezTo>
                  <a:pt x="285" y="489"/>
                  <a:pt x="284" y="490"/>
                  <a:pt x="284" y="494"/>
                </a:cubicBezTo>
                <a:cubicBezTo>
                  <a:pt x="284" y="496"/>
                  <a:pt x="287" y="499"/>
                  <a:pt x="289" y="499"/>
                </a:cubicBezTo>
                <a:cubicBezTo>
                  <a:pt x="291" y="499"/>
                  <a:pt x="292" y="498"/>
                  <a:pt x="292" y="497"/>
                </a:cubicBezTo>
                <a:cubicBezTo>
                  <a:pt x="293" y="496"/>
                  <a:pt x="294" y="495"/>
                  <a:pt x="297" y="495"/>
                </a:cubicBezTo>
                <a:cubicBezTo>
                  <a:pt x="297" y="499"/>
                  <a:pt x="297" y="499"/>
                  <a:pt x="297" y="499"/>
                </a:cubicBezTo>
                <a:cubicBezTo>
                  <a:pt x="297" y="500"/>
                  <a:pt x="296" y="501"/>
                  <a:pt x="295" y="501"/>
                </a:cubicBezTo>
                <a:cubicBezTo>
                  <a:pt x="293" y="502"/>
                  <a:pt x="292" y="503"/>
                  <a:pt x="292" y="505"/>
                </a:cubicBezTo>
                <a:cubicBezTo>
                  <a:pt x="292" y="507"/>
                  <a:pt x="293" y="510"/>
                  <a:pt x="298" y="510"/>
                </a:cubicBezTo>
                <a:cubicBezTo>
                  <a:pt x="304" y="510"/>
                  <a:pt x="307" y="511"/>
                  <a:pt x="307" y="515"/>
                </a:cubicBezTo>
                <a:cubicBezTo>
                  <a:pt x="307" y="520"/>
                  <a:pt x="307" y="520"/>
                  <a:pt x="307" y="520"/>
                </a:cubicBezTo>
                <a:cubicBezTo>
                  <a:pt x="307" y="525"/>
                  <a:pt x="315" y="531"/>
                  <a:pt x="320" y="531"/>
                </a:cubicBezTo>
                <a:cubicBezTo>
                  <a:pt x="321" y="531"/>
                  <a:pt x="321" y="531"/>
                  <a:pt x="322" y="531"/>
                </a:cubicBezTo>
                <a:cubicBezTo>
                  <a:pt x="322" y="531"/>
                  <a:pt x="323" y="531"/>
                  <a:pt x="323" y="531"/>
                </a:cubicBezTo>
                <a:cubicBezTo>
                  <a:pt x="323" y="532"/>
                  <a:pt x="324" y="532"/>
                  <a:pt x="324" y="533"/>
                </a:cubicBezTo>
                <a:cubicBezTo>
                  <a:pt x="324" y="534"/>
                  <a:pt x="325" y="534"/>
                  <a:pt x="325" y="535"/>
                </a:cubicBezTo>
                <a:cubicBezTo>
                  <a:pt x="325" y="536"/>
                  <a:pt x="325" y="537"/>
                  <a:pt x="325" y="538"/>
                </a:cubicBezTo>
                <a:cubicBezTo>
                  <a:pt x="325" y="543"/>
                  <a:pt x="324" y="550"/>
                  <a:pt x="328" y="551"/>
                </a:cubicBezTo>
                <a:cubicBezTo>
                  <a:pt x="329" y="551"/>
                  <a:pt x="329" y="551"/>
                  <a:pt x="330" y="552"/>
                </a:cubicBezTo>
                <a:cubicBezTo>
                  <a:pt x="332" y="552"/>
                  <a:pt x="333" y="552"/>
                  <a:pt x="335" y="554"/>
                </a:cubicBezTo>
                <a:cubicBezTo>
                  <a:pt x="336" y="555"/>
                  <a:pt x="336" y="557"/>
                  <a:pt x="336" y="559"/>
                </a:cubicBezTo>
                <a:cubicBezTo>
                  <a:pt x="336" y="561"/>
                  <a:pt x="336" y="563"/>
                  <a:pt x="338" y="564"/>
                </a:cubicBezTo>
                <a:cubicBezTo>
                  <a:pt x="342" y="567"/>
                  <a:pt x="346" y="570"/>
                  <a:pt x="346" y="571"/>
                </a:cubicBezTo>
                <a:cubicBezTo>
                  <a:pt x="346" y="572"/>
                  <a:pt x="347" y="573"/>
                  <a:pt x="347" y="574"/>
                </a:cubicBezTo>
                <a:cubicBezTo>
                  <a:pt x="349" y="581"/>
                  <a:pt x="350" y="588"/>
                  <a:pt x="359" y="589"/>
                </a:cubicBezTo>
                <a:cubicBezTo>
                  <a:pt x="360" y="592"/>
                  <a:pt x="363" y="593"/>
                  <a:pt x="366" y="593"/>
                </a:cubicBezTo>
                <a:cubicBezTo>
                  <a:pt x="369" y="594"/>
                  <a:pt x="373" y="595"/>
                  <a:pt x="374" y="600"/>
                </a:cubicBezTo>
                <a:cubicBezTo>
                  <a:pt x="375" y="602"/>
                  <a:pt x="377" y="603"/>
                  <a:pt x="380" y="604"/>
                </a:cubicBezTo>
                <a:cubicBezTo>
                  <a:pt x="382" y="605"/>
                  <a:pt x="385" y="606"/>
                  <a:pt x="386" y="608"/>
                </a:cubicBezTo>
                <a:cubicBezTo>
                  <a:pt x="386" y="608"/>
                  <a:pt x="387" y="609"/>
                  <a:pt x="388" y="609"/>
                </a:cubicBezTo>
                <a:cubicBezTo>
                  <a:pt x="389" y="610"/>
                  <a:pt x="389" y="610"/>
                  <a:pt x="389" y="610"/>
                </a:cubicBezTo>
                <a:cubicBezTo>
                  <a:pt x="390" y="611"/>
                  <a:pt x="391" y="612"/>
                  <a:pt x="391" y="613"/>
                </a:cubicBezTo>
                <a:cubicBezTo>
                  <a:pt x="392" y="614"/>
                  <a:pt x="393" y="616"/>
                  <a:pt x="393" y="617"/>
                </a:cubicBezTo>
                <a:cubicBezTo>
                  <a:pt x="393" y="620"/>
                  <a:pt x="391" y="624"/>
                  <a:pt x="389" y="626"/>
                </a:cubicBezTo>
                <a:cubicBezTo>
                  <a:pt x="388" y="623"/>
                  <a:pt x="385" y="621"/>
                  <a:pt x="380" y="621"/>
                </a:cubicBezTo>
                <a:cubicBezTo>
                  <a:pt x="380" y="621"/>
                  <a:pt x="375" y="621"/>
                  <a:pt x="375" y="623"/>
                </a:cubicBezTo>
                <a:cubicBezTo>
                  <a:pt x="375" y="627"/>
                  <a:pt x="377" y="630"/>
                  <a:pt x="379" y="633"/>
                </a:cubicBezTo>
                <a:cubicBezTo>
                  <a:pt x="381" y="636"/>
                  <a:pt x="383" y="638"/>
                  <a:pt x="383" y="642"/>
                </a:cubicBezTo>
                <a:cubicBezTo>
                  <a:pt x="383" y="646"/>
                  <a:pt x="382" y="653"/>
                  <a:pt x="380" y="659"/>
                </a:cubicBezTo>
                <a:cubicBezTo>
                  <a:pt x="378" y="667"/>
                  <a:pt x="376" y="676"/>
                  <a:pt x="378" y="681"/>
                </a:cubicBezTo>
                <a:cubicBezTo>
                  <a:pt x="379" y="685"/>
                  <a:pt x="379" y="690"/>
                  <a:pt x="379" y="695"/>
                </a:cubicBezTo>
                <a:cubicBezTo>
                  <a:pt x="379" y="701"/>
                  <a:pt x="379" y="706"/>
                  <a:pt x="381" y="710"/>
                </a:cubicBezTo>
                <a:cubicBezTo>
                  <a:pt x="379" y="711"/>
                  <a:pt x="376" y="714"/>
                  <a:pt x="378" y="717"/>
                </a:cubicBezTo>
                <a:cubicBezTo>
                  <a:pt x="380" y="722"/>
                  <a:pt x="380" y="722"/>
                  <a:pt x="380" y="722"/>
                </a:cubicBezTo>
                <a:cubicBezTo>
                  <a:pt x="385" y="732"/>
                  <a:pt x="391" y="743"/>
                  <a:pt x="396" y="744"/>
                </a:cubicBezTo>
                <a:cubicBezTo>
                  <a:pt x="395" y="753"/>
                  <a:pt x="399" y="758"/>
                  <a:pt x="402" y="764"/>
                </a:cubicBezTo>
                <a:cubicBezTo>
                  <a:pt x="404" y="767"/>
                  <a:pt x="406" y="770"/>
                  <a:pt x="408" y="775"/>
                </a:cubicBezTo>
                <a:cubicBezTo>
                  <a:pt x="408" y="776"/>
                  <a:pt x="408" y="777"/>
                  <a:pt x="408" y="778"/>
                </a:cubicBezTo>
                <a:cubicBezTo>
                  <a:pt x="408" y="780"/>
                  <a:pt x="409" y="782"/>
                  <a:pt x="410" y="783"/>
                </a:cubicBezTo>
                <a:cubicBezTo>
                  <a:pt x="419" y="787"/>
                  <a:pt x="436" y="794"/>
                  <a:pt x="441" y="804"/>
                </a:cubicBezTo>
                <a:cubicBezTo>
                  <a:pt x="441" y="804"/>
                  <a:pt x="441" y="804"/>
                  <a:pt x="441" y="804"/>
                </a:cubicBezTo>
                <a:cubicBezTo>
                  <a:pt x="441" y="807"/>
                  <a:pt x="441" y="807"/>
                  <a:pt x="441" y="807"/>
                </a:cubicBezTo>
                <a:cubicBezTo>
                  <a:pt x="441" y="807"/>
                  <a:pt x="441" y="807"/>
                  <a:pt x="441" y="807"/>
                </a:cubicBezTo>
                <a:cubicBezTo>
                  <a:pt x="442" y="812"/>
                  <a:pt x="444" y="815"/>
                  <a:pt x="446" y="818"/>
                </a:cubicBezTo>
                <a:cubicBezTo>
                  <a:pt x="447" y="820"/>
                  <a:pt x="448" y="822"/>
                  <a:pt x="449" y="824"/>
                </a:cubicBezTo>
                <a:cubicBezTo>
                  <a:pt x="449" y="825"/>
                  <a:pt x="450" y="828"/>
                  <a:pt x="450" y="830"/>
                </a:cubicBezTo>
                <a:cubicBezTo>
                  <a:pt x="451" y="834"/>
                  <a:pt x="452" y="839"/>
                  <a:pt x="454" y="841"/>
                </a:cubicBezTo>
                <a:cubicBezTo>
                  <a:pt x="459" y="845"/>
                  <a:pt x="465" y="852"/>
                  <a:pt x="469" y="859"/>
                </a:cubicBezTo>
                <a:cubicBezTo>
                  <a:pt x="469" y="861"/>
                  <a:pt x="469" y="861"/>
                  <a:pt x="469" y="861"/>
                </a:cubicBezTo>
                <a:cubicBezTo>
                  <a:pt x="469" y="862"/>
                  <a:pt x="466" y="862"/>
                  <a:pt x="464" y="862"/>
                </a:cubicBezTo>
                <a:cubicBezTo>
                  <a:pt x="463" y="862"/>
                  <a:pt x="463" y="862"/>
                  <a:pt x="463" y="862"/>
                </a:cubicBezTo>
                <a:cubicBezTo>
                  <a:pt x="462" y="862"/>
                  <a:pt x="462" y="862"/>
                  <a:pt x="462" y="862"/>
                </a:cubicBezTo>
                <a:cubicBezTo>
                  <a:pt x="463" y="862"/>
                  <a:pt x="463" y="862"/>
                  <a:pt x="463" y="862"/>
                </a:cubicBezTo>
                <a:cubicBezTo>
                  <a:pt x="465" y="865"/>
                  <a:pt x="467" y="866"/>
                  <a:pt x="470" y="867"/>
                </a:cubicBezTo>
                <a:cubicBezTo>
                  <a:pt x="473" y="868"/>
                  <a:pt x="475" y="869"/>
                  <a:pt x="477" y="871"/>
                </a:cubicBezTo>
                <a:cubicBezTo>
                  <a:pt x="478" y="873"/>
                  <a:pt x="480" y="875"/>
                  <a:pt x="481" y="877"/>
                </a:cubicBezTo>
                <a:cubicBezTo>
                  <a:pt x="483" y="879"/>
                  <a:pt x="484" y="881"/>
                  <a:pt x="486" y="882"/>
                </a:cubicBezTo>
                <a:cubicBezTo>
                  <a:pt x="486" y="891"/>
                  <a:pt x="486" y="891"/>
                  <a:pt x="486" y="891"/>
                </a:cubicBezTo>
                <a:cubicBezTo>
                  <a:pt x="486" y="892"/>
                  <a:pt x="486" y="892"/>
                  <a:pt x="486" y="892"/>
                </a:cubicBezTo>
                <a:cubicBezTo>
                  <a:pt x="487" y="893"/>
                  <a:pt x="487" y="893"/>
                  <a:pt x="488" y="894"/>
                </a:cubicBezTo>
                <a:cubicBezTo>
                  <a:pt x="489" y="895"/>
                  <a:pt x="489" y="895"/>
                  <a:pt x="489" y="895"/>
                </a:cubicBezTo>
                <a:cubicBezTo>
                  <a:pt x="490" y="896"/>
                  <a:pt x="491" y="897"/>
                  <a:pt x="493" y="899"/>
                </a:cubicBezTo>
                <a:cubicBezTo>
                  <a:pt x="495" y="902"/>
                  <a:pt x="497" y="905"/>
                  <a:pt x="501" y="906"/>
                </a:cubicBezTo>
                <a:cubicBezTo>
                  <a:pt x="502" y="907"/>
                  <a:pt x="505" y="913"/>
                  <a:pt x="506" y="913"/>
                </a:cubicBezTo>
                <a:cubicBezTo>
                  <a:pt x="508" y="913"/>
                  <a:pt x="509" y="909"/>
                  <a:pt x="509" y="907"/>
                </a:cubicBezTo>
                <a:cubicBezTo>
                  <a:pt x="509" y="905"/>
                  <a:pt x="507" y="902"/>
                  <a:pt x="505" y="901"/>
                </a:cubicBezTo>
                <a:cubicBezTo>
                  <a:pt x="504" y="900"/>
                  <a:pt x="503" y="900"/>
                  <a:pt x="502" y="901"/>
                </a:cubicBezTo>
                <a:cubicBezTo>
                  <a:pt x="498" y="897"/>
                  <a:pt x="496" y="891"/>
                  <a:pt x="494" y="883"/>
                </a:cubicBezTo>
                <a:cubicBezTo>
                  <a:pt x="493" y="880"/>
                  <a:pt x="493" y="880"/>
                  <a:pt x="493" y="880"/>
                </a:cubicBezTo>
                <a:cubicBezTo>
                  <a:pt x="492" y="876"/>
                  <a:pt x="490" y="873"/>
                  <a:pt x="488" y="871"/>
                </a:cubicBezTo>
                <a:cubicBezTo>
                  <a:pt x="486" y="868"/>
                  <a:pt x="483" y="865"/>
                  <a:pt x="482" y="861"/>
                </a:cubicBezTo>
                <a:cubicBezTo>
                  <a:pt x="482" y="859"/>
                  <a:pt x="482" y="859"/>
                  <a:pt x="482" y="859"/>
                </a:cubicBezTo>
                <a:cubicBezTo>
                  <a:pt x="481" y="854"/>
                  <a:pt x="480" y="851"/>
                  <a:pt x="476" y="846"/>
                </a:cubicBezTo>
                <a:cubicBezTo>
                  <a:pt x="474" y="845"/>
                  <a:pt x="473" y="844"/>
                  <a:pt x="472" y="843"/>
                </a:cubicBezTo>
                <a:cubicBezTo>
                  <a:pt x="470" y="842"/>
                  <a:pt x="468" y="840"/>
                  <a:pt x="467" y="837"/>
                </a:cubicBezTo>
                <a:cubicBezTo>
                  <a:pt x="466" y="836"/>
                  <a:pt x="465" y="835"/>
                  <a:pt x="465" y="834"/>
                </a:cubicBezTo>
                <a:cubicBezTo>
                  <a:pt x="463" y="829"/>
                  <a:pt x="461" y="825"/>
                  <a:pt x="461" y="820"/>
                </a:cubicBezTo>
                <a:cubicBezTo>
                  <a:pt x="461" y="819"/>
                  <a:pt x="461" y="819"/>
                  <a:pt x="461" y="819"/>
                </a:cubicBezTo>
                <a:cubicBezTo>
                  <a:pt x="461" y="818"/>
                  <a:pt x="461" y="817"/>
                  <a:pt x="461" y="816"/>
                </a:cubicBezTo>
                <a:cubicBezTo>
                  <a:pt x="464" y="819"/>
                  <a:pt x="467" y="820"/>
                  <a:pt x="470" y="820"/>
                </a:cubicBezTo>
                <a:cubicBezTo>
                  <a:pt x="471" y="821"/>
                  <a:pt x="473" y="822"/>
                  <a:pt x="475" y="823"/>
                </a:cubicBezTo>
                <a:cubicBezTo>
                  <a:pt x="476" y="823"/>
                  <a:pt x="477" y="825"/>
                  <a:pt x="477" y="828"/>
                </a:cubicBezTo>
                <a:cubicBezTo>
                  <a:pt x="478" y="830"/>
                  <a:pt x="478" y="833"/>
                  <a:pt x="480" y="835"/>
                </a:cubicBezTo>
                <a:cubicBezTo>
                  <a:pt x="481" y="836"/>
                  <a:pt x="482" y="838"/>
                  <a:pt x="482" y="841"/>
                </a:cubicBezTo>
                <a:cubicBezTo>
                  <a:pt x="482" y="843"/>
                  <a:pt x="483" y="845"/>
                  <a:pt x="484" y="847"/>
                </a:cubicBezTo>
                <a:cubicBezTo>
                  <a:pt x="486" y="849"/>
                  <a:pt x="487" y="851"/>
                  <a:pt x="489" y="852"/>
                </a:cubicBezTo>
                <a:cubicBezTo>
                  <a:pt x="491" y="855"/>
                  <a:pt x="493" y="857"/>
                  <a:pt x="495" y="859"/>
                </a:cubicBezTo>
                <a:cubicBezTo>
                  <a:pt x="495" y="859"/>
                  <a:pt x="495" y="859"/>
                  <a:pt x="495" y="859"/>
                </a:cubicBezTo>
                <a:cubicBezTo>
                  <a:pt x="495" y="859"/>
                  <a:pt x="495" y="859"/>
                  <a:pt x="495" y="859"/>
                </a:cubicBezTo>
                <a:cubicBezTo>
                  <a:pt x="496" y="859"/>
                  <a:pt x="496" y="859"/>
                  <a:pt x="497" y="859"/>
                </a:cubicBezTo>
                <a:cubicBezTo>
                  <a:pt x="497" y="859"/>
                  <a:pt x="498" y="859"/>
                  <a:pt x="498" y="859"/>
                </a:cubicBezTo>
                <a:cubicBezTo>
                  <a:pt x="498" y="864"/>
                  <a:pt x="502" y="866"/>
                  <a:pt x="505" y="869"/>
                </a:cubicBezTo>
                <a:cubicBezTo>
                  <a:pt x="507" y="870"/>
                  <a:pt x="509" y="872"/>
                  <a:pt x="511" y="874"/>
                </a:cubicBezTo>
                <a:cubicBezTo>
                  <a:pt x="511" y="876"/>
                  <a:pt x="511" y="878"/>
                  <a:pt x="511" y="879"/>
                </a:cubicBezTo>
                <a:cubicBezTo>
                  <a:pt x="511" y="881"/>
                  <a:pt x="511" y="883"/>
                  <a:pt x="512" y="885"/>
                </a:cubicBezTo>
                <a:cubicBezTo>
                  <a:pt x="514" y="886"/>
                  <a:pt x="516" y="888"/>
                  <a:pt x="518" y="889"/>
                </a:cubicBezTo>
                <a:cubicBezTo>
                  <a:pt x="520" y="890"/>
                  <a:pt x="522" y="891"/>
                  <a:pt x="524" y="893"/>
                </a:cubicBezTo>
                <a:cubicBezTo>
                  <a:pt x="527" y="896"/>
                  <a:pt x="527" y="896"/>
                  <a:pt x="527" y="896"/>
                </a:cubicBezTo>
                <a:cubicBezTo>
                  <a:pt x="533" y="904"/>
                  <a:pt x="541" y="913"/>
                  <a:pt x="544" y="923"/>
                </a:cubicBezTo>
                <a:cubicBezTo>
                  <a:pt x="545" y="924"/>
                  <a:pt x="545" y="925"/>
                  <a:pt x="546" y="926"/>
                </a:cubicBezTo>
                <a:cubicBezTo>
                  <a:pt x="546" y="927"/>
                  <a:pt x="547" y="928"/>
                  <a:pt x="547" y="931"/>
                </a:cubicBezTo>
                <a:cubicBezTo>
                  <a:pt x="547" y="933"/>
                  <a:pt x="547" y="934"/>
                  <a:pt x="546" y="936"/>
                </a:cubicBezTo>
                <a:cubicBezTo>
                  <a:pt x="545" y="937"/>
                  <a:pt x="544" y="939"/>
                  <a:pt x="544" y="941"/>
                </a:cubicBezTo>
                <a:cubicBezTo>
                  <a:pt x="544" y="944"/>
                  <a:pt x="546" y="948"/>
                  <a:pt x="549" y="948"/>
                </a:cubicBezTo>
                <a:cubicBezTo>
                  <a:pt x="550" y="951"/>
                  <a:pt x="553" y="953"/>
                  <a:pt x="557" y="955"/>
                </a:cubicBezTo>
                <a:cubicBezTo>
                  <a:pt x="559" y="956"/>
                  <a:pt x="562" y="958"/>
                  <a:pt x="563" y="959"/>
                </a:cubicBezTo>
                <a:cubicBezTo>
                  <a:pt x="564" y="960"/>
                  <a:pt x="565" y="961"/>
                  <a:pt x="567" y="962"/>
                </a:cubicBezTo>
                <a:cubicBezTo>
                  <a:pt x="567" y="962"/>
                  <a:pt x="567" y="962"/>
                  <a:pt x="567" y="962"/>
                </a:cubicBezTo>
                <a:cubicBezTo>
                  <a:pt x="567" y="962"/>
                  <a:pt x="567" y="962"/>
                  <a:pt x="567" y="962"/>
                </a:cubicBezTo>
                <a:cubicBezTo>
                  <a:pt x="569" y="963"/>
                  <a:pt x="570" y="963"/>
                  <a:pt x="572" y="964"/>
                </a:cubicBezTo>
                <a:cubicBezTo>
                  <a:pt x="573" y="964"/>
                  <a:pt x="575" y="964"/>
                  <a:pt x="577" y="965"/>
                </a:cubicBezTo>
                <a:cubicBezTo>
                  <a:pt x="579" y="966"/>
                  <a:pt x="580" y="968"/>
                  <a:pt x="581" y="969"/>
                </a:cubicBezTo>
                <a:cubicBezTo>
                  <a:pt x="583" y="971"/>
                  <a:pt x="584" y="973"/>
                  <a:pt x="586" y="973"/>
                </a:cubicBezTo>
                <a:cubicBezTo>
                  <a:pt x="588" y="974"/>
                  <a:pt x="589" y="974"/>
                  <a:pt x="591" y="974"/>
                </a:cubicBezTo>
                <a:cubicBezTo>
                  <a:pt x="592" y="973"/>
                  <a:pt x="594" y="973"/>
                  <a:pt x="595" y="974"/>
                </a:cubicBezTo>
                <a:cubicBezTo>
                  <a:pt x="596" y="975"/>
                  <a:pt x="598" y="976"/>
                  <a:pt x="599" y="977"/>
                </a:cubicBezTo>
                <a:cubicBezTo>
                  <a:pt x="604" y="980"/>
                  <a:pt x="610" y="984"/>
                  <a:pt x="613" y="984"/>
                </a:cubicBezTo>
                <a:cubicBezTo>
                  <a:pt x="613" y="984"/>
                  <a:pt x="614" y="984"/>
                  <a:pt x="615" y="984"/>
                </a:cubicBezTo>
                <a:cubicBezTo>
                  <a:pt x="616" y="984"/>
                  <a:pt x="618" y="984"/>
                  <a:pt x="620" y="985"/>
                </a:cubicBezTo>
                <a:cubicBezTo>
                  <a:pt x="621" y="986"/>
                  <a:pt x="621" y="986"/>
                  <a:pt x="621" y="986"/>
                </a:cubicBezTo>
                <a:cubicBezTo>
                  <a:pt x="622" y="987"/>
                  <a:pt x="624" y="988"/>
                  <a:pt x="626" y="988"/>
                </a:cubicBezTo>
                <a:cubicBezTo>
                  <a:pt x="629" y="988"/>
                  <a:pt x="630" y="986"/>
                  <a:pt x="632" y="985"/>
                </a:cubicBezTo>
                <a:cubicBezTo>
                  <a:pt x="634" y="983"/>
                  <a:pt x="635" y="981"/>
                  <a:pt x="638" y="981"/>
                </a:cubicBezTo>
                <a:cubicBezTo>
                  <a:pt x="640" y="981"/>
                  <a:pt x="642" y="982"/>
                  <a:pt x="644" y="984"/>
                </a:cubicBezTo>
                <a:cubicBezTo>
                  <a:pt x="644" y="984"/>
                  <a:pt x="644" y="984"/>
                  <a:pt x="644" y="984"/>
                </a:cubicBezTo>
                <a:cubicBezTo>
                  <a:pt x="646" y="984"/>
                  <a:pt x="646" y="984"/>
                  <a:pt x="646" y="984"/>
                </a:cubicBezTo>
                <a:cubicBezTo>
                  <a:pt x="650" y="986"/>
                  <a:pt x="652" y="989"/>
                  <a:pt x="655" y="992"/>
                </a:cubicBezTo>
                <a:cubicBezTo>
                  <a:pt x="657" y="995"/>
                  <a:pt x="660" y="999"/>
                  <a:pt x="665" y="1002"/>
                </a:cubicBezTo>
                <a:cubicBezTo>
                  <a:pt x="668" y="1003"/>
                  <a:pt x="671" y="1004"/>
                  <a:pt x="674" y="1004"/>
                </a:cubicBezTo>
                <a:cubicBezTo>
                  <a:pt x="676" y="1005"/>
                  <a:pt x="679" y="1005"/>
                  <a:pt x="682" y="1007"/>
                </a:cubicBezTo>
                <a:cubicBezTo>
                  <a:pt x="683" y="1007"/>
                  <a:pt x="684" y="1008"/>
                  <a:pt x="685" y="1009"/>
                </a:cubicBezTo>
                <a:cubicBezTo>
                  <a:pt x="688" y="1011"/>
                  <a:pt x="690" y="1013"/>
                  <a:pt x="695" y="1013"/>
                </a:cubicBezTo>
                <a:cubicBezTo>
                  <a:pt x="696" y="1013"/>
                  <a:pt x="697" y="1012"/>
                  <a:pt x="698" y="1012"/>
                </a:cubicBezTo>
                <a:cubicBezTo>
                  <a:pt x="699" y="1011"/>
                  <a:pt x="699" y="1011"/>
                  <a:pt x="700" y="1011"/>
                </a:cubicBezTo>
                <a:cubicBezTo>
                  <a:pt x="702" y="1011"/>
                  <a:pt x="702" y="1011"/>
                  <a:pt x="702" y="1011"/>
                </a:cubicBezTo>
                <a:cubicBezTo>
                  <a:pt x="704" y="1017"/>
                  <a:pt x="707" y="1020"/>
                  <a:pt x="711" y="1024"/>
                </a:cubicBezTo>
                <a:cubicBezTo>
                  <a:pt x="712" y="1025"/>
                  <a:pt x="713" y="1026"/>
                  <a:pt x="714" y="1028"/>
                </a:cubicBezTo>
                <a:cubicBezTo>
                  <a:pt x="715" y="1029"/>
                  <a:pt x="715" y="1029"/>
                  <a:pt x="715" y="1029"/>
                </a:cubicBezTo>
                <a:cubicBezTo>
                  <a:pt x="716" y="1030"/>
                  <a:pt x="717" y="1031"/>
                  <a:pt x="718" y="1033"/>
                </a:cubicBezTo>
                <a:cubicBezTo>
                  <a:pt x="719" y="1035"/>
                  <a:pt x="718" y="1037"/>
                  <a:pt x="718" y="1039"/>
                </a:cubicBezTo>
                <a:cubicBezTo>
                  <a:pt x="718" y="1042"/>
                  <a:pt x="718" y="1045"/>
                  <a:pt x="721" y="1047"/>
                </a:cubicBezTo>
                <a:cubicBezTo>
                  <a:pt x="721" y="1047"/>
                  <a:pt x="721" y="1047"/>
                  <a:pt x="721" y="1047"/>
                </a:cubicBezTo>
                <a:cubicBezTo>
                  <a:pt x="725" y="1047"/>
                  <a:pt x="725" y="1047"/>
                  <a:pt x="725" y="1047"/>
                </a:cubicBezTo>
                <a:cubicBezTo>
                  <a:pt x="725" y="1047"/>
                  <a:pt x="725" y="1047"/>
                  <a:pt x="725" y="1047"/>
                </a:cubicBezTo>
                <a:cubicBezTo>
                  <a:pt x="724" y="1046"/>
                  <a:pt x="724" y="1045"/>
                  <a:pt x="725" y="1044"/>
                </a:cubicBezTo>
                <a:cubicBezTo>
                  <a:pt x="726" y="1045"/>
                  <a:pt x="735" y="1052"/>
                  <a:pt x="736" y="1053"/>
                </a:cubicBezTo>
                <a:cubicBezTo>
                  <a:pt x="736" y="1054"/>
                  <a:pt x="736" y="1055"/>
                  <a:pt x="737" y="1055"/>
                </a:cubicBezTo>
                <a:cubicBezTo>
                  <a:pt x="737" y="1058"/>
                  <a:pt x="738" y="1060"/>
                  <a:pt x="741" y="1061"/>
                </a:cubicBezTo>
                <a:cubicBezTo>
                  <a:pt x="742" y="1062"/>
                  <a:pt x="742" y="1063"/>
                  <a:pt x="743" y="1063"/>
                </a:cubicBezTo>
                <a:cubicBezTo>
                  <a:pt x="744" y="1063"/>
                  <a:pt x="745" y="1063"/>
                  <a:pt x="746" y="1063"/>
                </a:cubicBezTo>
                <a:cubicBezTo>
                  <a:pt x="748" y="1062"/>
                  <a:pt x="751" y="1062"/>
                  <a:pt x="752" y="1063"/>
                </a:cubicBezTo>
                <a:cubicBezTo>
                  <a:pt x="753" y="1064"/>
                  <a:pt x="753" y="1065"/>
                  <a:pt x="754" y="1066"/>
                </a:cubicBezTo>
                <a:cubicBezTo>
                  <a:pt x="756" y="1069"/>
                  <a:pt x="759" y="1073"/>
                  <a:pt x="763" y="1073"/>
                </a:cubicBezTo>
                <a:cubicBezTo>
                  <a:pt x="766" y="1073"/>
                  <a:pt x="767" y="1071"/>
                  <a:pt x="768" y="1067"/>
                </a:cubicBezTo>
                <a:cubicBezTo>
                  <a:pt x="768" y="1067"/>
                  <a:pt x="768" y="1067"/>
                  <a:pt x="768" y="1067"/>
                </a:cubicBezTo>
                <a:cubicBezTo>
                  <a:pt x="768" y="1067"/>
                  <a:pt x="768" y="1067"/>
                  <a:pt x="768" y="1067"/>
                </a:cubicBezTo>
                <a:cubicBezTo>
                  <a:pt x="767" y="1066"/>
                  <a:pt x="766" y="1065"/>
                  <a:pt x="766" y="1064"/>
                </a:cubicBezTo>
                <a:cubicBezTo>
                  <a:pt x="766" y="1062"/>
                  <a:pt x="774" y="1055"/>
                  <a:pt x="776" y="1055"/>
                </a:cubicBezTo>
                <a:cubicBezTo>
                  <a:pt x="778" y="1055"/>
                  <a:pt x="779" y="1057"/>
                  <a:pt x="780" y="1058"/>
                </a:cubicBezTo>
                <a:cubicBezTo>
                  <a:pt x="781" y="1059"/>
                  <a:pt x="782" y="1061"/>
                  <a:pt x="783" y="1061"/>
                </a:cubicBezTo>
                <a:cubicBezTo>
                  <a:pt x="782" y="1062"/>
                  <a:pt x="782" y="1062"/>
                  <a:pt x="782" y="1062"/>
                </a:cubicBezTo>
                <a:cubicBezTo>
                  <a:pt x="782" y="1063"/>
                  <a:pt x="781" y="1064"/>
                  <a:pt x="781" y="1065"/>
                </a:cubicBezTo>
                <a:cubicBezTo>
                  <a:pt x="781" y="1066"/>
                  <a:pt x="783" y="1066"/>
                  <a:pt x="784" y="1067"/>
                </a:cubicBezTo>
                <a:cubicBezTo>
                  <a:pt x="784" y="1067"/>
                  <a:pt x="785" y="1068"/>
                  <a:pt x="785" y="1068"/>
                </a:cubicBezTo>
                <a:cubicBezTo>
                  <a:pt x="785" y="1068"/>
                  <a:pt x="785" y="1068"/>
                  <a:pt x="785" y="1068"/>
                </a:cubicBezTo>
                <a:cubicBezTo>
                  <a:pt x="785" y="1068"/>
                  <a:pt x="785" y="1068"/>
                  <a:pt x="785" y="1068"/>
                </a:cubicBezTo>
                <a:cubicBezTo>
                  <a:pt x="785" y="1068"/>
                  <a:pt x="785" y="1068"/>
                  <a:pt x="785" y="1068"/>
                </a:cubicBezTo>
                <a:cubicBezTo>
                  <a:pt x="785" y="1068"/>
                  <a:pt x="785" y="1069"/>
                  <a:pt x="785" y="1069"/>
                </a:cubicBezTo>
                <a:cubicBezTo>
                  <a:pt x="785" y="1073"/>
                  <a:pt x="786" y="1074"/>
                  <a:pt x="788" y="1075"/>
                </a:cubicBezTo>
                <a:cubicBezTo>
                  <a:pt x="789" y="1077"/>
                  <a:pt x="791" y="1078"/>
                  <a:pt x="791" y="1082"/>
                </a:cubicBezTo>
                <a:cubicBezTo>
                  <a:pt x="791" y="1083"/>
                  <a:pt x="790" y="1085"/>
                  <a:pt x="790" y="1086"/>
                </a:cubicBezTo>
                <a:cubicBezTo>
                  <a:pt x="790" y="1087"/>
                  <a:pt x="789" y="1089"/>
                  <a:pt x="789" y="1091"/>
                </a:cubicBezTo>
                <a:cubicBezTo>
                  <a:pt x="789" y="1092"/>
                  <a:pt x="790" y="1094"/>
                  <a:pt x="790" y="1095"/>
                </a:cubicBezTo>
                <a:cubicBezTo>
                  <a:pt x="791" y="1096"/>
                  <a:pt x="791" y="1097"/>
                  <a:pt x="791" y="1099"/>
                </a:cubicBezTo>
                <a:cubicBezTo>
                  <a:pt x="791" y="1100"/>
                  <a:pt x="791" y="1100"/>
                  <a:pt x="791" y="1100"/>
                </a:cubicBezTo>
                <a:cubicBezTo>
                  <a:pt x="790" y="1103"/>
                  <a:pt x="790" y="1103"/>
                  <a:pt x="790" y="1103"/>
                </a:cubicBezTo>
                <a:cubicBezTo>
                  <a:pt x="790" y="1103"/>
                  <a:pt x="790" y="1103"/>
                  <a:pt x="790" y="1103"/>
                </a:cubicBezTo>
                <a:cubicBezTo>
                  <a:pt x="790" y="1103"/>
                  <a:pt x="790" y="1103"/>
                  <a:pt x="790" y="1103"/>
                </a:cubicBezTo>
                <a:cubicBezTo>
                  <a:pt x="790" y="1104"/>
                  <a:pt x="791" y="1106"/>
                  <a:pt x="793" y="1107"/>
                </a:cubicBezTo>
                <a:cubicBezTo>
                  <a:pt x="792" y="1112"/>
                  <a:pt x="789" y="1113"/>
                  <a:pt x="786" y="1115"/>
                </a:cubicBezTo>
                <a:cubicBezTo>
                  <a:pt x="784" y="1116"/>
                  <a:pt x="781" y="1117"/>
                  <a:pt x="780" y="1121"/>
                </a:cubicBezTo>
                <a:cubicBezTo>
                  <a:pt x="779" y="1122"/>
                  <a:pt x="779" y="1123"/>
                  <a:pt x="778" y="1124"/>
                </a:cubicBezTo>
                <a:cubicBezTo>
                  <a:pt x="776" y="1129"/>
                  <a:pt x="774" y="1136"/>
                  <a:pt x="767" y="1136"/>
                </a:cubicBezTo>
                <a:cubicBezTo>
                  <a:pt x="767" y="1136"/>
                  <a:pt x="767" y="1136"/>
                  <a:pt x="767" y="1136"/>
                </a:cubicBezTo>
                <a:cubicBezTo>
                  <a:pt x="767" y="1136"/>
                  <a:pt x="767" y="1136"/>
                  <a:pt x="767" y="1136"/>
                </a:cubicBezTo>
                <a:cubicBezTo>
                  <a:pt x="767" y="1145"/>
                  <a:pt x="765" y="1148"/>
                  <a:pt x="763" y="1151"/>
                </a:cubicBezTo>
                <a:cubicBezTo>
                  <a:pt x="762" y="1153"/>
                  <a:pt x="760" y="1155"/>
                  <a:pt x="760" y="1158"/>
                </a:cubicBezTo>
                <a:cubicBezTo>
                  <a:pt x="760" y="1166"/>
                  <a:pt x="762" y="1171"/>
                  <a:pt x="765" y="1171"/>
                </a:cubicBezTo>
                <a:cubicBezTo>
                  <a:pt x="766" y="1171"/>
                  <a:pt x="767" y="1170"/>
                  <a:pt x="767" y="1170"/>
                </a:cubicBezTo>
                <a:cubicBezTo>
                  <a:pt x="768" y="1170"/>
                  <a:pt x="768" y="1170"/>
                  <a:pt x="770" y="1171"/>
                </a:cubicBezTo>
                <a:cubicBezTo>
                  <a:pt x="769" y="1173"/>
                  <a:pt x="767" y="1175"/>
                  <a:pt x="765" y="1177"/>
                </a:cubicBezTo>
                <a:cubicBezTo>
                  <a:pt x="763" y="1179"/>
                  <a:pt x="762" y="1180"/>
                  <a:pt x="760" y="1182"/>
                </a:cubicBezTo>
                <a:cubicBezTo>
                  <a:pt x="759" y="1184"/>
                  <a:pt x="757" y="1189"/>
                  <a:pt x="757" y="1193"/>
                </a:cubicBezTo>
                <a:cubicBezTo>
                  <a:pt x="757" y="1199"/>
                  <a:pt x="761" y="1206"/>
                  <a:pt x="765" y="1211"/>
                </a:cubicBezTo>
                <a:cubicBezTo>
                  <a:pt x="765" y="1211"/>
                  <a:pt x="766" y="1211"/>
                  <a:pt x="767" y="1212"/>
                </a:cubicBezTo>
                <a:cubicBezTo>
                  <a:pt x="768" y="1212"/>
                  <a:pt x="769" y="1212"/>
                  <a:pt x="769" y="1213"/>
                </a:cubicBezTo>
                <a:cubicBezTo>
                  <a:pt x="769" y="1214"/>
                  <a:pt x="770" y="1215"/>
                  <a:pt x="770" y="1216"/>
                </a:cubicBezTo>
                <a:cubicBezTo>
                  <a:pt x="771" y="1218"/>
                  <a:pt x="771" y="1221"/>
                  <a:pt x="773" y="1223"/>
                </a:cubicBezTo>
                <a:cubicBezTo>
                  <a:pt x="773" y="1224"/>
                  <a:pt x="774" y="1224"/>
                  <a:pt x="775" y="1224"/>
                </a:cubicBezTo>
                <a:cubicBezTo>
                  <a:pt x="776" y="1224"/>
                  <a:pt x="776" y="1224"/>
                  <a:pt x="777" y="1225"/>
                </a:cubicBezTo>
                <a:cubicBezTo>
                  <a:pt x="780" y="1232"/>
                  <a:pt x="781" y="1237"/>
                  <a:pt x="784" y="1245"/>
                </a:cubicBezTo>
                <a:cubicBezTo>
                  <a:pt x="785" y="1248"/>
                  <a:pt x="787" y="1252"/>
                  <a:pt x="789" y="1256"/>
                </a:cubicBezTo>
                <a:cubicBezTo>
                  <a:pt x="791" y="1259"/>
                  <a:pt x="793" y="1263"/>
                  <a:pt x="794" y="1267"/>
                </a:cubicBezTo>
                <a:cubicBezTo>
                  <a:pt x="795" y="1269"/>
                  <a:pt x="796" y="1271"/>
                  <a:pt x="797" y="1273"/>
                </a:cubicBezTo>
                <a:cubicBezTo>
                  <a:pt x="799" y="1275"/>
                  <a:pt x="800" y="1277"/>
                  <a:pt x="800" y="1280"/>
                </a:cubicBezTo>
                <a:cubicBezTo>
                  <a:pt x="800" y="1281"/>
                  <a:pt x="800" y="1282"/>
                  <a:pt x="800" y="1283"/>
                </a:cubicBezTo>
                <a:cubicBezTo>
                  <a:pt x="800" y="1286"/>
                  <a:pt x="800" y="1289"/>
                  <a:pt x="802" y="1291"/>
                </a:cubicBezTo>
                <a:cubicBezTo>
                  <a:pt x="807" y="1297"/>
                  <a:pt x="811" y="1302"/>
                  <a:pt x="820" y="1306"/>
                </a:cubicBezTo>
                <a:cubicBezTo>
                  <a:pt x="824" y="1307"/>
                  <a:pt x="826" y="1308"/>
                  <a:pt x="830" y="1312"/>
                </a:cubicBezTo>
                <a:cubicBezTo>
                  <a:pt x="832" y="1315"/>
                  <a:pt x="834" y="1316"/>
                  <a:pt x="837" y="1316"/>
                </a:cubicBezTo>
                <a:cubicBezTo>
                  <a:pt x="838" y="1317"/>
                  <a:pt x="840" y="1317"/>
                  <a:pt x="841" y="1318"/>
                </a:cubicBezTo>
                <a:cubicBezTo>
                  <a:pt x="848" y="1322"/>
                  <a:pt x="852" y="1327"/>
                  <a:pt x="854" y="1335"/>
                </a:cubicBezTo>
                <a:cubicBezTo>
                  <a:pt x="855" y="1338"/>
                  <a:pt x="857" y="1359"/>
                  <a:pt x="857" y="1362"/>
                </a:cubicBezTo>
                <a:cubicBezTo>
                  <a:pt x="857" y="1365"/>
                  <a:pt x="856" y="1369"/>
                  <a:pt x="855" y="1373"/>
                </a:cubicBezTo>
                <a:cubicBezTo>
                  <a:pt x="855" y="1376"/>
                  <a:pt x="854" y="1380"/>
                  <a:pt x="854" y="1382"/>
                </a:cubicBezTo>
                <a:cubicBezTo>
                  <a:pt x="854" y="1398"/>
                  <a:pt x="854" y="1398"/>
                  <a:pt x="854" y="1398"/>
                </a:cubicBezTo>
                <a:cubicBezTo>
                  <a:pt x="854" y="1399"/>
                  <a:pt x="854" y="1400"/>
                  <a:pt x="853" y="1402"/>
                </a:cubicBezTo>
                <a:cubicBezTo>
                  <a:pt x="853" y="1405"/>
                  <a:pt x="852" y="1408"/>
                  <a:pt x="852" y="1410"/>
                </a:cubicBezTo>
                <a:cubicBezTo>
                  <a:pt x="852" y="1413"/>
                  <a:pt x="852" y="1413"/>
                  <a:pt x="852" y="1413"/>
                </a:cubicBezTo>
                <a:cubicBezTo>
                  <a:pt x="852" y="1419"/>
                  <a:pt x="850" y="1424"/>
                  <a:pt x="849" y="1429"/>
                </a:cubicBezTo>
                <a:cubicBezTo>
                  <a:pt x="847" y="1434"/>
                  <a:pt x="845" y="1440"/>
                  <a:pt x="845" y="1447"/>
                </a:cubicBezTo>
                <a:cubicBezTo>
                  <a:pt x="845" y="1449"/>
                  <a:pt x="844" y="1451"/>
                  <a:pt x="844" y="1453"/>
                </a:cubicBezTo>
                <a:cubicBezTo>
                  <a:pt x="843" y="1456"/>
                  <a:pt x="842" y="1460"/>
                  <a:pt x="843" y="1464"/>
                </a:cubicBezTo>
                <a:cubicBezTo>
                  <a:pt x="844" y="1490"/>
                  <a:pt x="844" y="1490"/>
                  <a:pt x="844" y="1490"/>
                </a:cubicBezTo>
                <a:cubicBezTo>
                  <a:pt x="843" y="1493"/>
                  <a:pt x="842" y="1497"/>
                  <a:pt x="842" y="1500"/>
                </a:cubicBezTo>
                <a:cubicBezTo>
                  <a:pt x="841" y="1504"/>
                  <a:pt x="841" y="1508"/>
                  <a:pt x="840" y="1512"/>
                </a:cubicBezTo>
                <a:cubicBezTo>
                  <a:pt x="839" y="1513"/>
                  <a:pt x="839" y="1513"/>
                  <a:pt x="839" y="1513"/>
                </a:cubicBezTo>
                <a:cubicBezTo>
                  <a:pt x="838" y="1513"/>
                  <a:pt x="837" y="1514"/>
                  <a:pt x="837" y="1514"/>
                </a:cubicBezTo>
                <a:cubicBezTo>
                  <a:pt x="836" y="1516"/>
                  <a:pt x="835" y="1518"/>
                  <a:pt x="835" y="1520"/>
                </a:cubicBezTo>
                <a:cubicBezTo>
                  <a:pt x="834" y="1522"/>
                  <a:pt x="834" y="1523"/>
                  <a:pt x="833" y="1524"/>
                </a:cubicBezTo>
                <a:cubicBezTo>
                  <a:pt x="830" y="1530"/>
                  <a:pt x="826" y="1538"/>
                  <a:pt x="826" y="1545"/>
                </a:cubicBezTo>
                <a:cubicBezTo>
                  <a:pt x="826" y="1547"/>
                  <a:pt x="826" y="1550"/>
                  <a:pt x="827" y="1552"/>
                </a:cubicBezTo>
                <a:cubicBezTo>
                  <a:pt x="827" y="1557"/>
                  <a:pt x="828" y="1558"/>
                  <a:pt x="828" y="1558"/>
                </a:cubicBezTo>
                <a:cubicBezTo>
                  <a:pt x="828" y="1558"/>
                  <a:pt x="830" y="1560"/>
                  <a:pt x="830" y="1561"/>
                </a:cubicBezTo>
                <a:cubicBezTo>
                  <a:pt x="830" y="1562"/>
                  <a:pt x="829" y="1563"/>
                  <a:pt x="827" y="1563"/>
                </a:cubicBezTo>
                <a:cubicBezTo>
                  <a:pt x="827" y="1563"/>
                  <a:pt x="827" y="1563"/>
                  <a:pt x="827" y="1563"/>
                </a:cubicBezTo>
                <a:cubicBezTo>
                  <a:pt x="827" y="1563"/>
                  <a:pt x="827" y="1563"/>
                  <a:pt x="827" y="1563"/>
                </a:cubicBezTo>
                <a:cubicBezTo>
                  <a:pt x="826" y="1566"/>
                  <a:pt x="826" y="1568"/>
                  <a:pt x="825" y="1570"/>
                </a:cubicBezTo>
                <a:cubicBezTo>
                  <a:pt x="824" y="1572"/>
                  <a:pt x="824" y="1575"/>
                  <a:pt x="824" y="1579"/>
                </a:cubicBezTo>
                <a:cubicBezTo>
                  <a:pt x="824" y="1583"/>
                  <a:pt x="825" y="1591"/>
                  <a:pt x="828" y="1591"/>
                </a:cubicBezTo>
                <a:cubicBezTo>
                  <a:pt x="830" y="1591"/>
                  <a:pt x="830" y="1590"/>
                  <a:pt x="831" y="1589"/>
                </a:cubicBezTo>
                <a:cubicBezTo>
                  <a:pt x="832" y="1589"/>
                  <a:pt x="832" y="1588"/>
                  <a:pt x="833" y="1588"/>
                </a:cubicBezTo>
                <a:cubicBezTo>
                  <a:pt x="834" y="1587"/>
                  <a:pt x="834" y="1587"/>
                  <a:pt x="835" y="1587"/>
                </a:cubicBezTo>
                <a:cubicBezTo>
                  <a:pt x="835" y="1588"/>
                  <a:pt x="835" y="1588"/>
                  <a:pt x="835" y="1588"/>
                </a:cubicBezTo>
                <a:cubicBezTo>
                  <a:pt x="835" y="1592"/>
                  <a:pt x="835" y="1592"/>
                  <a:pt x="835" y="1592"/>
                </a:cubicBezTo>
                <a:cubicBezTo>
                  <a:pt x="825" y="1644"/>
                  <a:pt x="825" y="1644"/>
                  <a:pt x="825" y="1644"/>
                </a:cubicBezTo>
                <a:cubicBezTo>
                  <a:pt x="823" y="1643"/>
                  <a:pt x="823" y="1642"/>
                  <a:pt x="822" y="1641"/>
                </a:cubicBezTo>
                <a:cubicBezTo>
                  <a:pt x="821" y="1639"/>
                  <a:pt x="821" y="1637"/>
                  <a:pt x="817" y="1637"/>
                </a:cubicBezTo>
                <a:cubicBezTo>
                  <a:pt x="816" y="1637"/>
                  <a:pt x="815" y="1639"/>
                  <a:pt x="814" y="1641"/>
                </a:cubicBezTo>
                <a:cubicBezTo>
                  <a:pt x="814" y="1641"/>
                  <a:pt x="814" y="1641"/>
                  <a:pt x="814" y="1641"/>
                </a:cubicBezTo>
                <a:cubicBezTo>
                  <a:pt x="814" y="1645"/>
                  <a:pt x="814" y="1645"/>
                  <a:pt x="814" y="1645"/>
                </a:cubicBezTo>
                <a:cubicBezTo>
                  <a:pt x="814" y="1645"/>
                  <a:pt x="814" y="1645"/>
                  <a:pt x="814" y="1645"/>
                </a:cubicBezTo>
                <a:cubicBezTo>
                  <a:pt x="814" y="1647"/>
                  <a:pt x="815" y="1649"/>
                  <a:pt x="816" y="1652"/>
                </a:cubicBezTo>
                <a:cubicBezTo>
                  <a:pt x="817" y="1654"/>
                  <a:pt x="818" y="1656"/>
                  <a:pt x="818" y="1657"/>
                </a:cubicBezTo>
                <a:cubicBezTo>
                  <a:pt x="818" y="1660"/>
                  <a:pt x="817" y="1662"/>
                  <a:pt x="815" y="1664"/>
                </a:cubicBezTo>
                <a:cubicBezTo>
                  <a:pt x="813" y="1666"/>
                  <a:pt x="811" y="1668"/>
                  <a:pt x="811" y="1672"/>
                </a:cubicBezTo>
                <a:cubicBezTo>
                  <a:pt x="811" y="1674"/>
                  <a:pt x="812" y="1679"/>
                  <a:pt x="813" y="1683"/>
                </a:cubicBezTo>
                <a:cubicBezTo>
                  <a:pt x="815" y="1688"/>
                  <a:pt x="816" y="1693"/>
                  <a:pt x="816" y="1697"/>
                </a:cubicBezTo>
                <a:cubicBezTo>
                  <a:pt x="816" y="1702"/>
                  <a:pt x="816" y="1702"/>
                  <a:pt x="816" y="1702"/>
                </a:cubicBezTo>
                <a:cubicBezTo>
                  <a:pt x="816" y="1706"/>
                  <a:pt x="818" y="1708"/>
                  <a:pt x="820" y="1709"/>
                </a:cubicBezTo>
                <a:cubicBezTo>
                  <a:pt x="822" y="1711"/>
                  <a:pt x="824" y="1712"/>
                  <a:pt x="824" y="1717"/>
                </a:cubicBezTo>
                <a:cubicBezTo>
                  <a:pt x="824" y="1718"/>
                  <a:pt x="823" y="1720"/>
                  <a:pt x="822" y="1722"/>
                </a:cubicBezTo>
                <a:cubicBezTo>
                  <a:pt x="822" y="1722"/>
                  <a:pt x="822" y="1722"/>
                  <a:pt x="822" y="1722"/>
                </a:cubicBezTo>
                <a:cubicBezTo>
                  <a:pt x="822" y="1723"/>
                  <a:pt x="822" y="1723"/>
                  <a:pt x="822" y="1723"/>
                </a:cubicBezTo>
                <a:cubicBezTo>
                  <a:pt x="822" y="1723"/>
                  <a:pt x="822" y="1723"/>
                  <a:pt x="822" y="1723"/>
                </a:cubicBezTo>
                <a:cubicBezTo>
                  <a:pt x="823" y="1723"/>
                  <a:pt x="823" y="1723"/>
                  <a:pt x="823" y="1723"/>
                </a:cubicBezTo>
                <a:cubicBezTo>
                  <a:pt x="823" y="1724"/>
                  <a:pt x="824" y="1724"/>
                  <a:pt x="824" y="1724"/>
                </a:cubicBezTo>
                <a:cubicBezTo>
                  <a:pt x="824" y="1726"/>
                  <a:pt x="823" y="1726"/>
                  <a:pt x="822" y="1727"/>
                </a:cubicBezTo>
                <a:cubicBezTo>
                  <a:pt x="820" y="1728"/>
                  <a:pt x="819" y="1728"/>
                  <a:pt x="819" y="1730"/>
                </a:cubicBezTo>
                <a:cubicBezTo>
                  <a:pt x="819" y="1731"/>
                  <a:pt x="819" y="1732"/>
                  <a:pt x="821" y="1733"/>
                </a:cubicBezTo>
                <a:cubicBezTo>
                  <a:pt x="822" y="1734"/>
                  <a:pt x="822" y="1734"/>
                  <a:pt x="822" y="1734"/>
                </a:cubicBezTo>
                <a:cubicBezTo>
                  <a:pt x="822" y="1735"/>
                  <a:pt x="823" y="1735"/>
                  <a:pt x="823" y="1736"/>
                </a:cubicBezTo>
                <a:cubicBezTo>
                  <a:pt x="826" y="1740"/>
                  <a:pt x="829" y="1743"/>
                  <a:pt x="837" y="1744"/>
                </a:cubicBezTo>
                <a:cubicBezTo>
                  <a:pt x="837" y="1745"/>
                  <a:pt x="838" y="1748"/>
                  <a:pt x="840" y="1748"/>
                </a:cubicBezTo>
                <a:cubicBezTo>
                  <a:pt x="846" y="1748"/>
                  <a:pt x="846" y="1748"/>
                  <a:pt x="846" y="1748"/>
                </a:cubicBezTo>
                <a:cubicBezTo>
                  <a:pt x="846" y="1753"/>
                  <a:pt x="850" y="1754"/>
                  <a:pt x="854" y="1755"/>
                </a:cubicBezTo>
                <a:cubicBezTo>
                  <a:pt x="855" y="1755"/>
                  <a:pt x="856" y="1756"/>
                  <a:pt x="857" y="1756"/>
                </a:cubicBezTo>
                <a:cubicBezTo>
                  <a:pt x="859" y="1757"/>
                  <a:pt x="860" y="1759"/>
                  <a:pt x="861" y="1761"/>
                </a:cubicBezTo>
                <a:cubicBezTo>
                  <a:pt x="862" y="1764"/>
                  <a:pt x="863" y="1767"/>
                  <a:pt x="867" y="1767"/>
                </a:cubicBezTo>
                <a:cubicBezTo>
                  <a:pt x="876" y="1767"/>
                  <a:pt x="876" y="1767"/>
                  <a:pt x="876" y="1767"/>
                </a:cubicBezTo>
                <a:cubicBezTo>
                  <a:pt x="876" y="1767"/>
                  <a:pt x="877" y="1767"/>
                  <a:pt x="877" y="1766"/>
                </a:cubicBezTo>
                <a:cubicBezTo>
                  <a:pt x="879" y="1766"/>
                  <a:pt x="879" y="1766"/>
                  <a:pt x="879" y="1766"/>
                </a:cubicBezTo>
                <a:cubicBezTo>
                  <a:pt x="882" y="1766"/>
                  <a:pt x="882" y="1766"/>
                  <a:pt x="882" y="1766"/>
                </a:cubicBezTo>
                <a:cubicBezTo>
                  <a:pt x="883" y="1766"/>
                  <a:pt x="886" y="1765"/>
                  <a:pt x="888" y="1763"/>
                </a:cubicBezTo>
                <a:cubicBezTo>
                  <a:pt x="891" y="1761"/>
                  <a:pt x="895" y="1759"/>
                  <a:pt x="897" y="1759"/>
                </a:cubicBezTo>
                <a:cubicBezTo>
                  <a:pt x="899" y="1759"/>
                  <a:pt x="899" y="1759"/>
                  <a:pt x="899" y="1759"/>
                </a:cubicBezTo>
                <a:cubicBezTo>
                  <a:pt x="900" y="1760"/>
                  <a:pt x="901" y="1760"/>
                  <a:pt x="902" y="1758"/>
                </a:cubicBezTo>
                <a:cubicBezTo>
                  <a:pt x="903" y="1758"/>
                  <a:pt x="903" y="1758"/>
                  <a:pt x="903" y="1758"/>
                </a:cubicBezTo>
                <a:cubicBezTo>
                  <a:pt x="902" y="1757"/>
                  <a:pt x="902" y="1757"/>
                  <a:pt x="902" y="1757"/>
                </a:cubicBezTo>
                <a:cubicBezTo>
                  <a:pt x="901" y="1756"/>
                  <a:pt x="899" y="1756"/>
                  <a:pt x="897" y="1755"/>
                </a:cubicBezTo>
                <a:cubicBezTo>
                  <a:pt x="891" y="1751"/>
                  <a:pt x="884" y="1748"/>
                  <a:pt x="879" y="1742"/>
                </a:cubicBezTo>
                <a:cubicBezTo>
                  <a:pt x="877" y="1740"/>
                  <a:pt x="876" y="1736"/>
                  <a:pt x="875" y="1732"/>
                </a:cubicBezTo>
                <a:cubicBezTo>
                  <a:pt x="874" y="1726"/>
                  <a:pt x="873" y="1720"/>
                  <a:pt x="870" y="1718"/>
                </a:cubicBezTo>
                <a:cubicBezTo>
                  <a:pt x="870" y="1718"/>
                  <a:pt x="870" y="1718"/>
                  <a:pt x="870" y="1718"/>
                </a:cubicBezTo>
                <a:cubicBezTo>
                  <a:pt x="870" y="1718"/>
                  <a:pt x="870" y="1718"/>
                  <a:pt x="870" y="1718"/>
                </a:cubicBezTo>
                <a:cubicBezTo>
                  <a:pt x="868" y="1718"/>
                  <a:pt x="865" y="1714"/>
                  <a:pt x="865" y="1710"/>
                </a:cubicBezTo>
                <a:cubicBezTo>
                  <a:pt x="865" y="1704"/>
                  <a:pt x="867" y="1699"/>
                  <a:pt x="870" y="1695"/>
                </a:cubicBezTo>
                <a:cubicBezTo>
                  <a:pt x="872" y="1694"/>
                  <a:pt x="873" y="1693"/>
                  <a:pt x="875" y="1693"/>
                </a:cubicBezTo>
                <a:cubicBezTo>
                  <a:pt x="877" y="1692"/>
                  <a:pt x="879" y="1692"/>
                  <a:pt x="880" y="1689"/>
                </a:cubicBezTo>
                <a:cubicBezTo>
                  <a:pt x="881" y="1687"/>
                  <a:pt x="881" y="1685"/>
                  <a:pt x="882" y="1683"/>
                </a:cubicBezTo>
                <a:cubicBezTo>
                  <a:pt x="882" y="1681"/>
                  <a:pt x="882" y="1679"/>
                  <a:pt x="884" y="1677"/>
                </a:cubicBezTo>
                <a:cubicBezTo>
                  <a:pt x="885" y="1676"/>
                  <a:pt x="887" y="1675"/>
                  <a:pt x="888" y="1673"/>
                </a:cubicBezTo>
                <a:cubicBezTo>
                  <a:pt x="892" y="1671"/>
                  <a:pt x="896" y="1668"/>
                  <a:pt x="896" y="1661"/>
                </a:cubicBezTo>
                <a:cubicBezTo>
                  <a:pt x="896" y="1656"/>
                  <a:pt x="892" y="1654"/>
                  <a:pt x="889" y="1652"/>
                </a:cubicBezTo>
                <a:cubicBezTo>
                  <a:pt x="886" y="1650"/>
                  <a:pt x="882" y="1648"/>
                  <a:pt x="882" y="1642"/>
                </a:cubicBezTo>
                <a:cubicBezTo>
                  <a:pt x="882" y="1635"/>
                  <a:pt x="886" y="1631"/>
                  <a:pt x="891" y="1630"/>
                </a:cubicBezTo>
                <a:cubicBezTo>
                  <a:pt x="892" y="1630"/>
                  <a:pt x="892" y="1630"/>
                  <a:pt x="892" y="1630"/>
                </a:cubicBezTo>
                <a:cubicBezTo>
                  <a:pt x="894" y="1629"/>
                  <a:pt x="899" y="1629"/>
                  <a:pt x="899" y="1625"/>
                </a:cubicBezTo>
                <a:cubicBezTo>
                  <a:pt x="900" y="1623"/>
                  <a:pt x="900" y="1621"/>
                  <a:pt x="900" y="1620"/>
                </a:cubicBezTo>
                <a:cubicBezTo>
                  <a:pt x="902" y="1614"/>
                  <a:pt x="902" y="1609"/>
                  <a:pt x="907" y="1604"/>
                </a:cubicBezTo>
                <a:cubicBezTo>
                  <a:pt x="907" y="1603"/>
                  <a:pt x="907" y="1603"/>
                  <a:pt x="907" y="1603"/>
                </a:cubicBezTo>
                <a:cubicBezTo>
                  <a:pt x="907" y="1603"/>
                  <a:pt x="907" y="1603"/>
                  <a:pt x="907" y="1603"/>
                </a:cubicBezTo>
                <a:cubicBezTo>
                  <a:pt x="906" y="1603"/>
                  <a:pt x="906" y="1603"/>
                  <a:pt x="906" y="1603"/>
                </a:cubicBezTo>
                <a:cubicBezTo>
                  <a:pt x="905" y="1602"/>
                  <a:pt x="904" y="1602"/>
                  <a:pt x="904" y="1599"/>
                </a:cubicBezTo>
                <a:cubicBezTo>
                  <a:pt x="905" y="1599"/>
                  <a:pt x="906" y="1599"/>
                  <a:pt x="907" y="1600"/>
                </a:cubicBezTo>
                <a:cubicBezTo>
                  <a:pt x="908" y="1601"/>
                  <a:pt x="909" y="1602"/>
                  <a:pt x="911" y="1602"/>
                </a:cubicBezTo>
                <a:cubicBezTo>
                  <a:pt x="912" y="1602"/>
                  <a:pt x="915" y="1599"/>
                  <a:pt x="915" y="1597"/>
                </a:cubicBezTo>
                <a:cubicBezTo>
                  <a:pt x="915" y="1596"/>
                  <a:pt x="914" y="1595"/>
                  <a:pt x="913" y="1594"/>
                </a:cubicBezTo>
                <a:cubicBezTo>
                  <a:pt x="912" y="1593"/>
                  <a:pt x="912" y="1593"/>
                  <a:pt x="912" y="1593"/>
                </a:cubicBezTo>
                <a:cubicBezTo>
                  <a:pt x="911" y="1593"/>
                  <a:pt x="911" y="1593"/>
                  <a:pt x="911" y="1593"/>
                </a:cubicBezTo>
                <a:cubicBezTo>
                  <a:pt x="911" y="1593"/>
                  <a:pt x="911" y="1593"/>
                  <a:pt x="911" y="1593"/>
                </a:cubicBezTo>
                <a:cubicBezTo>
                  <a:pt x="911" y="1593"/>
                  <a:pt x="910" y="1594"/>
                  <a:pt x="910" y="1594"/>
                </a:cubicBezTo>
                <a:cubicBezTo>
                  <a:pt x="909" y="1595"/>
                  <a:pt x="908" y="1595"/>
                  <a:pt x="907" y="1595"/>
                </a:cubicBezTo>
                <a:cubicBezTo>
                  <a:pt x="905" y="1595"/>
                  <a:pt x="901" y="1587"/>
                  <a:pt x="901" y="1582"/>
                </a:cubicBezTo>
                <a:cubicBezTo>
                  <a:pt x="901" y="1580"/>
                  <a:pt x="902" y="1578"/>
                  <a:pt x="904" y="1578"/>
                </a:cubicBezTo>
                <a:cubicBezTo>
                  <a:pt x="907" y="1578"/>
                  <a:pt x="908" y="1579"/>
                  <a:pt x="910" y="1580"/>
                </a:cubicBezTo>
                <a:cubicBezTo>
                  <a:pt x="912" y="1582"/>
                  <a:pt x="914" y="1583"/>
                  <a:pt x="918" y="1583"/>
                </a:cubicBezTo>
                <a:cubicBezTo>
                  <a:pt x="920" y="1583"/>
                  <a:pt x="925" y="1581"/>
                  <a:pt x="925" y="1578"/>
                </a:cubicBezTo>
                <a:cubicBezTo>
                  <a:pt x="925" y="1575"/>
                  <a:pt x="925" y="1575"/>
                  <a:pt x="925" y="1575"/>
                </a:cubicBezTo>
                <a:cubicBezTo>
                  <a:pt x="926" y="1573"/>
                  <a:pt x="926" y="1570"/>
                  <a:pt x="926" y="1567"/>
                </a:cubicBezTo>
                <a:cubicBezTo>
                  <a:pt x="926" y="1562"/>
                  <a:pt x="926" y="1558"/>
                  <a:pt x="928" y="1555"/>
                </a:cubicBezTo>
                <a:cubicBezTo>
                  <a:pt x="929" y="1554"/>
                  <a:pt x="933" y="1554"/>
                  <a:pt x="937" y="1555"/>
                </a:cubicBezTo>
                <a:cubicBezTo>
                  <a:pt x="940" y="1555"/>
                  <a:pt x="943" y="1555"/>
                  <a:pt x="946" y="1554"/>
                </a:cubicBezTo>
                <a:cubicBezTo>
                  <a:pt x="948" y="1553"/>
                  <a:pt x="951" y="1553"/>
                  <a:pt x="953" y="1553"/>
                </a:cubicBezTo>
                <a:cubicBezTo>
                  <a:pt x="957" y="1552"/>
                  <a:pt x="961" y="1551"/>
                  <a:pt x="965" y="1547"/>
                </a:cubicBezTo>
                <a:cubicBezTo>
                  <a:pt x="966" y="1546"/>
                  <a:pt x="966" y="1546"/>
                  <a:pt x="966" y="1546"/>
                </a:cubicBezTo>
                <a:cubicBezTo>
                  <a:pt x="969" y="1543"/>
                  <a:pt x="971" y="1541"/>
                  <a:pt x="973" y="1537"/>
                </a:cubicBezTo>
                <a:cubicBezTo>
                  <a:pt x="975" y="1534"/>
                  <a:pt x="975" y="1531"/>
                  <a:pt x="975" y="1527"/>
                </a:cubicBezTo>
                <a:cubicBezTo>
                  <a:pt x="975" y="1527"/>
                  <a:pt x="975" y="1527"/>
                  <a:pt x="975" y="1527"/>
                </a:cubicBezTo>
                <a:cubicBezTo>
                  <a:pt x="975" y="1525"/>
                  <a:pt x="973" y="1524"/>
                  <a:pt x="972" y="1523"/>
                </a:cubicBezTo>
                <a:cubicBezTo>
                  <a:pt x="970" y="1522"/>
                  <a:pt x="969" y="1521"/>
                  <a:pt x="969" y="1519"/>
                </a:cubicBezTo>
                <a:cubicBezTo>
                  <a:pt x="968" y="1518"/>
                  <a:pt x="968" y="1517"/>
                  <a:pt x="968" y="1516"/>
                </a:cubicBezTo>
                <a:cubicBezTo>
                  <a:pt x="967" y="1513"/>
                  <a:pt x="967" y="1510"/>
                  <a:pt x="965" y="1508"/>
                </a:cubicBezTo>
                <a:cubicBezTo>
                  <a:pt x="965" y="1508"/>
                  <a:pt x="964" y="1508"/>
                  <a:pt x="963" y="1507"/>
                </a:cubicBezTo>
                <a:cubicBezTo>
                  <a:pt x="962" y="1506"/>
                  <a:pt x="959" y="1505"/>
                  <a:pt x="959" y="1503"/>
                </a:cubicBezTo>
                <a:cubicBezTo>
                  <a:pt x="959" y="1502"/>
                  <a:pt x="961" y="1501"/>
                  <a:pt x="962" y="1501"/>
                </a:cubicBezTo>
                <a:cubicBezTo>
                  <a:pt x="964" y="1501"/>
                  <a:pt x="966" y="1502"/>
                  <a:pt x="968" y="1503"/>
                </a:cubicBezTo>
                <a:cubicBezTo>
                  <a:pt x="970" y="1504"/>
                  <a:pt x="972" y="1506"/>
                  <a:pt x="975" y="1506"/>
                </a:cubicBezTo>
                <a:cubicBezTo>
                  <a:pt x="975" y="1506"/>
                  <a:pt x="977" y="1506"/>
                  <a:pt x="979" y="1507"/>
                </a:cubicBezTo>
                <a:cubicBezTo>
                  <a:pt x="982" y="1508"/>
                  <a:pt x="985" y="1509"/>
                  <a:pt x="988" y="1509"/>
                </a:cubicBezTo>
                <a:cubicBezTo>
                  <a:pt x="999" y="1509"/>
                  <a:pt x="1003" y="1500"/>
                  <a:pt x="1007" y="1490"/>
                </a:cubicBezTo>
                <a:cubicBezTo>
                  <a:pt x="1009" y="1487"/>
                  <a:pt x="1010" y="1484"/>
                  <a:pt x="1011" y="1481"/>
                </a:cubicBezTo>
                <a:cubicBezTo>
                  <a:pt x="1014" y="1477"/>
                  <a:pt x="1017" y="1474"/>
                  <a:pt x="1020" y="1472"/>
                </a:cubicBezTo>
                <a:cubicBezTo>
                  <a:pt x="1023" y="1469"/>
                  <a:pt x="1026" y="1467"/>
                  <a:pt x="1028" y="1462"/>
                </a:cubicBezTo>
                <a:cubicBezTo>
                  <a:pt x="1030" y="1459"/>
                  <a:pt x="1030" y="1457"/>
                  <a:pt x="1031" y="1455"/>
                </a:cubicBezTo>
                <a:cubicBezTo>
                  <a:pt x="1031" y="1454"/>
                  <a:pt x="1032" y="1452"/>
                  <a:pt x="1033" y="1450"/>
                </a:cubicBezTo>
                <a:cubicBezTo>
                  <a:pt x="1033" y="1451"/>
                  <a:pt x="1033" y="1451"/>
                  <a:pt x="1033" y="1451"/>
                </a:cubicBezTo>
                <a:cubicBezTo>
                  <a:pt x="1036" y="1444"/>
                  <a:pt x="1039" y="1438"/>
                  <a:pt x="1045" y="1434"/>
                </a:cubicBezTo>
                <a:cubicBezTo>
                  <a:pt x="1045" y="1434"/>
                  <a:pt x="1045" y="1434"/>
                  <a:pt x="1045" y="1434"/>
                </a:cubicBezTo>
                <a:cubicBezTo>
                  <a:pt x="1045" y="1417"/>
                  <a:pt x="1045" y="1417"/>
                  <a:pt x="1045" y="1417"/>
                </a:cubicBezTo>
                <a:cubicBezTo>
                  <a:pt x="1045" y="1415"/>
                  <a:pt x="1045" y="1415"/>
                  <a:pt x="1045" y="1415"/>
                </a:cubicBezTo>
                <a:cubicBezTo>
                  <a:pt x="1045" y="1409"/>
                  <a:pt x="1045" y="1405"/>
                  <a:pt x="1048" y="1401"/>
                </a:cubicBezTo>
                <a:cubicBezTo>
                  <a:pt x="1049" y="1400"/>
                  <a:pt x="1051" y="1400"/>
                  <a:pt x="1052" y="1399"/>
                </a:cubicBezTo>
                <a:cubicBezTo>
                  <a:pt x="1054" y="1398"/>
                  <a:pt x="1056" y="1397"/>
                  <a:pt x="1057" y="1394"/>
                </a:cubicBezTo>
                <a:cubicBezTo>
                  <a:pt x="1060" y="1389"/>
                  <a:pt x="1064" y="1388"/>
                  <a:pt x="1067" y="1387"/>
                </a:cubicBezTo>
                <a:cubicBezTo>
                  <a:pt x="1071" y="1386"/>
                  <a:pt x="1074" y="1385"/>
                  <a:pt x="1078" y="1381"/>
                </a:cubicBezTo>
                <a:cubicBezTo>
                  <a:pt x="1079" y="1380"/>
                  <a:pt x="1079" y="1380"/>
                  <a:pt x="1079" y="1380"/>
                </a:cubicBezTo>
                <a:cubicBezTo>
                  <a:pt x="1079" y="1379"/>
                  <a:pt x="1080" y="1378"/>
                  <a:pt x="1081" y="1377"/>
                </a:cubicBezTo>
                <a:cubicBezTo>
                  <a:pt x="1085" y="1375"/>
                  <a:pt x="1089" y="1375"/>
                  <a:pt x="1094" y="1375"/>
                </a:cubicBezTo>
                <a:cubicBezTo>
                  <a:pt x="1096" y="1375"/>
                  <a:pt x="1096" y="1375"/>
                  <a:pt x="1096" y="1375"/>
                </a:cubicBezTo>
                <a:cubicBezTo>
                  <a:pt x="1101" y="1375"/>
                  <a:pt x="1108" y="1370"/>
                  <a:pt x="1110" y="1366"/>
                </a:cubicBezTo>
                <a:cubicBezTo>
                  <a:pt x="1110" y="1365"/>
                  <a:pt x="1110" y="1364"/>
                  <a:pt x="1110" y="1363"/>
                </a:cubicBezTo>
                <a:cubicBezTo>
                  <a:pt x="1110" y="1361"/>
                  <a:pt x="1111" y="1359"/>
                  <a:pt x="1111" y="1358"/>
                </a:cubicBezTo>
                <a:cubicBezTo>
                  <a:pt x="1114" y="1353"/>
                  <a:pt x="1116" y="1350"/>
                  <a:pt x="1118" y="1346"/>
                </a:cubicBezTo>
                <a:cubicBezTo>
                  <a:pt x="1119" y="1345"/>
                  <a:pt x="1120" y="1342"/>
                  <a:pt x="1122" y="1340"/>
                </a:cubicBezTo>
                <a:cubicBezTo>
                  <a:pt x="1122" y="1340"/>
                  <a:pt x="1122" y="1340"/>
                  <a:pt x="1122" y="1340"/>
                </a:cubicBezTo>
                <a:cubicBezTo>
                  <a:pt x="1122" y="1340"/>
                  <a:pt x="1122" y="1340"/>
                  <a:pt x="1122" y="1340"/>
                </a:cubicBezTo>
                <a:cubicBezTo>
                  <a:pt x="1123" y="1338"/>
                  <a:pt x="1124" y="1331"/>
                  <a:pt x="1124" y="1328"/>
                </a:cubicBezTo>
                <a:cubicBezTo>
                  <a:pt x="1124" y="1325"/>
                  <a:pt x="1126" y="1322"/>
                  <a:pt x="1127" y="1320"/>
                </a:cubicBezTo>
                <a:cubicBezTo>
                  <a:pt x="1128" y="1320"/>
                  <a:pt x="1128" y="1320"/>
                  <a:pt x="1128" y="1320"/>
                </a:cubicBezTo>
                <a:cubicBezTo>
                  <a:pt x="1128" y="1320"/>
                  <a:pt x="1128" y="1320"/>
                  <a:pt x="1128" y="1320"/>
                </a:cubicBezTo>
                <a:cubicBezTo>
                  <a:pt x="1128" y="1320"/>
                  <a:pt x="1128" y="1320"/>
                  <a:pt x="1128" y="1320"/>
                </a:cubicBezTo>
                <a:cubicBezTo>
                  <a:pt x="1128" y="1319"/>
                  <a:pt x="1128" y="1319"/>
                  <a:pt x="1128" y="1319"/>
                </a:cubicBezTo>
                <a:cubicBezTo>
                  <a:pt x="1129" y="1318"/>
                  <a:pt x="1129" y="1317"/>
                  <a:pt x="1129" y="1315"/>
                </a:cubicBezTo>
                <a:cubicBezTo>
                  <a:pt x="1129" y="1313"/>
                  <a:pt x="1130" y="1311"/>
                  <a:pt x="1130" y="1308"/>
                </a:cubicBezTo>
                <a:cubicBezTo>
                  <a:pt x="1131" y="1305"/>
                  <a:pt x="1131" y="1302"/>
                  <a:pt x="1131" y="1299"/>
                </a:cubicBezTo>
                <a:cubicBezTo>
                  <a:pt x="1131" y="1296"/>
                  <a:pt x="1131" y="1293"/>
                  <a:pt x="1130" y="1290"/>
                </a:cubicBezTo>
                <a:cubicBezTo>
                  <a:pt x="1129" y="1284"/>
                  <a:pt x="1128" y="1277"/>
                  <a:pt x="1131" y="1274"/>
                </a:cubicBezTo>
                <a:cubicBezTo>
                  <a:pt x="1132" y="1273"/>
                  <a:pt x="1134" y="1272"/>
                  <a:pt x="1135" y="1271"/>
                </a:cubicBezTo>
                <a:cubicBezTo>
                  <a:pt x="1137" y="1269"/>
                  <a:pt x="1139" y="1268"/>
                  <a:pt x="1141" y="1265"/>
                </a:cubicBezTo>
                <a:cubicBezTo>
                  <a:pt x="1142" y="1263"/>
                  <a:pt x="1142" y="1262"/>
                  <a:pt x="1143" y="1261"/>
                </a:cubicBezTo>
                <a:cubicBezTo>
                  <a:pt x="1144" y="1260"/>
                  <a:pt x="1145" y="1259"/>
                  <a:pt x="1146" y="1257"/>
                </a:cubicBezTo>
                <a:cubicBezTo>
                  <a:pt x="1148" y="1254"/>
                  <a:pt x="1151" y="1250"/>
                  <a:pt x="1153" y="1247"/>
                </a:cubicBezTo>
                <a:cubicBezTo>
                  <a:pt x="1160" y="1238"/>
                  <a:pt x="1167" y="1229"/>
                  <a:pt x="1167" y="1210"/>
                </a:cubicBezTo>
                <a:cubicBezTo>
                  <a:pt x="1167" y="1201"/>
                  <a:pt x="1164" y="1195"/>
                  <a:pt x="1159" y="1193"/>
                </a:cubicBezTo>
                <a:close/>
                <a:moveTo>
                  <a:pt x="772" y="679"/>
                </a:moveTo>
                <a:cubicBezTo>
                  <a:pt x="773" y="679"/>
                  <a:pt x="773" y="679"/>
                  <a:pt x="773" y="679"/>
                </a:cubicBezTo>
                <a:cubicBezTo>
                  <a:pt x="779" y="677"/>
                  <a:pt x="793" y="673"/>
                  <a:pt x="801" y="673"/>
                </a:cubicBezTo>
                <a:cubicBezTo>
                  <a:pt x="801" y="675"/>
                  <a:pt x="800" y="677"/>
                  <a:pt x="799" y="678"/>
                </a:cubicBezTo>
                <a:cubicBezTo>
                  <a:pt x="795" y="683"/>
                  <a:pt x="785" y="682"/>
                  <a:pt x="778" y="682"/>
                </a:cubicBezTo>
                <a:cubicBezTo>
                  <a:pt x="776" y="682"/>
                  <a:pt x="774" y="682"/>
                  <a:pt x="773" y="682"/>
                </a:cubicBezTo>
                <a:cubicBezTo>
                  <a:pt x="772" y="682"/>
                  <a:pt x="772" y="682"/>
                  <a:pt x="771" y="682"/>
                </a:cubicBezTo>
                <a:cubicBezTo>
                  <a:pt x="771" y="682"/>
                  <a:pt x="770" y="682"/>
                  <a:pt x="769" y="682"/>
                </a:cubicBezTo>
                <a:cubicBezTo>
                  <a:pt x="769" y="682"/>
                  <a:pt x="769" y="682"/>
                  <a:pt x="769" y="682"/>
                </a:cubicBezTo>
                <a:cubicBezTo>
                  <a:pt x="769" y="682"/>
                  <a:pt x="769" y="682"/>
                  <a:pt x="769" y="682"/>
                </a:cubicBezTo>
                <a:cubicBezTo>
                  <a:pt x="769" y="680"/>
                  <a:pt x="771" y="680"/>
                  <a:pt x="772" y="679"/>
                </a:cubicBezTo>
                <a:close/>
                <a:moveTo>
                  <a:pt x="684" y="832"/>
                </a:moveTo>
                <a:cubicBezTo>
                  <a:pt x="684" y="832"/>
                  <a:pt x="684" y="832"/>
                  <a:pt x="684" y="832"/>
                </a:cubicBezTo>
                <a:cubicBezTo>
                  <a:pt x="683" y="832"/>
                  <a:pt x="683" y="832"/>
                  <a:pt x="682" y="832"/>
                </a:cubicBezTo>
                <a:cubicBezTo>
                  <a:pt x="683" y="832"/>
                  <a:pt x="684" y="832"/>
                  <a:pt x="685" y="831"/>
                </a:cubicBezTo>
                <a:lnTo>
                  <a:pt x="684" y="832"/>
                </a:lnTo>
                <a:close/>
                <a:moveTo>
                  <a:pt x="744" y="702"/>
                </a:moveTo>
                <a:cubicBezTo>
                  <a:pt x="741" y="702"/>
                  <a:pt x="740" y="699"/>
                  <a:pt x="740" y="696"/>
                </a:cubicBezTo>
                <a:cubicBezTo>
                  <a:pt x="741" y="697"/>
                  <a:pt x="742" y="699"/>
                  <a:pt x="744" y="699"/>
                </a:cubicBezTo>
                <a:cubicBezTo>
                  <a:pt x="746" y="699"/>
                  <a:pt x="747" y="698"/>
                  <a:pt x="748" y="696"/>
                </a:cubicBezTo>
                <a:cubicBezTo>
                  <a:pt x="748" y="695"/>
                  <a:pt x="748" y="695"/>
                  <a:pt x="748" y="695"/>
                </a:cubicBezTo>
                <a:cubicBezTo>
                  <a:pt x="751" y="692"/>
                  <a:pt x="755" y="692"/>
                  <a:pt x="759" y="693"/>
                </a:cubicBezTo>
                <a:cubicBezTo>
                  <a:pt x="760" y="693"/>
                  <a:pt x="760" y="693"/>
                  <a:pt x="760" y="693"/>
                </a:cubicBezTo>
                <a:cubicBezTo>
                  <a:pt x="762" y="693"/>
                  <a:pt x="763" y="693"/>
                  <a:pt x="764" y="694"/>
                </a:cubicBezTo>
                <a:cubicBezTo>
                  <a:pt x="765" y="694"/>
                  <a:pt x="765" y="694"/>
                  <a:pt x="766" y="694"/>
                </a:cubicBezTo>
                <a:cubicBezTo>
                  <a:pt x="759" y="698"/>
                  <a:pt x="749" y="702"/>
                  <a:pt x="744" y="702"/>
                </a:cubicBezTo>
                <a:close/>
                <a:moveTo>
                  <a:pt x="732" y="648"/>
                </a:moveTo>
                <a:cubicBezTo>
                  <a:pt x="732" y="644"/>
                  <a:pt x="732" y="644"/>
                  <a:pt x="732" y="644"/>
                </a:cubicBezTo>
                <a:cubicBezTo>
                  <a:pt x="734" y="645"/>
                  <a:pt x="737" y="645"/>
                  <a:pt x="739" y="646"/>
                </a:cubicBezTo>
                <a:cubicBezTo>
                  <a:pt x="743" y="647"/>
                  <a:pt x="746" y="648"/>
                  <a:pt x="750" y="651"/>
                </a:cubicBezTo>
                <a:cubicBezTo>
                  <a:pt x="750" y="651"/>
                  <a:pt x="750" y="651"/>
                  <a:pt x="750" y="651"/>
                </a:cubicBezTo>
                <a:cubicBezTo>
                  <a:pt x="758" y="651"/>
                  <a:pt x="758" y="651"/>
                  <a:pt x="758" y="651"/>
                </a:cubicBezTo>
                <a:cubicBezTo>
                  <a:pt x="761" y="653"/>
                  <a:pt x="766" y="657"/>
                  <a:pt x="766" y="662"/>
                </a:cubicBezTo>
                <a:cubicBezTo>
                  <a:pt x="766" y="664"/>
                  <a:pt x="765" y="666"/>
                  <a:pt x="763" y="666"/>
                </a:cubicBezTo>
                <a:cubicBezTo>
                  <a:pt x="760" y="666"/>
                  <a:pt x="756" y="661"/>
                  <a:pt x="755" y="660"/>
                </a:cubicBezTo>
                <a:cubicBezTo>
                  <a:pt x="755" y="660"/>
                  <a:pt x="755" y="660"/>
                  <a:pt x="755" y="660"/>
                </a:cubicBezTo>
                <a:cubicBezTo>
                  <a:pt x="754" y="659"/>
                  <a:pt x="754" y="659"/>
                  <a:pt x="754" y="659"/>
                </a:cubicBezTo>
                <a:cubicBezTo>
                  <a:pt x="754" y="660"/>
                  <a:pt x="754" y="660"/>
                  <a:pt x="754" y="660"/>
                </a:cubicBezTo>
                <a:cubicBezTo>
                  <a:pt x="754" y="661"/>
                  <a:pt x="754" y="662"/>
                  <a:pt x="753" y="663"/>
                </a:cubicBezTo>
                <a:cubicBezTo>
                  <a:pt x="752" y="669"/>
                  <a:pt x="750" y="682"/>
                  <a:pt x="746" y="682"/>
                </a:cubicBezTo>
                <a:cubicBezTo>
                  <a:pt x="744" y="680"/>
                  <a:pt x="743" y="678"/>
                  <a:pt x="743" y="674"/>
                </a:cubicBezTo>
                <a:cubicBezTo>
                  <a:pt x="742" y="673"/>
                  <a:pt x="742" y="672"/>
                  <a:pt x="742" y="671"/>
                </a:cubicBezTo>
                <a:cubicBezTo>
                  <a:pt x="742" y="671"/>
                  <a:pt x="742" y="671"/>
                  <a:pt x="742" y="671"/>
                </a:cubicBezTo>
                <a:cubicBezTo>
                  <a:pt x="742" y="671"/>
                  <a:pt x="742" y="671"/>
                  <a:pt x="742" y="671"/>
                </a:cubicBezTo>
                <a:cubicBezTo>
                  <a:pt x="740" y="672"/>
                  <a:pt x="740" y="672"/>
                  <a:pt x="739" y="672"/>
                </a:cubicBezTo>
                <a:cubicBezTo>
                  <a:pt x="738" y="673"/>
                  <a:pt x="738" y="673"/>
                  <a:pt x="736" y="674"/>
                </a:cubicBezTo>
                <a:cubicBezTo>
                  <a:pt x="736" y="672"/>
                  <a:pt x="737" y="670"/>
                  <a:pt x="738" y="669"/>
                </a:cubicBezTo>
                <a:cubicBezTo>
                  <a:pt x="738" y="666"/>
                  <a:pt x="739" y="664"/>
                  <a:pt x="739" y="661"/>
                </a:cubicBezTo>
                <a:cubicBezTo>
                  <a:pt x="739" y="656"/>
                  <a:pt x="728" y="650"/>
                  <a:pt x="725" y="650"/>
                </a:cubicBezTo>
                <a:cubicBezTo>
                  <a:pt x="723" y="650"/>
                  <a:pt x="722" y="652"/>
                  <a:pt x="722" y="654"/>
                </a:cubicBezTo>
                <a:cubicBezTo>
                  <a:pt x="721" y="656"/>
                  <a:pt x="720" y="659"/>
                  <a:pt x="714" y="659"/>
                </a:cubicBezTo>
                <a:cubicBezTo>
                  <a:pt x="710" y="660"/>
                  <a:pt x="710" y="670"/>
                  <a:pt x="710" y="675"/>
                </a:cubicBezTo>
                <a:cubicBezTo>
                  <a:pt x="710" y="686"/>
                  <a:pt x="710" y="686"/>
                  <a:pt x="710" y="686"/>
                </a:cubicBezTo>
                <a:cubicBezTo>
                  <a:pt x="710" y="691"/>
                  <a:pt x="709" y="701"/>
                  <a:pt x="704" y="701"/>
                </a:cubicBezTo>
                <a:cubicBezTo>
                  <a:pt x="701" y="701"/>
                  <a:pt x="698" y="698"/>
                  <a:pt x="698" y="694"/>
                </a:cubicBezTo>
                <a:cubicBezTo>
                  <a:pt x="698" y="685"/>
                  <a:pt x="700" y="667"/>
                  <a:pt x="705" y="660"/>
                </a:cubicBezTo>
                <a:cubicBezTo>
                  <a:pt x="706" y="659"/>
                  <a:pt x="706" y="659"/>
                  <a:pt x="706" y="659"/>
                </a:cubicBezTo>
                <a:cubicBezTo>
                  <a:pt x="705" y="659"/>
                  <a:pt x="705" y="659"/>
                  <a:pt x="705" y="659"/>
                </a:cubicBezTo>
                <a:cubicBezTo>
                  <a:pt x="703" y="659"/>
                  <a:pt x="702" y="660"/>
                  <a:pt x="700" y="662"/>
                </a:cubicBezTo>
                <a:cubicBezTo>
                  <a:pt x="700" y="662"/>
                  <a:pt x="699" y="663"/>
                  <a:pt x="698" y="664"/>
                </a:cubicBezTo>
                <a:cubicBezTo>
                  <a:pt x="700" y="657"/>
                  <a:pt x="711" y="648"/>
                  <a:pt x="717" y="648"/>
                </a:cubicBezTo>
                <a:cubicBezTo>
                  <a:pt x="718" y="648"/>
                  <a:pt x="719" y="648"/>
                  <a:pt x="720" y="648"/>
                </a:cubicBezTo>
                <a:cubicBezTo>
                  <a:pt x="723" y="649"/>
                  <a:pt x="728" y="649"/>
                  <a:pt x="731" y="648"/>
                </a:cubicBezTo>
                <a:lnTo>
                  <a:pt x="732" y="648"/>
                </a:lnTo>
                <a:close/>
                <a:moveTo>
                  <a:pt x="678" y="626"/>
                </a:moveTo>
                <a:cubicBezTo>
                  <a:pt x="680" y="625"/>
                  <a:pt x="682" y="623"/>
                  <a:pt x="685" y="621"/>
                </a:cubicBezTo>
                <a:cubicBezTo>
                  <a:pt x="686" y="621"/>
                  <a:pt x="687" y="621"/>
                  <a:pt x="689" y="621"/>
                </a:cubicBezTo>
                <a:cubicBezTo>
                  <a:pt x="690" y="621"/>
                  <a:pt x="691" y="621"/>
                  <a:pt x="693" y="620"/>
                </a:cubicBezTo>
                <a:cubicBezTo>
                  <a:pt x="694" y="619"/>
                  <a:pt x="695" y="617"/>
                  <a:pt x="695" y="615"/>
                </a:cubicBezTo>
                <a:cubicBezTo>
                  <a:pt x="696" y="613"/>
                  <a:pt x="696" y="612"/>
                  <a:pt x="697" y="612"/>
                </a:cubicBezTo>
                <a:cubicBezTo>
                  <a:pt x="700" y="612"/>
                  <a:pt x="702" y="616"/>
                  <a:pt x="703" y="618"/>
                </a:cubicBezTo>
                <a:cubicBezTo>
                  <a:pt x="704" y="619"/>
                  <a:pt x="704" y="619"/>
                  <a:pt x="705" y="620"/>
                </a:cubicBezTo>
                <a:cubicBezTo>
                  <a:pt x="705" y="620"/>
                  <a:pt x="705" y="620"/>
                  <a:pt x="705" y="620"/>
                </a:cubicBezTo>
                <a:cubicBezTo>
                  <a:pt x="705" y="620"/>
                  <a:pt x="705" y="620"/>
                  <a:pt x="705" y="620"/>
                </a:cubicBezTo>
                <a:cubicBezTo>
                  <a:pt x="706" y="618"/>
                  <a:pt x="706" y="616"/>
                  <a:pt x="706" y="615"/>
                </a:cubicBezTo>
                <a:cubicBezTo>
                  <a:pt x="706" y="615"/>
                  <a:pt x="706" y="615"/>
                  <a:pt x="706" y="615"/>
                </a:cubicBezTo>
                <a:cubicBezTo>
                  <a:pt x="708" y="615"/>
                  <a:pt x="708" y="615"/>
                  <a:pt x="708" y="615"/>
                </a:cubicBezTo>
                <a:cubicBezTo>
                  <a:pt x="709" y="615"/>
                  <a:pt x="722" y="627"/>
                  <a:pt x="723" y="628"/>
                </a:cubicBezTo>
                <a:cubicBezTo>
                  <a:pt x="723" y="630"/>
                  <a:pt x="724" y="632"/>
                  <a:pt x="724" y="633"/>
                </a:cubicBezTo>
                <a:cubicBezTo>
                  <a:pt x="724" y="635"/>
                  <a:pt x="724" y="637"/>
                  <a:pt x="725" y="639"/>
                </a:cubicBezTo>
                <a:cubicBezTo>
                  <a:pt x="727" y="641"/>
                  <a:pt x="729" y="642"/>
                  <a:pt x="731" y="643"/>
                </a:cubicBezTo>
                <a:cubicBezTo>
                  <a:pt x="728" y="643"/>
                  <a:pt x="726" y="642"/>
                  <a:pt x="723" y="641"/>
                </a:cubicBezTo>
                <a:cubicBezTo>
                  <a:pt x="720" y="640"/>
                  <a:pt x="718" y="639"/>
                  <a:pt x="714" y="639"/>
                </a:cubicBezTo>
                <a:cubicBezTo>
                  <a:pt x="712" y="639"/>
                  <a:pt x="711" y="640"/>
                  <a:pt x="710" y="640"/>
                </a:cubicBezTo>
                <a:cubicBezTo>
                  <a:pt x="708" y="641"/>
                  <a:pt x="707" y="642"/>
                  <a:pt x="705" y="642"/>
                </a:cubicBezTo>
                <a:cubicBezTo>
                  <a:pt x="703" y="642"/>
                  <a:pt x="701" y="640"/>
                  <a:pt x="700" y="638"/>
                </a:cubicBezTo>
                <a:cubicBezTo>
                  <a:pt x="700" y="638"/>
                  <a:pt x="700" y="638"/>
                  <a:pt x="700" y="638"/>
                </a:cubicBezTo>
                <a:cubicBezTo>
                  <a:pt x="694" y="638"/>
                  <a:pt x="694" y="638"/>
                  <a:pt x="694" y="638"/>
                </a:cubicBezTo>
                <a:cubicBezTo>
                  <a:pt x="695" y="637"/>
                  <a:pt x="695" y="637"/>
                  <a:pt x="695" y="636"/>
                </a:cubicBezTo>
                <a:cubicBezTo>
                  <a:pt x="696" y="635"/>
                  <a:pt x="697" y="633"/>
                  <a:pt x="697" y="630"/>
                </a:cubicBezTo>
                <a:cubicBezTo>
                  <a:pt x="697" y="629"/>
                  <a:pt x="697" y="629"/>
                  <a:pt x="697" y="629"/>
                </a:cubicBezTo>
                <a:cubicBezTo>
                  <a:pt x="697" y="629"/>
                  <a:pt x="697" y="629"/>
                  <a:pt x="697" y="629"/>
                </a:cubicBezTo>
                <a:cubicBezTo>
                  <a:pt x="695" y="630"/>
                  <a:pt x="692" y="632"/>
                  <a:pt x="690" y="633"/>
                </a:cubicBezTo>
                <a:cubicBezTo>
                  <a:pt x="687" y="635"/>
                  <a:pt x="685" y="637"/>
                  <a:pt x="684" y="637"/>
                </a:cubicBezTo>
                <a:cubicBezTo>
                  <a:pt x="682" y="637"/>
                  <a:pt x="681" y="638"/>
                  <a:pt x="681" y="639"/>
                </a:cubicBezTo>
                <a:cubicBezTo>
                  <a:pt x="679" y="640"/>
                  <a:pt x="678" y="641"/>
                  <a:pt x="675" y="641"/>
                </a:cubicBezTo>
                <a:cubicBezTo>
                  <a:pt x="673" y="641"/>
                  <a:pt x="672" y="641"/>
                  <a:pt x="671" y="638"/>
                </a:cubicBezTo>
                <a:cubicBezTo>
                  <a:pt x="671" y="638"/>
                  <a:pt x="671" y="638"/>
                  <a:pt x="671" y="638"/>
                </a:cubicBezTo>
                <a:cubicBezTo>
                  <a:pt x="671" y="638"/>
                  <a:pt x="671" y="638"/>
                  <a:pt x="671" y="638"/>
                </a:cubicBezTo>
                <a:cubicBezTo>
                  <a:pt x="669" y="638"/>
                  <a:pt x="668" y="639"/>
                  <a:pt x="667" y="640"/>
                </a:cubicBezTo>
                <a:cubicBezTo>
                  <a:pt x="666" y="640"/>
                  <a:pt x="666" y="640"/>
                  <a:pt x="665" y="640"/>
                </a:cubicBezTo>
                <a:cubicBezTo>
                  <a:pt x="661" y="640"/>
                  <a:pt x="661" y="640"/>
                  <a:pt x="661" y="640"/>
                </a:cubicBezTo>
                <a:cubicBezTo>
                  <a:pt x="666" y="634"/>
                  <a:pt x="672" y="630"/>
                  <a:pt x="678" y="626"/>
                </a:cubicBezTo>
                <a:close/>
                <a:moveTo>
                  <a:pt x="760" y="1182"/>
                </a:moveTo>
                <a:cubicBezTo>
                  <a:pt x="760" y="1182"/>
                  <a:pt x="760" y="1182"/>
                  <a:pt x="760" y="1182"/>
                </a:cubicBezTo>
                <a:cubicBezTo>
                  <a:pt x="760" y="1182"/>
                  <a:pt x="760" y="1182"/>
                  <a:pt x="760" y="1182"/>
                </a:cubicBezTo>
                <a:close/>
                <a:moveTo>
                  <a:pt x="783" y="888"/>
                </a:moveTo>
                <a:cubicBezTo>
                  <a:pt x="783" y="888"/>
                  <a:pt x="783" y="888"/>
                  <a:pt x="783" y="888"/>
                </a:cubicBezTo>
                <a:cubicBezTo>
                  <a:pt x="783" y="888"/>
                  <a:pt x="783" y="888"/>
                  <a:pt x="783" y="888"/>
                </a:cubicBezTo>
                <a:cubicBezTo>
                  <a:pt x="782" y="888"/>
                  <a:pt x="782" y="888"/>
                  <a:pt x="782" y="888"/>
                </a:cubicBezTo>
                <a:cubicBezTo>
                  <a:pt x="782" y="889"/>
                  <a:pt x="782" y="889"/>
                  <a:pt x="782" y="889"/>
                </a:cubicBezTo>
                <a:cubicBezTo>
                  <a:pt x="782" y="891"/>
                  <a:pt x="782" y="896"/>
                  <a:pt x="785" y="896"/>
                </a:cubicBezTo>
                <a:cubicBezTo>
                  <a:pt x="786" y="896"/>
                  <a:pt x="787" y="894"/>
                  <a:pt x="787" y="893"/>
                </a:cubicBezTo>
                <a:cubicBezTo>
                  <a:pt x="787" y="890"/>
                  <a:pt x="786" y="888"/>
                  <a:pt x="783" y="888"/>
                </a:cubicBezTo>
                <a:close/>
                <a:moveTo>
                  <a:pt x="786" y="871"/>
                </a:moveTo>
                <a:cubicBezTo>
                  <a:pt x="785" y="870"/>
                  <a:pt x="784" y="868"/>
                  <a:pt x="782" y="868"/>
                </a:cubicBezTo>
                <a:cubicBezTo>
                  <a:pt x="780" y="868"/>
                  <a:pt x="778" y="870"/>
                  <a:pt x="777" y="871"/>
                </a:cubicBezTo>
                <a:cubicBezTo>
                  <a:pt x="777" y="872"/>
                  <a:pt x="777" y="872"/>
                  <a:pt x="777" y="872"/>
                </a:cubicBezTo>
                <a:cubicBezTo>
                  <a:pt x="777" y="872"/>
                  <a:pt x="777" y="872"/>
                  <a:pt x="777" y="872"/>
                </a:cubicBezTo>
                <a:cubicBezTo>
                  <a:pt x="778" y="872"/>
                  <a:pt x="779" y="872"/>
                  <a:pt x="779" y="872"/>
                </a:cubicBezTo>
                <a:cubicBezTo>
                  <a:pt x="781" y="872"/>
                  <a:pt x="783" y="872"/>
                  <a:pt x="786" y="872"/>
                </a:cubicBezTo>
                <a:cubicBezTo>
                  <a:pt x="786" y="872"/>
                  <a:pt x="786" y="872"/>
                  <a:pt x="786" y="872"/>
                </a:cubicBezTo>
                <a:cubicBezTo>
                  <a:pt x="786" y="871"/>
                  <a:pt x="786" y="871"/>
                  <a:pt x="786" y="871"/>
                </a:cubicBezTo>
                <a:close/>
                <a:moveTo>
                  <a:pt x="793" y="876"/>
                </a:moveTo>
                <a:cubicBezTo>
                  <a:pt x="793" y="875"/>
                  <a:pt x="793" y="875"/>
                  <a:pt x="793" y="875"/>
                </a:cubicBezTo>
                <a:cubicBezTo>
                  <a:pt x="792" y="873"/>
                  <a:pt x="792" y="873"/>
                  <a:pt x="792" y="873"/>
                </a:cubicBezTo>
                <a:cubicBezTo>
                  <a:pt x="791" y="872"/>
                  <a:pt x="791" y="872"/>
                  <a:pt x="791" y="872"/>
                </a:cubicBezTo>
                <a:cubicBezTo>
                  <a:pt x="791" y="873"/>
                  <a:pt x="791" y="873"/>
                  <a:pt x="791" y="873"/>
                </a:cubicBezTo>
                <a:cubicBezTo>
                  <a:pt x="791" y="874"/>
                  <a:pt x="791" y="875"/>
                  <a:pt x="792" y="876"/>
                </a:cubicBezTo>
                <a:cubicBezTo>
                  <a:pt x="793" y="876"/>
                  <a:pt x="793" y="876"/>
                  <a:pt x="793" y="876"/>
                </a:cubicBezTo>
                <a:close/>
                <a:moveTo>
                  <a:pt x="824" y="931"/>
                </a:moveTo>
                <a:cubicBezTo>
                  <a:pt x="825" y="931"/>
                  <a:pt x="827" y="930"/>
                  <a:pt x="829" y="929"/>
                </a:cubicBezTo>
                <a:cubicBezTo>
                  <a:pt x="829" y="929"/>
                  <a:pt x="829" y="929"/>
                  <a:pt x="829" y="929"/>
                </a:cubicBezTo>
                <a:cubicBezTo>
                  <a:pt x="829" y="924"/>
                  <a:pt x="829" y="924"/>
                  <a:pt x="829" y="924"/>
                </a:cubicBezTo>
                <a:cubicBezTo>
                  <a:pt x="828" y="925"/>
                  <a:pt x="828" y="925"/>
                  <a:pt x="828" y="925"/>
                </a:cubicBezTo>
                <a:cubicBezTo>
                  <a:pt x="827" y="927"/>
                  <a:pt x="825" y="929"/>
                  <a:pt x="823" y="928"/>
                </a:cubicBezTo>
                <a:cubicBezTo>
                  <a:pt x="822" y="928"/>
                  <a:pt x="822" y="928"/>
                  <a:pt x="822" y="928"/>
                </a:cubicBezTo>
                <a:cubicBezTo>
                  <a:pt x="822" y="930"/>
                  <a:pt x="822" y="930"/>
                  <a:pt x="822" y="930"/>
                </a:cubicBezTo>
                <a:cubicBezTo>
                  <a:pt x="822" y="931"/>
                  <a:pt x="822" y="931"/>
                  <a:pt x="822" y="931"/>
                </a:cubicBezTo>
                <a:cubicBezTo>
                  <a:pt x="823" y="931"/>
                  <a:pt x="823" y="931"/>
                  <a:pt x="823" y="931"/>
                </a:cubicBezTo>
                <a:lnTo>
                  <a:pt x="824" y="931"/>
                </a:lnTo>
                <a:close/>
                <a:moveTo>
                  <a:pt x="308" y="535"/>
                </a:moveTo>
                <a:cubicBezTo>
                  <a:pt x="309" y="535"/>
                  <a:pt x="311" y="534"/>
                  <a:pt x="311" y="531"/>
                </a:cubicBezTo>
                <a:cubicBezTo>
                  <a:pt x="311" y="527"/>
                  <a:pt x="309" y="525"/>
                  <a:pt x="307" y="523"/>
                </a:cubicBezTo>
                <a:cubicBezTo>
                  <a:pt x="305" y="520"/>
                  <a:pt x="303" y="518"/>
                  <a:pt x="303" y="513"/>
                </a:cubicBezTo>
                <a:cubicBezTo>
                  <a:pt x="303" y="512"/>
                  <a:pt x="303" y="512"/>
                  <a:pt x="303" y="512"/>
                </a:cubicBezTo>
                <a:cubicBezTo>
                  <a:pt x="303" y="512"/>
                  <a:pt x="303" y="512"/>
                  <a:pt x="303" y="512"/>
                </a:cubicBezTo>
                <a:cubicBezTo>
                  <a:pt x="300" y="512"/>
                  <a:pt x="297" y="511"/>
                  <a:pt x="296" y="512"/>
                </a:cubicBezTo>
                <a:cubicBezTo>
                  <a:pt x="295" y="513"/>
                  <a:pt x="295" y="515"/>
                  <a:pt x="295" y="520"/>
                </a:cubicBezTo>
                <a:cubicBezTo>
                  <a:pt x="295" y="521"/>
                  <a:pt x="295" y="521"/>
                  <a:pt x="295" y="521"/>
                </a:cubicBezTo>
                <a:cubicBezTo>
                  <a:pt x="295" y="520"/>
                  <a:pt x="295" y="520"/>
                  <a:pt x="295" y="520"/>
                </a:cubicBezTo>
                <a:cubicBezTo>
                  <a:pt x="297" y="518"/>
                  <a:pt x="297" y="518"/>
                  <a:pt x="298" y="519"/>
                </a:cubicBezTo>
                <a:cubicBezTo>
                  <a:pt x="299" y="519"/>
                  <a:pt x="300" y="520"/>
                  <a:pt x="301" y="520"/>
                </a:cubicBezTo>
                <a:cubicBezTo>
                  <a:pt x="301" y="521"/>
                  <a:pt x="301" y="523"/>
                  <a:pt x="301" y="524"/>
                </a:cubicBezTo>
                <a:cubicBezTo>
                  <a:pt x="301" y="525"/>
                  <a:pt x="301" y="526"/>
                  <a:pt x="301" y="527"/>
                </a:cubicBezTo>
                <a:cubicBezTo>
                  <a:pt x="301" y="527"/>
                  <a:pt x="305" y="535"/>
                  <a:pt x="308" y="535"/>
                </a:cubicBezTo>
                <a:close/>
                <a:moveTo>
                  <a:pt x="286" y="500"/>
                </a:moveTo>
                <a:cubicBezTo>
                  <a:pt x="286" y="499"/>
                  <a:pt x="286" y="499"/>
                  <a:pt x="286" y="499"/>
                </a:cubicBezTo>
                <a:cubicBezTo>
                  <a:pt x="286" y="499"/>
                  <a:pt x="286" y="499"/>
                  <a:pt x="286" y="499"/>
                </a:cubicBezTo>
                <a:cubicBezTo>
                  <a:pt x="285" y="499"/>
                  <a:pt x="283" y="500"/>
                  <a:pt x="283" y="500"/>
                </a:cubicBezTo>
                <a:cubicBezTo>
                  <a:pt x="283" y="499"/>
                  <a:pt x="283" y="499"/>
                  <a:pt x="283" y="499"/>
                </a:cubicBezTo>
                <a:cubicBezTo>
                  <a:pt x="283" y="499"/>
                  <a:pt x="283" y="499"/>
                  <a:pt x="283" y="499"/>
                </a:cubicBezTo>
                <a:cubicBezTo>
                  <a:pt x="282" y="496"/>
                  <a:pt x="282" y="495"/>
                  <a:pt x="283" y="493"/>
                </a:cubicBezTo>
                <a:cubicBezTo>
                  <a:pt x="283" y="491"/>
                  <a:pt x="283" y="489"/>
                  <a:pt x="283" y="485"/>
                </a:cubicBezTo>
                <a:cubicBezTo>
                  <a:pt x="283" y="484"/>
                  <a:pt x="283" y="484"/>
                  <a:pt x="283" y="484"/>
                </a:cubicBezTo>
                <a:cubicBezTo>
                  <a:pt x="282" y="484"/>
                  <a:pt x="282" y="484"/>
                  <a:pt x="282" y="484"/>
                </a:cubicBezTo>
                <a:cubicBezTo>
                  <a:pt x="280" y="486"/>
                  <a:pt x="280" y="486"/>
                  <a:pt x="280" y="485"/>
                </a:cubicBezTo>
                <a:cubicBezTo>
                  <a:pt x="279" y="485"/>
                  <a:pt x="278" y="484"/>
                  <a:pt x="276" y="484"/>
                </a:cubicBezTo>
                <a:cubicBezTo>
                  <a:pt x="274" y="484"/>
                  <a:pt x="272" y="485"/>
                  <a:pt x="272" y="488"/>
                </a:cubicBezTo>
                <a:cubicBezTo>
                  <a:pt x="272" y="494"/>
                  <a:pt x="275" y="498"/>
                  <a:pt x="280" y="499"/>
                </a:cubicBezTo>
                <a:cubicBezTo>
                  <a:pt x="280" y="505"/>
                  <a:pt x="281" y="509"/>
                  <a:pt x="285" y="513"/>
                </a:cubicBezTo>
                <a:cubicBezTo>
                  <a:pt x="285" y="513"/>
                  <a:pt x="285" y="513"/>
                  <a:pt x="285" y="513"/>
                </a:cubicBezTo>
                <a:cubicBezTo>
                  <a:pt x="285" y="513"/>
                  <a:pt x="285" y="513"/>
                  <a:pt x="285" y="513"/>
                </a:cubicBezTo>
                <a:cubicBezTo>
                  <a:pt x="287" y="511"/>
                  <a:pt x="287" y="508"/>
                  <a:pt x="287" y="505"/>
                </a:cubicBezTo>
                <a:cubicBezTo>
                  <a:pt x="286" y="503"/>
                  <a:pt x="286" y="501"/>
                  <a:pt x="286" y="500"/>
                </a:cubicBezTo>
                <a:close/>
                <a:moveTo>
                  <a:pt x="571" y="299"/>
                </a:moveTo>
                <a:cubicBezTo>
                  <a:pt x="572" y="299"/>
                  <a:pt x="573" y="299"/>
                  <a:pt x="574" y="299"/>
                </a:cubicBezTo>
                <a:cubicBezTo>
                  <a:pt x="577" y="300"/>
                  <a:pt x="579" y="300"/>
                  <a:pt x="583" y="296"/>
                </a:cubicBezTo>
                <a:cubicBezTo>
                  <a:pt x="584" y="296"/>
                  <a:pt x="584" y="296"/>
                  <a:pt x="584" y="296"/>
                </a:cubicBezTo>
                <a:cubicBezTo>
                  <a:pt x="583" y="296"/>
                  <a:pt x="583" y="296"/>
                  <a:pt x="583" y="296"/>
                </a:cubicBezTo>
                <a:cubicBezTo>
                  <a:pt x="581" y="294"/>
                  <a:pt x="577" y="292"/>
                  <a:pt x="573" y="290"/>
                </a:cubicBezTo>
                <a:cubicBezTo>
                  <a:pt x="563" y="285"/>
                  <a:pt x="552" y="279"/>
                  <a:pt x="552" y="272"/>
                </a:cubicBezTo>
                <a:cubicBezTo>
                  <a:pt x="552" y="268"/>
                  <a:pt x="550" y="264"/>
                  <a:pt x="548" y="259"/>
                </a:cubicBezTo>
                <a:cubicBezTo>
                  <a:pt x="546" y="254"/>
                  <a:pt x="543" y="249"/>
                  <a:pt x="543" y="242"/>
                </a:cubicBezTo>
                <a:cubicBezTo>
                  <a:pt x="543" y="241"/>
                  <a:pt x="545" y="240"/>
                  <a:pt x="546" y="238"/>
                </a:cubicBezTo>
                <a:cubicBezTo>
                  <a:pt x="548" y="236"/>
                  <a:pt x="550" y="234"/>
                  <a:pt x="550" y="231"/>
                </a:cubicBezTo>
                <a:cubicBezTo>
                  <a:pt x="550" y="225"/>
                  <a:pt x="544" y="223"/>
                  <a:pt x="539" y="223"/>
                </a:cubicBezTo>
                <a:cubicBezTo>
                  <a:pt x="533" y="223"/>
                  <a:pt x="529" y="225"/>
                  <a:pt x="529" y="229"/>
                </a:cubicBezTo>
                <a:cubicBezTo>
                  <a:pt x="529" y="230"/>
                  <a:pt x="529" y="231"/>
                  <a:pt x="530" y="232"/>
                </a:cubicBezTo>
                <a:cubicBezTo>
                  <a:pt x="527" y="234"/>
                  <a:pt x="527" y="233"/>
                  <a:pt x="526" y="233"/>
                </a:cubicBezTo>
                <a:cubicBezTo>
                  <a:pt x="525" y="233"/>
                  <a:pt x="524" y="232"/>
                  <a:pt x="521" y="232"/>
                </a:cubicBezTo>
                <a:cubicBezTo>
                  <a:pt x="519" y="232"/>
                  <a:pt x="515" y="234"/>
                  <a:pt x="515" y="237"/>
                </a:cubicBezTo>
                <a:cubicBezTo>
                  <a:pt x="515" y="240"/>
                  <a:pt x="520" y="256"/>
                  <a:pt x="522" y="261"/>
                </a:cubicBezTo>
                <a:cubicBezTo>
                  <a:pt x="522" y="261"/>
                  <a:pt x="522" y="262"/>
                  <a:pt x="521" y="262"/>
                </a:cubicBezTo>
                <a:cubicBezTo>
                  <a:pt x="521" y="263"/>
                  <a:pt x="520" y="264"/>
                  <a:pt x="519" y="264"/>
                </a:cubicBezTo>
                <a:cubicBezTo>
                  <a:pt x="516" y="264"/>
                  <a:pt x="515" y="260"/>
                  <a:pt x="515" y="256"/>
                </a:cubicBezTo>
                <a:cubicBezTo>
                  <a:pt x="515" y="254"/>
                  <a:pt x="515" y="252"/>
                  <a:pt x="514" y="251"/>
                </a:cubicBezTo>
                <a:cubicBezTo>
                  <a:pt x="512" y="247"/>
                  <a:pt x="508" y="242"/>
                  <a:pt x="504" y="241"/>
                </a:cubicBezTo>
                <a:cubicBezTo>
                  <a:pt x="503" y="241"/>
                  <a:pt x="503" y="241"/>
                  <a:pt x="503" y="241"/>
                </a:cubicBezTo>
                <a:cubicBezTo>
                  <a:pt x="496" y="241"/>
                  <a:pt x="496" y="241"/>
                  <a:pt x="496" y="241"/>
                </a:cubicBezTo>
                <a:cubicBezTo>
                  <a:pt x="496" y="241"/>
                  <a:pt x="496" y="241"/>
                  <a:pt x="496" y="241"/>
                </a:cubicBezTo>
                <a:cubicBezTo>
                  <a:pt x="497" y="243"/>
                  <a:pt x="497" y="243"/>
                  <a:pt x="497" y="243"/>
                </a:cubicBezTo>
                <a:cubicBezTo>
                  <a:pt x="497" y="244"/>
                  <a:pt x="498" y="245"/>
                  <a:pt x="498" y="247"/>
                </a:cubicBezTo>
                <a:cubicBezTo>
                  <a:pt x="495" y="248"/>
                  <a:pt x="492" y="249"/>
                  <a:pt x="489" y="250"/>
                </a:cubicBezTo>
                <a:cubicBezTo>
                  <a:pt x="487" y="243"/>
                  <a:pt x="484" y="239"/>
                  <a:pt x="475" y="239"/>
                </a:cubicBezTo>
                <a:cubicBezTo>
                  <a:pt x="471" y="239"/>
                  <a:pt x="469" y="242"/>
                  <a:pt x="467" y="243"/>
                </a:cubicBezTo>
                <a:cubicBezTo>
                  <a:pt x="467" y="244"/>
                  <a:pt x="466" y="245"/>
                  <a:pt x="466" y="245"/>
                </a:cubicBezTo>
                <a:cubicBezTo>
                  <a:pt x="465" y="244"/>
                  <a:pt x="465" y="243"/>
                  <a:pt x="465" y="242"/>
                </a:cubicBezTo>
                <a:cubicBezTo>
                  <a:pt x="464" y="238"/>
                  <a:pt x="464" y="233"/>
                  <a:pt x="460" y="233"/>
                </a:cubicBezTo>
                <a:cubicBezTo>
                  <a:pt x="455" y="233"/>
                  <a:pt x="445" y="236"/>
                  <a:pt x="436" y="242"/>
                </a:cubicBezTo>
                <a:cubicBezTo>
                  <a:pt x="431" y="245"/>
                  <a:pt x="421" y="253"/>
                  <a:pt x="421" y="263"/>
                </a:cubicBezTo>
                <a:cubicBezTo>
                  <a:pt x="421" y="265"/>
                  <a:pt x="427" y="271"/>
                  <a:pt x="430" y="271"/>
                </a:cubicBezTo>
                <a:cubicBezTo>
                  <a:pt x="432" y="271"/>
                  <a:pt x="433" y="271"/>
                  <a:pt x="434" y="270"/>
                </a:cubicBezTo>
                <a:cubicBezTo>
                  <a:pt x="436" y="270"/>
                  <a:pt x="437" y="270"/>
                  <a:pt x="440" y="271"/>
                </a:cubicBezTo>
                <a:cubicBezTo>
                  <a:pt x="439" y="271"/>
                  <a:pt x="438" y="271"/>
                  <a:pt x="436" y="271"/>
                </a:cubicBezTo>
                <a:cubicBezTo>
                  <a:pt x="433" y="272"/>
                  <a:pt x="429" y="272"/>
                  <a:pt x="429" y="278"/>
                </a:cubicBezTo>
                <a:cubicBezTo>
                  <a:pt x="429" y="280"/>
                  <a:pt x="429" y="281"/>
                  <a:pt x="430" y="282"/>
                </a:cubicBezTo>
                <a:cubicBezTo>
                  <a:pt x="434" y="286"/>
                  <a:pt x="442" y="285"/>
                  <a:pt x="448" y="285"/>
                </a:cubicBezTo>
                <a:cubicBezTo>
                  <a:pt x="450" y="285"/>
                  <a:pt x="451" y="285"/>
                  <a:pt x="453" y="285"/>
                </a:cubicBezTo>
                <a:cubicBezTo>
                  <a:pt x="469" y="285"/>
                  <a:pt x="469" y="285"/>
                  <a:pt x="469" y="285"/>
                </a:cubicBezTo>
                <a:cubicBezTo>
                  <a:pt x="471" y="285"/>
                  <a:pt x="474" y="286"/>
                  <a:pt x="475" y="287"/>
                </a:cubicBezTo>
                <a:cubicBezTo>
                  <a:pt x="475" y="287"/>
                  <a:pt x="475" y="287"/>
                  <a:pt x="475" y="287"/>
                </a:cubicBezTo>
                <a:cubicBezTo>
                  <a:pt x="474" y="288"/>
                  <a:pt x="474" y="288"/>
                  <a:pt x="474" y="288"/>
                </a:cubicBezTo>
                <a:cubicBezTo>
                  <a:pt x="472" y="288"/>
                  <a:pt x="470" y="288"/>
                  <a:pt x="466" y="288"/>
                </a:cubicBezTo>
                <a:cubicBezTo>
                  <a:pt x="452" y="288"/>
                  <a:pt x="443" y="290"/>
                  <a:pt x="436" y="296"/>
                </a:cubicBezTo>
                <a:cubicBezTo>
                  <a:pt x="436" y="296"/>
                  <a:pt x="436" y="296"/>
                  <a:pt x="436" y="296"/>
                </a:cubicBezTo>
                <a:cubicBezTo>
                  <a:pt x="436" y="297"/>
                  <a:pt x="436" y="297"/>
                  <a:pt x="436" y="297"/>
                </a:cubicBezTo>
                <a:cubicBezTo>
                  <a:pt x="437" y="298"/>
                  <a:pt x="443" y="309"/>
                  <a:pt x="451" y="309"/>
                </a:cubicBezTo>
                <a:cubicBezTo>
                  <a:pt x="452" y="309"/>
                  <a:pt x="453" y="309"/>
                  <a:pt x="454" y="309"/>
                </a:cubicBezTo>
                <a:cubicBezTo>
                  <a:pt x="459" y="309"/>
                  <a:pt x="465" y="309"/>
                  <a:pt x="468" y="311"/>
                </a:cubicBezTo>
                <a:cubicBezTo>
                  <a:pt x="469" y="312"/>
                  <a:pt x="470" y="314"/>
                  <a:pt x="470" y="315"/>
                </a:cubicBezTo>
                <a:cubicBezTo>
                  <a:pt x="470" y="317"/>
                  <a:pt x="470" y="320"/>
                  <a:pt x="474" y="320"/>
                </a:cubicBezTo>
                <a:cubicBezTo>
                  <a:pt x="501" y="320"/>
                  <a:pt x="501" y="320"/>
                  <a:pt x="501" y="320"/>
                </a:cubicBezTo>
                <a:cubicBezTo>
                  <a:pt x="502" y="319"/>
                  <a:pt x="502" y="319"/>
                  <a:pt x="502" y="319"/>
                </a:cubicBezTo>
                <a:cubicBezTo>
                  <a:pt x="505" y="317"/>
                  <a:pt x="509" y="316"/>
                  <a:pt x="513" y="316"/>
                </a:cubicBezTo>
                <a:cubicBezTo>
                  <a:pt x="516" y="315"/>
                  <a:pt x="520" y="315"/>
                  <a:pt x="524" y="312"/>
                </a:cubicBezTo>
                <a:cubicBezTo>
                  <a:pt x="526" y="311"/>
                  <a:pt x="527" y="310"/>
                  <a:pt x="527" y="309"/>
                </a:cubicBezTo>
                <a:cubicBezTo>
                  <a:pt x="528" y="307"/>
                  <a:pt x="529" y="306"/>
                  <a:pt x="531" y="306"/>
                </a:cubicBezTo>
                <a:cubicBezTo>
                  <a:pt x="535" y="306"/>
                  <a:pt x="539" y="308"/>
                  <a:pt x="542" y="311"/>
                </a:cubicBezTo>
                <a:cubicBezTo>
                  <a:pt x="546" y="314"/>
                  <a:pt x="550" y="317"/>
                  <a:pt x="557" y="317"/>
                </a:cubicBezTo>
                <a:cubicBezTo>
                  <a:pt x="558" y="317"/>
                  <a:pt x="558" y="317"/>
                  <a:pt x="558" y="317"/>
                </a:cubicBezTo>
                <a:cubicBezTo>
                  <a:pt x="565" y="317"/>
                  <a:pt x="572" y="317"/>
                  <a:pt x="575" y="310"/>
                </a:cubicBezTo>
                <a:cubicBezTo>
                  <a:pt x="575" y="310"/>
                  <a:pt x="575" y="310"/>
                  <a:pt x="575" y="310"/>
                </a:cubicBezTo>
                <a:cubicBezTo>
                  <a:pt x="574" y="310"/>
                  <a:pt x="574" y="310"/>
                  <a:pt x="574" y="310"/>
                </a:cubicBezTo>
                <a:cubicBezTo>
                  <a:pt x="574" y="309"/>
                  <a:pt x="574" y="309"/>
                  <a:pt x="574" y="309"/>
                </a:cubicBezTo>
                <a:cubicBezTo>
                  <a:pt x="573" y="308"/>
                  <a:pt x="572" y="307"/>
                  <a:pt x="572" y="305"/>
                </a:cubicBezTo>
                <a:cubicBezTo>
                  <a:pt x="572" y="305"/>
                  <a:pt x="572" y="305"/>
                  <a:pt x="572" y="305"/>
                </a:cubicBezTo>
                <a:cubicBezTo>
                  <a:pt x="571" y="305"/>
                  <a:pt x="571" y="305"/>
                  <a:pt x="571" y="305"/>
                </a:cubicBezTo>
                <a:cubicBezTo>
                  <a:pt x="569" y="305"/>
                  <a:pt x="567" y="304"/>
                  <a:pt x="567" y="302"/>
                </a:cubicBezTo>
                <a:cubicBezTo>
                  <a:pt x="567" y="300"/>
                  <a:pt x="568" y="299"/>
                  <a:pt x="571" y="299"/>
                </a:cubicBezTo>
                <a:close/>
                <a:moveTo>
                  <a:pt x="369" y="262"/>
                </a:moveTo>
                <a:cubicBezTo>
                  <a:pt x="372" y="263"/>
                  <a:pt x="375" y="264"/>
                  <a:pt x="376" y="265"/>
                </a:cubicBezTo>
                <a:cubicBezTo>
                  <a:pt x="377" y="266"/>
                  <a:pt x="377" y="266"/>
                  <a:pt x="377" y="266"/>
                </a:cubicBezTo>
                <a:cubicBezTo>
                  <a:pt x="378" y="270"/>
                  <a:pt x="380" y="272"/>
                  <a:pt x="381" y="272"/>
                </a:cubicBezTo>
                <a:cubicBezTo>
                  <a:pt x="382" y="272"/>
                  <a:pt x="382" y="273"/>
                  <a:pt x="383" y="274"/>
                </a:cubicBezTo>
                <a:cubicBezTo>
                  <a:pt x="384" y="275"/>
                  <a:pt x="384" y="276"/>
                  <a:pt x="386" y="276"/>
                </a:cubicBezTo>
                <a:cubicBezTo>
                  <a:pt x="387" y="276"/>
                  <a:pt x="394" y="273"/>
                  <a:pt x="399" y="271"/>
                </a:cubicBezTo>
                <a:cubicBezTo>
                  <a:pt x="406" y="268"/>
                  <a:pt x="410" y="265"/>
                  <a:pt x="410" y="264"/>
                </a:cubicBezTo>
                <a:cubicBezTo>
                  <a:pt x="410" y="256"/>
                  <a:pt x="423" y="242"/>
                  <a:pt x="433" y="238"/>
                </a:cubicBezTo>
                <a:cubicBezTo>
                  <a:pt x="433" y="238"/>
                  <a:pt x="435" y="238"/>
                  <a:pt x="436" y="237"/>
                </a:cubicBezTo>
                <a:cubicBezTo>
                  <a:pt x="444" y="235"/>
                  <a:pt x="452" y="233"/>
                  <a:pt x="452" y="230"/>
                </a:cubicBezTo>
                <a:cubicBezTo>
                  <a:pt x="452" y="222"/>
                  <a:pt x="437" y="215"/>
                  <a:pt x="430" y="215"/>
                </a:cubicBezTo>
                <a:cubicBezTo>
                  <a:pt x="429" y="215"/>
                  <a:pt x="427" y="215"/>
                  <a:pt x="426" y="216"/>
                </a:cubicBezTo>
                <a:cubicBezTo>
                  <a:pt x="424" y="217"/>
                  <a:pt x="422" y="218"/>
                  <a:pt x="420" y="216"/>
                </a:cubicBezTo>
                <a:cubicBezTo>
                  <a:pt x="420" y="216"/>
                  <a:pt x="420" y="216"/>
                  <a:pt x="420" y="216"/>
                </a:cubicBezTo>
                <a:cubicBezTo>
                  <a:pt x="420" y="216"/>
                  <a:pt x="420" y="216"/>
                  <a:pt x="420" y="216"/>
                </a:cubicBezTo>
                <a:cubicBezTo>
                  <a:pt x="416" y="215"/>
                  <a:pt x="414" y="214"/>
                  <a:pt x="411" y="212"/>
                </a:cubicBezTo>
                <a:cubicBezTo>
                  <a:pt x="409" y="211"/>
                  <a:pt x="406" y="210"/>
                  <a:pt x="403" y="209"/>
                </a:cubicBezTo>
                <a:cubicBezTo>
                  <a:pt x="400" y="208"/>
                  <a:pt x="397" y="209"/>
                  <a:pt x="395" y="210"/>
                </a:cubicBezTo>
                <a:cubicBezTo>
                  <a:pt x="394" y="211"/>
                  <a:pt x="392" y="211"/>
                  <a:pt x="391" y="211"/>
                </a:cubicBezTo>
                <a:cubicBezTo>
                  <a:pt x="388" y="211"/>
                  <a:pt x="386" y="211"/>
                  <a:pt x="384" y="210"/>
                </a:cubicBezTo>
                <a:cubicBezTo>
                  <a:pt x="381" y="210"/>
                  <a:pt x="378" y="209"/>
                  <a:pt x="372" y="211"/>
                </a:cubicBezTo>
                <a:cubicBezTo>
                  <a:pt x="372" y="211"/>
                  <a:pt x="372" y="211"/>
                  <a:pt x="372" y="211"/>
                </a:cubicBezTo>
                <a:cubicBezTo>
                  <a:pt x="372" y="212"/>
                  <a:pt x="372" y="212"/>
                  <a:pt x="372" y="212"/>
                </a:cubicBezTo>
                <a:cubicBezTo>
                  <a:pt x="372" y="214"/>
                  <a:pt x="374" y="216"/>
                  <a:pt x="375" y="219"/>
                </a:cubicBezTo>
                <a:cubicBezTo>
                  <a:pt x="376" y="221"/>
                  <a:pt x="377" y="223"/>
                  <a:pt x="377" y="224"/>
                </a:cubicBezTo>
                <a:cubicBezTo>
                  <a:pt x="377" y="230"/>
                  <a:pt x="373" y="236"/>
                  <a:pt x="369" y="241"/>
                </a:cubicBezTo>
                <a:cubicBezTo>
                  <a:pt x="365" y="247"/>
                  <a:pt x="361" y="252"/>
                  <a:pt x="361" y="258"/>
                </a:cubicBezTo>
                <a:cubicBezTo>
                  <a:pt x="361" y="261"/>
                  <a:pt x="365" y="261"/>
                  <a:pt x="369" y="262"/>
                </a:cubicBezTo>
                <a:close/>
                <a:moveTo>
                  <a:pt x="449" y="170"/>
                </a:moveTo>
                <a:cubicBezTo>
                  <a:pt x="449" y="171"/>
                  <a:pt x="450" y="172"/>
                  <a:pt x="450" y="173"/>
                </a:cubicBezTo>
                <a:cubicBezTo>
                  <a:pt x="450" y="173"/>
                  <a:pt x="451" y="173"/>
                  <a:pt x="451" y="173"/>
                </a:cubicBezTo>
                <a:cubicBezTo>
                  <a:pt x="448" y="173"/>
                  <a:pt x="446" y="175"/>
                  <a:pt x="445" y="177"/>
                </a:cubicBezTo>
                <a:cubicBezTo>
                  <a:pt x="444" y="177"/>
                  <a:pt x="444" y="177"/>
                  <a:pt x="444" y="177"/>
                </a:cubicBezTo>
                <a:cubicBezTo>
                  <a:pt x="445" y="177"/>
                  <a:pt x="445" y="177"/>
                  <a:pt x="445" y="177"/>
                </a:cubicBezTo>
                <a:cubicBezTo>
                  <a:pt x="445" y="178"/>
                  <a:pt x="445" y="178"/>
                  <a:pt x="446" y="178"/>
                </a:cubicBezTo>
                <a:cubicBezTo>
                  <a:pt x="445" y="178"/>
                  <a:pt x="443" y="178"/>
                  <a:pt x="441" y="178"/>
                </a:cubicBezTo>
                <a:cubicBezTo>
                  <a:pt x="441" y="178"/>
                  <a:pt x="441" y="178"/>
                  <a:pt x="441" y="178"/>
                </a:cubicBezTo>
                <a:cubicBezTo>
                  <a:pt x="441" y="184"/>
                  <a:pt x="441" y="184"/>
                  <a:pt x="441" y="184"/>
                </a:cubicBezTo>
                <a:cubicBezTo>
                  <a:pt x="441" y="184"/>
                  <a:pt x="441" y="184"/>
                  <a:pt x="441" y="184"/>
                </a:cubicBezTo>
                <a:cubicBezTo>
                  <a:pt x="442" y="184"/>
                  <a:pt x="442" y="184"/>
                  <a:pt x="442" y="184"/>
                </a:cubicBezTo>
                <a:cubicBezTo>
                  <a:pt x="442" y="184"/>
                  <a:pt x="441" y="184"/>
                  <a:pt x="441" y="184"/>
                </a:cubicBezTo>
                <a:cubicBezTo>
                  <a:pt x="439" y="184"/>
                  <a:pt x="438" y="185"/>
                  <a:pt x="437" y="186"/>
                </a:cubicBezTo>
                <a:cubicBezTo>
                  <a:pt x="436" y="187"/>
                  <a:pt x="435" y="188"/>
                  <a:pt x="433" y="188"/>
                </a:cubicBezTo>
                <a:cubicBezTo>
                  <a:pt x="433" y="188"/>
                  <a:pt x="433" y="188"/>
                  <a:pt x="433" y="188"/>
                </a:cubicBezTo>
                <a:cubicBezTo>
                  <a:pt x="433" y="188"/>
                  <a:pt x="433" y="188"/>
                  <a:pt x="433" y="188"/>
                </a:cubicBezTo>
                <a:cubicBezTo>
                  <a:pt x="434" y="190"/>
                  <a:pt x="434" y="190"/>
                  <a:pt x="434" y="191"/>
                </a:cubicBezTo>
                <a:cubicBezTo>
                  <a:pt x="433" y="191"/>
                  <a:pt x="433" y="192"/>
                  <a:pt x="433" y="193"/>
                </a:cubicBezTo>
                <a:cubicBezTo>
                  <a:pt x="433" y="196"/>
                  <a:pt x="436" y="199"/>
                  <a:pt x="438" y="199"/>
                </a:cubicBezTo>
                <a:cubicBezTo>
                  <a:pt x="439" y="199"/>
                  <a:pt x="440" y="200"/>
                  <a:pt x="442" y="200"/>
                </a:cubicBezTo>
                <a:cubicBezTo>
                  <a:pt x="444" y="201"/>
                  <a:pt x="447" y="202"/>
                  <a:pt x="449" y="202"/>
                </a:cubicBezTo>
                <a:cubicBezTo>
                  <a:pt x="451" y="202"/>
                  <a:pt x="453" y="201"/>
                  <a:pt x="456" y="200"/>
                </a:cubicBezTo>
                <a:cubicBezTo>
                  <a:pt x="458" y="200"/>
                  <a:pt x="460" y="199"/>
                  <a:pt x="462" y="199"/>
                </a:cubicBezTo>
                <a:cubicBezTo>
                  <a:pt x="462" y="199"/>
                  <a:pt x="462" y="199"/>
                  <a:pt x="462" y="199"/>
                </a:cubicBezTo>
                <a:cubicBezTo>
                  <a:pt x="462" y="199"/>
                  <a:pt x="462" y="199"/>
                  <a:pt x="462" y="199"/>
                </a:cubicBezTo>
                <a:cubicBezTo>
                  <a:pt x="462" y="197"/>
                  <a:pt x="464" y="195"/>
                  <a:pt x="465" y="195"/>
                </a:cubicBezTo>
                <a:cubicBezTo>
                  <a:pt x="466" y="197"/>
                  <a:pt x="467" y="198"/>
                  <a:pt x="468" y="200"/>
                </a:cubicBezTo>
                <a:cubicBezTo>
                  <a:pt x="469" y="201"/>
                  <a:pt x="469" y="201"/>
                  <a:pt x="470" y="202"/>
                </a:cubicBezTo>
                <a:cubicBezTo>
                  <a:pt x="469" y="202"/>
                  <a:pt x="469" y="202"/>
                  <a:pt x="469" y="202"/>
                </a:cubicBezTo>
                <a:cubicBezTo>
                  <a:pt x="466" y="202"/>
                  <a:pt x="464" y="202"/>
                  <a:pt x="463" y="203"/>
                </a:cubicBezTo>
                <a:cubicBezTo>
                  <a:pt x="462" y="204"/>
                  <a:pt x="462" y="205"/>
                  <a:pt x="462" y="206"/>
                </a:cubicBezTo>
                <a:cubicBezTo>
                  <a:pt x="462" y="209"/>
                  <a:pt x="467" y="212"/>
                  <a:pt x="471" y="212"/>
                </a:cubicBezTo>
                <a:cubicBezTo>
                  <a:pt x="478" y="212"/>
                  <a:pt x="485" y="209"/>
                  <a:pt x="491" y="207"/>
                </a:cubicBezTo>
                <a:cubicBezTo>
                  <a:pt x="491" y="207"/>
                  <a:pt x="493" y="206"/>
                  <a:pt x="495" y="206"/>
                </a:cubicBezTo>
                <a:cubicBezTo>
                  <a:pt x="509" y="202"/>
                  <a:pt x="511" y="201"/>
                  <a:pt x="511" y="201"/>
                </a:cubicBezTo>
                <a:cubicBezTo>
                  <a:pt x="512" y="200"/>
                  <a:pt x="517" y="201"/>
                  <a:pt x="521" y="201"/>
                </a:cubicBezTo>
                <a:cubicBezTo>
                  <a:pt x="527" y="202"/>
                  <a:pt x="530" y="202"/>
                  <a:pt x="531" y="202"/>
                </a:cubicBezTo>
                <a:cubicBezTo>
                  <a:pt x="534" y="200"/>
                  <a:pt x="542" y="190"/>
                  <a:pt x="542" y="185"/>
                </a:cubicBezTo>
                <a:cubicBezTo>
                  <a:pt x="542" y="180"/>
                  <a:pt x="538" y="176"/>
                  <a:pt x="534" y="176"/>
                </a:cubicBezTo>
                <a:cubicBezTo>
                  <a:pt x="532" y="176"/>
                  <a:pt x="530" y="177"/>
                  <a:pt x="529" y="178"/>
                </a:cubicBezTo>
                <a:cubicBezTo>
                  <a:pt x="528" y="179"/>
                  <a:pt x="527" y="180"/>
                  <a:pt x="526" y="180"/>
                </a:cubicBezTo>
                <a:cubicBezTo>
                  <a:pt x="520" y="180"/>
                  <a:pt x="515" y="172"/>
                  <a:pt x="515" y="167"/>
                </a:cubicBezTo>
                <a:cubicBezTo>
                  <a:pt x="515" y="167"/>
                  <a:pt x="515" y="167"/>
                  <a:pt x="515" y="167"/>
                </a:cubicBezTo>
                <a:cubicBezTo>
                  <a:pt x="514" y="166"/>
                  <a:pt x="514" y="165"/>
                  <a:pt x="515" y="163"/>
                </a:cubicBezTo>
                <a:cubicBezTo>
                  <a:pt x="515" y="162"/>
                  <a:pt x="515" y="162"/>
                  <a:pt x="515" y="162"/>
                </a:cubicBezTo>
                <a:cubicBezTo>
                  <a:pt x="514" y="162"/>
                  <a:pt x="514" y="162"/>
                  <a:pt x="514" y="162"/>
                </a:cubicBezTo>
                <a:cubicBezTo>
                  <a:pt x="512" y="162"/>
                  <a:pt x="510" y="161"/>
                  <a:pt x="509" y="160"/>
                </a:cubicBezTo>
                <a:cubicBezTo>
                  <a:pt x="508" y="160"/>
                  <a:pt x="508" y="160"/>
                  <a:pt x="508" y="160"/>
                </a:cubicBezTo>
                <a:cubicBezTo>
                  <a:pt x="508" y="160"/>
                  <a:pt x="508" y="160"/>
                  <a:pt x="508" y="160"/>
                </a:cubicBezTo>
                <a:cubicBezTo>
                  <a:pt x="507" y="161"/>
                  <a:pt x="506" y="162"/>
                  <a:pt x="505" y="162"/>
                </a:cubicBezTo>
                <a:cubicBezTo>
                  <a:pt x="501" y="165"/>
                  <a:pt x="497" y="167"/>
                  <a:pt x="497" y="171"/>
                </a:cubicBezTo>
                <a:cubicBezTo>
                  <a:pt x="497" y="175"/>
                  <a:pt x="502" y="177"/>
                  <a:pt x="505" y="177"/>
                </a:cubicBezTo>
                <a:cubicBezTo>
                  <a:pt x="505" y="181"/>
                  <a:pt x="505" y="181"/>
                  <a:pt x="505" y="181"/>
                </a:cubicBezTo>
                <a:cubicBezTo>
                  <a:pt x="504" y="181"/>
                  <a:pt x="502" y="182"/>
                  <a:pt x="502" y="182"/>
                </a:cubicBezTo>
                <a:cubicBezTo>
                  <a:pt x="501" y="183"/>
                  <a:pt x="501" y="183"/>
                  <a:pt x="501" y="183"/>
                </a:cubicBezTo>
                <a:cubicBezTo>
                  <a:pt x="502" y="183"/>
                  <a:pt x="502" y="183"/>
                  <a:pt x="502" y="183"/>
                </a:cubicBezTo>
                <a:cubicBezTo>
                  <a:pt x="503" y="184"/>
                  <a:pt x="505" y="184"/>
                  <a:pt x="507" y="184"/>
                </a:cubicBezTo>
                <a:cubicBezTo>
                  <a:pt x="506" y="187"/>
                  <a:pt x="505" y="188"/>
                  <a:pt x="501" y="188"/>
                </a:cubicBezTo>
                <a:cubicBezTo>
                  <a:pt x="494" y="188"/>
                  <a:pt x="489" y="184"/>
                  <a:pt x="484" y="180"/>
                </a:cubicBezTo>
                <a:cubicBezTo>
                  <a:pt x="480" y="177"/>
                  <a:pt x="476" y="175"/>
                  <a:pt x="472" y="175"/>
                </a:cubicBezTo>
                <a:cubicBezTo>
                  <a:pt x="465" y="175"/>
                  <a:pt x="465" y="175"/>
                  <a:pt x="465" y="175"/>
                </a:cubicBezTo>
                <a:cubicBezTo>
                  <a:pt x="465" y="171"/>
                  <a:pt x="461" y="169"/>
                  <a:pt x="460" y="169"/>
                </a:cubicBezTo>
                <a:cubicBezTo>
                  <a:pt x="459" y="169"/>
                  <a:pt x="458" y="169"/>
                  <a:pt x="457" y="169"/>
                </a:cubicBezTo>
                <a:cubicBezTo>
                  <a:pt x="455" y="169"/>
                  <a:pt x="453" y="169"/>
                  <a:pt x="449" y="169"/>
                </a:cubicBezTo>
                <a:cubicBezTo>
                  <a:pt x="449" y="169"/>
                  <a:pt x="449" y="169"/>
                  <a:pt x="449" y="169"/>
                </a:cubicBezTo>
                <a:lnTo>
                  <a:pt x="449" y="170"/>
                </a:lnTo>
                <a:close/>
                <a:moveTo>
                  <a:pt x="433" y="178"/>
                </a:moveTo>
                <a:cubicBezTo>
                  <a:pt x="430" y="178"/>
                  <a:pt x="423" y="179"/>
                  <a:pt x="419" y="183"/>
                </a:cubicBezTo>
                <a:cubicBezTo>
                  <a:pt x="418" y="184"/>
                  <a:pt x="418" y="185"/>
                  <a:pt x="418" y="186"/>
                </a:cubicBezTo>
                <a:cubicBezTo>
                  <a:pt x="418" y="189"/>
                  <a:pt x="421" y="191"/>
                  <a:pt x="423" y="191"/>
                </a:cubicBezTo>
                <a:cubicBezTo>
                  <a:pt x="428" y="191"/>
                  <a:pt x="432" y="183"/>
                  <a:pt x="433" y="179"/>
                </a:cubicBezTo>
                <a:cubicBezTo>
                  <a:pt x="433" y="178"/>
                  <a:pt x="433" y="178"/>
                  <a:pt x="433" y="178"/>
                </a:cubicBezTo>
                <a:close/>
                <a:moveTo>
                  <a:pt x="457" y="161"/>
                </a:moveTo>
                <a:cubicBezTo>
                  <a:pt x="457" y="164"/>
                  <a:pt x="459" y="166"/>
                  <a:pt x="461" y="166"/>
                </a:cubicBezTo>
                <a:cubicBezTo>
                  <a:pt x="468" y="166"/>
                  <a:pt x="468" y="166"/>
                  <a:pt x="468" y="166"/>
                </a:cubicBezTo>
                <a:cubicBezTo>
                  <a:pt x="468" y="161"/>
                  <a:pt x="468" y="161"/>
                  <a:pt x="468" y="161"/>
                </a:cubicBezTo>
                <a:cubicBezTo>
                  <a:pt x="457" y="161"/>
                  <a:pt x="457" y="161"/>
                  <a:pt x="457" y="161"/>
                </a:cubicBezTo>
                <a:close/>
                <a:moveTo>
                  <a:pt x="390" y="181"/>
                </a:moveTo>
                <a:cubicBezTo>
                  <a:pt x="390" y="182"/>
                  <a:pt x="390" y="182"/>
                  <a:pt x="390" y="182"/>
                </a:cubicBezTo>
                <a:cubicBezTo>
                  <a:pt x="390" y="182"/>
                  <a:pt x="390" y="182"/>
                  <a:pt x="390" y="182"/>
                </a:cubicBezTo>
                <a:cubicBezTo>
                  <a:pt x="392" y="181"/>
                  <a:pt x="393" y="181"/>
                  <a:pt x="394" y="180"/>
                </a:cubicBezTo>
                <a:cubicBezTo>
                  <a:pt x="394" y="179"/>
                  <a:pt x="395" y="179"/>
                  <a:pt x="396" y="179"/>
                </a:cubicBezTo>
                <a:cubicBezTo>
                  <a:pt x="397" y="179"/>
                  <a:pt x="398" y="179"/>
                  <a:pt x="398" y="179"/>
                </a:cubicBezTo>
                <a:cubicBezTo>
                  <a:pt x="400" y="180"/>
                  <a:pt x="402" y="180"/>
                  <a:pt x="404" y="179"/>
                </a:cubicBezTo>
                <a:cubicBezTo>
                  <a:pt x="405" y="181"/>
                  <a:pt x="407" y="184"/>
                  <a:pt x="410" y="184"/>
                </a:cubicBezTo>
                <a:cubicBezTo>
                  <a:pt x="413" y="184"/>
                  <a:pt x="416" y="180"/>
                  <a:pt x="416" y="176"/>
                </a:cubicBezTo>
                <a:cubicBezTo>
                  <a:pt x="419" y="177"/>
                  <a:pt x="421" y="176"/>
                  <a:pt x="423" y="173"/>
                </a:cubicBezTo>
                <a:cubicBezTo>
                  <a:pt x="425" y="171"/>
                  <a:pt x="426" y="169"/>
                  <a:pt x="427" y="166"/>
                </a:cubicBezTo>
                <a:cubicBezTo>
                  <a:pt x="427" y="167"/>
                  <a:pt x="428" y="168"/>
                  <a:pt x="428" y="169"/>
                </a:cubicBezTo>
                <a:cubicBezTo>
                  <a:pt x="430" y="172"/>
                  <a:pt x="431" y="175"/>
                  <a:pt x="434" y="175"/>
                </a:cubicBezTo>
                <a:cubicBezTo>
                  <a:pt x="434" y="175"/>
                  <a:pt x="434" y="175"/>
                  <a:pt x="434" y="175"/>
                </a:cubicBezTo>
                <a:cubicBezTo>
                  <a:pt x="434" y="175"/>
                  <a:pt x="434" y="175"/>
                  <a:pt x="434" y="175"/>
                </a:cubicBezTo>
                <a:cubicBezTo>
                  <a:pt x="448" y="164"/>
                  <a:pt x="448" y="164"/>
                  <a:pt x="448" y="164"/>
                </a:cubicBezTo>
                <a:cubicBezTo>
                  <a:pt x="448" y="164"/>
                  <a:pt x="448" y="164"/>
                  <a:pt x="448" y="164"/>
                </a:cubicBezTo>
                <a:cubicBezTo>
                  <a:pt x="448" y="164"/>
                  <a:pt x="448" y="164"/>
                  <a:pt x="448" y="164"/>
                </a:cubicBezTo>
                <a:cubicBezTo>
                  <a:pt x="448" y="162"/>
                  <a:pt x="447" y="161"/>
                  <a:pt x="447" y="160"/>
                </a:cubicBezTo>
                <a:cubicBezTo>
                  <a:pt x="446" y="160"/>
                  <a:pt x="446" y="159"/>
                  <a:pt x="445" y="157"/>
                </a:cubicBezTo>
                <a:cubicBezTo>
                  <a:pt x="448" y="156"/>
                  <a:pt x="449" y="154"/>
                  <a:pt x="449" y="151"/>
                </a:cubicBezTo>
                <a:cubicBezTo>
                  <a:pt x="449" y="150"/>
                  <a:pt x="449" y="150"/>
                  <a:pt x="448" y="149"/>
                </a:cubicBezTo>
                <a:cubicBezTo>
                  <a:pt x="445" y="146"/>
                  <a:pt x="431" y="150"/>
                  <a:pt x="430" y="150"/>
                </a:cubicBezTo>
                <a:cubicBezTo>
                  <a:pt x="429" y="150"/>
                  <a:pt x="429" y="150"/>
                  <a:pt x="428" y="150"/>
                </a:cubicBezTo>
                <a:cubicBezTo>
                  <a:pt x="427" y="150"/>
                  <a:pt x="426" y="149"/>
                  <a:pt x="425" y="149"/>
                </a:cubicBezTo>
                <a:cubicBezTo>
                  <a:pt x="419" y="149"/>
                  <a:pt x="417" y="153"/>
                  <a:pt x="414" y="157"/>
                </a:cubicBezTo>
                <a:cubicBezTo>
                  <a:pt x="412" y="159"/>
                  <a:pt x="411" y="161"/>
                  <a:pt x="409" y="162"/>
                </a:cubicBezTo>
                <a:cubicBezTo>
                  <a:pt x="406" y="164"/>
                  <a:pt x="403" y="165"/>
                  <a:pt x="400" y="166"/>
                </a:cubicBezTo>
                <a:cubicBezTo>
                  <a:pt x="398" y="167"/>
                  <a:pt x="396" y="168"/>
                  <a:pt x="394" y="169"/>
                </a:cubicBezTo>
                <a:cubicBezTo>
                  <a:pt x="393" y="170"/>
                  <a:pt x="391" y="171"/>
                  <a:pt x="390" y="173"/>
                </a:cubicBezTo>
                <a:cubicBezTo>
                  <a:pt x="387" y="175"/>
                  <a:pt x="387" y="176"/>
                  <a:pt x="387" y="176"/>
                </a:cubicBezTo>
                <a:cubicBezTo>
                  <a:pt x="387" y="177"/>
                  <a:pt x="388" y="177"/>
                  <a:pt x="388" y="178"/>
                </a:cubicBezTo>
                <a:cubicBezTo>
                  <a:pt x="389" y="179"/>
                  <a:pt x="390" y="180"/>
                  <a:pt x="390" y="181"/>
                </a:cubicBezTo>
                <a:close/>
                <a:moveTo>
                  <a:pt x="473" y="131"/>
                </a:moveTo>
                <a:cubicBezTo>
                  <a:pt x="474" y="131"/>
                  <a:pt x="475" y="130"/>
                  <a:pt x="476" y="130"/>
                </a:cubicBezTo>
                <a:cubicBezTo>
                  <a:pt x="477" y="130"/>
                  <a:pt x="478" y="131"/>
                  <a:pt x="479" y="131"/>
                </a:cubicBezTo>
                <a:cubicBezTo>
                  <a:pt x="480" y="132"/>
                  <a:pt x="481" y="133"/>
                  <a:pt x="483" y="133"/>
                </a:cubicBezTo>
                <a:cubicBezTo>
                  <a:pt x="497" y="133"/>
                  <a:pt x="497" y="133"/>
                  <a:pt x="497" y="133"/>
                </a:cubicBezTo>
                <a:cubicBezTo>
                  <a:pt x="500" y="133"/>
                  <a:pt x="502" y="132"/>
                  <a:pt x="504" y="130"/>
                </a:cubicBezTo>
                <a:cubicBezTo>
                  <a:pt x="504" y="130"/>
                  <a:pt x="505" y="130"/>
                  <a:pt x="505" y="129"/>
                </a:cubicBezTo>
                <a:cubicBezTo>
                  <a:pt x="505" y="129"/>
                  <a:pt x="505" y="129"/>
                  <a:pt x="505" y="129"/>
                </a:cubicBezTo>
                <a:cubicBezTo>
                  <a:pt x="505" y="129"/>
                  <a:pt x="505" y="129"/>
                  <a:pt x="505" y="129"/>
                </a:cubicBezTo>
                <a:cubicBezTo>
                  <a:pt x="504" y="124"/>
                  <a:pt x="499" y="120"/>
                  <a:pt x="492" y="120"/>
                </a:cubicBezTo>
                <a:cubicBezTo>
                  <a:pt x="490" y="120"/>
                  <a:pt x="484" y="122"/>
                  <a:pt x="479" y="124"/>
                </a:cubicBezTo>
                <a:cubicBezTo>
                  <a:pt x="475" y="126"/>
                  <a:pt x="469" y="129"/>
                  <a:pt x="469" y="132"/>
                </a:cubicBezTo>
                <a:cubicBezTo>
                  <a:pt x="469" y="133"/>
                  <a:pt x="469" y="133"/>
                  <a:pt x="469" y="133"/>
                </a:cubicBezTo>
                <a:cubicBezTo>
                  <a:pt x="470" y="133"/>
                  <a:pt x="470" y="133"/>
                  <a:pt x="470" y="133"/>
                </a:cubicBezTo>
                <a:cubicBezTo>
                  <a:pt x="471" y="133"/>
                  <a:pt x="472" y="132"/>
                  <a:pt x="473" y="131"/>
                </a:cubicBezTo>
                <a:close/>
                <a:moveTo>
                  <a:pt x="502" y="138"/>
                </a:moveTo>
                <a:cubicBezTo>
                  <a:pt x="502" y="137"/>
                  <a:pt x="502" y="137"/>
                  <a:pt x="502" y="137"/>
                </a:cubicBezTo>
                <a:cubicBezTo>
                  <a:pt x="501" y="137"/>
                  <a:pt x="501" y="137"/>
                  <a:pt x="501" y="137"/>
                </a:cubicBezTo>
                <a:cubicBezTo>
                  <a:pt x="501" y="136"/>
                  <a:pt x="499" y="134"/>
                  <a:pt x="496" y="134"/>
                </a:cubicBezTo>
                <a:cubicBezTo>
                  <a:pt x="488" y="134"/>
                  <a:pt x="470" y="135"/>
                  <a:pt x="470" y="143"/>
                </a:cubicBezTo>
                <a:cubicBezTo>
                  <a:pt x="470" y="146"/>
                  <a:pt x="476" y="153"/>
                  <a:pt x="480" y="153"/>
                </a:cubicBezTo>
                <a:cubicBezTo>
                  <a:pt x="485" y="153"/>
                  <a:pt x="492" y="151"/>
                  <a:pt x="495" y="147"/>
                </a:cubicBezTo>
                <a:cubicBezTo>
                  <a:pt x="497" y="146"/>
                  <a:pt x="497" y="144"/>
                  <a:pt x="497" y="142"/>
                </a:cubicBezTo>
                <a:cubicBezTo>
                  <a:pt x="497" y="141"/>
                  <a:pt x="497" y="141"/>
                  <a:pt x="497" y="141"/>
                </a:cubicBezTo>
                <a:cubicBezTo>
                  <a:pt x="495" y="141"/>
                  <a:pt x="495" y="141"/>
                  <a:pt x="495" y="141"/>
                </a:cubicBezTo>
                <a:cubicBezTo>
                  <a:pt x="497" y="141"/>
                  <a:pt x="500" y="140"/>
                  <a:pt x="502" y="138"/>
                </a:cubicBezTo>
                <a:close/>
                <a:moveTo>
                  <a:pt x="462" y="146"/>
                </a:moveTo>
                <a:cubicBezTo>
                  <a:pt x="464" y="146"/>
                  <a:pt x="465" y="144"/>
                  <a:pt x="466" y="142"/>
                </a:cubicBezTo>
                <a:cubicBezTo>
                  <a:pt x="467" y="141"/>
                  <a:pt x="467" y="141"/>
                  <a:pt x="467" y="141"/>
                </a:cubicBezTo>
                <a:cubicBezTo>
                  <a:pt x="467" y="141"/>
                  <a:pt x="467" y="141"/>
                  <a:pt x="467" y="141"/>
                </a:cubicBezTo>
                <a:cubicBezTo>
                  <a:pt x="466" y="141"/>
                  <a:pt x="466" y="141"/>
                  <a:pt x="466" y="141"/>
                </a:cubicBezTo>
                <a:cubicBezTo>
                  <a:pt x="466" y="141"/>
                  <a:pt x="465" y="140"/>
                  <a:pt x="465" y="140"/>
                </a:cubicBezTo>
                <a:cubicBezTo>
                  <a:pt x="462" y="138"/>
                  <a:pt x="459" y="135"/>
                  <a:pt x="457" y="136"/>
                </a:cubicBezTo>
                <a:cubicBezTo>
                  <a:pt x="456" y="137"/>
                  <a:pt x="455" y="138"/>
                  <a:pt x="455" y="140"/>
                </a:cubicBezTo>
                <a:cubicBezTo>
                  <a:pt x="455" y="142"/>
                  <a:pt x="459" y="146"/>
                  <a:pt x="462" y="146"/>
                </a:cubicBezTo>
                <a:close/>
                <a:moveTo>
                  <a:pt x="622" y="247"/>
                </a:moveTo>
                <a:cubicBezTo>
                  <a:pt x="622" y="247"/>
                  <a:pt x="622" y="247"/>
                  <a:pt x="622" y="247"/>
                </a:cubicBezTo>
                <a:cubicBezTo>
                  <a:pt x="621" y="247"/>
                  <a:pt x="619" y="246"/>
                  <a:pt x="617" y="246"/>
                </a:cubicBezTo>
                <a:cubicBezTo>
                  <a:pt x="616" y="246"/>
                  <a:pt x="616" y="246"/>
                  <a:pt x="615" y="245"/>
                </a:cubicBezTo>
                <a:cubicBezTo>
                  <a:pt x="615" y="244"/>
                  <a:pt x="615" y="244"/>
                  <a:pt x="616" y="244"/>
                </a:cubicBezTo>
                <a:cubicBezTo>
                  <a:pt x="616" y="244"/>
                  <a:pt x="616" y="243"/>
                  <a:pt x="616" y="241"/>
                </a:cubicBezTo>
                <a:cubicBezTo>
                  <a:pt x="616" y="240"/>
                  <a:pt x="616" y="239"/>
                  <a:pt x="616" y="239"/>
                </a:cubicBezTo>
                <a:cubicBezTo>
                  <a:pt x="614" y="238"/>
                  <a:pt x="610" y="239"/>
                  <a:pt x="607" y="239"/>
                </a:cubicBezTo>
                <a:cubicBezTo>
                  <a:pt x="606" y="239"/>
                  <a:pt x="606" y="239"/>
                  <a:pt x="606" y="240"/>
                </a:cubicBezTo>
                <a:cubicBezTo>
                  <a:pt x="606" y="239"/>
                  <a:pt x="607" y="238"/>
                  <a:pt x="608" y="238"/>
                </a:cubicBezTo>
                <a:cubicBezTo>
                  <a:pt x="611" y="235"/>
                  <a:pt x="615" y="232"/>
                  <a:pt x="615" y="227"/>
                </a:cubicBezTo>
                <a:cubicBezTo>
                  <a:pt x="615" y="225"/>
                  <a:pt x="612" y="223"/>
                  <a:pt x="611" y="223"/>
                </a:cubicBezTo>
                <a:cubicBezTo>
                  <a:pt x="599" y="223"/>
                  <a:pt x="599" y="223"/>
                  <a:pt x="599" y="223"/>
                </a:cubicBezTo>
                <a:cubicBezTo>
                  <a:pt x="598" y="223"/>
                  <a:pt x="597" y="223"/>
                  <a:pt x="595" y="223"/>
                </a:cubicBezTo>
                <a:cubicBezTo>
                  <a:pt x="590" y="223"/>
                  <a:pt x="584" y="223"/>
                  <a:pt x="580" y="228"/>
                </a:cubicBezTo>
                <a:cubicBezTo>
                  <a:pt x="580" y="228"/>
                  <a:pt x="580" y="228"/>
                  <a:pt x="580" y="228"/>
                </a:cubicBezTo>
                <a:cubicBezTo>
                  <a:pt x="580" y="228"/>
                  <a:pt x="580" y="228"/>
                  <a:pt x="580" y="228"/>
                </a:cubicBezTo>
                <a:cubicBezTo>
                  <a:pt x="579" y="229"/>
                  <a:pt x="579" y="229"/>
                  <a:pt x="579" y="229"/>
                </a:cubicBezTo>
                <a:cubicBezTo>
                  <a:pt x="579" y="230"/>
                  <a:pt x="578" y="230"/>
                  <a:pt x="578" y="231"/>
                </a:cubicBezTo>
                <a:cubicBezTo>
                  <a:pt x="578" y="235"/>
                  <a:pt x="582" y="235"/>
                  <a:pt x="585" y="235"/>
                </a:cubicBezTo>
                <a:cubicBezTo>
                  <a:pt x="586" y="236"/>
                  <a:pt x="587" y="236"/>
                  <a:pt x="588" y="236"/>
                </a:cubicBezTo>
                <a:cubicBezTo>
                  <a:pt x="588" y="244"/>
                  <a:pt x="588" y="244"/>
                  <a:pt x="588" y="244"/>
                </a:cubicBezTo>
                <a:cubicBezTo>
                  <a:pt x="583" y="244"/>
                  <a:pt x="583" y="244"/>
                  <a:pt x="583" y="244"/>
                </a:cubicBezTo>
                <a:cubicBezTo>
                  <a:pt x="581" y="244"/>
                  <a:pt x="578" y="243"/>
                  <a:pt x="576" y="242"/>
                </a:cubicBezTo>
                <a:cubicBezTo>
                  <a:pt x="574" y="241"/>
                  <a:pt x="572" y="240"/>
                  <a:pt x="570" y="240"/>
                </a:cubicBezTo>
                <a:cubicBezTo>
                  <a:pt x="569" y="240"/>
                  <a:pt x="569" y="240"/>
                  <a:pt x="569" y="240"/>
                </a:cubicBezTo>
                <a:cubicBezTo>
                  <a:pt x="569" y="247"/>
                  <a:pt x="569" y="247"/>
                  <a:pt x="569" y="247"/>
                </a:cubicBezTo>
                <a:cubicBezTo>
                  <a:pt x="569" y="247"/>
                  <a:pt x="569" y="247"/>
                  <a:pt x="569" y="247"/>
                </a:cubicBezTo>
                <a:cubicBezTo>
                  <a:pt x="574" y="252"/>
                  <a:pt x="579" y="254"/>
                  <a:pt x="583" y="256"/>
                </a:cubicBezTo>
                <a:cubicBezTo>
                  <a:pt x="588" y="258"/>
                  <a:pt x="592" y="261"/>
                  <a:pt x="596" y="265"/>
                </a:cubicBezTo>
                <a:cubicBezTo>
                  <a:pt x="597" y="266"/>
                  <a:pt x="597" y="267"/>
                  <a:pt x="598" y="267"/>
                </a:cubicBezTo>
                <a:cubicBezTo>
                  <a:pt x="599" y="269"/>
                  <a:pt x="600" y="271"/>
                  <a:pt x="604" y="271"/>
                </a:cubicBezTo>
                <a:cubicBezTo>
                  <a:pt x="605" y="271"/>
                  <a:pt x="606" y="270"/>
                  <a:pt x="607" y="269"/>
                </a:cubicBezTo>
                <a:cubicBezTo>
                  <a:pt x="608" y="268"/>
                  <a:pt x="609" y="267"/>
                  <a:pt x="610" y="266"/>
                </a:cubicBezTo>
                <a:cubicBezTo>
                  <a:pt x="612" y="265"/>
                  <a:pt x="614" y="265"/>
                  <a:pt x="615" y="264"/>
                </a:cubicBezTo>
                <a:cubicBezTo>
                  <a:pt x="620" y="263"/>
                  <a:pt x="621" y="263"/>
                  <a:pt x="622" y="248"/>
                </a:cubicBezTo>
                <a:lnTo>
                  <a:pt x="622" y="247"/>
                </a:lnTo>
                <a:close/>
                <a:moveTo>
                  <a:pt x="586" y="190"/>
                </a:moveTo>
                <a:cubicBezTo>
                  <a:pt x="586" y="190"/>
                  <a:pt x="586" y="190"/>
                  <a:pt x="586" y="190"/>
                </a:cubicBezTo>
                <a:cubicBezTo>
                  <a:pt x="586" y="190"/>
                  <a:pt x="586" y="190"/>
                  <a:pt x="586" y="190"/>
                </a:cubicBezTo>
                <a:close/>
                <a:moveTo>
                  <a:pt x="554" y="166"/>
                </a:moveTo>
                <a:cubicBezTo>
                  <a:pt x="550" y="166"/>
                  <a:pt x="550" y="166"/>
                  <a:pt x="550" y="166"/>
                </a:cubicBezTo>
                <a:cubicBezTo>
                  <a:pt x="550" y="166"/>
                  <a:pt x="550" y="166"/>
                  <a:pt x="550" y="166"/>
                </a:cubicBezTo>
                <a:cubicBezTo>
                  <a:pt x="550" y="168"/>
                  <a:pt x="550" y="169"/>
                  <a:pt x="551" y="169"/>
                </a:cubicBezTo>
                <a:cubicBezTo>
                  <a:pt x="551" y="176"/>
                  <a:pt x="551" y="176"/>
                  <a:pt x="551" y="176"/>
                </a:cubicBezTo>
                <a:cubicBezTo>
                  <a:pt x="551" y="176"/>
                  <a:pt x="551" y="176"/>
                  <a:pt x="551" y="176"/>
                </a:cubicBezTo>
                <a:cubicBezTo>
                  <a:pt x="552" y="177"/>
                  <a:pt x="552" y="177"/>
                  <a:pt x="552" y="177"/>
                </a:cubicBezTo>
                <a:cubicBezTo>
                  <a:pt x="554" y="179"/>
                  <a:pt x="556" y="181"/>
                  <a:pt x="559" y="180"/>
                </a:cubicBezTo>
                <a:cubicBezTo>
                  <a:pt x="559" y="183"/>
                  <a:pt x="559" y="183"/>
                  <a:pt x="559" y="183"/>
                </a:cubicBezTo>
                <a:cubicBezTo>
                  <a:pt x="560" y="183"/>
                  <a:pt x="560" y="183"/>
                  <a:pt x="560" y="183"/>
                </a:cubicBezTo>
                <a:cubicBezTo>
                  <a:pt x="564" y="183"/>
                  <a:pt x="564" y="183"/>
                  <a:pt x="564" y="183"/>
                </a:cubicBezTo>
                <a:cubicBezTo>
                  <a:pt x="564" y="186"/>
                  <a:pt x="566" y="188"/>
                  <a:pt x="568" y="188"/>
                </a:cubicBezTo>
                <a:cubicBezTo>
                  <a:pt x="571" y="188"/>
                  <a:pt x="576" y="187"/>
                  <a:pt x="580" y="186"/>
                </a:cubicBezTo>
                <a:cubicBezTo>
                  <a:pt x="584" y="185"/>
                  <a:pt x="588" y="184"/>
                  <a:pt x="591" y="184"/>
                </a:cubicBezTo>
                <a:cubicBezTo>
                  <a:pt x="591" y="184"/>
                  <a:pt x="593" y="184"/>
                  <a:pt x="593" y="185"/>
                </a:cubicBezTo>
                <a:cubicBezTo>
                  <a:pt x="593" y="185"/>
                  <a:pt x="592" y="186"/>
                  <a:pt x="591" y="186"/>
                </a:cubicBezTo>
                <a:cubicBezTo>
                  <a:pt x="588" y="187"/>
                  <a:pt x="586" y="188"/>
                  <a:pt x="586" y="190"/>
                </a:cubicBezTo>
                <a:cubicBezTo>
                  <a:pt x="586" y="191"/>
                  <a:pt x="586" y="192"/>
                  <a:pt x="586" y="193"/>
                </a:cubicBezTo>
                <a:cubicBezTo>
                  <a:pt x="585" y="194"/>
                  <a:pt x="584" y="196"/>
                  <a:pt x="584" y="197"/>
                </a:cubicBezTo>
                <a:cubicBezTo>
                  <a:pt x="585" y="198"/>
                  <a:pt x="585" y="198"/>
                  <a:pt x="585" y="198"/>
                </a:cubicBezTo>
                <a:cubicBezTo>
                  <a:pt x="586" y="200"/>
                  <a:pt x="589" y="200"/>
                  <a:pt x="593" y="199"/>
                </a:cubicBezTo>
                <a:cubicBezTo>
                  <a:pt x="593" y="199"/>
                  <a:pt x="594" y="199"/>
                  <a:pt x="594" y="199"/>
                </a:cubicBezTo>
                <a:cubicBezTo>
                  <a:pt x="596" y="199"/>
                  <a:pt x="602" y="199"/>
                  <a:pt x="607" y="197"/>
                </a:cubicBezTo>
                <a:cubicBezTo>
                  <a:pt x="607" y="197"/>
                  <a:pt x="607" y="197"/>
                  <a:pt x="607" y="197"/>
                </a:cubicBezTo>
                <a:cubicBezTo>
                  <a:pt x="607" y="197"/>
                  <a:pt x="607" y="197"/>
                  <a:pt x="607" y="197"/>
                </a:cubicBezTo>
                <a:cubicBezTo>
                  <a:pt x="606" y="191"/>
                  <a:pt x="607" y="188"/>
                  <a:pt x="608" y="184"/>
                </a:cubicBezTo>
                <a:cubicBezTo>
                  <a:pt x="609" y="181"/>
                  <a:pt x="609" y="178"/>
                  <a:pt x="609" y="175"/>
                </a:cubicBezTo>
                <a:cubicBezTo>
                  <a:pt x="609" y="172"/>
                  <a:pt x="609" y="170"/>
                  <a:pt x="608" y="168"/>
                </a:cubicBezTo>
                <a:cubicBezTo>
                  <a:pt x="607" y="167"/>
                  <a:pt x="606" y="166"/>
                  <a:pt x="603" y="166"/>
                </a:cubicBezTo>
                <a:cubicBezTo>
                  <a:pt x="602" y="166"/>
                  <a:pt x="601" y="167"/>
                  <a:pt x="600" y="167"/>
                </a:cubicBezTo>
                <a:cubicBezTo>
                  <a:pt x="599" y="168"/>
                  <a:pt x="598" y="169"/>
                  <a:pt x="597" y="169"/>
                </a:cubicBezTo>
                <a:cubicBezTo>
                  <a:pt x="594" y="169"/>
                  <a:pt x="591" y="168"/>
                  <a:pt x="589" y="167"/>
                </a:cubicBezTo>
                <a:cubicBezTo>
                  <a:pt x="587" y="166"/>
                  <a:pt x="585" y="165"/>
                  <a:pt x="583" y="165"/>
                </a:cubicBezTo>
                <a:cubicBezTo>
                  <a:pt x="582" y="165"/>
                  <a:pt x="582" y="165"/>
                  <a:pt x="581" y="165"/>
                </a:cubicBezTo>
                <a:cubicBezTo>
                  <a:pt x="580" y="165"/>
                  <a:pt x="579" y="165"/>
                  <a:pt x="577" y="166"/>
                </a:cubicBezTo>
                <a:cubicBezTo>
                  <a:pt x="577" y="166"/>
                  <a:pt x="577" y="166"/>
                  <a:pt x="577" y="166"/>
                </a:cubicBezTo>
                <a:cubicBezTo>
                  <a:pt x="577" y="166"/>
                  <a:pt x="577" y="166"/>
                  <a:pt x="577" y="166"/>
                </a:cubicBezTo>
                <a:cubicBezTo>
                  <a:pt x="578" y="171"/>
                  <a:pt x="583" y="171"/>
                  <a:pt x="588" y="171"/>
                </a:cubicBezTo>
                <a:cubicBezTo>
                  <a:pt x="588" y="178"/>
                  <a:pt x="588" y="178"/>
                  <a:pt x="588" y="178"/>
                </a:cubicBezTo>
                <a:cubicBezTo>
                  <a:pt x="584" y="178"/>
                  <a:pt x="582" y="176"/>
                  <a:pt x="579" y="174"/>
                </a:cubicBezTo>
                <a:cubicBezTo>
                  <a:pt x="577" y="172"/>
                  <a:pt x="575" y="170"/>
                  <a:pt x="571" y="170"/>
                </a:cubicBezTo>
                <a:cubicBezTo>
                  <a:pt x="571" y="170"/>
                  <a:pt x="571" y="170"/>
                  <a:pt x="571" y="170"/>
                </a:cubicBezTo>
                <a:cubicBezTo>
                  <a:pt x="571" y="175"/>
                  <a:pt x="571" y="175"/>
                  <a:pt x="571" y="175"/>
                </a:cubicBezTo>
                <a:cubicBezTo>
                  <a:pt x="571" y="175"/>
                  <a:pt x="571" y="175"/>
                  <a:pt x="571" y="175"/>
                </a:cubicBezTo>
                <a:cubicBezTo>
                  <a:pt x="572" y="177"/>
                  <a:pt x="574" y="179"/>
                  <a:pt x="576" y="181"/>
                </a:cubicBezTo>
                <a:cubicBezTo>
                  <a:pt x="572" y="182"/>
                  <a:pt x="569" y="178"/>
                  <a:pt x="565" y="174"/>
                </a:cubicBezTo>
                <a:cubicBezTo>
                  <a:pt x="562" y="170"/>
                  <a:pt x="559" y="166"/>
                  <a:pt x="554" y="166"/>
                </a:cubicBezTo>
                <a:close/>
                <a:moveTo>
                  <a:pt x="605" y="304"/>
                </a:moveTo>
                <a:cubicBezTo>
                  <a:pt x="604" y="306"/>
                  <a:pt x="603" y="308"/>
                  <a:pt x="602" y="309"/>
                </a:cubicBezTo>
                <a:cubicBezTo>
                  <a:pt x="602" y="309"/>
                  <a:pt x="601" y="309"/>
                  <a:pt x="600" y="309"/>
                </a:cubicBezTo>
                <a:cubicBezTo>
                  <a:pt x="598" y="309"/>
                  <a:pt x="596" y="309"/>
                  <a:pt x="595" y="310"/>
                </a:cubicBezTo>
                <a:cubicBezTo>
                  <a:pt x="595" y="311"/>
                  <a:pt x="595" y="311"/>
                  <a:pt x="595" y="311"/>
                </a:cubicBezTo>
                <a:cubicBezTo>
                  <a:pt x="595" y="311"/>
                  <a:pt x="595" y="312"/>
                  <a:pt x="599" y="314"/>
                </a:cubicBezTo>
                <a:cubicBezTo>
                  <a:pt x="601" y="315"/>
                  <a:pt x="604" y="316"/>
                  <a:pt x="607" y="317"/>
                </a:cubicBezTo>
                <a:cubicBezTo>
                  <a:pt x="613" y="319"/>
                  <a:pt x="620" y="322"/>
                  <a:pt x="622" y="322"/>
                </a:cubicBezTo>
                <a:cubicBezTo>
                  <a:pt x="624" y="322"/>
                  <a:pt x="626" y="320"/>
                  <a:pt x="627" y="319"/>
                </a:cubicBezTo>
                <a:cubicBezTo>
                  <a:pt x="628" y="318"/>
                  <a:pt x="629" y="317"/>
                  <a:pt x="630" y="316"/>
                </a:cubicBezTo>
                <a:cubicBezTo>
                  <a:pt x="630" y="316"/>
                  <a:pt x="630" y="316"/>
                  <a:pt x="630" y="316"/>
                </a:cubicBezTo>
                <a:cubicBezTo>
                  <a:pt x="630" y="316"/>
                  <a:pt x="630" y="316"/>
                  <a:pt x="630" y="316"/>
                </a:cubicBezTo>
                <a:cubicBezTo>
                  <a:pt x="628" y="311"/>
                  <a:pt x="615" y="298"/>
                  <a:pt x="611" y="298"/>
                </a:cubicBezTo>
                <a:cubicBezTo>
                  <a:pt x="607" y="298"/>
                  <a:pt x="606" y="301"/>
                  <a:pt x="605" y="304"/>
                </a:cubicBezTo>
                <a:close/>
                <a:moveTo>
                  <a:pt x="674" y="220"/>
                </a:moveTo>
                <a:cubicBezTo>
                  <a:pt x="674" y="220"/>
                  <a:pt x="674" y="220"/>
                  <a:pt x="674" y="220"/>
                </a:cubicBezTo>
                <a:cubicBezTo>
                  <a:pt x="668" y="220"/>
                  <a:pt x="663" y="219"/>
                  <a:pt x="658" y="218"/>
                </a:cubicBezTo>
                <a:cubicBezTo>
                  <a:pt x="654" y="217"/>
                  <a:pt x="649" y="216"/>
                  <a:pt x="644" y="216"/>
                </a:cubicBezTo>
                <a:cubicBezTo>
                  <a:pt x="637" y="216"/>
                  <a:pt x="635" y="221"/>
                  <a:pt x="635" y="221"/>
                </a:cubicBezTo>
                <a:cubicBezTo>
                  <a:pt x="635" y="223"/>
                  <a:pt x="635" y="223"/>
                  <a:pt x="635" y="223"/>
                </a:cubicBezTo>
                <a:cubicBezTo>
                  <a:pt x="635" y="223"/>
                  <a:pt x="635" y="224"/>
                  <a:pt x="635" y="224"/>
                </a:cubicBezTo>
                <a:cubicBezTo>
                  <a:pt x="628" y="224"/>
                  <a:pt x="628" y="224"/>
                  <a:pt x="628" y="224"/>
                </a:cubicBezTo>
                <a:cubicBezTo>
                  <a:pt x="628" y="231"/>
                  <a:pt x="628" y="231"/>
                  <a:pt x="628" y="231"/>
                </a:cubicBezTo>
                <a:cubicBezTo>
                  <a:pt x="628" y="231"/>
                  <a:pt x="628" y="231"/>
                  <a:pt x="628" y="231"/>
                </a:cubicBezTo>
                <a:cubicBezTo>
                  <a:pt x="629" y="233"/>
                  <a:pt x="629" y="236"/>
                  <a:pt x="629" y="238"/>
                </a:cubicBezTo>
                <a:cubicBezTo>
                  <a:pt x="629" y="241"/>
                  <a:pt x="630" y="244"/>
                  <a:pt x="633" y="248"/>
                </a:cubicBezTo>
                <a:cubicBezTo>
                  <a:pt x="632" y="250"/>
                  <a:pt x="632" y="254"/>
                  <a:pt x="632" y="258"/>
                </a:cubicBezTo>
                <a:cubicBezTo>
                  <a:pt x="632" y="258"/>
                  <a:pt x="632" y="258"/>
                  <a:pt x="632" y="258"/>
                </a:cubicBezTo>
                <a:cubicBezTo>
                  <a:pt x="639" y="258"/>
                  <a:pt x="639" y="258"/>
                  <a:pt x="639" y="258"/>
                </a:cubicBezTo>
                <a:cubicBezTo>
                  <a:pt x="639" y="258"/>
                  <a:pt x="639" y="258"/>
                  <a:pt x="639" y="258"/>
                </a:cubicBezTo>
                <a:cubicBezTo>
                  <a:pt x="640" y="257"/>
                  <a:pt x="641" y="257"/>
                  <a:pt x="641" y="256"/>
                </a:cubicBezTo>
                <a:cubicBezTo>
                  <a:pt x="644" y="253"/>
                  <a:pt x="646" y="252"/>
                  <a:pt x="646" y="247"/>
                </a:cubicBezTo>
                <a:cubicBezTo>
                  <a:pt x="646" y="246"/>
                  <a:pt x="646" y="246"/>
                  <a:pt x="646" y="246"/>
                </a:cubicBezTo>
                <a:cubicBezTo>
                  <a:pt x="643" y="246"/>
                  <a:pt x="643" y="246"/>
                  <a:pt x="643" y="246"/>
                </a:cubicBezTo>
                <a:cubicBezTo>
                  <a:pt x="643" y="244"/>
                  <a:pt x="643" y="243"/>
                  <a:pt x="644" y="243"/>
                </a:cubicBezTo>
                <a:cubicBezTo>
                  <a:pt x="644" y="243"/>
                  <a:pt x="645" y="243"/>
                  <a:pt x="645" y="243"/>
                </a:cubicBezTo>
                <a:cubicBezTo>
                  <a:pt x="646" y="244"/>
                  <a:pt x="648" y="244"/>
                  <a:pt x="651" y="244"/>
                </a:cubicBezTo>
                <a:cubicBezTo>
                  <a:pt x="660" y="244"/>
                  <a:pt x="664" y="238"/>
                  <a:pt x="668" y="231"/>
                </a:cubicBezTo>
                <a:cubicBezTo>
                  <a:pt x="668" y="230"/>
                  <a:pt x="668" y="230"/>
                  <a:pt x="668" y="230"/>
                </a:cubicBezTo>
                <a:cubicBezTo>
                  <a:pt x="674" y="226"/>
                  <a:pt x="674" y="225"/>
                  <a:pt x="674" y="225"/>
                </a:cubicBezTo>
                <a:cubicBezTo>
                  <a:pt x="674" y="224"/>
                  <a:pt x="674" y="224"/>
                  <a:pt x="674" y="223"/>
                </a:cubicBezTo>
                <a:cubicBezTo>
                  <a:pt x="674" y="222"/>
                  <a:pt x="674" y="222"/>
                  <a:pt x="674" y="220"/>
                </a:cubicBezTo>
                <a:close/>
                <a:moveTo>
                  <a:pt x="547" y="156"/>
                </a:moveTo>
                <a:cubicBezTo>
                  <a:pt x="549" y="156"/>
                  <a:pt x="551" y="154"/>
                  <a:pt x="551" y="152"/>
                </a:cubicBezTo>
                <a:cubicBezTo>
                  <a:pt x="551" y="151"/>
                  <a:pt x="551" y="151"/>
                  <a:pt x="551" y="151"/>
                </a:cubicBezTo>
                <a:cubicBezTo>
                  <a:pt x="551" y="151"/>
                  <a:pt x="551" y="151"/>
                  <a:pt x="551" y="151"/>
                </a:cubicBezTo>
                <a:cubicBezTo>
                  <a:pt x="548" y="150"/>
                  <a:pt x="547" y="148"/>
                  <a:pt x="545" y="147"/>
                </a:cubicBezTo>
                <a:cubicBezTo>
                  <a:pt x="543" y="144"/>
                  <a:pt x="541" y="141"/>
                  <a:pt x="536" y="141"/>
                </a:cubicBezTo>
                <a:cubicBezTo>
                  <a:pt x="535" y="141"/>
                  <a:pt x="535" y="141"/>
                  <a:pt x="535" y="141"/>
                </a:cubicBezTo>
                <a:cubicBezTo>
                  <a:pt x="535" y="142"/>
                  <a:pt x="535" y="142"/>
                  <a:pt x="535" y="142"/>
                </a:cubicBezTo>
                <a:cubicBezTo>
                  <a:pt x="535" y="147"/>
                  <a:pt x="543" y="156"/>
                  <a:pt x="547" y="156"/>
                </a:cubicBezTo>
                <a:close/>
                <a:moveTo>
                  <a:pt x="545" y="198"/>
                </a:moveTo>
                <a:cubicBezTo>
                  <a:pt x="545" y="199"/>
                  <a:pt x="545" y="199"/>
                  <a:pt x="545" y="199"/>
                </a:cubicBezTo>
                <a:cubicBezTo>
                  <a:pt x="545" y="199"/>
                  <a:pt x="545" y="199"/>
                  <a:pt x="545" y="199"/>
                </a:cubicBezTo>
                <a:cubicBezTo>
                  <a:pt x="546" y="199"/>
                  <a:pt x="547" y="199"/>
                  <a:pt x="548" y="199"/>
                </a:cubicBezTo>
                <a:cubicBezTo>
                  <a:pt x="549" y="199"/>
                  <a:pt x="550" y="199"/>
                  <a:pt x="551" y="199"/>
                </a:cubicBezTo>
                <a:cubicBezTo>
                  <a:pt x="552" y="199"/>
                  <a:pt x="556" y="199"/>
                  <a:pt x="556" y="194"/>
                </a:cubicBezTo>
                <a:cubicBezTo>
                  <a:pt x="556" y="192"/>
                  <a:pt x="555" y="191"/>
                  <a:pt x="555" y="190"/>
                </a:cubicBezTo>
                <a:cubicBezTo>
                  <a:pt x="555" y="190"/>
                  <a:pt x="554" y="189"/>
                  <a:pt x="554" y="189"/>
                </a:cubicBezTo>
                <a:cubicBezTo>
                  <a:pt x="554" y="188"/>
                  <a:pt x="554" y="188"/>
                  <a:pt x="554" y="188"/>
                </a:cubicBezTo>
                <a:cubicBezTo>
                  <a:pt x="554" y="189"/>
                  <a:pt x="554" y="189"/>
                  <a:pt x="554" y="189"/>
                </a:cubicBezTo>
                <a:cubicBezTo>
                  <a:pt x="549" y="190"/>
                  <a:pt x="546" y="192"/>
                  <a:pt x="545" y="198"/>
                </a:cubicBezTo>
                <a:close/>
                <a:moveTo>
                  <a:pt x="544" y="115"/>
                </a:moveTo>
                <a:cubicBezTo>
                  <a:pt x="544" y="116"/>
                  <a:pt x="543" y="118"/>
                  <a:pt x="543" y="118"/>
                </a:cubicBezTo>
                <a:cubicBezTo>
                  <a:pt x="542" y="118"/>
                  <a:pt x="542" y="118"/>
                  <a:pt x="542" y="118"/>
                </a:cubicBezTo>
                <a:cubicBezTo>
                  <a:pt x="543" y="119"/>
                  <a:pt x="543" y="119"/>
                  <a:pt x="543" y="119"/>
                </a:cubicBezTo>
                <a:cubicBezTo>
                  <a:pt x="544" y="120"/>
                  <a:pt x="545" y="120"/>
                  <a:pt x="548" y="119"/>
                </a:cubicBezTo>
                <a:cubicBezTo>
                  <a:pt x="549" y="119"/>
                  <a:pt x="551" y="119"/>
                  <a:pt x="553" y="119"/>
                </a:cubicBezTo>
                <a:cubicBezTo>
                  <a:pt x="553" y="120"/>
                  <a:pt x="553" y="121"/>
                  <a:pt x="553" y="122"/>
                </a:cubicBezTo>
                <a:cubicBezTo>
                  <a:pt x="552" y="123"/>
                  <a:pt x="551" y="123"/>
                  <a:pt x="550" y="123"/>
                </a:cubicBezTo>
                <a:cubicBezTo>
                  <a:pt x="548" y="124"/>
                  <a:pt x="546" y="124"/>
                  <a:pt x="544" y="127"/>
                </a:cubicBezTo>
                <a:cubicBezTo>
                  <a:pt x="544" y="127"/>
                  <a:pt x="544" y="127"/>
                  <a:pt x="544" y="127"/>
                </a:cubicBezTo>
                <a:cubicBezTo>
                  <a:pt x="544" y="127"/>
                  <a:pt x="544" y="127"/>
                  <a:pt x="544" y="127"/>
                </a:cubicBezTo>
                <a:cubicBezTo>
                  <a:pt x="547" y="130"/>
                  <a:pt x="548" y="130"/>
                  <a:pt x="552" y="130"/>
                </a:cubicBezTo>
                <a:cubicBezTo>
                  <a:pt x="553" y="130"/>
                  <a:pt x="553" y="130"/>
                  <a:pt x="553" y="130"/>
                </a:cubicBezTo>
                <a:cubicBezTo>
                  <a:pt x="554" y="130"/>
                  <a:pt x="555" y="130"/>
                  <a:pt x="556" y="130"/>
                </a:cubicBezTo>
                <a:cubicBezTo>
                  <a:pt x="559" y="129"/>
                  <a:pt x="562" y="129"/>
                  <a:pt x="563" y="131"/>
                </a:cubicBezTo>
                <a:cubicBezTo>
                  <a:pt x="563" y="131"/>
                  <a:pt x="563" y="131"/>
                  <a:pt x="563" y="131"/>
                </a:cubicBezTo>
                <a:cubicBezTo>
                  <a:pt x="563" y="131"/>
                  <a:pt x="563" y="131"/>
                  <a:pt x="563" y="131"/>
                </a:cubicBezTo>
                <a:cubicBezTo>
                  <a:pt x="566" y="131"/>
                  <a:pt x="568" y="132"/>
                  <a:pt x="571" y="132"/>
                </a:cubicBezTo>
                <a:cubicBezTo>
                  <a:pt x="573" y="132"/>
                  <a:pt x="575" y="133"/>
                  <a:pt x="577" y="133"/>
                </a:cubicBezTo>
                <a:cubicBezTo>
                  <a:pt x="581" y="133"/>
                  <a:pt x="582" y="135"/>
                  <a:pt x="584" y="137"/>
                </a:cubicBezTo>
                <a:cubicBezTo>
                  <a:pt x="586" y="139"/>
                  <a:pt x="587" y="142"/>
                  <a:pt x="591" y="142"/>
                </a:cubicBezTo>
                <a:cubicBezTo>
                  <a:pt x="594" y="142"/>
                  <a:pt x="597" y="140"/>
                  <a:pt x="597" y="137"/>
                </a:cubicBezTo>
                <a:cubicBezTo>
                  <a:pt x="597" y="134"/>
                  <a:pt x="594" y="132"/>
                  <a:pt x="592" y="130"/>
                </a:cubicBezTo>
                <a:cubicBezTo>
                  <a:pt x="590" y="129"/>
                  <a:pt x="589" y="128"/>
                  <a:pt x="589" y="127"/>
                </a:cubicBezTo>
                <a:cubicBezTo>
                  <a:pt x="589" y="127"/>
                  <a:pt x="589" y="126"/>
                  <a:pt x="590" y="126"/>
                </a:cubicBezTo>
                <a:cubicBezTo>
                  <a:pt x="590" y="125"/>
                  <a:pt x="591" y="124"/>
                  <a:pt x="591" y="124"/>
                </a:cubicBezTo>
                <a:cubicBezTo>
                  <a:pt x="591" y="124"/>
                  <a:pt x="591" y="124"/>
                  <a:pt x="591" y="124"/>
                </a:cubicBezTo>
                <a:cubicBezTo>
                  <a:pt x="591" y="123"/>
                  <a:pt x="591" y="123"/>
                  <a:pt x="591" y="123"/>
                </a:cubicBezTo>
                <a:cubicBezTo>
                  <a:pt x="591" y="123"/>
                  <a:pt x="590" y="123"/>
                  <a:pt x="590" y="122"/>
                </a:cubicBezTo>
                <a:cubicBezTo>
                  <a:pt x="588" y="119"/>
                  <a:pt x="585" y="115"/>
                  <a:pt x="581" y="115"/>
                </a:cubicBezTo>
                <a:cubicBezTo>
                  <a:pt x="580" y="115"/>
                  <a:pt x="580" y="116"/>
                  <a:pt x="579" y="117"/>
                </a:cubicBezTo>
                <a:cubicBezTo>
                  <a:pt x="578" y="117"/>
                  <a:pt x="578" y="118"/>
                  <a:pt x="577" y="118"/>
                </a:cubicBezTo>
                <a:cubicBezTo>
                  <a:pt x="575" y="118"/>
                  <a:pt x="575" y="117"/>
                  <a:pt x="574" y="115"/>
                </a:cubicBezTo>
                <a:cubicBezTo>
                  <a:pt x="573" y="113"/>
                  <a:pt x="571" y="110"/>
                  <a:pt x="567" y="110"/>
                </a:cubicBezTo>
                <a:cubicBezTo>
                  <a:pt x="566" y="110"/>
                  <a:pt x="565" y="111"/>
                  <a:pt x="564" y="111"/>
                </a:cubicBezTo>
                <a:cubicBezTo>
                  <a:pt x="563" y="112"/>
                  <a:pt x="562" y="113"/>
                  <a:pt x="561" y="113"/>
                </a:cubicBezTo>
                <a:cubicBezTo>
                  <a:pt x="560" y="113"/>
                  <a:pt x="559" y="112"/>
                  <a:pt x="557" y="110"/>
                </a:cubicBezTo>
                <a:cubicBezTo>
                  <a:pt x="556" y="109"/>
                  <a:pt x="553" y="107"/>
                  <a:pt x="550" y="107"/>
                </a:cubicBezTo>
                <a:cubicBezTo>
                  <a:pt x="547" y="107"/>
                  <a:pt x="546" y="107"/>
                  <a:pt x="544" y="108"/>
                </a:cubicBezTo>
                <a:cubicBezTo>
                  <a:pt x="543" y="108"/>
                  <a:pt x="541" y="109"/>
                  <a:pt x="540" y="109"/>
                </a:cubicBezTo>
                <a:cubicBezTo>
                  <a:pt x="539" y="109"/>
                  <a:pt x="539" y="109"/>
                  <a:pt x="539" y="109"/>
                </a:cubicBezTo>
                <a:cubicBezTo>
                  <a:pt x="539" y="110"/>
                  <a:pt x="539" y="110"/>
                  <a:pt x="539" y="110"/>
                </a:cubicBezTo>
                <a:cubicBezTo>
                  <a:pt x="539" y="114"/>
                  <a:pt x="541" y="115"/>
                  <a:pt x="544" y="115"/>
                </a:cubicBezTo>
                <a:close/>
                <a:moveTo>
                  <a:pt x="568" y="142"/>
                </a:moveTo>
                <a:cubicBezTo>
                  <a:pt x="573" y="142"/>
                  <a:pt x="576" y="142"/>
                  <a:pt x="578" y="140"/>
                </a:cubicBezTo>
                <a:cubicBezTo>
                  <a:pt x="578" y="139"/>
                  <a:pt x="578" y="139"/>
                  <a:pt x="578" y="139"/>
                </a:cubicBezTo>
                <a:cubicBezTo>
                  <a:pt x="578" y="139"/>
                  <a:pt x="578" y="139"/>
                  <a:pt x="578" y="139"/>
                </a:cubicBezTo>
                <a:cubicBezTo>
                  <a:pt x="577" y="139"/>
                  <a:pt x="576" y="138"/>
                  <a:pt x="575" y="138"/>
                </a:cubicBezTo>
                <a:cubicBezTo>
                  <a:pt x="574" y="137"/>
                  <a:pt x="573" y="136"/>
                  <a:pt x="571" y="136"/>
                </a:cubicBezTo>
                <a:cubicBezTo>
                  <a:pt x="570" y="136"/>
                  <a:pt x="565" y="139"/>
                  <a:pt x="565" y="141"/>
                </a:cubicBezTo>
                <a:cubicBezTo>
                  <a:pt x="565" y="141"/>
                  <a:pt x="565" y="142"/>
                  <a:pt x="566" y="142"/>
                </a:cubicBezTo>
                <a:cubicBezTo>
                  <a:pt x="566" y="142"/>
                  <a:pt x="567" y="142"/>
                  <a:pt x="568" y="142"/>
                </a:cubicBezTo>
                <a:close/>
                <a:moveTo>
                  <a:pt x="686" y="204"/>
                </a:moveTo>
                <a:cubicBezTo>
                  <a:pt x="689" y="204"/>
                  <a:pt x="689" y="204"/>
                  <a:pt x="689" y="204"/>
                </a:cubicBezTo>
                <a:cubicBezTo>
                  <a:pt x="689" y="206"/>
                  <a:pt x="690" y="207"/>
                  <a:pt x="691" y="208"/>
                </a:cubicBezTo>
                <a:cubicBezTo>
                  <a:pt x="694" y="211"/>
                  <a:pt x="700" y="211"/>
                  <a:pt x="705" y="210"/>
                </a:cubicBezTo>
                <a:cubicBezTo>
                  <a:pt x="730" y="210"/>
                  <a:pt x="730" y="210"/>
                  <a:pt x="730" y="210"/>
                </a:cubicBezTo>
                <a:cubicBezTo>
                  <a:pt x="730" y="210"/>
                  <a:pt x="730" y="210"/>
                  <a:pt x="730" y="210"/>
                </a:cubicBezTo>
                <a:cubicBezTo>
                  <a:pt x="731" y="209"/>
                  <a:pt x="731" y="208"/>
                  <a:pt x="732" y="208"/>
                </a:cubicBezTo>
                <a:cubicBezTo>
                  <a:pt x="733" y="207"/>
                  <a:pt x="734" y="206"/>
                  <a:pt x="737" y="205"/>
                </a:cubicBezTo>
                <a:cubicBezTo>
                  <a:pt x="738" y="208"/>
                  <a:pt x="740" y="210"/>
                  <a:pt x="744" y="210"/>
                </a:cubicBezTo>
                <a:cubicBezTo>
                  <a:pt x="749" y="210"/>
                  <a:pt x="755" y="210"/>
                  <a:pt x="760" y="209"/>
                </a:cubicBezTo>
                <a:cubicBezTo>
                  <a:pt x="766" y="207"/>
                  <a:pt x="769" y="203"/>
                  <a:pt x="770" y="198"/>
                </a:cubicBezTo>
                <a:cubicBezTo>
                  <a:pt x="770" y="197"/>
                  <a:pt x="770" y="197"/>
                  <a:pt x="770" y="197"/>
                </a:cubicBezTo>
                <a:cubicBezTo>
                  <a:pt x="769" y="197"/>
                  <a:pt x="769" y="197"/>
                  <a:pt x="769" y="197"/>
                </a:cubicBezTo>
                <a:cubicBezTo>
                  <a:pt x="769" y="197"/>
                  <a:pt x="768" y="197"/>
                  <a:pt x="766" y="197"/>
                </a:cubicBezTo>
                <a:cubicBezTo>
                  <a:pt x="766" y="196"/>
                  <a:pt x="766" y="195"/>
                  <a:pt x="767" y="195"/>
                </a:cubicBezTo>
                <a:cubicBezTo>
                  <a:pt x="768" y="194"/>
                  <a:pt x="769" y="194"/>
                  <a:pt x="769" y="194"/>
                </a:cubicBezTo>
                <a:cubicBezTo>
                  <a:pt x="770" y="194"/>
                  <a:pt x="770" y="194"/>
                  <a:pt x="770" y="194"/>
                </a:cubicBezTo>
                <a:cubicBezTo>
                  <a:pt x="769" y="193"/>
                  <a:pt x="769" y="193"/>
                  <a:pt x="769" y="193"/>
                </a:cubicBezTo>
                <a:cubicBezTo>
                  <a:pt x="765" y="184"/>
                  <a:pt x="757" y="183"/>
                  <a:pt x="745" y="183"/>
                </a:cubicBezTo>
                <a:cubicBezTo>
                  <a:pt x="737" y="183"/>
                  <a:pt x="731" y="185"/>
                  <a:pt x="726" y="188"/>
                </a:cubicBezTo>
                <a:cubicBezTo>
                  <a:pt x="720" y="190"/>
                  <a:pt x="715" y="192"/>
                  <a:pt x="706" y="192"/>
                </a:cubicBezTo>
                <a:cubicBezTo>
                  <a:pt x="699" y="192"/>
                  <a:pt x="694" y="190"/>
                  <a:pt x="688" y="189"/>
                </a:cubicBezTo>
                <a:cubicBezTo>
                  <a:pt x="685" y="188"/>
                  <a:pt x="685" y="188"/>
                  <a:pt x="685" y="188"/>
                </a:cubicBezTo>
                <a:cubicBezTo>
                  <a:pt x="685" y="188"/>
                  <a:pt x="685" y="188"/>
                  <a:pt x="685" y="188"/>
                </a:cubicBezTo>
                <a:cubicBezTo>
                  <a:pt x="685" y="188"/>
                  <a:pt x="685" y="188"/>
                  <a:pt x="685" y="188"/>
                </a:cubicBezTo>
                <a:cubicBezTo>
                  <a:pt x="684" y="189"/>
                  <a:pt x="682" y="190"/>
                  <a:pt x="681" y="189"/>
                </a:cubicBezTo>
                <a:cubicBezTo>
                  <a:pt x="681" y="189"/>
                  <a:pt x="680" y="188"/>
                  <a:pt x="680" y="186"/>
                </a:cubicBezTo>
                <a:cubicBezTo>
                  <a:pt x="680" y="186"/>
                  <a:pt x="681" y="186"/>
                  <a:pt x="681" y="186"/>
                </a:cubicBezTo>
                <a:cubicBezTo>
                  <a:pt x="682" y="185"/>
                  <a:pt x="682" y="185"/>
                  <a:pt x="682" y="185"/>
                </a:cubicBezTo>
                <a:cubicBezTo>
                  <a:pt x="683" y="185"/>
                  <a:pt x="683" y="185"/>
                  <a:pt x="683" y="185"/>
                </a:cubicBezTo>
                <a:cubicBezTo>
                  <a:pt x="682" y="184"/>
                  <a:pt x="682" y="184"/>
                  <a:pt x="682" y="184"/>
                </a:cubicBezTo>
                <a:cubicBezTo>
                  <a:pt x="681" y="183"/>
                  <a:pt x="678" y="183"/>
                  <a:pt x="676" y="183"/>
                </a:cubicBezTo>
                <a:cubicBezTo>
                  <a:pt x="673" y="182"/>
                  <a:pt x="670" y="182"/>
                  <a:pt x="669" y="177"/>
                </a:cubicBezTo>
                <a:cubicBezTo>
                  <a:pt x="681" y="177"/>
                  <a:pt x="681" y="177"/>
                  <a:pt x="681" y="177"/>
                </a:cubicBezTo>
                <a:cubicBezTo>
                  <a:pt x="681" y="176"/>
                  <a:pt x="681" y="176"/>
                  <a:pt x="681" y="176"/>
                </a:cubicBezTo>
                <a:cubicBezTo>
                  <a:pt x="680" y="175"/>
                  <a:pt x="677" y="174"/>
                  <a:pt x="674" y="173"/>
                </a:cubicBezTo>
                <a:cubicBezTo>
                  <a:pt x="671" y="172"/>
                  <a:pt x="667" y="171"/>
                  <a:pt x="666" y="169"/>
                </a:cubicBezTo>
                <a:cubicBezTo>
                  <a:pt x="666" y="169"/>
                  <a:pt x="666" y="168"/>
                  <a:pt x="666" y="166"/>
                </a:cubicBezTo>
                <a:cubicBezTo>
                  <a:pt x="667" y="166"/>
                  <a:pt x="667" y="166"/>
                  <a:pt x="667" y="166"/>
                </a:cubicBezTo>
                <a:cubicBezTo>
                  <a:pt x="660" y="166"/>
                  <a:pt x="660" y="166"/>
                  <a:pt x="660" y="166"/>
                </a:cubicBezTo>
                <a:cubicBezTo>
                  <a:pt x="660" y="166"/>
                  <a:pt x="660" y="166"/>
                  <a:pt x="660" y="166"/>
                </a:cubicBezTo>
                <a:cubicBezTo>
                  <a:pt x="659" y="168"/>
                  <a:pt x="657" y="169"/>
                  <a:pt x="654" y="169"/>
                </a:cubicBezTo>
                <a:cubicBezTo>
                  <a:pt x="650" y="169"/>
                  <a:pt x="646" y="166"/>
                  <a:pt x="643" y="163"/>
                </a:cubicBezTo>
                <a:cubicBezTo>
                  <a:pt x="639" y="160"/>
                  <a:pt x="635" y="156"/>
                  <a:pt x="628" y="156"/>
                </a:cubicBezTo>
                <a:cubicBezTo>
                  <a:pt x="624" y="156"/>
                  <a:pt x="618" y="156"/>
                  <a:pt x="618" y="162"/>
                </a:cubicBezTo>
                <a:cubicBezTo>
                  <a:pt x="618" y="166"/>
                  <a:pt x="637" y="175"/>
                  <a:pt x="640" y="175"/>
                </a:cubicBezTo>
                <a:cubicBezTo>
                  <a:pt x="643" y="175"/>
                  <a:pt x="645" y="173"/>
                  <a:pt x="647" y="171"/>
                </a:cubicBezTo>
                <a:cubicBezTo>
                  <a:pt x="649" y="174"/>
                  <a:pt x="651" y="177"/>
                  <a:pt x="652" y="180"/>
                </a:cubicBezTo>
                <a:cubicBezTo>
                  <a:pt x="654" y="183"/>
                  <a:pt x="656" y="185"/>
                  <a:pt x="658" y="189"/>
                </a:cubicBezTo>
                <a:cubicBezTo>
                  <a:pt x="657" y="189"/>
                  <a:pt x="655" y="192"/>
                  <a:pt x="655" y="194"/>
                </a:cubicBezTo>
                <a:cubicBezTo>
                  <a:pt x="655" y="202"/>
                  <a:pt x="671" y="210"/>
                  <a:pt x="677" y="210"/>
                </a:cubicBezTo>
                <a:cubicBezTo>
                  <a:pt x="680" y="210"/>
                  <a:pt x="685" y="206"/>
                  <a:pt x="686" y="204"/>
                </a:cubicBezTo>
                <a:close/>
                <a:moveTo>
                  <a:pt x="645" y="205"/>
                </a:moveTo>
                <a:cubicBezTo>
                  <a:pt x="646" y="203"/>
                  <a:pt x="647" y="200"/>
                  <a:pt x="647" y="197"/>
                </a:cubicBezTo>
                <a:cubicBezTo>
                  <a:pt x="647" y="192"/>
                  <a:pt x="639" y="185"/>
                  <a:pt x="634" y="185"/>
                </a:cubicBezTo>
                <a:cubicBezTo>
                  <a:pt x="629" y="185"/>
                  <a:pt x="628" y="188"/>
                  <a:pt x="627" y="190"/>
                </a:cubicBezTo>
                <a:cubicBezTo>
                  <a:pt x="626" y="192"/>
                  <a:pt x="626" y="193"/>
                  <a:pt x="624" y="193"/>
                </a:cubicBezTo>
                <a:cubicBezTo>
                  <a:pt x="624" y="193"/>
                  <a:pt x="620" y="195"/>
                  <a:pt x="620" y="199"/>
                </a:cubicBezTo>
                <a:cubicBezTo>
                  <a:pt x="620" y="199"/>
                  <a:pt x="620" y="199"/>
                  <a:pt x="620" y="199"/>
                </a:cubicBezTo>
                <a:cubicBezTo>
                  <a:pt x="620" y="199"/>
                  <a:pt x="620" y="199"/>
                  <a:pt x="620" y="199"/>
                </a:cubicBezTo>
                <a:cubicBezTo>
                  <a:pt x="622" y="200"/>
                  <a:pt x="638" y="209"/>
                  <a:pt x="640" y="209"/>
                </a:cubicBezTo>
                <a:cubicBezTo>
                  <a:pt x="643" y="209"/>
                  <a:pt x="644" y="207"/>
                  <a:pt x="645" y="205"/>
                </a:cubicBezTo>
                <a:close/>
                <a:moveTo>
                  <a:pt x="648" y="146"/>
                </a:moveTo>
                <a:cubicBezTo>
                  <a:pt x="648" y="141"/>
                  <a:pt x="648" y="141"/>
                  <a:pt x="648" y="141"/>
                </a:cubicBezTo>
                <a:cubicBezTo>
                  <a:pt x="647" y="141"/>
                  <a:pt x="647" y="141"/>
                  <a:pt x="647" y="141"/>
                </a:cubicBezTo>
                <a:cubicBezTo>
                  <a:pt x="646" y="142"/>
                  <a:pt x="646" y="142"/>
                  <a:pt x="646" y="142"/>
                </a:cubicBezTo>
                <a:cubicBezTo>
                  <a:pt x="646" y="142"/>
                  <a:pt x="645" y="141"/>
                  <a:pt x="644" y="141"/>
                </a:cubicBezTo>
                <a:cubicBezTo>
                  <a:pt x="640" y="141"/>
                  <a:pt x="627" y="142"/>
                  <a:pt x="623" y="146"/>
                </a:cubicBezTo>
                <a:cubicBezTo>
                  <a:pt x="623" y="146"/>
                  <a:pt x="623" y="146"/>
                  <a:pt x="623" y="146"/>
                </a:cubicBezTo>
                <a:cubicBezTo>
                  <a:pt x="623" y="146"/>
                  <a:pt x="623" y="146"/>
                  <a:pt x="623" y="146"/>
                </a:cubicBezTo>
                <a:cubicBezTo>
                  <a:pt x="624" y="147"/>
                  <a:pt x="641" y="150"/>
                  <a:pt x="643" y="150"/>
                </a:cubicBezTo>
                <a:cubicBezTo>
                  <a:pt x="646" y="150"/>
                  <a:pt x="648" y="148"/>
                  <a:pt x="648" y="146"/>
                </a:cubicBezTo>
                <a:close/>
                <a:moveTo>
                  <a:pt x="611" y="131"/>
                </a:moveTo>
                <a:cubicBezTo>
                  <a:pt x="612" y="132"/>
                  <a:pt x="614" y="133"/>
                  <a:pt x="615" y="134"/>
                </a:cubicBezTo>
                <a:cubicBezTo>
                  <a:pt x="613" y="135"/>
                  <a:pt x="612" y="136"/>
                  <a:pt x="612" y="138"/>
                </a:cubicBezTo>
                <a:cubicBezTo>
                  <a:pt x="612" y="138"/>
                  <a:pt x="612" y="139"/>
                  <a:pt x="613" y="139"/>
                </a:cubicBezTo>
                <a:cubicBezTo>
                  <a:pt x="616" y="142"/>
                  <a:pt x="627" y="140"/>
                  <a:pt x="634" y="138"/>
                </a:cubicBezTo>
                <a:cubicBezTo>
                  <a:pt x="634" y="138"/>
                  <a:pt x="634" y="138"/>
                  <a:pt x="634" y="138"/>
                </a:cubicBezTo>
                <a:cubicBezTo>
                  <a:pt x="634" y="138"/>
                  <a:pt x="634" y="138"/>
                  <a:pt x="634" y="138"/>
                </a:cubicBezTo>
                <a:cubicBezTo>
                  <a:pt x="633" y="135"/>
                  <a:pt x="634" y="133"/>
                  <a:pt x="634" y="131"/>
                </a:cubicBezTo>
                <a:cubicBezTo>
                  <a:pt x="634" y="130"/>
                  <a:pt x="634" y="130"/>
                  <a:pt x="634" y="129"/>
                </a:cubicBezTo>
                <a:cubicBezTo>
                  <a:pt x="634" y="125"/>
                  <a:pt x="631" y="125"/>
                  <a:pt x="629" y="125"/>
                </a:cubicBezTo>
                <a:cubicBezTo>
                  <a:pt x="626" y="125"/>
                  <a:pt x="623" y="125"/>
                  <a:pt x="623" y="121"/>
                </a:cubicBezTo>
                <a:cubicBezTo>
                  <a:pt x="623" y="120"/>
                  <a:pt x="623" y="120"/>
                  <a:pt x="623" y="120"/>
                </a:cubicBezTo>
                <a:cubicBezTo>
                  <a:pt x="623" y="120"/>
                  <a:pt x="623" y="120"/>
                  <a:pt x="623" y="120"/>
                </a:cubicBezTo>
                <a:cubicBezTo>
                  <a:pt x="620" y="120"/>
                  <a:pt x="613" y="118"/>
                  <a:pt x="612" y="116"/>
                </a:cubicBezTo>
                <a:cubicBezTo>
                  <a:pt x="612" y="115"/>
                  <a:pt x="612" y="115"/>
                  <a:pt x="612" y="115"/>
                </a:cubicBezTo>
                <a:cubicBezTo>
                  <a:pt x="612" y="115"/>
                  <a:pt x="612" y="115"/>
                  <a:pt x="612" y="115"/>
                </a:cubicBezTo>
                <a:cubicBezTo>
                  <a:pt x="610" y="115"/>
                  <a:pt x="605" y="116"/>
                  <a:pt x="605" y="121"/>
                </a:cubicBezTo>
                <a:cubicBezTo>
                  <a:pt x="605" y="126"/>
                  <a:pt x="608" y="129"/>
                  <a:pt x="611" y="131"/>
                </a:cubicBezTo>
                <a:close/>
                <a:moveTo>
                  <a:pt x="598" y="98"/>
                </a:moveTo>
                <a:cubicBezTo>
                  <a:pt x="598" y="98"/>
                  <a:pt x="599" y="99"/>
                  <a:pt x="600" y="100"/>
                </a:cubicBezTo>
                <a:cubicBezTo>
                  <a:pt x="600" y="100"/>
                  <a:pt x="600" y="100"/>
                  <a:pt x="600" y="100"/>
                </a:cubicBezTo>
                <a:cubicBezTo>
                  <a:pt x="605" y="100"/>
                  <a:pt x="605" y="100"/>
                  <a:pt x="605" y="100"/>
                </a:cubicBezTo>
                <a:cubicBezTo>
                  <a:pt x="605" y="92"/>
                  <a:pt x="605" y="92"/>
                  <a:pt x="605" y="92"/>
                </a:cubicBezTo>
                <a:cubicBezTo>
                  <a:pt x="605" y="92"/>
                  <a:pt x="605" y="92"/>
                  <a:pt x="605" y="92"/>
                </a:cubicBezTo>
                <a:cubicBezTo>
                  <a:pt x="604" y="92"/>
                  <a:pt x="604" y="92"/>
                  <a:pt x="603" y="92"/>
                </a:cubicBezTo>
                <a:cubicBezTo>
                  <a:pt x="600" y="92"/>
                  <a:pt x="597" y="92"/>
                  <a:pt x="594" y="92"/>
                </a:cubicBezTo>
                <a:cubicBezTo>
                  <a:pt x="594" y="92"/>
                  <a:pt x="594" y="92"/>
                  <a:pt x="594" y="92"/>
                </a:cubicBezTo>
                <a:cubicBezTo>
                  <a:pt x="594" y="92"/>
                  <a:pt x="594" y="92"/>
                  <a:pt x="594" y="92"/>
                </a:cubicBezTo>
                <a:cubicBezTo>
                  <a:pt x="594" y="95"/>
                  <a:pt x="596" y="97"/>
                  <a:pt x="598" y="98"/>
                </a:cubicBezTo>
                <a:close/>
                <a:moveTo>
                  <a:pt x="639" y="92"/>
                </a:moveTo>
                <a:cubicBezTo>
                  <a:pt x="636" y="92"/>
                  <a:pt x="631" y="90"/>
                  <a:pt x="630" y="88"/>
                </a:cubicBezTo>
                <a:cubicBezTo>
                  <a:pt x="630" y="88"/>
                  <a:pt x="630" y="88"/>
                  <a:pt x="630" y="88"/>
                </a:cubicBezTo>
                <a:cubicBezTo>
                  <a:pt x="625" y="88"/>
                  <a:pt x="625" y="88"/>
                  <a:pt x="625" y="88"/>
                </a:cubicBezTo>
                <a:cubicBezTo>
                  <a:pt x="625" y="89"/>
                  <a:pt x="625" y="89"/>
                  <a:pt x="625" y="89"/>
                </a:cubicBezTo>
                <a:cubicBezTo>
                  <a:pt x="626" y="99"/>
                  <a:pt x="632" y="100"/>
                  <a:pt x="642" y="100"/>
                </a:cubicBezTo>
                <a:cubicBezTo>
                  <a:pt x="641" y="102"/>
                  <a:pt x="639" y="103"/>
                  <a:pt x="637" y="103"/>
                </a:cubicBezTo>
                <a:cubicBezTo>
                  <a:pt x="637" y="104"/>
                  <a:pt x="636" y="104"/>
                  <a:pt x="636" y="104"/>
                </a:cubicBezTo>
                <a:cubicBezTo>
                  <a:pt x="635" y="104"/>
                  <a:pt x="635" y="104"/>
                  <a:pt x="635" y="104"/>
                </a:cubicBezTo>
                <a:cubicBezTo>
                  <a:pt x="635" y="104"/>
                  <a:pt x="635" y="104"/>
                  <a:pt x="635" y="104"/>
                </a:cubicBezTo>
                <a:cubicBezTo>
                  <a:pt x="635" y="106"/>
                  <a:pt x="636" y="108"/>
                  <a:pt x="638" y="108"/>
                </a:cubicBezTo>
                <a:cubicBezTo>
                  <a:pt x="640" y="108"/>
                  <a:pt x="641" y="108"/>
                  <a:pt x="642" y="107"/>
                </a:cubicBezTo>
                <a:cubicBezTo>
                  <a:pt x="643" y="107"/>
                  <a:pt x="644" y="106"/>
                  <a:pt x="645" y="106"/>
                </a:cubicBezTo>
                <a:cubicBezTo>
                  <a:pt x="645" y="106"/>
                  <a:pt x="645" y="106"/>
                  <a:pt x="645" y="106"/>
                </a:cubicBezTo>
                <a:cubicBezTo>
                  <a:pt x="646" y="108"/>
                  <a:pt x="646" y="110"/>
                  <a:pt x="649" y="110"/>
                </a:cubicBezTo>
                <a:cubicBezTo>
                  <a:pt x="651" y="110"/>
                  <a:pt x="652" y="110"/>
                  <a:pt x="653" y="109"/>
                </a:cubicBezTo>
                <a:cubicBezTo>
                  <a:pt x="655" y="108"/>
                  <a:pt x="656" y="107"/>
                  <a:pt x="658" y="107"/>
                </a:cubicBezTo>
                <a:cubicBezTo>
                  <a:pt x="662" y="107"/>
                  <a:pt x="665" y="108"/>
                  <a:pt x="668" y="109"/>
                </a:cubicBezTo>
                <a:cubicBezTo>
                  <a:pt x="669" y="110"/>
                  <a:pt x="669" y="110"/>
                  <a:pt x="669" y="110"/>
                </a:cubicBezTo>
                <a:cubicBezTo>
                  <a:pt x="668" y="110"/>
                  <a:pt x="667" y="110"/>
                  <a:pt x="666" y="110"/>
                </a:cubicBezTo>
                <a:cubicBezTo>
                  <a:pt x="658" y="111"/>
                  <a:pt x="647" y="111"/>
                  <a:pt x="647" y="117"/>
                </a:cubicBezTo>
                <a:cubicBezTo>
                  <a:pt x="647" y="122"/>
                  <a:pt x="655" y="125"/>
                  <a:pt x="661" y="126"/>
                </a:cubicBezTo>
                <a:cubicBezTo>
                  <a:pt x="660" y="127"/>
                  <a:pt x="659" y="127"/>
                  <a:pt x="657" y="127"/>
                </a:cubicBezTo>
                <a:cubicBezTo>
                  <a:pt x="657" y="128"/>
                  <a:pt x="657" y="128"/>
                  <a:pt x="657" y="128"/>
                </a:cubicBezTo>
                <a:cubicBezTo>
                  <a:pt x="657" y="128"/>
                  <a:pt x="657" y="128"/>
                  <a:pt x="657" y="128"/>
                </a:cubicBezTo>
                <a:cubicBezTo>
                  <a:pt x="658" y="133"/>
                  <a:pt x="664" y="135"/>
                  <a:pt x="670" y="135"/>
                </a:cubicBezTo>
                <a:cubicBezTo>
                  <a:pt x="675" y="135"/>
                  <a:pt x="677" y="132"/>
                  <a:pt x="677" y="127"/>
                </a:cubicBezTo>
                <a:cubicBezTo>
                  <a:pt x="678" y="127"/>
                  <a:pt x="678" y="127"/>
                  <a:pt x="678" y="127"/>
                </a:cubicBezTo>
                <a:cubicBezTo>
                  <a:pt x="681" y="130"/>
                  <a:pt x="686" y="133"/>
                  <a:pt x="688" y="133"/>
                </a:cubicBezTo>
                <a:cubicBezTo>
                  <a:pt x="689" y="133"/>
                  <a:pt x="689" y="133"/>
                  <a:pt x="689" y="133"/>
                </a:cubicBezTo>
                <a:cubicBezTo>
                  <a:pt x="689" y="128"/>
                  <a:pt x="689" y="128"/>
                  <a:pt x="689" y="128"/>
                </a:cubicBezTo>
                <a:cubicBezTo>
                  <a:pt x="694" y="128"/>
                  <a:pt x="694" y="128"/>
                  <a:pt x="694" y="128"/>
                </a:cubicBezTo>
                <a:cubicBezTo>
                  <a:pt x="694" y="128"/>
                  <a:pt x="694" y="128"/>
                  <a:pt x="694" y="128"/>
                </a:cubicBezTo>
                <a:cubicBezTo>
                  <a:pt x="694" y="126"/>
                  <a:pt x="693" y="125"/>
                  <a:pt x="692" y="124"/>
                </a:cubicBezTo>
                <a:cubicBezTo>
                  <a:pt x="692" y="123"/>
                  <a:pt x="691" y="122"/>
                  <a:pt x="690" y="121"/>
                </a:cubicBezTo>
                <a:cubicBezTo>
                  <a:pt x="691" y="120"/>
                  <a:pt x="691" y="119"/>
                  <a:pt x="692" y="119"/>
                </a:cubicBezTo>
                <a:cubicBezTo>
                  <a:pt x="692" y="118"/>
                  <a:pt x="693" y="117"/>
                  <a:pt x="693" y="117"/>
                </a:cubicBezTo>
                <a:cubicBezTo>
                  <a:pt x="693" y="117"/>
                  <a:pt x="693" y="117"/>
                  <a:pt x="693" y="117"/>
                </a:cubicBezTo>
                <a:cubicBezTo>
                  <a:pt x="694" y="120"/>
                  <a:pt x="695" y="123"/>
                  <a:pt x="698" y="123"/>
                </a:cubicBezTo>
                <a:cubicBezTo>
                  <a:pt x="700" y="123"/>
                  <a:pt x="702" y="121"/>
                  <a:pt x="704" y="118"/>
                </a:cubicBezTo>
                <a:cubicBezTo>
                  <a:pt x="707" y="115"/>
                  <a:pt x="710" y="112"/>
                  <a:pt x="713" y="112"/>
                </a:cubicBezTo>
                <a:cubicBezTo>
                  <a:pt x="714" y="112"/>
                  <a:pt x="714" y="112"/>
                  <a:pt x="715" y="112"/>
                </a:cubicBezTo>
                <a:cubicBezTo>
                  <a:pt x="717" y="112"/>
                  <a:pt x="719" y="112"/>
                  <a:pt x="720" y="110"/>
                </a:cubicBezTo>
                <a:cubicBezTo>
                  <a:pt x="721" y="109"/>
                  <a:pt x="721" y="108"/>
                  <a:pt x="721" y="106"/>
                </a:cubicBezTo>
                <a:cubicBezTo>
                  <a:pt x="721" y="106"/>
                  <a:pt x="721" y="105"/>
                  <a:pt x="721" y="104"/>
                </a:cubicBezTo>
                <a:cubicBezTo>
                  <a:pt x="721" y="104"/>
                  <a:pt x="721" y="104"/>
                  <a:pt x="721" y="104"/>
                </a:cubicBezTo>
                <a:cubicBezTo>
                  <a:pt x="720" y="104"/>
                  <a:pt x="720" y="104"/>
                  <a:pt x="720" y="104"/>
                </a:cubicBezTo>
                <a:cubicBezTo>
                  <a:pt x="718" y="104"/>
                  <a:pt x="715" y="103"/>
                  <a:pt x="712" y="102"/>
                </a:cubicBezTo>
                <a:cubicBezTo>
                  <a:pt x="709" y="101"/>
                  <a:pt x="707" y="100"/>
                  <a:pt x="705" y="100"/>
                </a:cubicBezTo>
                <a:cubicBezTo>
                  <a:pt x="705" y="100"/>
                  <a:pt x="705" y="100"/>
                  <a:pt x="704" y="100"/>
                </a:cubicBezTo>
                <a:cubicBezTo>
                  <a:pt x="703" y="100"/>
                  <a:pt x="701" y="101"/>
                  <a:pt x="701" y="101"/>
                </a:cubicBezTo>
                <a:cubicBezTo>
                  <a:pt x="700" y="101"/>
                  <a:pt x="700" y="101"/>
                  <a:pt x="700" y="100"/>
                </a:cubicBezTo>
                <a:cubicBezTo>
                  <a:pt x="700" y="99"/>
                  <a:pt x="701" y="99"/>
                  <a:pt x="701" y="98"/>
                </a:cubicBezTo>
                <a:cubicBezTo>
                  <a:pt x="702" y="97"/>
                  <a:pt x="702" y="96"/>
                  <a:pt x="702" y="95"/>
                </a:cubicBezTo>
                <a:cubicBezTo>
                  <a:pt x="702" y="93"/>
                  <a:pt x="701" y="92"/>
                  <a:pt x="700" y="92"/>
                </a:cubicBezTo>
                <a:cubicBezTo>
                  <a:pt x="700" y="91"/>
                  <a:pt x="699" y="90"/>
                  <a:pt x="699" y="89"/>
                </a:cubicBezTo>
                <a:cubicBezTo>
                  <a:pt x="699" y="89"/>
                  <a:pt x="699" y="89"/>
                  <a:pt x="699" y="89"/>
                </a:cubicBezTo>
                <a:cubicBezTo>
                  <a:pt x="699" y="87"/>
                  <a:pt x="699" y="85"/>
                  <a:pt x="698" y="84"/>
                </a:cubicBezTo>
                <a:cubicBezTo>
                  <a:pt x="697" y="83"/>
                  <a:pt x="696" y="83"/>
                  <a:pt x="694" y="83"/>
                </a:cubicBezTo>
                <a:cubicBezTo>
                  <a:pt x="691" y="83"/>
                  <a:pt x="691" y="83"/>
                  <a:pt x="691" y="83"/>
                </a:cubicBezTo>
                <a:cubicBezTo>
                  <a:pt x="691" y="84"/>
                  <a:pt x="691" y="84"/>
                  <a:pt x="691" y="84"/>
                </a:cubicBezTo>
                <a:cubicBezTo>
                  <a:pt x="692" y="86"/>
                  <a:pt x="692" y="86"/>
                  <a:pt x="692" y="86"/>
                </a:cubicBezTo>
                <a:cubicBezTo>
                  <a:pt x="692" y="90"/>
                  <a:pt x="692" y="90"/>
                  <a:pt x="692" y="90"/>
                </a:cubicBezTo>
                <a:cubicBezTo>
                  <a:pt x="689" y="90"/>
                  <a:pt x="689" y="90"/>
                  <a:pt x="689" y="90"/>
                </a:cubicBezTo>
                <a:cubicBezTo>
                  <a:pt x="688" y="89"/>
                  <a:pt x="688" y="88"/>
                  <a:pt x="688" y="86"/>
                </a:cubicBezTo>
                <a:cubicBezTo>
                  <a:pt x="687" y="84"/>
                  <a:pt x="687" y="82"/>
                  <a:pt x="684" y="80"/>
                </a:cubicBezTo>
                <a:cubicBezTo>
                  <a:pt x="681" y="79"/>
                  <a:pt x="679" y="80"/>
                  <a:pt x="677" y="80"/>
                </a:cubicBezTo>
                <a:cubicBezTo>
                  <a:pt x="675" y="80"/>
                  <a:pt x="674" y="81"/>
                  <a:pt x="671" y="80"/>
                </a:cubicBezTo>
                <a:cubicBezTo>
                  <a:pt x="669" y="79"/>
                  <a:pt x="668" y="76"/>
                  <a:pt x="667" y="73"/>
                </a:cubicBezTo>
                <a:cubicBezTo>
                  <a:pt x="666" y="70"/>
                  <a:pt x="665" y="66"/>
                  <a:pt x="662" y="65"/>
                </a:cubicBezTo>
                <a:cubicBezTo>
                  <a:pt x="656" y="62"/>
                  <a:pt x="650" y="62"/>
                  <a:pt x="642" y="61"/>
                </a:cubicBezTo>
                <a:cubicBezTo>
                  <a:pt x="642" y="61"/>
                  <a:pt x="642" y="61"/>
                  <a:pt x="642" y="61"/>
                </a:cubicBezTo>
                <a:cubicBezTo>
                  <a:pt x="642" y="61"/>
                  <a:pt x="642" y="61"/>
                  <a:pt x="642" y="61"/>
                </a:cubicBezTo>
                <a:cubicBezTo>
                  <a:pt x="642" y="65"/>
                  <a:pt x="645" y="66"/>
                  <a:pt x="648" y="68"/>
                </a:cubicBezTo>
                <a:cubicBezTo>
                  <a:pt x="648" y="68"/>
                  <a:pt x="649" y="68"/>
                  <a:pt x="649" y="68"/>
                </a:cubicBezTo>
                <a:cubicBezTo>
                  <a:pt x="646" y="68"/>
                  <a:pt x="646" y="68"/>
                  <a:pt x="646" y="68"/>
                </a:cubicBezTo>
                <a:cubicBezTo>
                  <a:pt x="646" y="68"/>
                  <a:pt x="646" y="68"/>
                  <a:pt x="646" y="68"/>
                </a:cubicBezTo>
                <a:cubicBezTo>
                  <a:pt x="641" y="67"/>
                  <a:pt x="638" y="69"/>
                  <a:pt x="635" y="71"/>
                </a:cubicBezTo>
                <a:cubicBezTo>
                  <a:pt x="634" y="71"/>
                  <a:pt x="634" y="71"/>
                  <a:pt x="634" y="71"/>
                </a:cubicBezTo>
                <a:cubicBezTo>
                  <a:pt x="634" y="71"/>
                  <a:pt x="634" y="71"/>
                  <a:pt x="634" y="71"/>
                </a:cubicBezTo>
                <a:cubicBezTo>
                  <a:pt x="634" y="72"/>
                  <a:pt x="634" y="72"/>
                  <a:pt x="634" y="72"/>
                </a:cubicBezTo>
                <a:cubicBezTo>
                  <a:pt x="634" y="72"/>
                  <a:pt x="637" y="78"/>
                  <a:pt x="638" y="78"/>
                </a:cubicBezTo>
                <a:cubicBezTo>
                  <a:pt x="639" y="78"/>
                  <a:pt x="640" y="78"/>
                  <a:pt x="640" y="77"/>
                </a:cubicBezTo>
                <a:cubicBezTo>
                  <a:pt x="642" y="77"/>
                  <a:pt x="644" y="76"/>
                  <a:pt x="646" y="77"/>
                </a:cubicBezTo>
                <a:cubicBezTo>
                  <a:pt x="646" y="78"/>
                  <a:pt x="646" y="78"/>
                  <a:pt x="646" y="78"/>
                </a:cubicBezTo>
                <a:cubicBezTo>
                  <a:pt x="645" y="79"/>
                  <a:pt x="645" y="80"/>
                  <a:pt x="644" y="80"/>
                </a:cubicBezTo>
                <a:cubicBezTo>
                  <a:pt x="643" y="80"/>
                  <a:pt x="642" y="80"/>
                  <a:pt x="641" y="79"/>
                </a:cubicBezTo>
                <a:cubicBezTo>
                  <a:pt x="639" y="79"/>
                  <a:pt x="638" y="78"/>
                  <a:pt x="635" y="78"/>
                </a:cubicBezTo>
                <a:cubicBezTo>
                  <a:pt x="635" y="78"/>
                  <a:pt x="635" y="78"/>
                  <a:pt x="635" y="78"/>
                </a:cubicBezTo>
                <a:cubicBezTo>
                  <a:pt x="633" y="78"/>
                  <a:pt x="630" y="78"/>
                  <a:pt x="629" y="79"/>
                </a:cubicBezTo>
                <a:cubicBezTo>
                  <a:pt x="628" y="80"/>
                  <a:pt x="628" y="81"/>
                  <a:pt x="628" y="82"/>
                </a:cubicBezTo>
                <a:cubicBezTo>
                  <a:pt x="628" y="85"/>
                  <a:pt x="635" y="88"/>
                  <a:pt x="640" y="89"/>
                </a:cubicBezTo>
                <a:cubicBezTo>
                  <a:pt x="640" y="89"/>
                  <a:pt x="641" y="90"/>
                  <a:pt x="641" y="90"/>
                </a:cubicBezTo>
                <a:cubicBezTo>
                  <a:pt x="640" y="91"/>
                  <a:pt x="640" y="92"/>
                  <a:pt x="639" y="92"/>
                </a:cubicBezTo>
                <a:close/>
                <a:moveTo>
                  <a:pt x="765" y="399"/>
                </a:moveTo>
                <a:cubicBezTo>
                  <a:pt x="765" y="399"/>
                  <a:pt x="765" y="399"/>
                  <a:pt x="765" y="399"/>
                </a:cubicBezTo>
                <a:cubicBezTo>
                  <a:pt x="763" y="396"/>
                  <a:pt x="761" y="396"/>
                  <a:pt x="759" y="395"/>
                </a:cubicBezTo>
                <a:cubicBezTo>
                  <a:pt x="756" y="395"/>
                  <a:pt x="754" y="394"/>
                  <a:pt x="752" y="392"/>
                </a:cubicBezTo>
                <a:cubicBezTo>
                  <a:pt x="751" y="391"/>
                  <a:pt x="751" y="391"/>
                  <a:pt x="751" y="389"/>
                </a:cubicBezTo>
                <a:cubicBezTo>
                  <a:pt x="750" y="388"/>
                  <a:pt x="750" y="387"/>
                  <a:pt x="749" y="386"/>
                </a:cubicBezTo>
                <a:cubicBezTo>
                  <a:pt x="747" y="382"/>
                  <a:pt x="743" y="380"/>
                  <a:pt x="739" y="379"/>
                </a:cubicBezTo>
                <a:cubicBezTo>
                  <a:pt x="735" y="378"/>
                  <a:pt x="731" y="376"/>
                  <a:pt x="728" y="372"/>
                </a:cubicBezTo>
                <a:cubicBezTo>
                  <a:pt x="727" y="372"/>
                  <a:pt x="727" y="372"/>
                  <a:pt x="727" y="372"/>
                </a:cubicBezTo>
                <a:cubicBezTo>
                  <a:pt x="727" y="372"/>
                  <a:pt x="727" y="372"/>
                  <a:pt x="727" y="372"/>
                </a:cubicBezTo>
                <a:cubicBezTo>
                  <a:pt x="726" y="372"/>
                  <a:pt x="725" y="373"/>
                  <a:pt x="725" y="374"/>
                </a:cubicBezTo>
                <a:cubicBezTo>
                  <a:pt x="724" y="373"/>
                  <a:pt x="724" y="372"/>
                  <a:pt x="723" y="371"/>
                </a:cubicBezTo>
                <a:cubicBezTo>
                  <a:pt x="722" y="370"/>
                  <a:pt x="721" y="368"/>
                  <a:pt x="720" y="365"/>
                </a:cubicBezTo>
                <a:cubicBezTo>
                  <a:pt x="720" y="365"/>
                  <a:pt x="720" y="365"/>
                  <a:pt x="720" y="365"/>
                </a:cubicBezTo>
                <a:cubicBezTo>
                  <a:pt x="720" y="365"/>
                  <a:pt x="720" y="365"/>
                  <a:pt x="720" y="365"/>
                </a:cubicBezTo>
                <a:cubicBezTo>
                  <a:pt x="710" y="366"/>
                  <a:pt x="709" y="384"/>
                  <a:pt x="709" y="386"/>
                </a:cubicBezTo>
                <a:cubicBezTo>
                  <a:pt x="709" y="391"/>
                  <a:pt x="709" y="391"/>
                  <a:pt x="709" y="391"/>
                </a:cubicBezTo>
                <a:cubicBezTo>
                  <a:pt x="709" y="393"/>
                  <a:pt x="708" y="394"/>
                  <a:pt x="707" y="395"/>
                </a:cubicBezTo>
                <a:cubicBezTo>
                  <a:pt x="706" y="396"/>
                  <a:pt x="706" y="396"/>
                  <a:pt x="706" y="396"/>
                </a:cubicBezTo>
                <a:cubicBezTo>
                  <a:pt x="706" y="396"/>
                  <a:pt x="706" y="396"/>
                  <a:pt x="706" y="396"/>
                </a:cubicBezTo>
                <a:cubicBezTo>
                  <a:pt x="706" y="396"/>
                  <a:pt x="706" y="396"/>
                  <a:pt x="706" y="396"/>
                </a:cubicBezTo>
                <a:cubicBezTo>
                  <a:pt x="706" y="396"/>
                  <a:pt x="706" y="396"/>
                  <a:pt x="705" y="397"/>
                </a:cubicBezTo>
                <a:cubicBezTo>
                  <a:pt x="704" y="398"/>
                  <a:pt x="702" y="399"/>
                  <a:pt x="702" y="403"/>
                </a:cubicBezTo>
                <a:cubicBezTo>
                  <a:pt x="702" y="403"/>
                  <a:pt x="702" y="403"/>
                  <a:pt x="702" y="403"/>
                </a:cubicBezTo>
                <a:cubicBezTo>
                  <a:pt x="702" y="403"/>
                  <a:pt x="702" y="403"/>
                  <a:pt x="702" y="403"/>
                </a:cubicBezTo>
                <a:cubicBezTo>
                  <a:pt x="703" y="403"/>
                  <a:pt x="703" y="403"/>
                  <a:pt x="703" y="403"/>
                </a:cubicBezTo>
                <a:cubicBezTo>
                  <a:pt x="706" y="403"/>
                  <a:pt x="711" y="402"/>
                  <a:pt x="715" y="403"/>
                </a:cubicBezTo>
                <a:cubicBezTo>
                  <a:pt x="715" y="404"/>
                  <a:pt x="715" y="404"/>
                  <a:pt x="715" y="404"/>
                </a:cubicBezTo>
                <a:cubicBezTo>
                  <a:pt x="714" y="406"/>
                  <a:pt x="714" y="408"/>
                  <a:pt x="715" y="409"/>
                </a:cubicBezTo>
                <a:cubicBezTo>
                  <a:pt x="715" y="410"/>
                  <a:pt x="716" y="410"/>
                  <a:pt x="717" y="410"/>
                </a:cubicBezTo>
                <a:cubicBezTo>
                  <a:pt x="719" y="410"/>
                  <a:pt x="719" y="409"/>
                  <a:pt x="720" y="408"/>
                </a:cubicBezTo>
                <a:cubicBezTo>
                  <a:pt x="720" y="407"/>
                  <a:pt x="720" y="407"/>
                  <a:pt x="720" y="407"/>
                </a:cubicBezTo>
                <a:cubicBezTo>
                  <a:pt x="722" y="408"/>
                  <a:pt x="725" y="407"/>
                  <a:pt x="728" y="405"/>
                </a:cubicBezTo>
                <a:cubicBezTo>
                  <a:pt x="731" y="403"/>
                  <a:pt x="734" y="399"/>
                  <a:pt x="735" y="395"/>
                </a:cubicBezTo>
                <a:cubicBezTo>
                  <a:pt x="737" y="396"/>
                  <a:pt x="743" y="401"/>
                  <a:pt x="746" y="403"/>
                </a:cubicBezTo>
                <a:cubicBezTo>
                  <a:pt x="746" y="403"/>
                  <a:pt x="746" y="403"/>
                  <a:pt x="746" y="403"/>
                </a:cubicBezTo>
                <a:cubicBezTo>
                  <a:pt x="754" y="403"/>
                  <a:pt x="754" y="403"/>
                  <a:pt x="754" y="403"/>
                </a:cubicBezTo>
                <a:cubicBezTo>
                  <a:pt x="759" y="403"/>
                  <a:pt x="761" y="402"/>
                  <a:pt x="765" y="399"/>
                </a:cubicBezTo>
                <a:close/>
                <a:moveTo>
                  <a:pt x="810" y="335"/>
                </a:moveTo>
                <a:cubicBezTo>
                  <a:pt x="810" y="329"/>
                  <a:pt x="805" y="325"/>
                  <a:pt x="800" y="325"/>
                </a:cubicBezTo>
                <a:cubicBezTo>
                  <a:pt x="797" y="325"/>
                  <a:pt x="795" y="326"/>
                  <a:pt x="793" y="327"/>
                </a:cubicBezTo>
                <a:cubicBezTo>
                  <a:pt x="791" y="329"/>
                  <a:pt x="790" y="332"/>
                  <a:pt x="790" y="335"/>
                </a:cubicBezTo>
                <a:cubicBezTo>
                  <a:pt x="790" y="339"/>
                  <a:pt x="794" y="343"/>
                  <a:pt x="798" y="343"/>
                </a:cubicBezTo>
                <a:cubicBezTo>
                  <a:pt x="802" y="343"/>
                  <a:pt x="810" y="340"/>
                  <a:pt x="810" y="335"/>
                </a:cubicBezTo>
                <a:close/>
                <a:moveTo>
                  <a:pt x="749" y="413"/>
                </a:moveTo>
                <a:cubicBezTo>
                  <a:pt x="749" y="413"/>
                  <a:pt x="748" y="413"/>
                  <a:pt x="748" y="413"/>
                </a:cubicBezTo>
                <a:cubicBezTo>
                  <a:pt x="746" y="412"/>
                  <a:pt x="746" y="412"/>
                  <a:pt x="741" y="412"/>
                </a:cubicBezTo>
                <a:cubicBezTo>
                  <a:pt x="741" y="412"/>
                  <a:pt x="741" y="412"/>
                  <a:pt x="741" y="412"/>
                </a:cubicBezTo>
                <a:cubicBezTo>
                  <a:pt x="740" y="412"/>
                  <a:pt x="740" y="412"/>
                  <a:pt x="740" y="412"/>
                </a:cubicBezTo>
                <a:cubicBezTo>
                  <a:pt x="740" y="412"/>
                  <a:pt x="740" y="412"/>
                  <a:pt x="740" y="412"/>
                </a:cubicBezTo>
                <a:cubicBezTo>
                  <a:pt x="740" y="413"/>
                  <a:pt x="738" y="415"/>
                  <a:pt x="737" y="417"/>
                </a:cubicBezTo>
                <a:cubicBezTo>
                  <a:pt x="736" y="418"/>
                  <a:pt x="734" y="419"/>
                  <a:pt x="733" y="421"/>
                </a:cubicBezTo>
                <a:cubicBezTo>
                  <a:pt x="733" y="421"/>
                  <a:pt x="733" y="421"/>
                  <a:pt x="733" y="421"/>
                </a:cubicBezTo>
                <a:cubicBezTo>
                  <a:pt x="733" y="426"/>
                  <a:pt x="733" y="426"/>
                  <a:pt x="733" y="426"/>
                </a:cubicBezTo>
                <a:cubicBezTo>
                  <a:pt x="734" y="426"/>
                  <a:pt x="734" y="426"/>
                  <a:pt x="734" y="426"/>
                </a:cubicBezTo>
                <a:cubicBezTo>
                  <a:pt x="739" y="425"/>
                  <a:pt x="747" y="418"/>
                  <a:pt x="749" y="414"/>
                </a:cubicBezTo>
                <a:cubicBezTo>
                  <a:pt x="750" y="413"/>
                  <a:pt x="750" y="413"/>
                  <a:pt x="750" y="413"/>
                </a:cubicBezTo>
                <a:lnTo>
                  <a:pt x="749" y="413"/>
                </a:lnTo>
                <a:close/>
                <a:moveTo>
                  <a:pt x="764" y="241"/>
                </a:moveTo>
                <a:cubicBezTo>
                  <a:pt x="766" y="244"/>
                  <a:pt x="770" y="244"/>
                  <a:pt x="774" y="244"/>
                </a:cubicBezTo>
                <a:cubicBezTo>
                  <a:pt x="777" y="244"/>
                  <a:pt x="779" y="243"/>
                  <a:pt x="781" y="242"/>
                </a:cubicBezTo>
                <a:cubicBezTo>
                  <a:pt x="782" y="242"/>
                  <a:pt x="784" y="241"/>
                  <a:pt x="785" y="241"/>
                </a:cubicBezTo>
                <a:cubicBezTo>
                  <a:pt x="787" y="241"/>
                  <a:pt x="788" y="242"/>
                  <a:pt x="789" y="242"/>
                </a:cubicBezTo>
                <a:cubicBezTo>
                  <a:pt x="791" y="243"/>
                  <a:pt x="792" y="243"/>
                  <a:pt x="794" y="243"/>
                </a:cubicBezTo>
                <a:cubicBezTo>
                  <a:pt x="797" y="243"/>
                  <a:pt x="799" y="241"/>
                  <a:pt x="800" y="238"/>
                </a:cubicBezTo>
                <a:cubicBezTo>
                  <a:pt x="800" y="237"/>
                  <a:pt x="800" y="237"/>
                  <a:pt x="800" y="237"/>
                </a:cubicBezTo>
                <a:cubicBezTo>
                  <a:pt x="800" y="237"/>
                  <a:pt x="800" y="237"/>
                  <a:pt x="800" y="237"/>
                </a:cubicBezTo>
                <a:cubicBezTo>
                  <a:pt x="799" y="236"/>
                  <a:pt x="797" y="235"/>
                  <a:pt x="795" y="234"/>
                </a:cubicBezTo>
                <a:cubicBezTo>
                  <a:pt x="790" y="230"/>
                  <a:pt x="785" y="226"/>
                  <a:pt x="779" y="226"/>
                </a:cubicBezTo>
                <a:cubicBezTo>
                  <a:pt x="776" y="226"/>
                  <a:pt x="774" y="226"/>
                  <a:pt x="772" y="225"/>
                </a:cubicBezTo>
                <a:cubicBezTo>
                  <a:pt x="769" y="224"/>
                  <a:pt x="767" y="223"/>
                  <a:pt x="764" y="223"/>
                </a:cubicBezTo>
                <a:cubicBezTo>
                  <a:pt x="761" y="223"/>
                  <a:pt x="758" y="225"/>
                  <a:pt x="758" y="229"/>
                </a:cubicBezTo>
                <a:cubicBezTo>
                  <a:pt x="758" y="233"/>
                  <a:pt x="761" y="235"/>
                  <a:pt x="764" y="236"/>
                </a:cubicBezTo>
                <a:cubicBezTo>
                  <a:pt x="764" y="237"/>
                  <a:pt x="764" y="237"/>
                  <a:pt x="764" y="237"/>
                </a:cubicBezTo>
                <a:cubicBezTo>
                  <a:pt x="764" y="238"/>
                  <a:pt x="764" y="240"/>
                  <a:pt x="764" y="241"/>
                </a:cubicBezTo>
                <a:close/>
                <a:moveTo>
                  <a:pt x="767" y="433"/>
                </a:moveTo>
                <a:cubicBezTo>
                  <a:pt x="769" y="433"/>
                  <a:pt x="770" y="430"/>
                  <a:pt x="771" y="428"/>
                </a:cubicBezTo>
                <a:cubicBezTo>
                  <a:pt x="772" y="427"/>
                  <a:pt x="772" y="426"/>
                  <a:pt x="773" y="425"/>
                </a:cubicBezTo>
                <a:cubicBezTo>
                  <a:pt x="773" y="425"/>
                  <a:pt x="773" y="425"/>
                  <a:pt x="773" y="425"/>
                </a:cubicBezTo>
                <a:cubicBezTo>
                  <a:pt x="773" y="425"/>
                  <a:pt x="773" y="425"/>
                  <a:pt x="773" y="425"/>
                </a:cubicBezTo>
                <a:cubicBezTo>
                  <a:pt x="771" y="422"/>
                  <a:pt x="767" y="421"/>
                  <a:pt x="765" y="422"/>
                </a:cubicBezTo>
                <a:cubicBezTo>
                  <a:pt x="763" y="423"/>
                  <a:pt x="762" y="425"/>
                  <a:pt x="762" y="427"/>
                </a:cubicBezTo>
                <a:cubicBezTo>
                  <a:pt x="762" y="427"/>
                  <a:pt x="762" y="427"/>
                  <a:pt x="762" y="427"/>
                </a:cubicBezTo>
                <a:cubicBezTo>
                  <a:pt x="762" y="428"/>
                  <a:pt x="762" y="428"/>
                  <a:pt x="762" y="428"/>
                </a:cubicBezTo>
                <a:cubicBezTo>
                  <a:pt x="765" y="431"/>
                  <a:pt x="766" y="433"/>
                  <a:pt x="767" y="433"/>
                </a:cubicBezTo>
                <a:close/>
                <a:moveTo>
                  <a:pt x="819" y="334"/>
                </a:moveTo>
                <a:cubicBezTo>
                  <a:pt x="820" y="334"/>
                  <a:pt x="820" y="334"/>
                  <a:pt x="823" y="333"/>
                </a:cubicBezTo>
                <a:cubicBezTo>
                  <a:pt x="824" y="333"/>
                  <a:pt x="824" y="333"/>
                  <a:pt x="824" y="333"/>
                </a:cubicBezTo>
                <a:cubicBezTo>
                  <a:pt x="823" y="332"/>
                  <a:pt x="823" y="332"/>
                  <a:pt x="823" y="332"/>
                </a:cubicBezTo>
                <a:cubicBezTo>
                  <a:pt x="823" y="332"/>
                  <a:pt x="823" y="332"/>
                  <a:pt x="823" y="332"/>
                </a:cubicBezTo>
                <a:cubicBezTo>
                  <a:pt x="822" y="330"/>
                  <a:pt x="820" y="326"/>
                  <a:pt x="817" y="326"/>
                </a:cubicBezTo>
                <a:cubicBezTo>
                  <a:pt x="816" y="326"/>
                  <a:pt x="813" y="329"/>
                  <a:pt x="813" y="330"/>
                </a:cubicBezTo>
                <a:cubicBezTo>
                  <a:pt x="813" y="332"/>
                  <a:pt x="814" y="333"/>
                  <a:pt x="817" y="333"/>
                </a:cubicBezTo>
                <a:cubicBezTo>
                  <a:pt x="818" y="333"/>
                  <a:pt x="818" y="333"/>
                  <a:pt x="819" y="334"/>
                </a:cubicBezTo>
                <a:close/>
                <a:moveTo>
                  <a:pt x="780" y="307"/>
                </a:moveTo>
                <a:cubicBezTo>
                  <a:pt x="780" y="306"/>
                  <a:pt x="780" y="306"/>
                  <a:pt x="780" y="306"/>
                </a:cubicBezTo>
                <a:cubicBezTo>
                  <a:pt x="780" y="306"/>
                  <a:pt x="780" y="306"/>
                  <a:pt x="780" y="306"/>
                </a:cubicBezTo>
                <a:cubicBezTo>
                  <a:pt x="777" y="306"/>
                  <a:pt x="771" y="311"/>
                  <a:pt x="771" y="314"/>
                </a:cubicBezTo>
                <a:cubicBezTo>
                  <a:pt x="772" y="315"/>
                  <a:pt x="772" y="315"/>
                  <a:pt x="772" y="315"/>
                </a:cubicBezTo>
                <a:cubicBezTo>
                  <a:pt x="773" y="315"/>
                  <a:pt x="773" y="315"/>
                  <a:pt x="773" y="315"/>
                </a:cubicBezTo>
                <a:cubicBezTo>
                  <a:pt x="777" y="315"/>
                  <a:pt x="779" y="311"/>
                  <a:pt x="780" y="307"/>
                </a:cubicBezTo>
                <a:close/>
                <a:moveTo>
                  <a:pt x="868" y="284"/>
                </a:moveTo>
                <a:cubicBezTo>
                  <a:pt x="863" y="283"/>
                  <a:pt x="859" y="281"/>
                  <a:pt x="855" y="279"/>
                </a:cubicBezTo>
                <a:cubicBezTo>
                  <a:pt x="852" y="277"/>
                  <a:pt x="850" y="275"/>
                  <a:pt x="846" y="274"/>
                </a:cubicBezTo>
                <a:cubicBezTo>
                  <a:pt x="847" y="273"/>
                  <a:pt x="846" y="271"/>
                  <a:pt x="846" y="270"/>
                </a:cubicBezTo>
                <a:cubicBezTo>
                  <a:pt x="843" y="267"/>
                  <a:pt x="837" y="267"/>
                  <a:pt x="836" y="267"/>
                </a:cubicBezTo>
                <a:cubicBezTo>
                  <a:pt x="828" y="267"/>
                  <a:pt x="828" y="267"/>
                  <a:pt x="828" y="267"/>
                </a:cubicBezTo>
                <a:cubicBezTo>
                  <a:pt x="822" y="267"/>
                  <a:pt x="819" y="262"/>
                  <a:pt x="816" y="257"/>
                </a:cubicBezTo>
                <a:cubicBezTo>
                  <a:pt x="814" y="255"/>
                  <a:pt x="812" y="252"/>
                  <a:pt x="809" y="250"/>
                </a:cubicBezTo>
                <a:cubicBezTo>
                  <a:pt x="805" y="246"/>
                  <a:pt x="792" y="244"/>
                  <a:pt x="786" y="244"/>
                </a:cubicBezTo>
                <a:cubicBezTo>
                  <a:pt x="783" y="244"/>
                  <a:pt x="781" y="247"/>
                  <a:pt x="779" y="249"/>
                </a:cubicBezTo>
                <a:cubicBezTo>
                  <a:pt x="778" y="251"/>
                  <a:pt x="776" y="253"/>
                  <a:pt x="774" y="253"/>
                </a:cubicBezTo>
                <a:cubicBezTo>
                  <a:pt x="773" y="253"/>
                  <a:pt x="772" y="252"/>
                  <a:pt x="771" y="252"/>
                </a:cubicBezTo>
                <a:cubicBezTo>
                  <a:pt x="770" y="251"/>
                  <a:pt x="769" y="250"/>
                  <a:pt x="767" y="250"/>
                </a:cubicBezTo>
                <a:cubicBezTo>
                  <a:pt x="765" y="250"/>
                  <a:pt x="764" y="251"/>
                  <a:pt x="763" y="252"/>
                </a:cubicBezTo>
                <a:cubicBezTo>
                  <a:pt x="762" y="252"/>
                  <a:pt x="761" y="253"/>
                  <a:pt x="761" y="253"/>
                </a:cubicBezTo>
                <a:cubicBezTo>
                  <a:pt x="760" y="253"/>
                  <a:pt x="760" y="253"/>
                  <a:pt x="760" y="253"/>
                </a:cubicBezTo>
                <a:cubicBezTo>
                  <a:pt x="760" y="252"/>
                  <a:pt x="760" y="250"/>
                  <a:pt x="761" y="249"/>
                </a:cubicBezTo>
                <a:cubicBezTo>
                  <a:pt x="761" y="248"/>
                  <a:pt x="761" y="247"/>
                  <a:pt x="761" y="247"/>
                </a:cubicBezTo>
                <a:cubicBezTo>
                  <a:pt x="761" y="242"/>
                  <a:pt x="760" y="237"/>
                  <a:pt x="758" y="233"/>
                </a:cubicBezTo>
                <a:cubicBezTo>
                  <a:pt x="756" y="230"/>
                  <a:pt x="753" y="226"/>
                  <a:pt x="748" y="226"/>
                </a:cubicBezTo>
                <a:cubicBezTo>
                  <a:pt x="741" y="226"/>
                  <a:pt x="733" y="228"/>
                  <a:pt x="727" y="230"/>
                </a:cubicBezTo>
                <a:cubicBezTo>
                  <a:pt x="719" y="233"/>
                  <a:pt x="715" y="238"/>
                  <a:pt x="715" y="244"/>
                </a:cubicBezTo>
                <a:cubicBezTo>
                  <a:pt x="715" y="246"/>
                  <a:pt x="716" y="247"/>
                  <a:pt x="716" y="249"/>
                </a:cubicBezTo>
                <a:cubicBezTo>
                  <a:pt x="717" y="250"/>
                  <a:pt x="718" y="252"/>
                  <a:pt x="718" y="253"/>
                </a:cubicBezTo>
                <a:cubicBezTo>
                  <a:pt x="718" y="256"/>
                  <a:pt x="714" y="260"/>
                  <a:pt x="712" y="260"/>
                </a:cubicBezTo>
                <a:cubicBezTo>
                  <a:pt x="711" y="260"/>
                  <a:pt x="710" y="260"/>
                  <a:pt x="710" y="259"/>
                </a:cubicBezTo>
                <a:cubicBezTo>
                  <a:pt x="709" y="259"/>
                  <a:pt x="709" y="257"/>
                  <a:pt x="709" y="256"/>
                </a:cubicBezTo>
                <a:cubicBezTo>
                  <a:pt x="709" y="255"/>
                  <a:pt x="709" y="255"/>
                  <a:pt x="709" y="255"/>
                </a:cubicBezTo>
                <a:cubicBezTo>
                  <a:pt x="709" y="254"/>
                  <a:pt x="709" y="254"/>
                  <a:pt x="709" y="254"/>
                </a:cubicBezTo>
                <a:cubicBezTo>
                  <a:pt x="709" y="254"/>
                  <a:pt x="709" y="254"/>
                  <a:pt x="709" y="254"/>
                </a:cubicBezTo>
                <a:cubicBezTo>
                  <a:pt x="709" y="254"/>
                  <a:pt x="709" y="251"/>
                  <a:pt x="709" y="248"/>
                </a:cubicBezTo>
                <a:cubicBezTo>
                  <a:pt x="710" y="248"/>
                  <a:pt x="710" y="248"/>
                  <a:pt x="710" y="248"/>
                </a:cubicBezTo>
                <a:cubicBezTo>
                  <a:pt x="709" y="248"/>
                  <a:pt x="709" y="248"/>
                  <a:pt x="709" y="248"/>
                </a:cubicBezTo>
                <a:cubicBezTo>
                  <a:pt x="708" y="248"/>
                  <a:pt x="707" y="247"/>
                  <a:pt x="707" y="245"/>
                </a:cubicBezTo>
                <a:cubicBezTo>
                  <a:pt x="707" y="239"/>
                  <a:pt x="710" y="236"/>
                  <a:pt x="714" y="234"/>
                </a:cubicBezTo>
                <a:cubicBezTo>
                  <a:pt x="716" y="232"/>
                  <a:pt x="719" y="230"/>
                  <a:pt x="720" y="227"/>
                </a:cubicBezTo>
                <a:cubicBezTo>
                  <a:pt x="720" y="226"/>
                  <a:pt x="720" y="226"/>
                  <a:pt x="720" y="226"/>
                </a:cubicBezTo>
                <a:cubicBezTo>
                  <a:pt x="720" y="226"/>
                  <a:pt x="720" y="226"/>
                  <a:pt x="720" y="226"/>
                </a:cubicBezTo>
                <a:cubicBezTo>
                  <a:pt x="720" y="226"/>
                  <a:pt x="714" y="224"/>
                  <a:pt x="710" y="223"/>
                </a:cubicBezTo>
                <a:cubicBezTo>
                  <a:pt x="710" y="223"/>
                  <a:pt x="710" y="223"/>
                  <a:pt x="710" y="223"/>
                </a:cubicBezTo>
                <a:cubicBezTo>
                  <a:pt x="710" y="223"/>
                  <a:pt x="710" y="223"/>
                  <a:pt x="710" y="223"/>
                </a:cubicBezTo>
                <a:cubicBezTo>
                  <a:pt x="701" y="223"/>
                  <a:pt x="693" y="227"/>
                  <a:pt x="685" y="236"/>
                </a:cubicBezTo>
                <a:cubicBezTo>
                  <a:pt x="684" y="236"/>
                  <a:pt x="684" y="238"/>
                  <a:pt x="684" y="240"/>
                </a:cubicBezTo>
                <a:cubicBezTo>
                  <a:pt x="684" y="242"/>
                  <a:pt x="684" y="244"/>
                  <a:pt x="683" y="245"/>
                </a:cubicBezTo>
                <a:cubicBezTo>
                  <a:pt x="678" y="249"/>
                  <a:pt x="676" y="252"/>
                  <a:pt x="676" y="262"/>
                </a:cubicBezTo>
                <a:cubicBezTo>
                  <a:pt x="676" y="265"/>
                  <a:pt x="681" y="271"/>
                  <a:pt x="681" y="271"/>
                </a:cubicBezTo>
                <a:cubicBezTo>
                  <a:pt x="681" y="271"/>
                  <a:pt x="681" y="271"/>
                  <a:pt x="681" y="271"/>
                </a:cubicBezTo>
                <a:cubicBezTo>
                  <a:pt x="681" y="271"/>
                  <a:pt x="681" y="271"/>
                  <a:pt x="681" y="271"/>
                </a:cubicBezTo>
                <a:cubicBezTo>
                  <a:pt x="682" y="271"/>
                  <a:pt x="695" y="273"/>
                  <a:pt x="698" y="275"/>
                </a:cubicBezTo>
                <a:cubicBezTo>
                  <a:pt x="698" y="278"/>
                  <a:pt x="698" y="278"/>
                  <a:pt x="698" y="278"/>
                </a:cubicBezTo>
                <a:cubicBezTo>
                  <a:pt x="697" y="278"/>
                  <a:pt x="695" y="278"/>
                  <a:pt x="694" y="278"/>
                </a:cubicBezTo>
                <a:cubicBezTo>
                  <a:pt x="691" y="277"/>
                  <a:pt x="687" y="276"/>
                  <a:pt x="684" y="278"/>
                </a:cubicBezTo>
                <a:cubicBezTo>
                  <a:pt x="684" y="278"/>
                  <a:pt x="684" y="278"/>
                  <a:pt x="684" y="278"/>
                </a:cubicBezTo>
                <a:cubicBezTo>
                  <a:pt x="684" y="278"/>
                  <a:pt x="684" y="278"/>
                  <a:pt x="684" y="278"/>
                </a:cubicBezTo>
                <a:cubicBezTo>
                  <a:pt x="684" y="281"/>
                  <a:pt x="686" y="282"/>
                  <a:pt x="688" y="284"/>
                </a:cubicBezTo>
                <a:cubicBezTo>
                  <a:pt x="689" y="285"/>
                  <a:pt x="690" y="286"/>
                  <a:pt x="691" y="289"/>
                </a:cubicBezTo>
                <a:cubicBezTo>
                  <a:pt x="691" y="289"/>
                  <a:pt x="691" y="289"/>
                  <a:pt x="691" y="289"/>
                </a:cubicBezTo>
                <a:cubicBezTo>
                  <a:pt x="706" y="289"/>
                  <a:pt x="706" y="289"/>
                  <a:pt x="706" y="289"/>
                </a:cubicBezTo>
                <a:cubicBezTo>
                  <a:pt x="708" y="292"/>
                  <a:pt x="713" y="296"/>
                  <a:pt x="715" y="296"/>
                </a:cubicBezTo>
                <a:cubicBezTo>
                  <a:pt x="720" y="296"/>
                  <a:pt x="725" y="296"/>
                  <a:pt x="731" y="296"/>
                </a:cubicBezTo>
                <a:cubicBezTo>
                  <a:pt x="743" y="295"/>
                  <a:pt x="755" y="295"/>
                  <a:pt x="762" y="296"/>
                </a:cubicBezTo>
                <a:cubicBezTo>
                  <a:pt x="762" y="296"/>
                  <a:pt x="762" y="296"/>
                  <a:pt x="762" y="296"/>
                </a:cubicBezTo>
                <a:cubicBezTo>
                  <a:pt x="761" y="298"/>
                  <a:pt x="761" y="301"/>
                  <a:pt x="762" y="303"/>
                </a:cubicBezTo>
                <a:cubicBezTo>
                  <a:pt x="763" y="303"/>
                  <a:pt x="763" y="304"/>
                  <a:pt x="765" y="304"/>
                </a:cubicBezTo>
                <a:cubicBezTo>
                  <a:pt x="768" y="304"/>
                  <a:pt x="771" y="300"/>
                  <a:pt x="773" y="296"/>
                </a:cubicBezTo>
                <a:cubicBezTo>
                  <a:pt x="775" y="293"/>
                  <a:pt x="777" y="291"/>
                  <a:pt x="779" y="291"/>
                </a:cubicBezTo>
                <a:cubicBezTo>
                  <a:pt x="782" y="291"/>
                  <a:pt x="797" y="305"/>
                  <a:pt x="801" y="309"/>
                </a:cubicBezTo>
                <a:cubicBezTo>
                  <a:pt x="799" y="309"/>
                  <a:pt x="794" y="310"/>
                  <a:pt x="794" y="314"/>
                </a:cubicBezTo>
                <a:cubicBezTo>
                  <a:pt x="794" y="315"/>
                  <a:pt x="795" y="318"/>
                  <a:pt x="797" y="318"/>
                </a:cubicBezTo>
                <a:cubicBezTo>
                  <a:pt x="799" y="318"/>
                  <a:pt x="801" y="317"/>
                  <a:pt x="802" y="316"/>
                </a:cubicBezTo>
                <a:cubicBezTo>
                  <a:pt x="803" y="315"/>
                  <a:pt x="805" y="314"/>
                  <a:pt x="807" y="314"/>
                </a:cubicBezTo>
                <a:cubicBezTo>
                  <a:pt x="813" y="314"/>
                  <a:pt x="833" y="331"/>
                  <a:pt x="833" y="340"/>
                </a:cubicBezTo>
                <a:cubicBezTo>
                  <a:pt x="833" y="343"/>
                  <a:pt x="829" y="349"/>
                  <a:pt x="823" y="355"/>
                </a:cubicBezTo>
                <a:cubicBezTo>
                  <a:pt x="823" y="356"/>
                  <a:pt x="821" y="356"/>
                  <a:pt x="820" y="356"/>
                </a:cubicBezTo>
                <a:cubicBezTo>
                  <a:pt x="818" y="357"/>
                  <a:pt x="816" y="357"/>
                  <a:pt x="816" y="361"/>
                </a:cubicBezTo>
                <a:cubicBezTo>
                  <a:pt x="816" y="364"/>
                  <a:pt x="819" y="367"/>
                  <a:pt x="821" y="368"/>
                </a:cubicBezTo>
                <a:cubicBezTo>
                  <a:pt x="817" y="371"/>
                  <a:pt x="810" y="373"/>
                  <a:pt x="808" y="373"/>
                </a:cubicBezTo>
                <a:cubicBezTo>
                  <a:pt x="794" y="373"/>
                  <a:pt x="794" y="373"/>
                  <a:pt x="794" y="373"/>
                </a:cubicBezTo>
                <a:cubicBezTo>
                  <a:pt x="790" y="373"/>
                  <a:pt x="782" y="379"/>
                  <a:pt x="782" y="383"/>
                </a:cubicBezTo>
                <a:cubicBezTo>
                  <a:pt x="782" y="388"/>
                  <a:pt x="792" y="393"/>
                  <a:pt x="795" y="393"/>
                </a:cubicBezTo>
                <a:cubicBezTo>
                  <a:pt x="797" y="393"/>
                  <a:pt x="799" y="391"/>
                  <a:pt x="800" y="390"/>
                </a:cubicBezTo>
                <a:cubicBezTo>
                  <a:pt x="802" y="389"/>
                  <a:pt x="803" y="388"/>
                  <a:pt x="805" y="388"/>
                </a:cubicBezTo>
                <a:cubicBezTo>
                  <a:pt x="806" y="388"/>
                  <a:pt x="806" y="388"/>
                  <a:pt x="807" y="389"/>
                </a:cubicBezTo>
                <a:cubicBezTo>
                  <a:pt x="807" y="389"/>
                  <a:pt x="808" y="390"/>
                  <a:pt x="810" y="390"/>
                </a:cubicBezTo>
                <a:cubicBezTo>
                  <a:pt x="813" y="390"/>
                  <a:pt x="815" y="387"/>
                  <a:pt x="816" y="385"/>
                </a:cubicBezTo>
                <a:cubicBezTo>
                  <a:pt x="819" y="387"/>
                  <a:pt x="822" y="390"/>
                  <a:pt x="825" y="392"/>
                </a:cubicBezTo>
                <a:cubicBezTo>
                  <a:pt x="829" y="396"/>
                  <a:pt x="834" y="399"/>
                  <a:pt x="839" y="402"/>
                </a:cubicBezTo>
                <a:cubicBezTo>
                  <a:pt x="839" y="404"/>
                  <a:pt x="838" y="406"/>
                  <a:pt x="839" y="407"/>
                </a:cubicBezTo>
                <a:cubicBezTo>
                  <a:pt x="840" y="411"/>
                  <a:pt x="846" y="413"/>
                  <a:pt x="851" y="414"/>
                </a:cubicBezTo>
                <a:cubicBezTo>
                  <a:pt x="855" y="415"/>
                  <a:pt x="858" y="416"/>
                  <a:pt x="860" y="418"/>
                </a:cubicBezTo>
                <a:cubicBezTo>
                  <a:pt x="864" y="421"/>
                  <a:pt x="868" y="421"/>
                  <a:pt x="872" y="422"/>
                </a:cubicBezTo>
                <a:cubicBezTo>
                  <a:pt x="875" y="423"/>
                  <a:pt x="879" y="424"/>
                  <a:pt x="883" y="426"/>
                </a:cubicBezTo>
                <a:cubicBezTo>
                  <a:pt x="883" y="426"/>
                  <a:pt x="883" y="426"/>
                  <a:pt x="883" y="426"/>
                </a:cubicBezTo>
                <a:cubicBezTo>
                  <a:pt x="883" y="426"/>
                  <a:pt x="883" y="426"/>
                  <a:pt x="883" y="426"/>
                </a:cubicBezTo>
                <a:cubicBezTo>
                  <a:pt x="883" y="426"/>
                  <a:pt x="884" y="427"/>
                  <a:pt x="884" y="427"/>
                </a:cubicBezTo>
                <a:cubicBezTo>
                  <a:pt x="884" y="429"/>
                  <a:pt x="885" y="430"/>
                  <a:pt x="886" y="430"/>
                </a:cubicBezTo>
                <a:cubicBezTo>
                  <a:pt x="888" y="430"/>
                  <a:pt x="890" y="428"/>
                  <a:pt x="890" y="426"/>
                </a:cubicBezTo>
                <a:cubicBezTo>
                  <a:pt x="890" y="419"/>
                  <a:pt x="883" y="414"/>
                  <a:pt x="876" y="409"/>
                </a:cubicBezTo>
                <a:cubicBezTo>
                  <a:pt x="873" y="406"/>
                  <a:pt x="870" y="404"/>
                  <a:pt x="868" y="402"/>
                </a:cubicBezTo>
                <a:cubicBezTo>
                  <a:pt x="871" y="402"/>
                  <a:pt x="871" y="402"/>
                  <a:pt x="871" y="402"/>
                </a:cubicBezTo>
                <a:cubicBezTo>
                  <a:pt x="875" y="407"/>
                  <a:pt x="894" y="415"/>
                  <a:pt x="900" y="415"/>
                </a:cubicBezTo>
                <a:cubicBezTo>
                  <a:pt x="900" y="415"/>
                  <a:pt x="900" y="415"/>
                  <a:pt x="900" y="415"/>
                </a:cubicBezTo>
                <a:cubicBezTo>
                  <a:pt x="900" y="415"/>
                  <a:pt x="900" y="415"/>
                  <a:pt x="900" y="415"/>
                </a:cubicBezTo>
                <a:cubicBezTo>
                  <a:pt x="901" y="414"/>
                  <a:pt x="901" y="412"/>
                  <a:pt x="902" y="411"/>
                </a:cubicBezTo>
                <a:cubicBezTo>
                  <a:pt x="903" y="407"/>
                  <a:pt x="905" y="404"/>
                  <a:pt x="905" y="401"/>
                </a:cubicBezTo>
                <a:cubicBezTo>
                  <a:pt x="905" y="399"/>
                  <a:pt x="903" y="397"/>
                  <a:pt x="902" y="396"/>
                </a:cubicBezTo>
                <a:cubicBezTo>
                  <a:pt x="901" y="395"/>
                  <a:pt x="899" y="394"/>
                  <a:pt x="899" y="393"/>
                </a:cubicBezTo>
                <a:cubicBezTo>
                  <a:pt x="899" y="393"/>
                  <a:pt x="899" y="393"/>
                  <a:pt x="899" y="393"/>
                </a:cubicBezTo>
                <a:cubicBezTo>
                  <a:pt x="899" y="393"/>
                  <a:pt x="899" y="393"/>
                  <a:pt x="899" y="393"/>
                </a:cubicBezTo>
                <a:cubicBezTo>
                  <a:pt x="899" y="392"/>
                  <a:pt x="899" y="392"/>
                  <a:pt x="899" y="386"/>
                </a:cubicBezTo>
                <a:cubicBezTo>
                  <a:pt x="899" y="386"/>
                  <a:pt x="899" y="386"/>
                  <a:pt x="899" y="386"/>
                </a:cubicBezTo>
                <a:cubicBezTo>
                  <a:pt x="894" y="386"/>
                  <a:pt x="894" y="386"/>
                  <a:pt x="894" y="386"/>
                </a:cubicBezTo>
                <a:cubicBezTo>
                  <a:pt x="894" y="382"/>
                  <a:pt x="893" y="382"/>
                  <a:pt x="891" y="382"/>
                </a:cubicBezTo>
                <a:cubicBezTo>
                  <a:pt x="889" y="382"/>
                  <a:pt x="888" y="382"/>
                  <a:pt x="885" y="382"/>
                </a:cubicBezTo>
                <a:cubicBezTo>
                  <a:pt x="883" y="381"/>
                  <a:pt x="879" y="373"/>
                  <a:pt x="879" y="369"/>
                </a:cubicBezTo>
                <a:cubicBezTo>
                  <a:pt x="879" y="368"/>
                  <a:pt x="879" y="368"/>
                  <a:pt x="879" y="368"/>
                </a:cubicBezTo>
                <a:cubicBezTo>
                  <a:pt x="875" y="368"/>
                  <a:pt x="875" y="368"/>
                  <a:pt x="875" y="368"/>
                </a:cubicBezTo>
                <a:cubicBezTo>
                  <a:pt x="875" y="364"/>
                  <a:pt x="875" y="364"/>
                  <a:pt x="875" y="364"/>
                </a:cubicBezTo>
                <a:cubicBezTo>
                  <a:pt x="876" y="365"/>
                  <a:pt x="878" y="364"/>
                  <a:pt x="879" y="364"/>
                </a:cubicBezTo>
                <a:cubicBezTo>
                  <a:pt x="879" y="364"/>
                  <a:pt x="879" y="364"/>
                  <a:pt x="879" y="364"/>
                </a:cubicBezTo>
                <a:cubicBezTo>
                  <a:pt x="879" y="359"/>
                  <a:pt x="879" y="359"/>
                  <a:pt x="879" y="359"/>
                </a:cubicBezTo>
                <a:cubicBezTo>
                  <a:pt x="879" y="359"/>
                  <a:pt x="879" y="359"/>
                  <a:pt x="879" y="359"/>
                </a:cubicBezTo>
                <a:cubicBezTo>
                  <a:pt x="878" y="359"/>
                  <a:pt x="878" y="359"/>
                  <a:pt x="878" y="359"/>
                </a:cubicBezTo>
                <a:cubicBezTo>
                  <a:pt x="876" y="359"/>
                  <a:pt x="876" y="360"/>
                  <a:pt x="874" y="358"/>
                </a:cubicBezTo>
                <a:cubicBezTo>
                  <a:pt x="874" y="358"/>
                  <a:pt x="874" y="358"/>
                  <a:pt x="874" y="358"/>
                </a:cubicBezTo>
                <a:cubicBezTo>
                  <a:pt x="875" y="357"/>
                  <a:pt x="878" y="355"/>
                  <a:pt x="879" y="355"/>
                </a:cubicBezTo>
                <a:cubicBezTo>
                  <a:pt x="886" y="355"/>
                  <a:pt x="890" y="361"/>
                  <a:pt x="894" y="367"/>
                </a:cubicBezTo>
                <a:cubicBezTo>
                  <a:pt x="898" y="373"/>
                  <a:pt x="902" y="379"/>
                  <a:pt x="910" y="379"/>
                </a:cubicBezTo>
                <a:cubicBezTo>
                  <a:pt x="914" y="379"/>
                  <a:pt x="914" y="373"/>
                  <a:pt x="914" y="369"/>
                </a:cubicBezTo>
                <a:cubicBezTo>
                  <a:pt x="921" y="369"/>
                  <a:pt x="921" y="365"/>
                  <a:pt x="921" y="364"/>
                </a:cubicBezTo>
                <a:cubicBezTo>
                  <a:pt x="921" y="364"/>
                  <a:pt x="921" y="364"/>
                  <a:pt x="921" y="363"/>
                </a:cubicBezTo>
                <a:cubicBezTo>
                  <a:pt x="921" y="363"/>
                  <a:pt x="921" y="362"/>
                  <a:pt x="921" y="360"/>
                </a:cubicBezTo>
                <a:cubicBezTo>
                  <a:pt x="925" y="360"/>
                  <a:pt x="930" y="359"/>
                  <a:pt x="930" y="354"/>
                </a:cubicBezTo>
                <a:cubicBezTo>
                  <a:pt x="930" y="348"/>
                  <a:pt x="928" y="346"/>
                  <a:pt x="922" y="346"/>
                </a:cubicBezTo>
                <a:cubicBezTo>
                  <a:pt x="920" y="346"/>
                  <a:pt x="918" y="346"/>
                  <a:pt x="916" y="344"/>
                </a:cubicBezTo>
                <a:cubicBezTo>
                  <a:pt x="915" y="340"/>
                  <a:pt x="913" y="340"/>
                  <a:pt x="911" y="341"/>
                </a:cubicBezTo>
                <a:cubicBezTo>
                  <a:pt x="909" y="341"/>
                  <a:pt x="908" y="342"/>
                  <a:pt x="905" y="342"/>
                </a:cubicBezTo>
                <a:cubicBezTo>
                  <a:pt x="902" y="342"/>
                  <a:pt x="900" y="338"/>
                  <a:pt x="899" y="330"/>
                </a:cubicBezTo>
                <a:cubicBezTo>
                  <a:pt x="899" y="330"/>
                  <a:pt x="899" y="330"/>
                  <a:pt x="899" y="330"/>
                </a:cubicBezTo>
                <a:cubicBezTo>
                  <a:pt x="898" y="330"/>
                  <a:pt x="898" y="330"/>
                  <a:pt x="898" y="330"/>
                </a:cubicBezTo>
                <a:cubicBezTo>
                  <a:pt x="892" y="329"/>
                  <a:pt x="884" y="326"/>
                  <a:pt x="883" y="318"/>
                </a:cubicBezTo>
                <a:cubicBezTo>
                  <a:pt x="883" y="318"/>
                  <a:pt x="883" y="318"/>
                  <a:pt x="883" y="318"/>
                </a:cubicBezTo>
                <a:cubicBezTo>
                  <a:pt x="883" y="318"/>
                  <a:pt x="883" y="318"/>
                  <a:pt x="883" y="318"/>
                </a:cubicBezTo>
                <a:cubicBezTo>
                  <a:pt x="879" y="318"/>
                  <a:pt x="878" y="317"/>
                  <a:pt x="875" y="315"/>
                </a:cubicBezTo>
                <a:cubicBezTo>
                  <a:pt x="877" y="312"/>
                  <a:pt x="879" y="311"/>
                  <a:pt x="882" y="309"/>
                </a:cubicBezTo>
                <a:cubicBezTo>
                  <a:pt x="883" y="309"/>
                  <a:pt x="884" y="308"/>
                  <a:pt x="885" y="308"/>
                </a:cubicBezTo>
                <a:cubicBezTo>
                  <a:pt x="885" y="307"/>
                  <a:pt x="885" y="307"/>
                  <a:pt x="885" y="307"/>
                </a:cubicBezTo>
                <a:cubicBezTo>
                  <a:pt x="885" y="307"/>
                  <a:pt x="885" y="307"/>
                  <a:pt x="885" y="307"/>
                </a:cubicBezTo>
                <a:cubicBezTo>
                  <a:pt x="884" y="305"/>
                  <a:pt x="882" y="304"/>
                  <a:pt x="880" y="304"/>
                </a:cubicBezTo>
                <a:cubicBezTo>
                  <a:pt x="877" y="304"/>
                  <a:pt x="876" y="304"/>
                  <a:pt x="872" y="303"/>
                </a:cubicBezTo>
                <a:cubicBezTo>
                  <a:pt x="873" y="301"/>
                  <a:pt x="876" y="300"/>
                  <a:pt x="879" y="299"/>
                </a:cubicBezTo>
                <a:cubicBezTo>
                  <a:pt x="880" y="299"/>
                  <a:pt x="881" y="299"/>
                  <a:pt x="882" y="299"/>
                </a:cubicBezTo>
                <a:cubicBezTo>
                  <a:pt x="882" y="299"/>
                  <a:pt x="882" y="299"/>
                  <a:pt x="882" y="299"/>
                </a:cubicBezTo>
                <a:cubicBezTo>
                  <a:pt x="882" y="298"/>
                  <a:pt x="882" y="298"/>
                  <a:pt x="882" y="298"/>
                </a:cubicBezTo>
                <a:cubicBezTo>
                  <a:pt x="880" y="294"/>
                  <a:pt x="878" y="290"/>
                  <a:pt x="873" y="290"/>
                </a:cubicBezTo>
                <a:cubicBezTo>
                  <a:pt x="868" y="290"/>
                  <a:pt x="868" y="290"/>
                  <a:pt x="868" y="290"/>
                </a:cubicBezTo>
                <a:cubicBezTo>
                  <a:pt x="868" y="284"/>
                  <a:pt x="868" y="284"/>
                  <a:pt x="868" y="284"/>
                </a:cubicBezTo>
                <a:close/>
                <a:moveTo>
                  <a:pt x="788" y="406"/>
                </a:moveTo>
                <a:cubicBezTo>
                  <a:pt x="788" y="406"/>
                  <a:pt x="788" y="406"/>
                  <a:pt x="788" y="406"/>
                </a:cubicBezTo>
                <a:cubicBezTo>
                  <a:pt x="788" y="406"/>
                  <a:pt x="788" y="406"/>
                  <a:pt x="788" y="406"/>
                </a:cubicBezTo>
                <a:cubicBezTo>
                  <a:pt x="787" y="405"/>
                  <a:pt x="786" y="405"/>
                  <a:pt x="786" y="404"/>
                </a:cubicBezTo>
                <a:cubicBezTo>
                  <a:pt x="784" y="403"/>
                  <a:pt x="783" y="402"/>
                  <a:pt x="780" y="406"/>
                </a:cubicBezTo>
                <a:cubicBezTo>
                  <a:pt x="780" y="406"/>
                  <a:pt x="780" y="406"/>
                  <a:pt x="780" y="406"/>
                </a:cubicBezTo>
                <a:cubicBezTo>
                  <a:pt x="780" y="406"/>
                  <a:pt x="780" y="406"/>
                  <a:pt x="780" y="406"/>
                </a:cubicBezTo>
                <a:cubicBezTo>
                  <a:pt x="784" y="409"/>
                  <a:pt x="785" y="409"/>
                  <a:pt x="788" y="406"/>
                </a:cubicBezTo>
                <a:close/>
                <a:moveTo>
                  <a:pt x="736" y="369"/>
                </a:moveTo>
                <a:cubicBezTo>
                  <a:pt x="736" y="369"/>
                  <a:pt x="736" y="369"/>
                  <a:pt x="736" y="369"/>
                </a:cubicBezTo>
                <a:cubicBezTo>
                  <a:pt x="735" y="368"/>
                  <a:pt x="735" y="367"/>
                  <a:pt x="734" y="366"/>
                </a:cubicBezTo>
                <a:cubicBezTo>
                  <a:pt x="733" y="364"/>
                  <a:pt x="732" y="361"/>
                  <a:pt x="729" y="363"/>
                </a:cubicBezTo>
                <a:cubicBezTo>
                  <a:pt x="729" y="363"/>
                  <a:pt x="729" y="363"/>
                  <a:pt x="729" y="363"/>
                </a:cubicBezTo>
                <a:cubicBezTo>
                  <a:pt x="729" y="363"/>
                  <a:pt x="729" y="363"/>
                  <a:pt x="729" y="363"/>
                </a:cubicBezTo>
                <a:cubicBezTo>
                  <a:pt x="729" y="364"/>
                  <a:pt x="729" y="365"/>
                  <a:pt x="730" y="366"/>
                </a:cubicBezTo>
                <a:cubicBezTo>
                  <a:pt x="731" y="368"/>
                  <a:pt x="733" y="369"/>
                  <a:pt x="735" y="369"/>
                </a:cubicBezTo>
                <a:lnTo>
                  <a:pt x="736" y="369"/>
                </a:lnTo>
                <a:close/>
                <a:moveTo>
                  <a:pt x="668" y="57"/>
                </a:moveTo>
                <a:cubicBezTo>
                  <a:pt x="669" y="56"/>
                  <a:pt x="671" y="55"/>
                  <a:pt x="673" y="54"/>
                </a:cubicBezTo>
                <a:cubicBezTo>
                  <a:pt x="680" y="54"/>
                  <a:pt x="680" y="54"/>
                  <a:pt x="680" y="54"/>
                </a:cubicBezTo>
                <a:cubicBezTo>
                  <a:pt x="677" y="55"/>
                  <a:pt x="676" y="57"/>
                  <a:pt x="673" y="60"/>
                </a:cubicBezTo>
                <a:cubicBezTo>
                  <a:pt x="673" y="60"/>
                  <a:pt x="673" y="60"/>
                  <a:pt x="673" y="60"/>
                </a:cubicBezTo>
                <a:cubicBezTo>
                  <a:pt x="673" y="60"/>
                  <a:pt x="673" y="60"/>
                  <a:pt x="673" y="60"/>
                </a:cubicBezTo>
                <a:cubicBezTo>
                  <a:pt x="674" y="61"/>
                  <a:pt x="674" y="61"/>
                  <a:pt x="674" y="61"/>
                </a:cubicBezTo>
                <a:cubicBezTo>
                  <a:pt x="675" y="61"/>
                  <a:pt x="678" y="63"/>
                  <a:pt x="679" y="63"/>
                </a:cubicBezTo>
                <a:cubicBezTo>
                  <a:pt x="680" y="63"/>
                  <a:pt x="680" y="63"/>
                  <a:pt x="681" y="63"/>
                </a:cubicBezTo>
                <a:cubicBezTo>
                  <a:pt x="680" y="64"/>
                  <a:pt x="679" y="65"/>
                  <a:pt x="678" y="68"/>
                </a:cubicBezTo>
                <a:cubicBezTo>
                  <a:pt x="678" y="68"/>
                  <a:pt x="678" y="68"/>
                  <a:pt x="678" y="68"/>
                </a:cubicBezTo>
                <a:cubicBezTo>
                  <a:pt x="678" y="68"/>
                  <a:pt x="678" y="68"/>
                  <a:pt x="678" y="68"/>
                </a:cubicBezTo>
                <a:cubicBezTo>
                  <a:pt x="680" y="68"/>
                  <a:pt x="683" y="68"/>
                  <a:pt x="687" y="68"/>
                </a:cubicBezTo>
                <a:cubicBezTo>
                  <a:pt x="687" y="68"/>
                  <a:pt x="688" y="68"/>
                  <a:pt x="689" y="68"/>
                </a:cubicBezTo>
                <a:cubicBezTo>
                  <a:pt x="687" y="69"/>
                  <a:pt x="686" y="70"/>
                  <a:pt x="684" y="71"/>
                </a:cubicBezTo>
                <a:cubicBezTo>
                  <a:pt x="684" y="72"/>
                  <a:pt x="684" y="72"/>
                  <a:pt x="684" y="72"/>
                </a:cubicBezTo>
                <a:cubicBezTo>
                  <a:pt x="684" y="72"/>
                  <a:pt x="684" y="72"/>
                  <a:pt x="684" y="72"/>
                </a:cubicBezTo>
                <a:cubicBezTo>
                  <a:pt x="686" y="75"/>
                  <a:pt x="695" y="79"/>
                  <a:pt x="701" y="79"/>
                </a:cubicBezTo>
                <a:cubicBezTo>
                  <a:pt x="704" y="79"/>
                  <a:pt x="706" y="78"/>
                  <a:pt x="708" y="76"/>
                </a:cubicBezTo>
                <a:cubicBezTo>
                  <a:pt x="708" y="76"/>
                  <a:pt x="708" y="76"/>
                  <a:pt x="708" y="76"/>
                </a:cubicBezTo>
                <a:cubicBezTo>
                  <a:pt x="712" y="76"/>
                  <a:pt x="712" y="76"/>
                  <a:pt x="712" y="76"/>
                </a:cubicBezTo>
                <a:cubicBezTo>
                  <a:pt x="712" y="77"/>
                  <a:pt x="712" y="78"/>
                  <a:pt x="712" y="79"/>
                </a:cubicBezTo>
                <a:cubicBezTo>
                  <a:pt x="714" y="81"/>
                  <a:pt x="720" y="83"/>
                  <a:pt x="725" y="83"/>
                </a:cubicBezTo>
                <a:cubicBezTo>
                  <a:pt x="726" y="83"/>
                  <a:pt x="727" y="82"/>
                  <a:pt x="728" y="81"/>
                </a:cubicBezTo>
                <a:cubicBezTo>
                  <a:pt x="729" y="80"/>
                  <a:pt x="730" y="79"/>
                  <a:pt x="731" y="79"/>
                </a:cubicBezTo>
                <a:cubicBezTo>
                  <a:pt x="732" y="79"/>
                  <a:pt x="733" y="80"/>
                  <a:pt x="734" y="80"/>
                </a:cubicBezTo>
                <a:cubicBezTo>
                  <a:pt x="736" y="81"/>
                  <a:pt x="738" y="82"/>
                  <a:pt x="741" y="82"/>
                </a:cubicBezTo>
                <a:cubicBezTo>
                  <a:pt x="751" y="82"/>
                  <a:pt x="758" y="80"/>
                  <a:pt x="765" y="74"/>
                </a:cubicBezTo>
                <a:cubicBezTo>
                  <a:pt x="768" y="74"/>
                  <a:pt x="768" y="74"/>
                  <a:pt x="768" y="74"/>
                </a:cubicBezTo>
                <a:cubicBezTo>
                  <a:pt x="765" y="78"/>
                  <a:pt x="761" y="80"/>
                  <a:pt x="757" y="82"/>
                </a:cubicBezTo>
                <a:cubicBezTo>
                  <a:pt x="754" y="83"/>
                  <a:pt x="754" y="83"/>
                  <a:pt x="754" y="83"/>
                </a:cubicBezTo>
                <a:cubicBezTo>
                  <a:pt x="739" y="83"/>
                  <a:pt x="739" y="83"/>
                  <a:pt x="739" y="83"/>
                </a:cubicBezTo>
                <a:cubicBezTo>
                  <a:pt x="739" y="83"/>
                  <a:pt x="739" y="83"/>
                  <a:pt x="739" y="83"/>
                </a:cubicBezTo>
                <a:cubicBezTo>
                  <a:pt x="738" y="84"/>
                  <a:pt x="738" y="84"/>
                  <a:pt x="738" y="84"/>
                </a:cubicBezTo>
                <a:cubicBezTo>
                  <a:pt x="737" y="85"/>
                  <a:pt x="736" y="86"/>
                  <a:pt x="736" y="87"/>
                </a:cubicBezTo>
                <a:cubicBezTo>
                  <a:pt x="736" y="89"/>
                  <a:pt x="740" y="91"/>
                  <a:pt x="744" y="95"/>
                </a:cubicBezTo>
                <a:cubicBezTo>
                  <a:pt x="746" y="96"/>
                  <a:pt x="746" y="97"/>
                  <a:pt x="747" y="97"/>
                </a:cubicBezTo>
                <a:cubicBezTo>
                  <a:pt x="743" y="97"/>
                  <a:pt x="740" y="95"/>
                  <a:pt x="737" y="92"/>
                </a:cubicBezTo>
                <a:cubicBezTo>
                  <a:pt x="735" y="89"/>
                  <a:pt x="733" y="87"/>
                  <a:pt x="729" y="86"/>
                </a:cubicBezTo>
                <a:cubicBezTo>
                  <a:pt x="725" y="84"/>
                  <a:pt x="720" y="84"/>
                  <a:pt x="716" y="85"/>
                </a:cubicBezTo>
                <a:cubicBezTo>
                  <a:pt x="715" y="85"/>
                  <a:pt x="714" y="85"/>
                  <a:pt x="713" y="85"/>
                </a:cubicBezTo>
                <a:cubicBezTo>
                  <a:pt x="712" y="85"/>
                  <a:pt x="712" y="85"/>
                  <a:pt x="711" y="85"/>
                </a:cubicBezTo>
                <a:cubicBezTo>
                  <a:pt x="710" y="85"/>
                  <a:pt x="709" y="84"/>
                  <a:pt x="708" y="85"/>
                </a:cubicBezTo>
                <a:cubicBezTo>
                  <a:pt x="708" y="85"/>
                  <a:pt x="708" y="85"/>
                  <a:pt x="708" y="85"/>
                </a:cubicBezTo>
                <a:cubicBezTo>
                  <a:pt x="708" y="85"/>
                  <a:pt x="708" y="85"/>
                  <a:pt x="708" y="85"/>
                </a:cubicBezTo>
                <a:cubicBezTo>
                  <a:pt x="708" y="87"/>
                  <a:pt x="709" y="88"/>
                  <a:pt x="710" y="89"/>
                </a:cubicBezTo>
                <a:cubicBezTo>
                  <a:pt x="708" y="89"/>
                  <a:pt x="706" y="89"/>
                  <a:pt x="705" y="90"/>
                </a:cubicBezTo>
                <a:cubicBezTo>
                  <a:pt x="705" y="91"/>
                  <a:pt x="705" y="91"/>
                  <a:pt x="705" y="92"/>
                </a:cubicBezTo>
                <a:cubicBezTo>
                  <a:pt x="705" y="95"/>
                  <a:pt x="709" y="97"/>
                  <a:pt x="713" y="99"/>
                </a:cubicBezTo>
                <a:cubicBezTo>
                  <a:pt x="719" y="101"/>
                  <a:pt x="726" y="104"/>
                  <a:pt x="726" y="110"/>
                </a:cubicBezTo>
                <a:cubicBezTo>
                  <a:pt x="726" y="116"/>
                  <a:pt x="721" y="117"/>
                  <a:pt x="716" y="117"/>
                </a:cubicBezTo>
                <a:cubicBezTo>
                  <a:pt x="714" y="118"/>
                  <a:pt x="711" y="118"/>
                  <a:pt x="709" y="119"/>
                </a:cubicBezTo>
                <a:cubicBezTo>
                  <a:pt x="704" y="120"/>
                  <a:pt x="702" y="124"/>
                  <a:pt x="700" y="130"/>
                </a:cubicBezTo>
                <a:cubicBezTo>
                  <a:pt x="699" y="131"/>
                  <a:pt x="699" y="131"/>
                  <a:pt x="699" y="131"/>
                </a:cubicBezTo>
                <a:cubicBezTo>
                  <a:pt x="699" y="135"/>
                  <a:pt x="699" y="135"/>
                  <a:pt x="699" y="135"/>
                </a:cubicBezTo>
                <a:cubicBezTo>
                  <a:pt x="705" y="135"/>
                  <a:pt x="705" y="135"/>
                  <a:pt x="705" y="135"/>
                </a:cubicBezTo>
                <a:cubicBezTo>
                  <a:pt x="705" y="135"/>
                  <a:pt x="705" y="135"/>
                  <a:pt x="705" y="135"/>
                </a:cubicBezTo>
                <a:cubicBezTo>
                  <a:pt x="706" y="134"/>
                  <a:pt x="706" y="134"/>
                  <a:pt x="708" y="133"/>
                </a:cubicBezTo>
                <a:cubicBezTo>
                  <a:pt x="712" y="133"/>
                  <a:pt x="712" y="133"/>
                  <a:pt x="712" y="133"/>
                </a:cubicBezTo>
                <a:cubicBezTo>
                  <a:pt x="712" y="139"/>
                  <a:pt x="717" y="143"/>
                  <a:pt x="721" y="146"/>
                </a:cubicBezTo>
                <a:cubicBezTo>
                  <a:pt x="723" y="147"/>
                  <a:pt x="724" y="148"/>
                  <a:pt x="725" y="149"/>
                </a:cubicBezTo>
                <a:cubicBezTo>
                  <a:pt x="721" y="149"/>
                  <a:pt x="721" y="149"/>
                  <a:pt x="721" y="149"/>
                </a:cubicBezTo>
                <a:cubicBezTo>
                  <a:pt x="719" y="148"/>
                  <a:pt x="718" y="147"/>
                  <a:pt x="716" y="146"/>
                </a:cubicBezTo>
                <a:cubicBezTo>
                  <a:pt x="713" y="143"/>
                  <a:pt x="709" y="140"/>
                  <a:pt x="701" y="140"/>
                </a:cubicBezTo>
                <a:cubicBezTo>
                  <a:pt x="701" y="140"/>
                  <a:pt x="700" y="140"/>
                  <a:pt x="700" y="140"/>
                </a:cubicBezTo>
                <a:cubicBezTo>
                  <a:pt x="698" y="139"/>
                  <a:pt x="696" y="139"/>
                  <a:pt x="694" y="141"/>
                </a:cubicBezTo>
                <a:cubicBezTo>
                  <a:pt x="694" y="141"/>
                  <a:pt x="693" y="142"/>
                  <a:pt x="693" y="144"/>
                </a:cubicBezTo>
                <a:cubicBezTo>
                  <a:pt x="693" y="148"/>
                  <a:pt x="697" y="150"/>
                  <a:pt x="700" y="152"/>
                </a:cubicBezTo>
                <a:cubicBezTo>
                  <a:pt x="701" y="153"/>
                  <a:pt x="702" y="153"/>
                  <a:pt x="703" y="154"/>
                </a:cubicBezTo>
                <a:cubicBezTo>
                  <a:pt x="701" y="156"/>
                  <a:pt x="698" y="156"/>
                  <a:pt x="694" y="157"/>
                </a:cubicBezTo>
                <a:cubicBezTo>
                  <a:pt x="688" y="158"/>
                  <a:pt x="681" y="159"/>
                  <a:pt x="681" y="168"/>
                </a:cubicBezTo>
                <a:cubicBezTo>
                  <a:pt x="681" y="169"/>
                  <a:pt x="682" y="171"/>
                  <a:pt x="684" y="171"/>
                </a:cubicBezTo>
                <a:cubicBezTo>
                  <a:pt x="686" y="171"/>
                  <a:pt x="687" y="169"/>
                  <a:pt x="688" y="168"/>
                </a:cubicBezTo>
                <a:cubicBezTo>
                  <a:pt x="690" y="168"/>
                  <a:pt x="690" y="168"/>
                  <a:pt x="690" y="168"/>
                </a:cubicBezTo>
                <a:cubicBezTo>
                  <a:pt x="700" y="172"/>
                  <a:pt x="708" y="175"/>
                  <a:pt x="717" y="175"/>
                </a:cubicBezTo>
                <a:cubicBezTo>
                  <a:pt x="720" y="175"/>
                  <a:pt x="722" y="174"/>
                  <a:pt x="723" y="173"/>
                </a:cubicBezTo>
                <a:cubicBezTo>
                  <a:pt x="725" y="172"/>
                  <a:pt x="726" y="171"/>
                  <a:pt x="727" y="171"/>
                </a:cubicBezTo>
                <a:cubicBezTo>
                  <a:pt x="750" y="171"/>
                  <a:pt x="750" y="171"/>
                  <a:pt x="750" y="171"/>
                </a:cubicBezTo>
                <a:cubicBezTo>
                  <a:pt x="753" y="171"/>
                  <a:pt x="753" y="172"/>
                  <a:pt x="754" y="174"/>
                </a:cubicBezTo>
                <a:cubicBezTo>
                  <a:pt x="755" y="175"/>
                  <a:pt x="756" y="176"/>
                  <a:pt x="760" y="176"/>
                </a:cubicBezTo>
                <a:cubicBezTo>
                  <a:pt x="767" y="176"/>
                  <a:pt x="785" y="170"/>
                  <a:pt x="785" y="164"/>
                </a:cubicBezTo>
                <a:cubicBezTo>
                  <a:pt x="785" y="163"/>
                  <a:pt x="785" y="162"/>
                  <a:pt x="784" y="162"/>
                </a:cubicBezTo>
                <a:cubicBezTo>
                  <a:pt x="783" y="161"/>
                  <a:pt x="781" y="161"/>
                  <a:pt x="780" y="161"/>
                </a:cubicBezTo>
                <a:cubicBezTo>
                  <a:pt x="780" y="161"/>
                  <a:pt x="780" y="161"/>
                  <a:pt x="780" y="161"/>
                </a:cubicBezTo>
                <a:cubicBezTo>
                  <a:pt x="773" y="161"/>
                  <a:pt x="773" y="161"/>
                  <a:pt x="773" y="161"/>
                </a:cubicBezTo>
                <a:cubicBezTo>
                  <a:pt x="773" y="155"/>
                  <a:pt x="776" y="154"/>
                  <a:pt x="779" y="153"/>
                </a:cubicBezTo>
                <a:cubicBezTo>
                  <a:pt x="782" y="152"/>
                  <a:pt x="786" y="150"/>
                  <a:pt x="786" y="145"/>
                </a:cubicBezTo>
                <a:cubicBezTo>
                  <a:pt x="786" y="143"/>
                  <a:pt x="785" y="143"/>
                  <a:pt x="784" y="142"/>
                </a:cubicBezTo>
                <a:cubicBezTo>
                  <a:pt x="784" y="141"/>
                  <a:pt x="784" y="141"/>
                  <a:pt x="784" y="140"/>
                </a:cubicBezTo>
                <a:cubicBezTo>
                  <a:pt x="799" y="140"/>
                  <a:pt x="799" y="140"/>
                  <a:pt x="799" y="140"/>
                </a:cubicBezTo>
                <a:cubicBezTo>
                  <a:pt x="799" y="140"/>
                  <a:pt x="799" y="140"/>
                  <a:pt x="799" y="140"/>
                </a:cubicBezTo>
                <a:cubicBezTo>
                  <a:pt x="801" y="138"/>
                  <a:pt x="803" y="135"/>
                  <a:pt x="804" y="133"/>
                </a:cubicBezTo>
                <a:cubicBezTo>
                  <a:pt x="807" y="129"/>
                  <a:pt x="809" y="126"/>
                  <a:pt x="812" y="124"/>
                </a:cubicBezTo>
                <a:cubicBezTo>
                  <a:pt x="813" y="124"/>
                  <a:pt x="813" y="124"/>
                  <a:pt x="813" y="124"/>
                </a:cubicBezTo>
                <a:cubicBezTo>
                  <a:pt x="813" y="123"/>
                  <a:pt x="813" y="123"/>
                  <a:pt x="813" y="123"/>
                </a:cubicBezTo>
                <a:cubicBezTo>
                  <a:pt x="811" y="119"/>
                  <a:pt x="808" y="117"/>
                  <a:pt x="805" y="116"/>
                </a:cubicBezTo>
                <a:cubicBezTo>
                  <a:pt x="808" y="116"/>
                  <a:pt x="810" y="116"/>
                  <a:pt x="812" y="115"/>
                </a:cubicBezTo>
                <a:cubicBezTo>
                  <a:pt x="813" y="113"/>
                  <a:pt x="813" y="112"/>
                  <a:pt x="813" y="109"/>
                </a:cubicBezTo>
                <a:cubicBezTo>
                  <a:pt x="813" y="108"/>
                  <a:pt x="813" y="108"/>
                  <a:pt x="813" y="108"/>
                </a:cubicBezTo>
                <a:cubicBezTo>
                  <a:pt x="805" y="108"/>
                  <a:pt x="805" y="108"/>
                  <a:pt x="805" y="108"/>
                </a:cubicBezTo>
                <a:cubicBezTo>
                  <a:pt x="808" y="106"/>
                  <a:pt x="812" y="105"/>
                  <a:pt x="817" y="103"/>
                </a:cubicBezTo>
                <a:cubicBezTo>
                  <a:pt x="819" y="103"/>
                  <a:pt x="821" y="102"/>
                  <a:pt x="823" y="101"/>
                </a:cubicBezTo>
                <a:cubicBezTo>
                  <a:pt x="825" y="101"/>
                  <a:pt x="828" y="101"/>
                  <a:pt x="830" y="101"/>
                </a:cubicBezTo>
                <a:cubicBezTo>
                  <a:pt x="833" y="102"/>
                  <a:pt x="837" y="102"/>
                  <a:pt x="839" y="100"/>
                </a:cubicBezTo>
                <a:cubicBezTo>
                  <a:pt x="843" y="98"/>
                  <a:pt x="846" y="94"/>
                  <a:pt x="849" y="90"/>
                </a:cubicBezTo>
                <a:cubicBezTo>
                  <a:pt x="854" y="84"/>
                  <a:pt x="860" y="77"/>
                  <a:pt x="868" y="74"/>
                </a:cubicBezTo>
                <a:cubicBezTo>
                  <a:pt x="870" y="73"/>
                  <a:pt x="872" y="73"/>
                  <a:pt x="874" y="72"/>
                </a:cubicBezTo>
                <a:cubicBezTo>
                  <a:pt x="885" y="68"/>
                  <a:pt x="897" y="64"/>
                  <a:pt x="903" y="57"/>
                </a:cubicBezTo>
                <a:cubicBezTo>
                  <a:pt x="904" y="56"/>
                  <a:pt x="904" y="56"/>
                  <a:pt x="904" y="56"/>
                </a:cubicBezTo>
                <a:cubicBezTo>
                  <a:pt x="903" y="56"/>
                  <a:pt x="903" y="56"/>
                  <a:pt x="903" y="56"/>
                </a:cubicBezTo>
                <a:cubicBezTo>
                  <a:pt x="901" y="56"/>
                  <a:pt x="897" y="56"/>
                  <a:pt x="894" y="57"/>
                </a:cubicBezTo>
                <a:cubicBezTo>
                  <a:pt x="889" y="57"/>
                  <a:pt x="883" y="57"/>
                  <a:pt x="881" y="56"/>
                </a:cubicBezTo>
                <a:cubicBezTo>
                  <a:pt x="888" y="52"/>
                  <a:pt x="895" y="51"/>
                  <a:pt x="902" y="50"/>
                </a:cubicBezTo>
                <a:cubicBezTo>
                  <a:pt x="910" y="49"/>
                  <a:pt x="917" y="48"/>
                  <a:pt x="924" y="43"/>
                </a:cubicBezTo>
                <a:cubicBezTo>
                  <a:pt x="925" y="42"/>
                  <a:pt x="926" y="42"/>
                  <a:pt x="927" y="42"/>
                </a:cubicBezTo>
                <a:cubicBezTo>
                  <a:pt x="929" y="41"/>
                  <a:pt x="932" y="40"/>
                  <a:pt x="932" y="37"/>
                </a:cubicBezTo>
                <a:cubicBezTo>
                  <a:pt x="932" y="33"/>
                  <a:pt x="926" y="32"/>
                  <a:pt x="921" y="31"/>
                </a:cubicBezTo>
                <a:cubicBezTo>
                  <a:pt x="917" y="31"/>
                  <a:pt x="913" y="30"/>
                  <a:pt x="912" y="28"/>
                </a:cubicBezTo>
                <a:cubicBezTo>
                  <a:pt x="911" y="27"/>
                  <a:pt x="911" y="27"/>
                  <a:pt x="910" y="26"/>
                </a:cubicBezTo>
                <a:cubicBezTo>
                  <a:pt x="909" y="24"/>
                  <a:pt x="909" y="23"/>
                  <a:pt x="906" y="22"/>
                </a:cubicBezTo>
                <a:cubicBezTo>
                  <a:pt x="904" y="21"/>
                  <a:pt x="903" y="21"/>
                  <a:pt x="901" y="19"/>
                </a:cubicBezTo>
                <a:cubicBezTo>
                  <a:pt x="901" y="19"/>
                  <a:pt x="901" y="19"/>
                  <a:pt x="901" y="19"/>
                </a:cubicBezTo>
                <a:cubicBezTo>
                  <a:pt x="901" y="19"/>
                  <a:pt x="901" y="19"/>
                  <a:pt x="901" y="19"/>
                </a:cubicBezTo>
                <a:cubicBezTo>
                  <a:pt x="880" y="26"/>
                  <a:pt x="880" y="26"/>
                  <a:pt x="880" y="26"/>
                </a:cubicBezTo>
                <a:cubicBezTo>
                  <a:pt x="881" y="25"/>
                  <a:pt x="881" y="25"/>
                  <a:pt x="882" y="24"/>
                </a:cubicBezTo>
                <a:cubicBezTo>
                  <a:pt x="882" y="24"/>
                  <a:pt x="882" y="24"/>
                  <a:pt x="882" y="24"/>
                </a:cubicBezTo>
                <a:cubicBezTo>
                  <a:pt x="882" y="24"/>
                  <a:pt x="882" y="24"/>
                  <a:pt x="882" y="24"/>
                </a:cubicBezTo>
                <a:cubicBezTo>
                  <a:pt x="876" y="17"/>
                  <a:pt x="854" y="17"/>
                  <a:pt x="844" y="18"/>
                </a:cubicBezTo>
                <a:cubicBezTo>
                  <a:pt x="842" y="18"/>
                  <a:pt x="842" y="18"/>
                  <a:pt x="842" y="18"/>
                </a:cubicBezTo>
                <a:cubicBezTo>
                  <a:pt x="833" y="18"/>
                  <a:pt x="833" y="18"/>
                  <a:pt x="833" y="18"/>
                </a:cubicBezTo>
                <a:cubicBezTo>
                  <a:pt x="832" y="18"/>
                  <a:pt x="831" y="17"/>
                  <a:pt x="830" y="17"/>
                </a:cubicBezTo>
                <a:cubicBezTo>
                  <a:pt x="828" y="16"/>
                  <a:pt x="826" y="15"/>
                  <a:pt x="824" y="15"/>
                </a:cubicBezTo>
                <a:cubicBezTo>
                  <a:pt x="821" y="15"/>
                  <a:pt x="820" y="17"/>
                  <a:pt x="818" y="18"/>
                </a:cubicBezTo>
                <a:cubicBezTo>
                  <a:pt x="817" y="20"/>
                  <a:pt x="816" y="21"/>
                  <a:pt x="814" y="21"/>
                </a:cubicBezTo>
                <a:cubicBezTo>
                  <a:pt x="812" y="21"/>
                  <a:pt x="810" y="20"/>
                  <a:pt x="809" y="19"/>
                </a:cubicBezTo>
                <a:cubicBezTo>
                  <a:pt x="807" y="18"/>
                  <a:pt x="805" y="17"/>
                  <a:pt x="802" y="17"/>
                </a:cubicBezTo>
                <a:cubicBezTo>
                  <a:pt x="801" y="17"/>
                  <a:pt x="799" y="18"/>
                  <a:pt x="798" y="19"/>
                </a:cubicBezTo>
                <a:cubicBezTo>
                  <a:pt x="763" y="19"/>
                  <a:pt x="763" y="19"/>
                  <a:pt x="763" y="19"/>
                </a:cubicBezTo>
                <a:cubicBezTo>
                  <a:pt x="759" y="19"/>
                  <a:pt x="757" y="21"/>
                  <a:pt x="756" y="24"/>
                </a:cubicBezTo>
                <a:cubicBezTo>
                  <a:pt x="755" y="25"/>
                  <a:pt x="754" y="26"/>
                  <a:pt x="754" y="26"/>
                </a:cubicBezTo>
                <a:cubicBezTo>
                  <a:pt x="753" y="26"/>
                  <a:pt x="753" y="26"/>
                  <a:pt x="753" y="26"/>
                </a:cubicBezTo>
                <a:cubicBezTo>
                  <a:pt x="753" y="25"/>
                  <a:pt x="752" y="25"/>
                  <a:pt x="750" y="25"/>
                </a:cubicBezTo>
                <a:cubicBezTo>
                  <a:pt x="741" y="25"/>
                  <a:pt x="737" y="32"/>
                  <a:pt x="734" y="40"/>
                </a:cubicBezTo>
                <a:cubicBezTo>
                  <a:pt x="733" y="40"/>
                  <a:pt x="732" y="39"/>
                  <a:pt x="731" y="39"/>
                </a:cubicBezTo>
                <a:cubicBezTo>
                  <a:pt x="726" y="36"/>
                  <a:pt x="718" y="33"/>
                  <a:pt x="714" y="33"/>
                </a:cubicBezTo>
                <a:cubicBezTo>
                  <a:pt x="711" y="33"/>
                  <a:pt x="710" y="34"/>
                  <a:pt x="709" y="36"/>
                </a:cubicBezTo>
                <a:cubicBezTo>
                  <a:pt x="708" y="38"/>
                  <a:pt x="707" y="40"/>
                  <a:pt x="701" y="40"/>
                </a:cubicBezTo>
                <a:cubicBezTo>
                  <a:pt x="701" y="40"/>
                  <a:pt x="701" y="40"/>
                  <a:pt x="701" y="40"/>
                </a:cubicBezTo>
                <a:cubicBezTo>
                  <a:pt x="701" y="41"/>
                  <a:pt x="701" y="41"/>
                  <a:pt x="701" y="41"/>
                </a:cubicBezTo>
                <a:cubicBezTo>
                  <a:pt x="701" y="42"/>
                  <a:pt x="700" y="43"/>
                  <a:pt x="699" y="43"/>
                </a:cubicBezTo>
                <a:cubicBezTo>
                  <a:pt x="692" y="43"/>
                  <a:pt x="692" y="43"/>
                  <a:pt x="692" y="43"/>
                </a:cubicBezTo>
                <a:cubicBezTo>
                  <a:pt x="684" y="43"/>
                  <a:pt x="663" y="47"/>
                  <a:pt x="661" y="56"/>
                </a:cubicBezTo>
                <a:cubicBezTo>
                  <a:pt x="661" y="57"/>
                  <a:pt x="661" y="57"/>
                  <a:pt x="661" y="57"/>
                </a:cubicBezTo>
                <a:cubicBezTo>
                  <a:pt x="668" y="57"/>
                  <a:pt x="668" y="57"/>
                  <a:pt x="668" y="57"/>
                </a:cubicBezTo>
                <a:close/>
                <a:moveTo>
                  <a:pt x="685" y="60"/>
                </a:moveTo>
                <a:cubicBezTo>
                  <a:pt x="687" y="58"/>
                  <a:pt x="688" y="57"/>
                  <a:pt x="691" y="57"/>
                </a:cubicBezTo>
                <a:cubicBezTo>
                  <a:pt x="693" y="57"/>
                  <a:pt x="694" y="57"/>
                  <a:pt x="696" y="57"/>
                </a:cubicBezTo>
                <a:cubicBezTo>
                  <a:pt x="694" y="58"/>
                  <a:pt x="693" y="58"/>
                  <a:pt x="691" y="58"/>
                </a:cubicBezTo>
                <a:cubicBezTo>
                  <a:pt x="689" y="59"/>
                  <a:pt x="687" y="59"/>
                  <a:pt x="685" y="60"/>
                </a:cubicBezTo>
                <a:cubicBezTo>
                  <a:pt x="685" y="60"/>
                  <a:pt x="685" y="60"/>
                  <a:pt x="685" y="60"/>
                </a:cubicBezTo>
                <a:close/>
                <a:moveTo>
                  <a:pt x="1264" y="296"/>
                </a:moveTo>
                <a:cubicBezTo>
                  <a:pt x="1268" y="295"/>
                  <a:pt x="1271" y="294"/>
                  <a:pt x="1274" y="291"/>
                </a:cubicBezTo>
                <a:cubicBezTo>
                  <a:pt x="1275" y="290"/>
                  <a:pt x="1275" y="290"/>
                  <a:pt x="1275" y="290"/>
                </a:cubicBezTo>
                <a:cubicBezTo>
                  <a:pt x="1274" y="290"/>
                  <a:pt x="1274" y="290"/>
                  <a:pt x="1274" y="290"/>
                </a:cubicBezTo>
                <a:cubicBezTo>
                  <a:pt x="1272" y="289"/>
                  <a:pt x="1269" y="289"/>
                  <a:pt x="1264" y="289"/>
                </a:cubicBezTo>
                <a:cubicBezTo>
                  <a:pt x="1254" y="287"/>
                  <a:pt x="1241" y="286"/>
                  <a:pt x="1241" y="279"/>
                </a:cubicBezTo>
                <a:cubicBezTo>
                  <a:pt x="1243" y="279"/>
                  <a:pt x="1247" y="278"/>
                  <a:pt x="1247" y="274"/>
                </a:cubicBezTo>
                <a:cubicBezTo>
                  <a:pt x="1247" y="273"/>
                  <a:pt x="1247" y="272"/>
                  <a:pt x="1246" y="271"/>
                </a:cubicBezTo>
                <a:cubicBezTo>
                  <a:pt x="1245" y="270"/>
                  <a:pt x="1244" y="269"/>
                  <a:pt x="1244" y="266"/>
                </a:cubicBezTo>
                <a:cubicBezTo>
                  <a:pt x="1245" y="267"/>
                  <a:pt x="1246" y="267"/>
                  <a:pt x="1247" y="266"/>
                </a:cubicBezTo>
                <a:cubicBezTo>
                  <a:pt x="1248" y="266"/>
                  <a:pt x="1248" y="266"/>
                  <a:pt x="1249" y="266"/>
                </a:cubicBezTo>
                <a:cubicBezTo>
                  <a:pt x="1254" y="266"/>
                  <a:pt x="1257" y="270"/>
                  <a:pt x="1259" y="274"/>
                </a:cubicBezTo>
                <a:cubicBezTo>
                  <a:pt x="1262" y="279"/>
                  <a:pt x="1265" y="284"/>
                  <a:pt x="1273" y="284"/>
                </a:cubicBezTo>
                <a:cubicBezTo>
                  <a:pt x="1275" y="284"/>
                  <a:pt x="1281" y="284"/>
                  <a:pt x="1281" y="279"/>
                </a:cubicBezTo>
                <a:cubicBezTo>
                  <a:pt x="1281" y="265"/>
                  <a:pt x="1272" y="258"/>
                  <a:pt x="1262" y="251"/>
                </a:cubicBezTo>
                <a:cubicBezTo>
                  <a:pt x="1258" y="248"/>
                  <a:pt x="1254" y="244"/>
                  <a:pt x="1250" y="240"/>
                </a:cubicBezTo>
                <a:cubicBezTo>
                  <a:pt x="1250" y="236"/>
                  <a:pt x="1250" y="236"/>
                  <a:pt x="1250" y="236"/>
                </a:cubicBezTo>
                <a:cubicBezTo>
                  <a:pt x="1251" y="236"/>
                  <a:pt x="1251" y="236"/>
                  <a:pt x="1251" y="236"/>
                </a:cubicBezTo>
                <a:cubicBezTo>
                  <a:pt x="1251" y="236"/>
                  <a:pt x="1252" y="236"/>
                  <a:pt x="1254" y="236"/>
                </a:cubicBezTo>
                <a:cubicBezTo>
                  <a:pt x="1256" y="243"/>
                  <a:pt x="1265" y="251"/>
                  <a:pt x="1271" y="251"/>
                </a:cubicBezTo>
                <a:cubicBezTo>
                  <a:pt x="1276" y="251"/>
                  <a:pt x="1276" y="244"/>
                  <a:pt x="1276" y="241"/>
                </a:cubicBezTo>
                <a:cubicBezTo>
                  <a:pt x="1276" y="236"/>
                  <a:pt x="1272" y="235"/>
                  <a:pt x="1268" y="233"/>
                </a:cubicBezTo>
                <a:cubicBezTo>
                  <a:pt x="1265" y="231"/>
                  <a:pt x="1261" y="230"/>
                  <a:pt x="1259" y="226"/>
                </a:cubicBezTo>
                <a:cubicBezTo>
                  <a:pt x="1263" y="226"/>
                  <a:pt x="1263" y="226"/>
                  <a:pt x="1263" y="226"/>
                </a:cubicBezTo>
                <a:cubicBezTo>
                  <a:pt x="1265" y="229"/>
                  <a:pt x="1268" y="231"/>
                  <a:pt x="1270" y="233"/>
                </a:cubicBezTo>
                <a:cubicBezTo>
                  <a:pt x="1271" y="233"/>
                  <a:pt x="1272" y="233"/>
                  <a:pt x="1272" y="234"/>
                </a:cubicBezTo>
                <a:cubicBezTo>
                  <a:pt x="1273" y="234"/>
                  <a:pt x="1273" y="234"/>
                  <a:pt x="1273" y="234"/>
                </a:cubicBezTo>
                <a:cubicBezTo>
                  <a:pt x="1273" y="234"/>
                  <a:pt x="1273" y="234"/>
                  <a:pt x="1273" y="234"/>
                </a:cubicBezTo>
                <a:cubicBezTo>
                  <a:pt x="1274" y="231"/>
                  <a:pt x="1277" y="230"/>
                  <a:pt x="1280" y="229"/>
                </a:cubicBezTo>
                <a:cubicBezTo>
                  <a:pt x="1284" y="228"/>
                  <a:pt x="1289" y="226"/>
                  <a:pt x="1290" y="220"/>
                </a:cubicBezTo>
                <a:cubicBezTo>
                  <a:pt x="1290" y="220"/>
                  <a:pt x="1290" y="220"/>
                  <a:pt x="1290" y="220"/>
                </a:cubicBezTo>
                <a:cubicBezTo>
                  <a:pt x="1290" y="220"/>
                  <a:pt x="1290" y="220"/>
                  <a:pt x="1290" y="220"/>
                </a:cubicBezTo>
                <a:cubicBezTo>
                  <a:pt x="1288" y="219"/>
                  <a:pt x="1287" y="218"/>
                  <a:pt x="1287" y="215"/>
                </a:cubicBezTo>
                <a:cubicBezTo>
                  <a:pt x="1292" y="215"/>
                  <a:pt x="1299" y="212"/>
                  <a:pt x="1301" y="206"/>
                </a:cubicBezTo>
                <a:cubicBezTo>
                  <a:pt x="1301" y="205"/>
                  <a:pt x="1301" y="205"/>
                  <a:pt x="1301" y="205"/>
                </a:cubicBezTo>
                <a:cubicBezTo>
                  <a:pt x="1300" y="205"/>
                  <a:pt x="1300" y="205"/>
                  <a:pt x="1300" y="205"/>
                </a:cubicBezTo>
                <a:cubicBezTo>
                  <a:pt x="1299" y="205"/>
                  <a:pt x="1298" y="205"/>
                  <a:pt x="1297" y="204"/>
                </a:cubicBezTo>
                <a:cubicBezTo>
                  <a:pt x="1293" y="204"/>
                  <a:pt x="1288" y="203"/>
                  <a:pt x="1288" y="199"/>
                </a:cubicBezTo>
                <a:cubicBezTo>
                  <a:pt x="1288" y="195"/>
                  <a:pt x="1293" y="195"/>
                  <a:pt x="1298" y="195"/>
                </a:cubicBezTo>
                <a:cubicBezTo>
                  <a:pt x="1299" y="195"/>
                  <a:pt x="1299" y="195"/>
                  <a:pt x="1299" y="195"/>
                </a:cubicBezTo>
                <a:cubicBezTo>
                  <a:pt x="1298" y="194"/>
                  <a:pt x="1298" y="194"/>
                  <a:pt x="1298" y="194"/>
                </a:cubicBezTo>
                <a:cubicBezTo>
                  <a:pt x="1297" y="193"/>
                  <a:pt x="1297" y="191"/>
                  <a:pt x="1298" y="189"/>
                </a:cubicBezTo>
                <a:cubicBezTo>
                  <a:pt x="1298" y="188"/>
                  <a:pt x="1298" y="188"/>
                  <a:pt x="1298" y="186"/>
                </a:cubicBezTo>
                <a:cubicBezTo>
                  <a:pt x="1298" y="184"/>
                  <a:pt x="1297" y="182"/>
                  <a:pt x="1296" y="180"/>
                </a:cubicBezTo>
                <a:cubicBezTo>
                  <a:pt x="1295" y="178"/>
                  <a:pt x="1294" y="176"/>
                  <a:pt x="1294" y="171"/>
                </a:cubicBezTo>
                <a:cubicBezTo>
                  <a:pt x="1294" y="171"/>
                  <a:pt x="1294" y="171"/>
                  <a:pt x="1294" y="171"/>
                </a:cubicBezTo>
                <a:cubicBezTo>
                  <a:pt x="1293" y="171"/>
                  <a:pt x="1293" y="171"/>
                  <a:pt x="1293" y="171"/>
                </a:cubicBezTo>
                <a:cubicBezTo>
                  <a:pt x="1289" y="171"/>
                  <a:pt x="1284" y="171"/>
                  <a:pt x="1284" y="166"/>
                </a:cubicBezTo>
                <a:cubicBezTo>
                  <a:pt x="1284" y="163"/>
                  <a:pt x="1286" y="161"/>
                  <a:pt x="1289" y="161"/>
                </a:cubicBezTo>
                <a:cubicBezTo>
                  <a:pt x="1290" y="161"/>
                  <a:pt x="1292" y="161"/>
                  <a:pt x="1293" y="161"/>
                </a:cubicBezTo>
                <a:cubicBezTo>
                  <a:pt x="1299" y="161"/>
                  <a:pt x="1307" y="162"/>
                  <a:pt x="1310" y="159"/>
                </a:cubicBezTo>
                <a:cubicBezTo>
                  <a:pt x="1311" y="158"/>
                  <a:pt x="1311" y="157"/>
                  <a:pt x="1311" y="155"/>
                </a:cubicBezTo>
                <a:cubicBezTo>
                  <a:pt x="1311" y="150"/>
                  <a:pt x="1307" y="148"/>
                  <a:pt x="1304" y="147"/>
                </a:cubicBezTo>
                <a:cubicBezTo>
                  <a:pt x="1301" y="146"/>
                  <a:pt x="1299" y="145"/>
                  <a:pt x="1298" y="143"/>
                </a:cubicBezTo>
                <a:cubicBezTo>
                  <a:pt x="1301" y="143"/>
                  <a:pt x="1303" y="142"/>
                  <a:pt x="1304" y="141"/>
                </a:cubicBezTo>
                <a:cubicBezTo>
                  <a:pt x="1304" y="141"/>
                  <a:pt x="1304" y="141"/>
                  <a:pt x="1304" y="141"/>
                </a:cubicBezTo>
                <a:cubicBezTo>
                  <a:pt x="1304" y="140"/>
                  <a:pt x="1304" y="140"/>
                  <a:pt x="1304" y="140"/>
                </a:cubicBezTo>
                <a:cubicBezTo>
                  <a:pt x="1301" y="138"/>
                  <a:pt x="1296" y="134"/>
                  <a:pt x="1291" y="134"/>
                </a:cubicBezTo>
                <a:cubicBezTo>
                  <a:pt x="1290" y="134"/>
                  <a:pt x="1289" y="134"/>
                  <a:pt x="1288" y="134"/>
                </a:cubicBezTo>
                <a:cubicBezTo>
                  <a:pt x="1286" y="135"/>
                  <a:pt x="1284" y="135"/>
                  <a:pt x="1282" y="134"/>
                </a:cubicBezTo>
                <a:cubicBezTo>
                  <a:pt x="1283" y="133"/>
                  <a:pt x="1283" y="131"/>
                  <a:pt x="1284" y="129"/>
                </a:cubicBezTo>
                <a:cubicBezTo>
                  <a:pt x="1284" y="125"/>
                  <a:pt x="1285" y="121"/>
                  <a:pt x="1287" y="119"/>
                </a:cubicBezTo>
                <a:cubicBezTo>
                  <a:pt x="1289" y="118"/>
                  <a:pt x="1290" y="117"/>
                  <a:pt x="1291" y="116"/>
                </a:cubicBezTo>
                <a:cubicBezTo>
                  <a:pt x="1296" y="113"/>
                  <a:pt x="1300" y="110"/>
                  <a:pt x="1300" y="104"/>
                </a:cubicBezTo>
                <a:cubicBezTo>
                  <a:pt x="1300" y="103"/>
                  <a:pt x="1300" y="103"/>
                  <a:pt x="1300" y="103"/>
                </a:cubicBezTo>
                <a:cubicBezTo>
                  <a:pt x="1300" y="103"/>
                  <a:pt x="1300" y="102"/>
                  <a:pt x="1300" y="100"/>
                </a:cubicBezTo>
                <a:cubicBezTo>
                  <a:pt x="1300" y="99"/>
                  <a:pt x="1301" y="99"/>
                  <a:pt x="1302" y="99"/>
                </a:cubicBezTo>
                <a:cubicBezTo>
                  <a:pt x="1307" y="97"/>
                  <a:pt x="1314" y="96"/>
                  <a:pt x="1314" y="91"/>
                </a:cubicBezTo>
                <a:cubicBezTo>
                  <a:pt x="1314" y="89"/>
                  <a:pt x="1314" y="89"/>
                  <a:pt x="1314" y="89"/>
                </a:cubicBezTo>
                <a:cubicBezTo>
                  <a:pt x="1314" y="89"/>
                  <a:pt x="1314" y="89"/>
                  <a:pt x="1314" y="89"/>
                </a:cubicBezTo>
                <a:cubicBezTo>
                  <a:pt x="1315" y="89"/>
                  <a:pt x="1314" y="88"/>
                  <a:pt x="1314" y="86"/>
                </a:cubicBezTo>
                <a:cubicBezTo>
                  <a:pt x="1314" y="86"/>
                  <a:pt x="1315" y="86"/>
                  <a:pt x="1316" y="86"/>
                </a:cubicBezTo>
                <a:cubicBezTo>
                  <a:pt x="1321" y="85"/>
                  <a:pt x="1327" y="84"/>
                  <a:pt x="1327" y="75"/>
                </a:cubicBezTo>
                <a:cubicBezTo>
                  <a:pt x="1327" y="74"/>
                  <a:pt x="1327" y="74"/>
                  <a:pt x="1327" y="74"/>
                </a:cubicBezTo>
                <a:cubicBezTo>
                  <a:pt x="1333" y="73"/>
                  <a:pt x="1337" y="70"/>
                  <a:pt x="1341" y="67"/>
                </a:cubicBezTo>
                <a:cubicBezTo>
                  <a:pt x="1344" y="65"/>
                  <a:pt x="1347" y="63"/>
                  <a:pt x="1351" y="61"/>
                </a:cubicBezTo>
                <a:cubicBezTo>
                  <a:pt x="1353" y="61"/>
                  <a:pt x="1359" y="57"/>
                  <a:pt x="1359" y="53"/>
                </a:cubicBezTo>
                <a:cubicBezTo>
                  <a:pt x="1359" y="48"/>
                  <a:pt x="1344" y="40"/>
                  <a:pt x="1340" y="40"/>
                </a:cubicBezTo>
                <a:cubicBezTo>
                  <a:pt x="1337" y="40"/>
                  <a:pt x="1335" y="41"/>
                  <a:pt x="1334" y="45"/>
                </a:cubicBezTo>
                <a:cubicBezTo>
                  <a:pt x="1319" y="45"/>
                  <a:pt x="1319" y="45"/>
                  <a:pt x="1319" y="45"/>
                </a:cubicBezTo>
                <a:cubicBezTo>
                  <a:pt x="1319" y="45"/>
                  <a:pt x="1319" y="45"/>
                  <a:pt x="1319" y="45"/>
                </a:cubicBezTo>
                <a:cubicBezTo>
                  <a:pt x="1317" y="46"/>
                  <a:pt x="1316" y="47"/>
                  <a:pt x="1315" y="48"/>
                </a:cubicBezTo>
                <a:cubicBezTo>
                  <a:pt x="1313" y="49"/>
                  <a:pt x="1311" y="50"/>
                  <a:pt x="1308" y="52"/>
                </a:cubicBezTo>
                <a:cubicBezTo>
                  <a:pt x="1307" y="52"/>
                  <a:pt x="1303" y="51"/>
                  <a:pt x="1301" y="51"/>
                </a:cubicBezTo>
                <a:cubicBezTo>
                  <a:pt x="1301" y="51"/>
                  <a:pt x="1301" y="51"/>
                  <a:pt x="1301" y="51"/>
                </a:cubicBezTo>
                <a:cubicBezTo>
                  <a:pt x="1280" y="51"/>
                  <a:pt x="1280" y="51"/>
                  <a:pt x="1280" y="51"/>
                </a:cubicBezTo>
                <a:cubicBezTo>
                  <a:pt x="1280" y="51"/>
                  <a:pt x="1280" y="51"/>
                  <a:pt x="1280" y="51"/>
                </a:cubicBezTo>
                <a:cubicBezTo>
                  <a:pt x="1278" y="52"/>
                  <a:pt x="1275" y="56"/>
                  <a:pt x="1272" y="60"/>
                </a:cubicBezTo>
                <a:cubicBezTo>
                  <a:pt x="1266" y="67"/>
                  <a:pt x="1258" y="78"/>
                  <a:pt x="1253" y="80"/>
                </a:cubicBezTo>
                <a:cubicBezTo>
                  <a:pt x="1254" y="78"/>
                  <a:pt x="1258" y="72"/>
                  <a:pt x="1262" y="67"/>
                </a:cubicBezTo>
                <a:cubicBezTo>
                  <a:pt x="1268" y="58"/>
                  <a:pt x="1273" y="52"/>
                  <a:pt x="1273" y="50"/>
                </a:cubicBezTo>
                <a:cubicBezTo>
                  <a:pt x="1273" y="45"/>
                  <a:pt x="1271" y="40"/>
                  <a:pt x="1265" y="40"/>
                </a:cubicBezTo>
                <a:cubicBezTo>
                  <a:pt x="1259" y="40"/>
                  <a:pt x="1252" y="45"/>
                  <a:pt x="1244" y="51"/>
                </a:cubicBezTo>
                <a:cubicBezTo>
                  <a:pt x="1238" y="55"/>
                  <a:pt x="1232" y="59"/>
                  <a:pt x="1229" y="59"/>
                </a:cubicBezTo>
                <a:cubicBezTo>
                  <a:pt x="1229" y="58"/>
                  <a:pt x="1232" y="54"/>
                  <a:pt x="1235" y="51"/>
                </a:cubicBezTo>
                <a:cubicBezTo>
                  <a:pt x="1238" y="47"/>
                  <a:pt x="1240" y="44"/>
                  <a:pt x="1241" y="42"/>
                </a:cubicBezTo>
                <a:cubicBezTo>
                  <a:pt x="1241" y="42"/>
                  <a:pt x="1241" y="42"/>
                  <a:pt x="1241" y="42"/>
                </a:cubicBezTo>
                <a:cubicBezTo>
                  <a:pt x="1240" y="42"/>
                  <a:pt x="1240" y="42"/>
                  <a:pt x="1240" y="42"/>
                </a:cubicBezTo>
                <a:cubicBezTo>
                  <a:pt x="1238" y="41"/>
                  <a:pt x="1227" y="42"/>
                  <a:pt x="1215" y="42"/>
                </a:cubicBezTo>
                <a:cubicBezTo>
                  <a:pt x="1201" y="43"/>
                  <a:pt x="1185" y="44"/>
                  <a:pt x="1179" y="43"/>
                </a:cubicBezTo>
                <a:cubicBezTo>
                  <a:pt x="1245" y="39"/>
                  <a:pt x="1245" y="39"/>
                  <a:pt x="1245" y="39"/>
                </a:cubicBezTo>
                <a:cubicBezTo>
                  <a:pt x="1246" y="39"/>
                  <a:pt x="1246" y="39"/>
                  <a:pt x="1246" y="39"/>
                </a:cubicBezTo>
                <a:cubicBezTo>
                  <a:pt x="1246" y="39"/>
                  <a:pt x="1246" y="39"/>
                  <a:pt x="1246" y="39"/>
                </a:cubicBezTo>
                <a:cubicBezTo>
                  <a:pt x="1248" y="38"/>
                  <a:pt x="1252" y="37"/>
                  <a:pt x="1255" y="36"/>
                </a:cubicBezTo>
                <a:cubicBezTo>
                  <a:pt x="1265" y="35"/>
                  <a:pt x="1275" y="33"/>
                  <a:pt x="1277" y="24"/>
                </a:cubicBezTo>
                <a:cubicBezTo>
                  <a:pt x="1277" y="24"/>
                  <a:pt x="1277" y="24"/>
                  <a:pt x="1277" y="24"/>
                </a:cubicBezTo>
                <a:cubicBezTo>
                  <a:pt x="1276" y="24"/>
                  <a:pt x="1276" y="24"/>
                  <a:pt x="1276" y="24"/>
                </a:cubicBezTo>
                <a:cubicBezTo>
                  <a:pt x="1273" y="23"/>
                  <a:pt x="1269" y="23"/>
                  <a:pt x="1265" y="23"/>
                </a:cubicBezTo>
                <a:cubicBezTo>
                  <a:pt x="1260" y="23"/>
                  <a:pt x="1254" y="23"/>
                  <a:pt x="1250" y="20"/>
                </a:cubicBezTo>
                <a:cubicBezTo>
                  <a:pt x="1245" y="18"/>
                  <a:pt x="1241" y="16"/>
                  <a:pt x="1237" y="13"/>
                </a:cubicBezTo>
                <a:cubicBezTo>
                  <a:pt x="1227" y="7"/>
                  <a:pt x="1216" y="0"/>
                  <a:pt x="1203" y="0"/>
                </a:cubicBezTo>
                <a:cubicBezTo>
                  <a:pt x="1159" y="0"/>
                  <a:pt x="1159" y="0"/>
                  <a:pt x="1159" y="0"/>
                </a:cubicBezTo>
                <a:cubicBezTo>
                  <a:pt x="1151" y="0"/>
                  <a:pt x="1143" y="3"/>
                  <a:pt x="1137" y="5"/>
                </a:cubicBezTo>
                <a:cubicBezTo>
                  <a:pt x="1130" y="8"/>
                  <a:pt x="1123" y="10"/>
                  <a:pt x="1116" y="10"/>
                </a:cubicBezTo>
                <a:cubicBezTo>
                  <a:pt x="1115" y="10"/>
                  <a:pt x="1113" y="10"/>
                  <a:pt x="1112" y="10"/>
                </a:cubicBezTo>
                <a:cubicBezTo>
                  <a:pt x="1109" y="10"/>
                  <a:pt x="1107" y="9"/>
                  <a:pt x="1104" y="10"/>
                </a:cubicBezTo>
                <a:cubicBezTo>
                  <a:pt x="1103" y="10"/>
                  <a:pt x="1103" y="10"/>
                  <a:pt x="1103" y="10"/>
                </a:cubicBezTo>
                <a:cubicBezTo>
                  <a:pt x="1103" y="14"/>
                  <a:pt x="1103" y="14"/>
                  <a:pt x="1103" y="14"/>
                </a:cubicBezTo>
                <a:cubicBezTo>
                  <a:pt x="1098" y="14"/>
                  <a:pt x="1098" y="14"/>
                  <a:pt x="1098" y="14"/>
                </a:cubicBezTo>
                <a:cubicBezTo>
                  <a:pt x="1092" y="12"/>
                  <a:pt x="1087" y="12"/>
                  <a:pt x="1081" y="12"/>
                </a:cubicBezTo>
                <a:cubicBezTo>
                  <a:pt x="1079" y="12"/>
                  <a:pt x="1079" y="12"/>
                  <a:pt x="1079" y="12"/>
                </a:cubicBezTo>
                <a:cubicBezTo>
                  <a:pt x="1069" y="12"/>
                  <a:pt x="1061" y="14"/>
                  <a:pt x="1052" y="19"/>
                </a:cubicBezTo>
                <a:cubicBezTo>
                  <a:pt x="1052" y="19"/>
                  <a:pt x="1052" y="19"/>
                  <a:pt x="1052" y="19"/>
                </a:cubicBezTo>
                <a:cubicBezTo>
                  <a:pt x="1052" y="19"/>
                  <a:pt x="1052" y="19"/>
                  <a:pt x="1052" y="19"/>
                </a:cubicBezTo>
                <a:cubicBezTo>
                  <a:pt x="1053" y="21"/>
                  <a:pt x="1054" y="21"/>
                  <a:pt x="1055" y="22"/>
                </a:cubicBezTo>
                <a:cubicBezTo>
                  <a:pt x="1056" y="23"/>
                  <a:pt x="1057" y="23"/>
                  <a:pt x="1058" y="24"/>
                </a:cubicBezTo>
                <a:cubicBezTo>
                  <a:pt x="1057" y="24"/>
                  <a:pt x="1056" y="24"/>
                  <a:pt x="1055" y="24"/>
                </a:cubicBezTo>
                <a:cubicBezTo>
                  <a:pt x="1051" y="24"/>
                  <a:pt x="1046" y="24"/>
                  <a:pt x="1046" y="28"/>
                </a:cubicBezTo>
                <a:cubicBezTo>
                  <a:pt x="1046" y="34"/>
                  <a:pt x="1054" y="38"/>
                  <a:pt x="1060" y="41"/>
                </a:cubicBezTo>
                <a:cubicBezTo>
                  <a:pt x="1061" y="41"/>
                  <a:pt x="1061" y="42"/>
                  <a:pt x="1062" y="42"/>
                </a:cubicBezTo>
                <a:cubicBezTo>
                  <a:pt x="1050" y="42"/>
                  <a:pt x="1050" y="42"/>
                  <a:pt x="1050" y="42"/>
                </a:cubicBezTo>
                <a:cubicBezTo>
                  <a:pt x="1048" y="41"/>
                  <a:pt x="1046" y="40"/>
                  <a:pt x="1044" y="38"/>
                </a:cubicBezTo>
                <a:cubicBezTo>
                  <a:pt x="1038" y="34"/>
                  <a:pt x="1032" y="30"/>
                  <a:pt x="1022" y="30"/>
                </a:cubicBezTo>
                <a:cubicBezTo>
                  <a:pt x="1020" y="30"/>
                  <a:pt x="1014" y="30"/>
                  <a:pt x="1014" y="35"/>
                </a:cubicBezTo>
                <a:cubicBezTo>
                  <a:pt x="1014" y="37"/>
                  <a:pt x="1015" y="38"/>
                  <a:pt x="1016" y="40"/>
                </a:cubicBezTo>
                <a:cubicBezTo>
                  <a:pt x="1016" y="41"/>
                  <a:pt x="1016" y="41"/>
                  <a:pt x="1016" y="42"/>
                </a:cubicBezTo>
                <a:cubicBezTo>
                  <a:pt x="1012" y="42"/>
                  <a:pt x="1012" y="42"/>
                  <a:pt x="1012" y="42"/>
                </a:cubicBezTo>
                <a:cubicBezTo>
                  <a:pt x="1011" y="41"/>
                  <a:pt x="1009" y="41"/>
                  <a:pt x="1007" y="40"/>
                </a:cubicBezTo>
                <a:cubicBezTo>
                  <a:pt x="1003" y="39"/>
                  <a:pt x="1000" y="38"/>
                  <a:pt x="998" y="33"/>
                </a:cubicBezTo>
                <a:cubicBezTo>
                  <a:pt x="998" y="33"/>
                  <a:pt x="998" y="33"/>
                  <a:pt x="998" y="33"/>
                </a:cubicBezTo>
                <a:cubicBezTo>
                  <a:pt x="997" y="33"/>
                  <a:pt x="997" y="33"/>
                  <a:pt x="997" y="33"/>
                </a:cubicBezTo>
                <a:cubicBezTo>
                  <a:pt x="994" y="37"/>
                  <a:pt x="994" y="37"/>
                  <a:pt x="994" y="37"/>
                </a:cubicBezTo>
                <a:cubicBezTo>
                  <a:pt x="994" y="37"/>
                  <a:pt x="994" y="37"/>
                  <a:pt x="994" y="37"/>
                </a:cubicBezTo>
                <a:cubicBezTo>
                  <a:pt x="994" y="37"/>
                  <a:pt x="994" y="37"/>
                  <a:pt x="994" y="37"/>
                </a:cubicBezTo>
                <a:cubicBezTo>
                  <a:pt x="994" y="38"/>
                  <a:pt x="995" y="40"/>
                  <a:pt x="995" y="41"/>
                </a:cubicBezTo>
                <a:cubicBezTo>
                  <a:pt x="995" y="42"/>
                  <a:pt x="996" y="43"/>
                  <a:pt x="996" y="44"/>
                </a:cubicBezTo>
                <a:cubicBezTo>
                  <a:pt x="993" y="43"/>
                  <a:pt x="991" y="41"/>
                  <a:pt x="990" y="39"/>
                </a:cubicBezTo>
                <a:cubicBezTo>
                  <a:pt x="988" y="36"/>
                  <a:pt x="986" y="33"/>
                  <a:pt x="983" y="33"/>
                </a:cubicBezTo>
                <a:cubicBezTo>
                  <a:pt x="978" y="33"/>
                  <a:pt x="974" y="35"/>
                  <a:pt x="969" y="37"/>
                </a:cubicBezTo>
                <a:cubicBezTo>
                  <a:pt x="966" y="39"/>
                  <a:pt x="963" y="40"/>
                  <a:pt x="960" y="41"/>
                </a:cubicBezTo>
                <a:cubicBezTo>
                  <a:pt x="953" y="41"/>
                  <a:pt x="949" y="42"/>
                  <a:pt x="944" y="44"/>
                </a:cubicBezTo>
                <a:cubicBezTo>
                  <a:pt x="940" y="45"/>
                  <a:pt x="936" y="46"/>
                  <a:pt x="931" y="47"/>
                </a:cubicBezTo>
                <a:cubicBezTo>
                  <a:pt x="926" y="47"/>
                  <a:pt x="926" y="52"/>
                  <a:pt x="925" y="56"/>
                </a:cubicBezTo>
                <a:cubicBezTo>
                  <a:pt x="925" y="60"/>
                  <a:pt x="924" y="64"/>
                  <a:pt x="919" y="64"/>
                </a:cubicBezTo>
                <a:cubicBezTo>
                  <a:pt x="916" y="64"/>
                  <a:pt x="914" y="63"/>
                  <a:pt x="911" y="61"/>
                </a:cubicBezTo>
                <a:cubicBezTo>
                  <a:pt x="911" y="61"/>
                  <a:pt x="911" y="61"/>
                  <a:pt x="911" y="61"/>
                </a:cubicBezTo>
                <a:cubicBezTo>
                  <a:pt x="911" y="61"/>
                  <a:pt x="911" y="61"/>
                  <a:pt x="911" y="61"/>
                </a:cubicBezTo>
                <a:cubicBezTo>
                  <a:pt x="905" y="68"/>
                  <a:pt x="891" y="76"/>
                  <a:pt x="881" y="80"/>
                </a:cubicBezTo>
                <a:cubicBezTo>
                  <a:pt x="879" y="81"/>
                  <a:pt x="874" y="83"/>
                  <a:pt x="874" y="86"/>
                </a:cubicBezTo>
                <a:cubicBezTo>
                  <a:pt x="874" y="92"/>
                  <a:pt x="886" y="93"/>
                  <a:pt x="893" y="93"/>
                </a:cubicBezTo>
                <a:cubicBezTo>
                  <a:pt x="895" y="93"/>
                  <a:pt x="896" y="93"/>
                  <a:pt x="897" y="93"/>
                </a:cubicBezTo>
                <a:cubicBezTo>
                  <a:pt x="897" y="101"/>
                  <a:pt x="894" y="107"/>
                  <a:pt x="889" y="111"/>
                </a:cubicBezTo>
                <a:cubicBezTo>
                  <a:pt x="886" y="113"/>
                  <a:pt x="881" y="113"/>
                  <a:pt x="876" y="113"/>
                </a:cubicBezTo>
                <a:cubicBezTo>
                  <a:pt x="871" y="112"/>
                  <a:pt x="867" y="112"/>
                  <a:pt x="863" y="114"/>
                </a:cubicBezTo>
                <a:cubicBezTo>
                  <a:pt x="860" y="115"/>
                  <a:pt x="857" y="116"/>
                  <a:pt x="855" y="118"/>
                </a:cubicBezTo>
                <a:cubicBezTo>
                  <a:pt x="853" y="119"/>
                  <a:pt x="851" y="121"/>
                  <a:pt x="848" y="122"/>
                </a:cubicBezTo>
                <a:cubicBezTo>
                  <a:pt x="846" y="122"/>
                  <a:pt x="844" y="122"/>
                  <a:pt x="841" y="123"/>
                </a:cubicBezTo>
                <a:cubicBezTo>
                  <a:pt x="836" y="123"/>
                  <a:pt x="830" y="123"/>
                  <a:pt x="830" y="131"/>
                </a:cubicBezTo>
                <a:cubicBezTo>
                  <a:pt x="830" y="134"/>
                  <a:pt x="835" y="137"/>
                  <a:pt x="846" y="141"/>
                </a:cubicBezTo>
                <a:cubicBezTo>
                  <a:pt x="853" y="144"/>
                  <a:pt x="861" y="147"/>
                  <a:pt x="862" y="147"/>
                </a:cubicBezTo>
                <a:cubicBezTo>
                  <a:pt x="872" y="147"/>
                  <a:pt x="872" y="147"/>
                  <a:pt x="872" y="147"/>
                </a:cubicBezTo>
                <a:cubicBezTo>
                  <a:pt x="874" y="147"/>
                  <a:pt x="875" y="145"/>
                  <a:pt x="876" y="143"/>
                </a:cubicBezTo>
                <a:cubicBezTo>
                  <a:pt x="887" y="143"/>
                  <a:pt x="887" y="143"/>
                  <a:pt x="887" y="143"/>
                </a:cubicBezTo>
                <a:cubicBezTo>
                  <a:pt x="887" y="144"/>
                  <a:pt x="887" y="144"/>
                  <a:pt x="887" y="144"/>
                </a:cubicBezTo>
                <a:cubicBezTo>
                  <a:pt x="886" y="147"/>
                  <a:pt x="886" y="148"/>
                  <a:pt x="884" y="150"/>
                </a:cubicBezTo>
                <a:cubicBezTo>
                  <a:pt x="866" y="150"/>
                  <a:pt x="866" y="150"/>
                  <a:pt x="866" y="150"/>
                </a:cubicBezTo>
                <a:cubicBezTo>
                  <a:pt x="866" y="150"/>
                  <a:pt x="866" y="150"/>
                  <a:pt x="866" y="150"/>
                </a:cubicBezTo>
                <a:cubicBezTo>
                  <a:pt x="864" y="153"/>
                  <a:pt x="864" y="153"/>
                  <a:pt x="861" y="153"/>
                </a:cubicBezTo>
                <a:cubicBezTo>
                  <a:pt x="853" y="153"/>
                  <a:pt x="853" y="153"/>
                  <a:pt x="853" y="153"/>
                </a:cubicBezTo>
                <a:cubicBezTo>
                  <a:pt x="850" y="153"/>
                  <a:pt x="844" y="155"/>
                  <a:pt x="843" y="160"/>
                </a:cubicBezTo>
                <a:cubicBezTo>
                  <a:pt x="843" y="161"/>
                  <a:pt x="843" y="161"/>
                  <a:pt x="843" y="161"/>
                </a:cubicBezTo>
                <a:cubicBezTo>
                  <a:pt x="844" y="161"/>
                  <a:pt x="844" y="161"/>
                  <a:pt x="844" y="161"/>
                </a:cubicBezTo>
                <a:cubicBezTo>
                  <a:pt x="847" y="162"/>
                  <a:pt x="848" y="162"/>
                  <a:pt x="849" y="161"/>
                </a:cubicBezTo>
                <a:cubicBezTo>
                  <a:pt x="850" y="161"/>
                  <a:pt x="852" y="161"/>
                  <a:pt x="854" y="161"/>
                </a:cubicBezTo>
                <a:cubicBezTo>
                  <a:pt x="857" y="161"/>
                  <a:pt x="859" y="162"/>
                  <a:pt x="861" y="164"/>
                </a:cubicBezTo>
                <a:cubicBezTo>
                  <a:pt x="863" y="165"/>
                  <a:pt x="864" y="166"/>
                  <a:pt x="866" y="166"/>
                </a:cubicBezTo>
                <a:cubicBezTo>
                  <a:pt x="865" y="168"/>
                  <a:pt x="864" y="169"/>
                  <a:pt x="863" y="170"/>
                </a:cubicBezTo>
                <a:cubicBezTo>
                  <a:pt x="862" y="170"/>
                  <a:pt x="861" y="171"/>
                  <a:pt x="860" y="171"/>
                </a:cubicBezTo>
                <a:cubicBezTo>
                  <a:pt x="860" y="172"/>
                  <a:pt x="860" y="172"/>
                  <a:pt x="860" y="172"/>
                </a:cubicBezTo>
                <a:cubicBezTo>
                  <a:pt x="860" y="172"/>
                  <a:pt x="860" y="172"/>
                  <a:pt x="860" y="172"/>
                </a:cubicBezTo>
                <a:cubicBezTo>
                  <a:pt x="864" y="177"/>
                  <a:pt x="874" y="181"/>
                  <a:pt x="881" y="181"/>
                </a:cubicBezTo>
                <a:cubicBezTo>
                  <a:pt x="881" y="181"/>
                  <a:pt x="882" y="181"/>
                  <a:pt x="882" y="181"/>
                </a:cubicBezTo>
                <a:cubicBezTo>
                  <a:pt x="883" y="181"/>
                  <a:pt x="884" y="181"/>
                  <a:pt x="885" y="179"/>
                </a:cubicBezTo>
                <a:cubicBezTo>
                  <a:pt x="885" y="179"/>
                  <a:pt x="885" y="179"/>
                  <a:pt x="885" y="179"/>
                </a:cubicBezTo>
                <a:cubicBezTo>
                  <a:pt x="885" y="179"/>
                  <a:pt x="885" y="179"/>
                  <a:pt x="885" y="179"/>
                </a:cubicBezTo>
                <a:cubicBezTo>
                  <a:pt x="884" y="178"/>
                  <a:pt x="883" y="177"/>
                  <a:pt x="882" y="177"/>
                </a:cubicBezTo>
                <a:cubicBezTo>
                  <a:pt x="884" y="176"/>
                  <a:pt x="885" y="175"/>
                  <a:pt x="888" y="175"/>
                </a:cubicBezTo>
                <a:cubicBezTo>
                  <a:pt x="890" y="175"/>
                  <a:pt x="891" y="176"/>
                  <a:pt x="893" y="177"/>
                </a:cubicBezTo>
                <a:cubicBezTo>
                  <a:pt x="894" y="178"/>
                  <a:pt x="896" y="178"/>
                  <a:pt x="897" y="178"/>
                </a:cubicBezTo>
                <a:cubicBezTo>
                  <a:pt x="899" y="178"/>
                  <a:pt x="901" y="177"/>
                  <a:pt x="902" y="176"/>
                </a:cubicBezTo>
                <a:cubicBezTo>
                  <a:pt x="904" y="175"/>
                  <a:pt x="905" y="174"/>
                  <a:pt x="907" y="174"/>
                </a:cubicBezTo>
                <a:cubicBezTo>
                  <a:pt x="916" y="174"/>
                  <a:pt x="916" y="174"/>
                  <a:pt x="916" y="174"/>
                </a:cubicBezTo>
                <a:cubicBezTo>
                  <a:pt x="932" y="174"/>
                  <a:pt x="946" y="180"/>
                  <a:pt x="958" y="192"/>
                </a:cubicBezTo>
                <a:cubicBezTo>
                  <a:pt x="968" y="203"/>
                  <a:pt x="976" y="217"/>
                  <a:pt x="980" y="234"/>
                </a:cubicBezTo>
                <a:cubicBezTo>
                  <a:pt x="980" y="239"/>
                  <a:pt x="980" y="239"/>
                  <a:pt x="980" y="239"/>
                </a:cubicBezTo>
                <a:cubicBezTo>
                  <a:pt x="981" y="239"/>
                  <a:pt x="981" y="239"/>
                  <a:pt x="981" y="239"/>
                </a:cubicBezTo>
                <a:cubicBezTo>
                  <a:pt x="981" y="239"/>
                  <a:pt x="981" y="239"/>
                  <a:pt x="981" y="239"/>
                </a:cubicBezTo>
                <a:cubicBezTo>
                  <a:pt x="984" y="240"/>
                  <a:pt x="988" y="240"/>
                  <a:pt x="988" y="245"/>
                </a:cubicBezTo>
                <a:cubicBezTo>
                  <a:pt x="988" y="249"/>
                  <a:pt x="986" y="250"/>
                  <a:pt x="985" y="252"/>
                </a:cubicBezTo>
                <a:cubicBezTo>
                  <a:pt x="983" y="254"/>
                  <a:pt x="981" y="256"/>
                  <a:pt x="981" y="260"/>
                </a:cubicBezTo>
                <a:cubicBezTo>
                  <a:pt x="981" y="266"/>
                  <a:pt x="985" y="266"/>
                  <a:pt x="990" y="266"/>
                </a:cubicBezTo>
                <a:cubicBezTo>
                  <a:pt x="992" y="266"/>
                  <a:pt x="994" y="264"/>
                  <a:pt x="995" y="263"/>
                </a:cubicBezTo>
                <a:cubicBezTo>
                  <a:pt x="996" y="261"/>
                  <a:pt x="997" y="260"/>
                  <a:pt x="998" y="260"/>
                </a:cubicBezTo>
                <a:cubicBezTo>
                  <a:pt x="1003" y="260"/>
                  <a:pt x="1006" y="265"/>
                  <a:pt x="1010" y="270"/>
                </a:cubicBezTo>
                <a:cubicBezTo>
                  <a:pt x="1012" y="274"/>
                  <a:pt x="1015" y="278"/>
                  <a:pt x="1020" y="280"/>
                </a:cubicBezTo>
                <a:cubicBezTo>
                  <a:pt x="1020" y="281"/>
                  <a:pt x="1020" y="281"/>
                  <a:pt x="1020" y="281"/>
                </a:cubicBezTo>
                <a:cubicBezTo>
                  <a:pt x="1019" y="283"/>
                  <a:pt x="1019" y="284"/>
                  <a:pt x="1017" y="284"/>
                </a:cubicBezTo>
                <a:cubicBezTo>
                  <a:pt x="1013" y="284"/>
                  <a:pt x="1010" y="283"/>
                  <a:pt x="1007" y="282"/>
                </a:cubicBezTo>
                <a:cubicBezTo>
                  <a:pt x="1004" y="280"/>
                  <a:pt x="1002" y="279"/>
                  <a:pt x="999" y="279"/>
                </a:cubicBezTo>
                <a:cubicBezTo>
                  <a:pt x="998" y="279"/>
                  <a:pt x="997" y="279"/>
                  <a:pt x="996" y="279"/>
                </a:cubicBezTo>
                <a:cubicBezTo>
                  <a:pt x="996" y="279"/>
                  <a:pt x="995" y="278"/>
                  <a:pt x="993" y="279"/>
                </a:cubicBezTo>
                <a:cubicBezTo>
                  <a:pt x="993" y="279"/>
                  <a:pt x="993" y="279"/>
                  <a:pt x="993" y="279"/>
                </a:cubicBezTo>
                <a:cubicBezTo>
                  <a:pt x="993" y="280"/>
                  <a:pt x="993" y="280"/>
                  <a:pt x="993" y="280"/>
                </a:cubicBezTo>
                <a:cubicBezTo>
                  <a:pt x="994" y="287"/>
                  <a:pt x="1006" y="290"/>
                  <a:pt x="1016" y="292"/>
                </a:cubicBezTo>
                <a:cubicBezTo>
                  <a:pt x="1020" y="293"/>
                  <a:pt x="1023" y="294"/>
                  <a:pt x="1026" y="295"/>
                </a:cubicBezTo>
                <a:cubicBezTo>
                  <a:pt x="1025" y="299"/>
                  <a:pt x="1023" y="302"/>
                  <a:pt x="1022" y="305"/>
                </a:cubicBezTo>
                <a:cubicBezTo>
                  <a:pt x="1020" y="309"/>
                  <a:pt x="1018" y="312"/>
                  <a:pt x="1017" y="318"/>
                </a:cubicBezTo>
                <a:cubicBezTo>
                  <a:pt x="1013" y="316"/>
                  <a:pt x="1013" y="316"/>
                  <a:pt x="1009" y="318"/>
                </a:cubicBezTo>
                <a:cubicBezTo>
                  <a:pt x="1008" y="319"/>
                  <a:pt x="1008" y="319"/>
                  <a:pt x="1008" y="319"/>
                </a:cubicBezTo>
                <a:cubicBezTo>
                  <a:pt x="1008" y="319"/>
                  <a:pt x="1008" y="319"/>
                  <a:pt x="1008" y="319"/>
                </a:cubicBezTo>
                <a:cubicBezTo>
                  <a:pt x="1008" y="319"/>
                  <a:pt x="1008" y="319"/>
                  <a:pt x="1008" y="319"/>
                </a:cubicBezTo>
                <a:cubicBezTo>
                  <a:pt x="1008" y="320"/>
                  <a:pt x="1008" y="320"/>
                  <a:pt x="1008" y="320"/>
                </a:cubicBezTo>
                <a:cubicBezTo>
                  <a:pt x="1004" y="323"/>
                  <a:pt x="1002" y="327"/>
                  <a:pt x="1000" y="332"/>
                </a:cubicBezTo>
                <a:cubicBezTo>
                  <a:pt x="998" y="334"/>
                  <a:pt x="997" y="336"/>
                  <a:pt x="996" y="339"/>
                </a:cubicBezTo>
                <a:cubicBezTo>
                  <a:pt x="996" y="339"/>
                  <a:pt x="996" y="339"/>
                  <a:pt x="996" y="339"/>
                </a:cubicBezTo>
                <a:cubicBezTo>
                  <a:pt x="996" y="348"/>
                  <a:pt x="996" y="348"/>
                  <a:pt x="996" y="348"/>
                </a:cubicBezTo>
                <a:cubicBezTo>
                  <a:pt x="996" y="347"/>
                  <a:pt x="996" y="347"/>
                  <a:pt x="996" y="347"/>
                </a:cubicBezTo>
                <a:cubicBezTo>
                  <a:pt x="998" y="346"/>
                  <a:pt x="1000" y="346"/>
                  <a:pt x="1002" y="347"/>
                </a:cubicBezTo>
                <a:cubicBezTo>
                  <a:pt x="1001" y="348"/>
                  <a:pt x="1001" y="349"/>
                  <a:pt x="1000" y="350"/>
                </a:cubicBezTo>
                <a:cubicBezTo>
                  <a:pt x="1000" y="352"/>
                  <a:pt x="999" y="354"/>
                  <a:pt x="999" y="356"/>
                </a:cubicBezTo>
                <a:cubicBezTo>
                  <a:pt x="999" y="362"/>
                  <a:pt x="1002" y="365"/>
                  <a:pt x="1005" y="369"/>
                </a:cubicBezTo>
                <a:cubicBezTo>
                  <a:pt x="1006" y="371"/>
                  <a:pt x="1008" y="373"/>
                  <a:pt x="1009" y="376"/>
                </a:cubicBezTo>
                <a:cubicBezTo>
                  <a:pt x="1009" y="377"/>
                  <a:pt x="1010" y="378"/>
                  <a:pt x="1010" y="380"/>
                </a:cubicBezTo>
                <a:cubicBezTo>
                  <a:pt x="1011" y="383"/>
                  <a:pt x="1011" y="386"/>
                  <a:pt x="1012" y="387"/>
                </a:cubicBezTo>
                <a:cubicBezTo>
                  <a:pt x="1012" y="387"/>
                  <a:pt x="1012" y="387"/>
                  <a:pt x="1012" y="387"/>
                </a:cubicBezTo>
                <a:cubicBezTo>
                  <a:pt x="1012" y="388"/>
                  <a:pt x="1012" y="388"/>
                  <a:pt x="1012" y="388"/>
                </a:cubicBezTo>
                <a:cubicBezTo>
                  <a:pt x="1015" y="389"/>
                  <a:pt x="1016" y="388"/>
                  <a:pt x="1018" y="387"/>
                </a:cubicBezTo>
                <a:cubicBezTo>
                  <a:pt x="1020" y="386"/>
                  <a:pt x="1021" y="385"/>
                  <a:pt x="1023" y="388"/>
                </a:cubicBezTo>
                <a:cubicBezTo>
                  <a:pt x="1023" y="389"/>
                  <a:pt x="1022" y="389"/>
                  <a:pt x="1022" y="390"/>
                </a:cubicBezTo>
                <a:cubicBezTo>
                  <a:pt x="1020" y="391"/>
                  <a:pt x="1019" y="391"/>
                  <a:pt x="1019" y="395"/>
                </a:cubicBezTo>
                <a:cubicBezTo>
                  <a:pt x="1019" y="405"/>
                  <a:pt x="1030" y="421"/>
                  <a:pt x="1037" y="427"/>
                </a:cubicBezTo>
                <a:cubicBezTo>
                  <a:pt x="1037" y="427"/>
                  <a:pt x="1037" y="428"/>
                  <a:pt x="1037" y="429"/>
                </a:cubicBezTo>
                <a:cubicBezTo>
                  <a:pt x="1037" y="430"/>
                  <a:pt x="1038" y="433"/>
                  <a:pt x="1039" y="434"/>
                </a:cubicBezTo>
                <a:cubicBezTo>
                  <a:pt x="1041" y="435"/>
                  <a:pt x="1042" y="436"/>
                  <a:pt x="1044" y="436"/>
                </a:cubicBezTo>
                <a:cubicBezTo>
                  <a:pt x="1046" y="437"/>
                  <a:pt x="1048" y="438"/>
                  <a:pt x="1049" y="443"/>
                </a:cubicBezTo>
                <a:cubicBezTo>
                  <a:pt x="1049" y="443"/>
                  <a:pt x="1049" y="443"/>
                  <a:pt x="1049" y="443"/>
                </a:cubicBezTo>
                <a:cubicBezTo>
                  <a:pt x="1049" y="443"/>
                  <a:pt x="1049" y="443"/>
                  <a:pt x="1049" y="443"/>
                </a:cubicBezTo>
                <a:cubicBezTo>
                  <a:pt x="1051" y="443"/>
                  <a:pt x="1053" y="442"/>
                  <a:pt x="1055" y="441"/>
                </a:cubicBezTo>
                <a:cubicBezTo>
                  <a:pt x="1057" y="440"/>
                  <a:pt x="1060" y="439"/>
                  <a:pt x="1062" y="439"/>
                </a:cubicBezTo>
                <a:cubicBezTo>
                  <a:pt x="1066" y="439"/>
                  <a:pt x="1068" y="443"/>
                  <a:pt x="1069" y="446"/>
                </a:cubicBezTo>
                <a:cubicBezTo>
                  <a:pt x="1071" y="450"/>
                  <a:pt x="1073" y="455"/>
                  <a:pt x="1077" y="455"/>
                </a:cubicBezTo>
                <a:cubicBezTo>
                  <a:pt x="1078" y="455"/>
                  <a:pt x="1079" y="454"/>
                  <a:pt x="1079" y="454"/>
                </a:cubicBezTo>
                <a:cubicBezTo>
                  <a:pt x="1080" y="453"/>
                  <a:pt x="1081" y="452"/>
                  <a:pt x="1083" y="452"/>
                </a:cubicBezTo>
                <a:cubicBezTo>
                  <a:pt x="1084" y="454"/>
                  <a:pt x="1084" y="456"/>
                  <a:pt x="1087" y="456"/>
                </a:cubicBezTo>
                <a:cubicBezTo>
                  <a:pt x="1092" y="456"/>
                  <a:pt x="1093" y="450"/>
                  <a:pt x="1094" y="445"/>
                </a:cubicBezTo>
                <a:cubicBezTo>
                  <a:pt x="1095" y="440"/>
                  <a:pt x="1096" y="435"/>
                  <a:pt x="1099" y="434"/>
                </a:cubicBezTo>
                <a:cubicBezTo>
                  <a:pt x="1099" y="433"/>
                  <a:pt x="1099" y="433"/>
                  <a:pt x="1099" y="433"/>
                </a:cubicBezTo>
                <a:cubicBezTo>
                  <a:pt x="1099" y="433"/>
                  <a:pt x="1099" y="433"/>
                  <a:pt x="1099" y="433"/>
                </a:cubicBezTo>
                <a:cubicBezTo>
                  <a:pt x="1099" y="431"/>
                  <a:pt x="1099" y="426"/>
                  <a:pt x="1099" y="421"/>
                </a:cubicBezTo>
                <a:cubicBezTo>
                  <a:pt x="1099" y="419"/>
                  <a:pt x="1099" y="416"/>
                  <a:pt x="1099" y="414"/>
                </a:cubicBezTo>
                <a:cubicBezTo>
                  <a:pt x="1099" y="409"/>
                  <a:pt x="1102" y="408"/>
                  <a:pt x="1106" y="406"/>
                </a:cubicBezTo>
                <a:cubicBezTo>
                  <a:pt x="1109" y="404"/>
                  <a:pt x="1113" y="402"/>
                  <a:pt x="1113" y="396"/>
                </a:cubicBezTo>
                <a:cubicBezTo>
                  <a:pt x="1113" y="394"/>
                  <a:pt x="1112" y="392"/>
                  <a:pt x="1111" y="391"/>
                </a:cubicBezTo>
                <a:cubicBezTo>
                  <a:pt x="1110" y="390"/>
                  <a:pt x="1110" y="389"/>
                  <a:pt x="1110" y="388"/>
                </a:cubicBezTo>
                <a:cubicBezTo>
                  <a:pt x="1110" y="387"/>
                  <a:pt x="1110" y="386"/>
                  <a:pt x="1111" y="385"/>
                </a:cubicBezTo>
                <a:cubicBezTo>
                  <a:pt x="1112" y="384"/>
                  <a:pt x="1112" y="384"/>
                  <a:pt x="1112" y="384"/>
                </a:cubicBezTo>
                <a:cubicBezTo>
                  <a:pt x="1112" y="384"/>
                  <a:pt x="1112" y="384"/>
                  <a:pt x="1112" y="384"/>
                </a:cubicBezTo>
                <a:cubicBezTo>
                  <a:pt x="1112" y="384"/>
                  <a:pt x="1112" y="384"/>
                  <a:pt x="1112" y="384"/>
                </a:cubicBezTo>
                <a:cubicBezTo>
                  <a:pt x="1112" y="383"/>
                  <a:pt x="1112" y="382"/>
                  <a:pt x="1112" y="382"/>
                </a:cubicBezTo>
                <a:cubicBezTo>
                  <a:pt x="1111" y="381"/>
                  <a:pt x="1111" y="381"/>
                  <a:pt x="1111" y="380"/>
                </a:cubicBezTo>
                <a:cubicBezTo>
                  <a:pt x="1111" y="374"/>
                  <a:pt x="1117" y="372"/>
                  <a:pt x="1123" y="370"/>
                </a:cubicBezTo>
                <a:cubicBezTo>
                  <a:pt x="1127" y="369"/>
                  <a:pt x="1132" y="368"/>
                  <a:pt x="1134" y="365"/>
                </a:cubicBezTo>
                <a:cubicBezTo>
                  <a:pt x="1135" y="363"/>
                  <a:pt x="1136" y="362"/>
                  <a:pt x="1136" y="361"/>
                </a:cubicBezTo>
                <a:cubicBezTo>
                  <a:pt x="1137" y="359"/>
                  <a:pt x="1138" y="358"/>
                  <a:pt x="1140" y="356"/>
                </a:cubicBezTo>
                <a:cubicBezTo>
                  <a:pt x="1140" y="363"/>
                  <a:pt x="1140" y="363"/>
                  <a:pt x="1140" y="363"/>
                </a:cubicBezTo>
                <a:cubicBezTo>
                  <a:pt x="1145" y="363"/>
                  <a:pt x="1145" y="363"/>
                  <a:pt x="1145" y="363"/>
                </a:cubicBezTo>
                <a:cubicBezTo>
                  <a:pt x="1145" y="363"/>
                  <a:pt x="1145" y="363"/>
                  <a:pt x="1145" y="363"/>
                </a:cubicBezTo>
                <a:cubicBezTo>
                  <a:pt x="1148" y="361"/>
                  <a:pt x="1151" y="360"/>
                  <a:pt x="1155" y="359"/>
                </a:cubicBezTo>
                <a:cubicBezTo>
                  <a:pt x="1160" y="358"/>
                  <a:pt x="1165" y="356"/>
                  <a:pt x="1168" y="353"/>
                </a:cubicBezTo>
                <a:cubicBezTo>
                  <a:pt x="1170" y="350"/>
                  <a:pt x="1171" y="347"/>
                  <a:pt x="1173" y="345"/>
                </a:cubicBezTo>
                <a:cubicBezTo>
                  <a:pt x="1174" y="341"/>
                  <a:pt x="1176" y="338"/>
                  <a:pt x="1179" y="335"/>
                </a:cubicBezTo>
                <a:cubicBezTo>
                  <a:pt x="1187" y="329"/>
                  <a:pt x="1187" y="329"/>
                  <a:pt x="1187" y="329"/>
                </a:cubicBezTo>
                <a:cubicBezTo>
                  <a:pt x="1187" y="329"/>
                  <a:pt x="1187" y="329"/>
                  <a:pt x="1187" y="329"/>
                </a:cubicBezTo>
                <a:cubicBezTo>
                  <a:pt x="1187" y="329"/>
                  <a:pt x="1187" y="329"/>
                  <a:pt x="1187" y="329"/>
                </a:cubicBezTo>
                <a:cubicBezTo>
                  <a:pt x="1187" y="327"/>
                  <a:pt x="1188" y="326"/>
                  <a:pt x="1191" y="324"/>
                </a:cubicBezTo>
                <a:cubicBezTo>
                  <a:pt x="1191" y="324"/>
                  <a:pt x="1192" y="323"/>
                  <a:pt x="1193" y="323"/>
                </a:cubicBezTo>
                <a:cubicBezTo>
                  <a:pt x="1207" y="323"/>
                  <a:pt x="1207" y="323"/>
                  <a:pt x="1207" y="323"/>
                </a:cubicBezTo>
                <a:cubicBezTo>
                  <a:pt x="1207" y="323"/>
                  <a:pt x="1207" y="323"/>
                  <a:pt x="1207" y="323"/>
                </a:cubicBezTo>
                <a:cubicBezTo>
                  <a:pt x="1214" y="320"/>
                  <a:pt x="1219" y="319"/>
                  <a:pt x="1225" y="318"/>
                </a:cubicBezTo>
                <a:cubicBezTo>
                  <a:pt x="1229" y="317"/>
                  <a:pt x="1234" y="316"/>
                  <a:pt x="1239" y="314"/>
                </a:cubicBezTo>
                <a:cubicBezTo>
                  <a:pt x="1243" y="313"/>
                  <a:pt x="1246" y="310"/>
                  <a:pt x="1249" y="306"/>
                </a:cubicBezTo>
                <a:cubicBezTo>
                  <a:pt x="1253" y="303"/>
                  <a:pt x="1256" y="299"/>
                  <a:pt x="1261" y="298"/>
                </a:cubicBezTo>
                <a:cubicBezTo>
                  <a:pt x="1262" y="297"/>
                  <a:pt x="1263" y="297"/>
                  <a:pt x="1264" y="296"/>
                </a:cubicBezTo>
                <a:close/>
                <a:moveTo>
                  <a:pt x="1327" y="75"/>
                </a:moveTo>
                <a:cubicBezTo>
                  <a:pt x="1325" y="76"/>
                  <a:pt x="1324" y="76"/>
                  <a:pt x="1322" y="75"/>
                </a:cubicBezTo>
                <a:cubicBezTo>
                  <a:pt x="1324" y="75"/>
                  <a:pt x="1325" y="75"/>
                  <a:pt x="1327" y="75"/>
                </a:cubicBezTo>
                <a:close/>
                <a:moveTo>
                  <a:pt x="994" y="306"/>
                </a:moveTo>
                <a:cubicBezTo>
                  <a:pt x="994" y="306"/>
                  <a:pt x="994" y="306"/>
                  <a:pt x="994" y="306"/>
                </a:cubicBezTo>
                <a:cubicBezTo>
                  <a:pt x="1001" y="306"/>
                  <a:pt x="1001" y="306"/>
                  <a:pt x="1001" y="306"/>
                </a:cubicBezTo>
                <a:cubicBezTo>
                  <a:pt x="1009" y="306"/>
                  <a:pt x="1013" y="304"/>
                  <a:pt x="1013" y="299"/>
                </a:cubicBezTo>
                <a:cubicBezTo>
                  <a:pt x="1013" y="299"/>
                  <a:pt x="1013" y="299"/>
                  <a:pt x="1013" y="299"/>
                </a:cubicBezTo>
                <a:cubicBezTo>
                  <a:pt x="1013" y="298"/>
                  <a:pt x="1013" y="298"/>
                  <a:pt x="1013" y="298"/>
                </a:cubicBezTo>
                <a:cubicBezTo>
                  <a:pt x="1010" y="297"/>
                  <a:pt x="1007" y="295"/>
                  <a:pt x="1005" y="292"/>
                </a:cubicBezTo>
                <a:cubicBezTo>
                  <a:pt x="1002" y="289"/>
                  <a:pt x="999" y="286"/>
                  <a:pt x="995" y="286"/>
                </a:cubicBezTo>
                <a:cubicBezTo>
                  <a:pt x="991" y="286"/>
                  <a:pt x="987" y="289"/>
                  <a:pt x="987" y="294"/>
                </a:cubicBezTo>
                <a:cubicBezTo>
                  <a:pt x="987" y="298"/>
                  <a:pt x="991" y="306"/>
                  <a:pt x="994" y="306"/>
                </a:cubicBezTo>
                <a:close/>
                <a:moveTo>
                  <a:pt x="1305" y="189"/>
                </a:moveTo>
                <a:cubicBezTo>
                  <a:pt x="1305" y="189"/>
                  <a:pt x="1305" y="189"/>
                  <a:pt x="1305" y="189"/>
                </a:cubicBezTo>
                <a:cubicBezTo>
                  <a:pt x="1304" y="189"/>
                  <a:pt x="1304" y="189"/>
                  <a:pt x="1304" y="189"/>
                </a:cubicBezTo>
                <a:cubicBezTo>
                  <a:pt x="1303" y="190"/>
                  <a:pt x="1302" y="192"/>
                  <a:pt x="1302" y="193"/>
                </a:cubicBezTo>
                <a:cubicBezTo>
                  <a:pt x="1302" y="195"/>
                  <a:pt x="1304" y="199"/>
                  <a:pt x="1306" y="199"/>
                </a:cubicBezTo>
                <a:cubicBezTo>
                  <a:pt x="1309" y="199"/>
                  <a:pt x="1313" y="196"/>
                  <a:pt x="1316" y="195"/>
                </a:cubicBezTo>
                <a:cubicBezTo>
                  <a:pt x="1316" y="194"/>
                  <a:pt x="1316" y="194"/>
                  <a:pt x="1316" y="194"/>
                </a:cubicBezTo>
                <a:cubicBezTo>
                  <a:pt x="1318" y="193"/>
                  <a:pt x="1318" y="193"/>
                  <a:pt x="1318" y="193"/>
                </a:cubicBezTo>
                <a:cubicBezTo>
                  <a:pt x="1311" y="193"/>
                  <a:pt x="1311" y="193"/>
                  <a:pt x="1311" y="193"/>
                </a:cubicBezTo>
                <a:cubicBezTo>
                  <a:pt x="1311" y="189"/>
                  <a:pt x="1311" y="189"/>
                  <a:pt x="1311" y="189"/>
                </a:cubicBezTo>
                <a:lnTo>
                  <a:pt x="1305" y="189"/>
                </a:lnTo>
                <a:close/>
                <a:moveTo>
                  <a:pt x="977" y="590"/>
                </a:moveTo>
                <a:cubicBezTo>
                  <a:pt x="979" y="587"/>
                  <a:pt x="981" y="583"/>
                  <a:pt x="981" y="579"/>
                </a:cubicBezTo>
                <a:cubicBezTo>
                  <a:pt x="981" y="577"/>
                  <a:pt x="980" y="575"/>
                  <a:pt x="979" y="575"/>
                </a:cubicBezTo>
                <a:cubicBezTo>
                  <a:pt x="975" y="575"/>
                  <a:pt x="973" y="579"/>
                  <a:pt x="971" y="583"/>
                </a:cubicBezTo>
                <a:cubicBezTo>
                  <a:pt x="970" y="584"/>
                  <a:pt x="970" y="585"/>
                  <a:pt x="969" y="585"/>
                </a:cubicBezTo>
                <a:cubicBezTo>
                  <a:pt x="968" y="588"/>
                  <a:pt x="967" y="591"/>
                  <a:pt x="965" y="595"/>
                </a:cubicBezTo>
                <a:cubicBezTo>
                  <a:pt x="962" y="602"/>
                  <a:pt x="959" y="611"/>
                  <a:pt x="953" y="614"/>
                </a:cubicBezTo>
                <a:cubicBezTo>
                  <a:pt x="953" y="614"/>
                  <a:pt x="953" y="614"/>
                  <a:pt x="953" y="614"/>
                </a:cubicBezTo>
                <a:cubicBezTo>
                  <a:pt x="953" y="614"/>
                  <a:pt x="953" y="614"/>
                  <a:pt x="953" y="614"/>
                </a:cubicBezTo>
                <a:cubicBezTo>
                  <a:pt x="953" y="616"/>
                  <a:pt x="954" y="616"/>
                  <a:pt x="955" y="616"/>
                </a:cubicBezTo>
                <a:cubicBezTo>
                  <a:pt x="955" y="618"/>
                  <a:pt x="955" y="618"/>
                  <a:pt x="955" y="618"/>
                </a:cubicBezTo>
                <a:cubicBezTo>
                  <a:pt x="955" y="618"/>
                  <a:pt x="954" y="619"/>
                  <a:pt x="954" y="619"/>
                </a:cubicBezTo>
                <a:cubicBezTo>
                  <a:pt x="951" y="622"/>
                  <a:pt x="950" y="624"/>
                  <a:pt x="950" y="625"/>
                </a:cubicBezTo>
                <a:cubicBezTo>
                  <a:pt x="950" y="626"/>
                  <a:pt x="951" y="629"/>
                  <a:pt x="953" y="629"/>
                </a:cubicBezTo>
                <a:cubicBezTo>
                  <a:pt x="955" y="629"/>
                  <a:pt x="956" y="628"/>
                  <a:pt x="957" y="628"/>
                </a:cubicBezTo>
                <a:cubicBezTo>
                  <a:pt x="959" y="627"/>
                  <a:pt x="960" y="627"/>
                  <a:pt x="963" y="627"/>
                </a:cubicBezTo>
                <a:cubicBezTo>
                  <a:pt x="964" y="627"/>
                  <a:pt x="965" y="627"/>
                  <a:pt x="967" y="628"/>
                </a:cubicBezTo>
                <a:cubicBezTo>
                  <a:pt x="968" y="628"/>
                  <a:pt x="970" y="629"/>
                  <a:pt x="972" y="629"/>
                </a:cubicBezTo>
                <a:cubicBezTo>
                  <a:pt x="974" y="629"/>
                  <a:pt x="976" y="628"/>
                  <a:pt x="978" y="627"/>
                </a:cubicBezTo>
                <a:cubicBezTo>
                  <a:pt x="979" y="630"/>
                  <a:pt x="982" y="629"/>
                  <a:pt x="984" y="629"/>
                </a:cubicBezTo>
                <a:cubicBezTo>
                  <a:pt x="985" y="629"/>
                  <a:pt x="985" y="629"/>
                  <a:pt x="986" y="629"/>
                </a:cubicBezTo>
                <a:cubicBezTo>
                  <a:pt x="985" y="629"/>
                  <a:pt x="985" y="629"/>
                  <a:pt x="985" y="630"/>
                </a:cubicBezTo>
                <a:cubicBezTo>
                  <a:pt x="984" y="631"/>
                  <a:pt x="983" y="631"/>
                  <a:pt x="983" y="634"/>
                </a:cubicBezTo>
                <a:cubicBezTo>
                  <a:pt x="983" y="634"/>
                  <a:pt x="983" y="634"/>
                  <a:pt x="983" y="634"/>
                </a:cubicBezTo>
                <a:cubicBezTo>
                  <a:pt x="983" y="635"/>
                  <a:pt x="984" y="635"/>
                  <a:pt x="984" y="634"/>
                </a:cubicBezTo>
                <a:cubicBezTo>
                  <a:pt x="985" y="634"/>
                  <a:pt x="985" y="634"/>
                  <a:pt x="985" y="634"/>
                </a:cubicBezTo>
                <a:cubicBezTo>
                  <a:pt x="989" y="634"/>
                  <a:pt x="991" y="630"/>
                  <a:pt x="994" y="626"/>
                </a:cubicBezTo>
                <a:cubicBezTo>
                  <a:pt x="994" y="625"/>
                  <a:pt x="994" y="625"/>
                  <a:pt x="994" y="625"/>
                </a:cubicBezTo>
                <a:cubicBezTo>
                  <a:pt x="995" y="626"/>
                  <a:pt x="995" y="628"/>
                  <a:pt x="995" y="630"/>
                </a:cubicBezTo>
                <a:cubicBezTo>
                  <a:pt x="995" y="632"/>
                  <a:pt x="995" y="634"/>
                  <a:pt x="997" y="634"/>
                </a:cubicBezTo>
                <a:cubicBezTo>
                  <a:pt x="998" y="635"/>
                  <a:pt x="998" y="635"/>
                  <a:pt x="998" y="635"/>
                </a:cubicBezTo>
                <a:cubicBezTo>
                  <a:pt x="998" y="635"/>
                  <a:pt x="999" y="635"/>
                  <a:pt x="999" y="635"/>
                </a:cubicBezTo>
                <a:cubicBezTo>
                  <a:pt x="999" y="637"/>
                  <a:pt x="1000" y="639"/>
                  <a:pt x="1002" y="639"/>
                </a:cubicBezTo>
                <a:cubicBezTo>
                  <a:pt x="1006" y="639"/>
                  <a:pt x="1008" y="635"/>
                  <a:pt x="1008" y="630"/>
                </a:cubicBezTo>
                <a:cubicBezTo>
                  <a:pt x="1008" y="629"/>
                  <a:pt x="1007" y="628"/>
                  <a:pt x="1006" y="627"/>
                </a:cubicBezTo>
                <a:cubicBezTo>
                  <a:pt x="1006" y="626"/>
                  <a:pt x="1005" y="625"/>
                  <a:pt x="1005" y="623"/>
                </a:cubicBezTo>
                <a:cubicBezTo>
                  <a:pt x="1005" y="622"/>
                  <a:pt x="1005" y="622"/>
                  <a:pt x="1005" y="622"/>
                </a:cubicBezTo>
                <a:cubicBezTo>
                  <a:pt x="1005" y="623"/>
                  <a:pt x="1005" y="623"/>
                  <a:pt x="1005" y="623"/>
                </a:cubicBezTo>
                <a:cubicBezTo>
                  <a:pt x="1004" y="623"/>
                  <a:pt x="1004" y="624"/>
                  <a:pt x="1004" y="624"/>
                </a:cubicBezTo>
                <a:cubicBezTo>
                  <a:pt x="1003" y="624"/>
                  <a:pt x="1003" y="625"/>
                  <a:pt x="1001" y="625"/>
                </a:cubicBezTo>
                <a:cubicBezTo>
                  <a:pt x="1001" y="623"/>
                  <a:pt x="1001" y="622"/>
                  <a:pt x="1000" y="622"/>
                </a:cubicBezTo>
                <a:cubicBezTo>
                  <a:pt x="1000" y="621"/>
                  <a:pt x="999" y="620"/>
                  <a:pt x="999" y="620"/>
                </a:cubicBezTo>
                <a:cubicBezTo>
                  <a:pt x="1000" y="618"/>
                  <a:pt x="1000" y="618"/>
                  <a:pt x="1000" y="618"/>
                </a:cubicBezTo>
                <a:cubicBezTo>
                  <a:pt x="1001" y="617"/>
                  <a:pt x="1002" y="616"/>
                  <a:pt x="1002" y="614"/>
                </a:cubicBezTo>
                <a:cubicBezTo>
                  <a:pt x="1002" y="614"/>
                  <a:pt x="1002" y="614"/>
                  <a:pt x="1002" y="614"/>
                </a:cubicBezTo>
                <a:cubicBezTo>
                  <a:pt x="1002" y="614"/>
                  <a:pt x="1002" y="614"/>
                  <a:pt x="1002" y="614"/>
                </a:cubicBezTo>
                <a:cubicBezTo>
                  <a:pt x="1001" y="614"/>
                  <a:pt x="1000" y="614"/>
                  <a:pt x="999" y="615"/>
                </a:cubicBezTo>
                <a:cubicBezTo>
                  <a:pt x="999" y="612"/>
                  <a:pt x="999" y="610"/>
                  <a:pt x="999" y="608"/>
                </a:cubicBezTo>
                <a:cubicBezTo>
                  <a:pt x="999" y="607"/>
                  <a:pt x="999" y="605"/>
                  <a:pt x="999" y="604"/>
                </a:cubicBezTo>
                <a:cubicBezTo>
                  <a:pt x="999" y="603"/>
                  <a:pt x="999" y="603"/>
                  <a:pt x="999" y="603"/>
                </a:cubicBezTo>
                <a:cubicBezTo>
                  <a:pt x="999" y="603"/>
                  <a:pt x="999" y="603"/>
                  <a:pt x="999" y="603"/>
                </a:cubicBezTo>
                <a:cubicBezTo>
                  <a:pt x="997" y="604"/>
                  <a:pt x="993" y="604"/>
                  <a:pt x="990" y="603"/>
                </a:cubicBezTo>
                <a:cubicBezTo>
                  <a:pt x="990" y="603"/>
                  <a:pt x="990" y="603"/>
                  <a:pt x="990" y="603"/>
                </a:cubicBezTo>
                <a:cubicBezTo>
                  <a:pt x="990" y="603"/>
                  <a:pt x="990" y="603"/>
                  <a:pt x="990" y="603"/>
                </a:cubicBezTo>
                <a:cubicBezTo>
                  <a:pt x="987" y="605"/>
                  <a:pt x="987" y="605"/>
                  <a:pt x="987" y="605"/>
                </a:cubicBezTo>
                <a:cubicBezTo>
                  <a:pt x="987" y="603"/>
                  <a:pt x="987" y="603"/>
                  <a:pt x="987" y="603"/>
                </a:cubicBezTo>
                <a:cubicBezTo>
                  <a:pt x="981" y="603"/>
                  <a:pt x="981" y="603"/>
                  <a:pt x="981" y="603"/>
                </a:cubicBezTo>
                <a:cubicBezTo>
                  <a:pt x="981" y="601"/>
                  <a:pt x="981" y="601"/>
                  <a:pt x="981" y="601"/>
                </a:cubicBezTo>
                <a:cubicBezTo>
                  <a:pt x="982" y="599"/>
                  <a:pt x="982" y="599"/>
                  <a:pt x="982" y="599"/>
                </a:cubicBezTo>
                <a:cubicBezTo>
                  <a:pt x="983" y="599"/>
                  <a:pt x="983" y="599"/>
                  <a:pt x="983" y="599"/>
                </a:cubicBezTo>
                <a:cubicBezTo>
                  <a:pt x="982" y="598"/>
                  <a:pt x="982" y="598"/>
                  <a:pt x="982" y="598"/>
                </a:cubicBezTo>
                <a:cubicBezTo>
                  <a:pt x="981" y="597"/>
                  <a:pt x="980" y="596"/>
                  <a:pt x="977" y="596"/>
                </a:cubicBezTo>
                <a:cubicBezTo>
                  <a:pt x="976" y="596"/>
                  <a:pt x="975" y="597"/>
                  <a:pt x="975" y="598"/>
                </a:cubicBezTo>
                <a:cubicBezTo>
                  <a:pt x="974" y="598"/>
                  <a:pt x="974" y="599"/>
                  <a:pt x="973" y="599"/>
                </a:cubicBezTo>
                <a:cubicBezTo>
                  <a:pt x="973" y="597"/>
                  <a:pt x="973" y="597"/>
                  <a:pt x="973" y="597"/>
                </a:cubicBezTo>
                <a:cubicBezTo>
                  <a:pt x="974" y="594"/>
                  <a:pt x="975" y="592"/>
                  <a:pt x="977" y="590"/>
                </a:cubicBezTo>
                <a:close/>
                <a:moveTo>
                  <a:pt x="2684" y="199"/>
                </a:moveTo>
                <a:cubicBezTo>
                  <a:pt x="2687" y="199"/>
                  <a:pt x="2688" y="197"/>
                  <a:pt x="2690" y="196"/>
                </a:cubicBezTo>
                <a:cubicBezTo>
                  <a:pt x="2690" y="195"/>
                  <a:pt x="2691" y="195"/>
                  <a:pt x="2691" y="194"/>
                </a:cubicBezTo>
                <a:cubicBezTo>
                  <a:pt x="2692" y="196"/>
                  <a:pt x="2694" y="197"/>
                  <a:pt x="2697" y="197"/>
                </a:cubicBezTo>
                <a:cubicBezTo>
                  <a:pt x="2698" y="197"/>
                  <a:pt x="2700" y="196"/>
                  <a:pt x="2701" y="196"/>
                </a:cubicBezTo>
                <a:cubicBezTo>
                  <a:pt x="2702" y="195"/>
                  <a:pt x="2703" y="195"/>
                  <a:pt x="2703" y="195"/>
                </a:cubicBezTo>
                <a:cubicBezTo>
                  <a:pt x="2705" y="195"/>
                  <a:pt x="2706" y="194"/>
                  <a:pt x="2707" y="193"/>
                </a:cubicBezTo>
                <a:cubicBezTo>
                  <a:pt x="2707" y="193"/>
                  <a:pt x="2708" y="192"/>
                  <a:pt x="2709" y="192"/>
                </a:cubicBezTo>
                <a:cubicBezTo>
                  <a:pt x="2710" y="192"/>
                  <a:pt x="2711" y="193"/>
                  <a:pt x="2712" y="194"/>
                </a:cubicBezTo>
                <a:cubicBezTo>
                  <a:pt x="2713" y="195"/>
                  <a:pt x="2714" y="196"/>
                  <a:pt x="2715" y="196"/>
                </a:cubicBezTo>
                <a:cubicBezTo>
                  <a:pt x="2717" y="196"/>
                  <a:pt x="2719" y="195"/>
                  <a:pt x="2720" y="194"/>
                </a:cubicBezTo>
                <a:cubicBezTo>
                  <a:pt x="2721" y="193"/>
                  <a:pt x="2722" y="192"/>
                  <a:pt x="2723" y="192"/>
                </a:cubicBezTo>
                <a:cubicBezTo>
                  <a:pt x="2731" y="192"/>
                  <a:pt x="2731" y="192"/>
                  <a:pt x="2731" y="192"/>
                </a:cubicBezTo>
                <a:cubicBezTo>
                  <a:pt x="2731" y="192"/>
                  <a:pt x="2731" y="192"/>
                  <a:pt x="2731" y="192"/>
                </a:cubicBezTo>
                <a:cubicBezTo>
                  <a:pt x="2731" y="190"/>
                  <a:pt x="2732" y="189"/>
                  <a:pt x="2734" y="187"/>
                </a:cubicBezTo>
                <a:cubicBezTo>
                  <a:pt x="2735" y="185"/>
                  <a:pt x="2736" y="183"/>
                  <a:pt x="2737" y="180"/>
                </a:cubicBezTo>
                <a:cubicBezTo>
                  <a:pt x="2737" y="180"/>
                  <a:pt x="2737" y="180"/>
                  <a:pt x="2737" y="180"/>
                </a:cubicBezTo>
                <a:cubicBezTo>
                  <a:pt x="2737" y="180"/>
                  <a:pt x="2737" y="180"/>
                  <a:pt x="2737" y="180"/>
                </a:cubicBezTo>
                <a:cubicBezTo>
                  <a:pt x="2735" y="179"/>
                  <a:pt x="2732" y="178"/>
                  <a:pt x="2730" y="177"/>
                </a:cubicBezTo>
                <a:cubicBezTo>
                  <a:pt x="2722" y="174"/>
                  <a:pt x="2711" y="170"/>
                  <a:pt x="2706" y="170"/>
                </a:cubicBezTo>
                <a:cubicBezTo>
                  <a:pt x="2703" y="170"/>
                  <a:pt x="2701" y="174"/>
                  <a:pt x="2701" y="180"/>
                </a:cubicBezTo>
                <a:cubicBezTo>
                  <a:pt x="2697" y="180"/>
                  <a:pt x="2695" y="177"/>
                  <a:pt x="2693" y="175"/>
                </a:cubicBezTo>
                <a:cubicBezTo>
                  <a:pt x="2690" y="172"/>
                  <a:pt x="2688" y="169"/>
                  <a:pt x="2683" y="169"/>
                </a:cubicBezTo>
                <a:cubicBezTo>
                  <a:pt x="2676" y="169"/>
                  <a:pt x="2668" y="175"/>
                  <a:pt x="2668" y="183"/>
                </a:cubicBezTo>
                <a:cubicBezTo>
                  <a:pt x="2668" y="191"/>
                  <a:pt x="2676" y="199"/>
                  <a:pt x="2684" y="199"/>
                </a:cubicBezTo>
                <a:close/>
                <a:moveTo>
                  <a:pt x="750" y="558"/>
                </a:moveTo>
                <a:cubicBezTo>
                  <a:pt x="750" y="558"/>
                  <a:pt x="750" y="558"/>
                  <a:pt x="750" y="558"/>
                </a:cubicBezTo>
                <a:cubicBezTo>
                  <a:pt x="752" y="560"/>
                  <a:pt x="756" y="562"/>
                  <a:pt x="759" y="562"/>
                </a:cubicBezTo>
                <a:cubicBezTo>
                  <a:pt x="759" y="562"/>
                  <a:pt x="759" y="562"/>
                  <a:pt x="759" y="562"/>
                </a:cubicBezTo>
                <a:cubicBezTo>
                  <a:pt x="760" y="562"/>
                  <a:pt x="760" y="562"/>
                  <a:pt x="761" y="562"/>
                </a:cubicBezTo>
                <a:cubicBezTo>
                  <a:pt x="761" y="561"/>
                  <a:pt x="761" y="561"/>
                  <a:pt x="761" y="561"/>
                </a:cubicBezTo>
                <a:cubicBezTo>
                  <a:pt x="761" y="557"/>
                  <a:pt x="757" y="555"/>
                  <a:pt x="750" y="555"/>
                </a:cubicBezTo>
                <a:cubicBezTo>
                  <a:pt x="749" y="555"/>
                  <a:pt x="749" y="555"/>
                  <a:pt x="749" y="555"/>
                </a:cubicBezTo>
                <a:cubicBezTo>
                  <a:pt x="750" y="556"/>
                  <a:pt x="750" y="556"/>
                  <a:pt x="750" y="556"/>
                </a:cubicBezTo>
                <a:cubicBezTo>
                  <a:pt x="750" y="556"/>
                  <a:pt x="750" y="557"/>
                  <a:pt x="750" y="558"/>
                </a:cubicBezTo>
                <a:close/>
                <a:moveTo>
                  <a:pt x="385" y="619"/>
                </a:moveTo>
                <a:cubicBezTo>
                  <a:pt x="385" y="616"/>
                  <a:pt x="385" y="616"/>
                  <a:pt x="385" y="616"/>
                </a:cubicBezTo>
                <a:cubicBezTo>
                  <a:pt x="385" y="615"/>
                  <a:pt x="385" y="615"/>
                  <a:pt x="385" y="615"/>
                </a:cubicBezTo>
                <a:cubicBezTo>
                  <a:pt x="377" y="606"/>
                  <a:pt x="369" y="598"/>
                  <a:pt x="356" y="593"/>
                </a:cubicBezTo>
                <a:cubicBezTo>
                  <a:pt x="355" y="593"/>
                  <a:pt x="354" y="592"/>
                  <a:pt x="353" y="591"/>
                </a:cubicBezTo>
                <a:cubicBezTo>
                  <a:pt x="352" y="590"/>
                  <a:pt x="350" y="588"/>
                  <a:pt x="348" y="588"/>
                </a:cubicBezTo>
                <a:cubicBezTo>
                  <a:pt x="346" y="588"/>
                  <a:pt x="345" y="589"/>
                  <a:pt x="344" y="590"/>
                </a:cubicBezTo>
                <a:cubicBezTo>
                  <a:pt x="343" y="590"/>
                  <a:pt x="343" y="590"/>
                  <a:pt x="343" y="590"/>
                </a:cubicBezTo>
                <a:cubicBezTo>
                  <a:pt x="343" y="591"/>
                  <a:pt x="343" y="591"/>
                  <a:pt x="343" y="591"/>
                </a:cubicBezTo>
                <a:cubicBezTo>
                  <a:pt x="345" y="591"/>
                  <a:pt x="345" y="591"/>
                  <a:pt x="345" y="591"/>
                </a:cubicBezTo>
                <a:cubicBezTo>
                  <a:pt x="345" y="591"/>
                  <a:pt x="347" y="591"/>
                  <a:pt x="349" y="592"/>
                </a:cubicBezTo>
                <a:cubicBezTo>
                  <a:pt x="348" y="593"/>
                  <a:pt x="347" y="594"/>
                  <a:pt x="346" y="594"/>
                </a:cubicBezTo>
                <a:cubicBezTo>
                  <a:pt x="346" y="595"/>
                  <a:pt x="346" y="595"/>
                  <a:pt x="346" y="595"/>
                </a:cubicBezTo>
                <a:cubicBezTo>
                  <a:pt x="346" y="595"/>
                  <a:pt x="346" y="595"/>
                  <a:pt x="346" y="595"/>
                </a:cubicBezTo>
                <a:cubicBezTo>
                  <a:pt x="347" y="599"/>
                  <a:pt x="355" y="602"/>
                  <a:pt x="361" y="603"/>
                </a:cubicBezTo>
                <a:cubicBezTo>
                  <a:pt x="361" y="603"/>
                  <a:pt x="361" y="603"/>
                  <a:pt x="361" y="603"/>
                </a:cubicBezTo>
                <a:cubicBezTo>
                  <a:pt x="360" y="603"/>
                  <a:pt x="359" y="604"/>
                  <a:pt x="359" y="606"/>
                </a:cubicBezTo>
                <a:cubicBezTo>
                  <a:pt x="359" y="606"/>
                  <a:pt x="359" y="606"/>
                  <a:pt x="359" y="606"/>
                </a:cubicBezTo>
                <a:cubicBezTo>
                  <a:pt x="359" y="606"/>
                  <a:pt x="359" y="606"/>
                  <a:pt x="359" y="606"/>
                </a:cubicBezTo>
                <a:cubicBezTo>
                  <a:pt x="360" y="607"/>
                  <a:pt x="361" y="608"/>
                  <a:pt x="362" y="609"/>
                </a:cubicBezTo>
                <a:cubicBezTo>
                  <a:pt x="368" y="613"/>
                  <a:pt x="376" y="619"/>
                  <a:pt x="382" y="619"/>
                </a:cubicBezTo>
                <a:lnTo>
                  <a:pt x="385" y="619"/>
                </a:lnTo>
                <a:close/>
                <a:moveTo>
                  <a:pt x="312" y="562"/>
                </a:moveTo>
                <a:cubicBezTo>
                  <a:pt x="312" y="560"/>
                  <a:pt x="312" y="560"/>
                  <a:pt x="312" y="560"/>
                </a:cubicBezTo>
                <a:cubicBezTo>
                  <a:pt x="313" y="560"/>
                  <a:pt x="313" y="559"/>
                  <a:pt x="313" y="558"/>
                </a:cubicBezTo>
                <a:cubicBezTo>
                  <a:pt x="313" y="557"/>
                  <a:pt x="313" y="557"/>
                  <a:pt x="312" y="556"/>
                </a:cubicBezTo>
                <a:cubicBezTo>
                  <a:pt x="312" y="556"/>
                  <a:pt x="312" y="555"/>
                  <a:pt x="312" y="554"/>
                </a:cubicBezTo>
                <a:cubicBezTo>
                  <a:pt x="312" y="553"/>
                  <a:pt x="312" y="552"/>
                  <a:pt x="312" y="551"/>
                </a:cubicBezTo>
                <a:cubicBezTo>
                  <a:pt x="312" y="549"/>
                  <a:pt x="312" y="548"/>
                  <a:pt x="312" y="546"/>
                </a:cubicBezTo>
                <a:cubicBezTo>
                  <a:pt x="311" y="545"/>
                  <a:pt x="311" y="545"/>
                  <a:pt x="311" y="545"/>
                </a:cubicBezTo>
                <a:cubicBezTo>
                  <a:pt x="311" y="546"/>
                  <a:pt x="311" y="546"/>
                  <a:pt x="311" y="546"/>
                </a:cubicBezTo>
                <a:cubicBezTo>
                  <a:pt x="310" y="549"/>
                  <a:pt x="309" y="551"/>
                  <a:pt x="307" y="551"/>
                </a:cubicBezTo>
                <a:cubicBezTo>
                  <a:pt x="307" y="551"/>
                  <a:pt x="307" y="551"/>
                  <a:pt x="307" y="551"/>
                </a:cubicBezTo>
                <a:cubicBezTo>
                  <a:pt x="307" y="550"/>
                  <a:pt x="308" y="549"/>
                  <a:pt x="309" y="548"/>
                </a:cubicBezTo>
                <a:cubicBezTo>
                  <a:pt x="309" y="547"/>
                  <a:pt x="310" y="547"/>
                  <a:pt x="310" y="547"/>
                </a:cubicBezTo>
                <a:cubicBezTo>
                  <a:pt x="310" y="547"/>
                  <a:pt x="310" y="547"/>
                  <a:pt x="310" y="547"/>
                </a:cubicBezTo>
                <a:cubicBezTo>
                  <a:pt x="309" y="547"/>
                  <a:pt x="309" y="547"/>
                  <a:pt x="309" y="547"/>
                </a:cubicBezTo>
                <a:cubicBezTo>
                  <a:pt x="308" y="546"/>
                  <a:pt x="307" y="546"/>
                  <a:pt x="306" y="545"/>
                </a:cubicBezTo>
                <a:cubicBezTo>
                  <a:pt x="305" y="545"/>
                  <a:pt x="304" y="544"/>
                  <a:pt x="302" y="544"/>
                </a:cubicBezTo>
                <a:cubicBezTo>
                  <a:pt x="302" y="544"/>
                  <a:pt x="302" y="544"/>
                  <a:pt x="302" y="544"/>
                </a:cubicBezTo>
                <a:cubicBezTo>
                  <a:pt x="302" y="547"/>
                  <a:pt x="302" y="547"/>
                  <a:pt x="302" y="547"/>
                </a:cubicBezTo>
                <a:cubicBezTo>
                  <a:pt x="302" y="548"/>
                  <a:pt x="302" y="548"/>
                  <a:pt x="302" y="548"/>
                </a:cubicBezTo>
                <a:cubicBezTo>
                  <a:pt x="302" y="548"/>
                  <a:pt x="303" y="549"/>
                  <a:pt x="303" y="550"/>
                </a:cubicBezTo>
                <a:cubicBezTo>
                  <a:pt x="304" y="552"/>
                  <a:pt x="305" y="554"/>
                  <a:pt x="306" y="554"/>
                </a:cubicBezTo>
                <a:cubicBezTo>
                  <a:pt x="306" y="554"/>
                  <a:pt x="307" y="555"/>
                  <a:pt x="308" y="556"/>
                </a:cubicBezTo>
                <a:cubicBezTo>
                  <a:pt x="308" y="557"/>
                  <a:pt x="309" y="558"/>
                  <a:pt x="310" y="558"/>
                </a:cubicBezTo>
                <a:cubicBezTo>
                  <a:pt x="310" y="559"/>
                  <a:pt x="310" y="559"/>
                  <a:pt x="310" y="559"/>
                </a:cubicBezTo>
                <a:cubicBezTo>
                  <a:pt x="310" y="559"/>
                  <a:pt x="309" y="561"/>
                  <a:pt x="309" y="562"/>
                </a:cubicBezTo>
                <a:cubicBezTo>
                  <a:pt x="309" y="565"/>
                  <a:pt x="311" y="569"/>
                  <a:pt x="314" y="569"/>
                </a:cubicBezTo>
                <a:cubicBezTo>
                  <a:pt x="314" y="569"/>
                  <a:pt x="315" y="569"/>
                  <a:pt x="315" y="568"/>
                </a:cubicBezTo>
                <a:cubicBezTo>
                  <a:pt x="315" y="568"/>
                  <a:pt x="315" y="566"/>
                  <a:pt x="313" y="564"/>
                </a:cubicBezTo>
                <a:cubicBezTo>
                  <a:pt x="313" y="563"/>
                  <a:pt x="312" y="562"/>
                  <a:pt x="312" y="562"/>
                </a:cubicBezTo>
                <a:close/>
                <a:moveTo>
                  <a:pt x="119" y="494"/>
                </a:moveTo>
                <a:cubicBezTo>
                  <a:pt x="117" y="495"/>
                  <a:pt x="116" y="496"/>
                  <a:pt x="114" y="497"/>
                </a:cubicBezTo>
                <a:cubicBezTo>
                  <a:pt x="114" y="497"/>
                  <a:pt x="114" y="497"/>
                  <a:pt x="114" y="497"/>
                </a:cubicBezTo>
                <a:cubicBezTo>
                  <a:pt x="114" y="501"/>
                  <a:pt x="114" y="501"/>
                  <a:pt x="114" y="501"/>
                </a:cubicBezTo>
                <a:cubicBezTo>
                  <a:pt x="114" y="502"/>
                  <a:pt x="114" y="502"/>
                  <a:pt x="114" y="502"/>
                </a:cubicBezTo>
                <a:cubicBezTo>
                  <a:pt x="115" y="502"/>
                  <a:pt x="116" y="503"/>
                  <a:pt x="116" y="503"/>
                </a:cubicBezTo>
                <a:cubicBezTo>
                  <a:pt x="118" y="504"/>
                  <a:pt x="119" y="505"/>
                  <a:pt x="120" y="506"/>
                </a:cubicBezTo>
                <a:cubicBezTo>
                  <a:pt x="120" y="506"/>
                  <a:pt x="120" y="506"/>
                  <a:pt x="120" y="506"/>
                </a:cubicBezTo>
                <a:cubicBezTo>
                  <a:pt x="121" y="506"/>
                  <a:pt x="121" y="506"/>
                  <a:pt x="121" y="506"/>
                </a:cubicBezTo>
                <a:cubicBezTo>
                  <a:pt x="122" y="505"/>
                  <a:pt x="123" y="504"/>
                  <a:pt x="124" y="503"/>
                </a:cubicBezTo>
                <a:cubicBezTo>
                  <a:pt x="126" y="501"/>
                  <a:pt x="128" y="499"/>
                  <a:pt x="133" y="496"/>
                </a:cubicBezTo>
                <a:cubicBezTo>
                  <a:pt x="133" y="496"/>
                  <a:pt x="133" y="496"/>
                  <a:pt x="133" y="496"/>
                </a:cubicBezTo>
                <a:cubicBezTo>
                  <a:pt x="133" y="491"/>
                  <a:pt x="133" y="491"/>
                  <a:pt x="133" y="491"/>
                </a:cubicBezTo>
                <a:cubicBezTo>
                  <a:pt x="129" y="491"/>
                  <a:pt x="129" y="491"/>
                  <a:pt x="129" y="491"/>
                </a:cubicBezTo>
                <a:cubicBezTo>
                  <a:pt x="125" y="491"/>
                  <a:pt x="122" y="493"/>
                  <a:pt x="119" y="494"/>
                </a:cubicBezTo>
                <a:close/>
                <a:moveTo>
                  <a:pt x="1600" y="745"/>
                </a:moveTo>
                <a:cubicBezTo>
                  <a:pt x="1600" y="745"/>
                  <a:pt x="1600" y="745"/>
                  <a:pt x="1600" y="745"/>
                </a:cubicBezTo>
                <a:cubicBezTo>
                  <a:pt x="1601" y="741"/>
                  <a:pt x="1601" y="741"/>
                  <a:pt x="1601" y="741"/>
                </a:cubicBezTo>
                <a:cubicBezTo>
                  <a:pt x="1601" y="740"/>
                  <a:pt x="1601" y="740"/>
                  <a:pt x="1601" y="740"/>
                </a:cubicBezTo>
                <a:cubicBezTo>
                  <a:pt x="1601" y="740"/>
                  <a:pt x="1601" y="740"/>
                  <a:pt x="1601" y="740"/>
                </a:cubicBezTo>
                <a:cubicBezTo>
                  <a:pt x="1598" y="740"/>
                  <a:pt x="1596" y="741"/>
                  <a:pt x="1594" y="741"/>
                </a:cubicBezTo>
                <a:cubicBezTo>
                  <a:pt x="1593" y="742"/>
                  <a:pt x="1592" y="743"/>
                  <a:pt x="1590" y="743"/>
                </a:cubicBezTo>
                <a:cubicBezTo>
                  <a:pt x="1589" y="743"/>
                  <a:pt x="1587" y="742"/>
                  <a:pt x="1586" y="742"/>
                </a:cubicBezTo>
                <a:cubicBezTo>
                  <a:pt x="1583" y="740"/>
                  <a:pt x="1581" y="739"/>
                  <a:pt x="1576" y="742"/>
                </a:cubicBezTo>
                <a:cubicBezTo>
                  <a:pt x="1576" y="742"/>
                  <a:pt x="1576" y="742"/>
                  <a:pt x="1576" y="742"/>
                </a:cubicBezTo>
                <a:cubicBezTo>
                  <a:pt x="1576" y="745"/>
                  <a:pt x="1576" y="745"/>
                  <a:pt x="1576" y="745"/>
                </a:cubicBezTo>
                <a:cubicBezTo>
                  <a:pt x="1576" y="745"/>
                  <a:pt x="1576" y="745"/>
                  <a:pt x="1576" y="745"/>
                </a:cubicBezTo>
                <a:cubicBezTo>
                  <a:pt x="1577" y="746"/>
                  <a:pt x="1578" y="746"/>
                  <a:pt x="1580" y="746"/>
                </a:cubicBezTo>
                <a:cubicBezTo>
                  <a:pt x="1581" y="747"/>
                  <a:pt x="1581" y="747"/>
                  <a:pt x="1581" y="747"/>
                </a:cubicBezTo>
                <a:cubicBezTo>
                  <a:pt x="1583" y="747"/>
                  <a:pt x="1585" y="749"/>
                  <a:pt x="1587" y="751"/>
                </a:cubicBezTo>
                <a:cubicBezTo>
                  <a:pt x="1589" y="753"/>
                  <a:pt x="1592" y="755"/>
                  <a:pt x="1595" y="756"/>
                </a:cubicBezTo>
                <a:cubicBezTo>
                  <a:pt x="1595" y="757"/>
                  <a:pt x="1596" y="757"/>
                  <a:pt x="1597" y="757"/>
                </a:cubicBezTo>
                <a:cubicBezTo>
                  <a:pt x="1599" y="757"/>
                  <a:pt x="1600" y="755"/>
                  <a:pt x="1600" y="754"/>
                </a:cubicBezTo>
                <a:cubicBezTo>
                  <a:pt x="1600" y="753"/>
                  <a:pt x="1599" y="752"/>
                  <a:pt x="1599" y="751"/>
                </a:cubicBezTo>
                <a:cubicBezTo>
                  <a:pt x="1598" y="750"/>
                  <a:pt x="1598" y="750"/>
                  <a:pt x="1598" y="749"/>
                </a:cubicBezTo>
                <a:cubicBezTo>
                  <a:pt x="1598" y="748"/>
                  <a:pt x="1599" y="746"/>
                  <a:pt x="1600" y="745"/>
                </a:cubicBezTo>
                <a:close/>
                <a:moveTo>
                  <a:pt x="1550" y="684"/>
                </a:moveTo>
                <a:cubicBezTo>
                  <a:pt x="1549" y="684"/>
                  <a:pt x="1548" y="685"/>
                  <a:pt x="1548" y="685"/>
                </a:cubicBezTo>
                <a:cubicBezTo>
                  <a:pt x="1547" y="686"/>
                  <a:pt x="1546" y="687"/>
                  <a:pt x="1545" y="687"/>
                </a:cubicBezTo>
                <a:cubicBezTo>
                  <a:pt x="1544" y="688"/>
                  <a:pt x="1544" y="688"/>
                  <a:pt x="1544" y="688"/>
                </a:cubicBezTo>
                <a:cubicBezTo>
                  <a:pt x="1543" y="688"/>
                  <a:pt x="1543" y="688"/>
                  <a:pt x="1543" y="688"/>
                </a:cubicBezTo>
                <a:cubicBezTo>
                  <a:pt x="1542" y="688"/>
                  <a:pt x="1542" y="688"/>
                  <a:pt x="1542" y="688"/>
                </a:cubicBezTo>
                <a:cubicBezTo>
                  <a:pt x="1543" y="688"/>
                  <a:pt x="1543" y="688"/>
                  <a:pt x="1543" y="688"/>
                </a:cubicBezTo>
                <a:cubicBezTo>
                  <a:pt x="1543" y="689"/>
                  <a:pt x="1544" y="691"/>
                  <a:pt x="1544" y="693"/>
                </a:cubicBezTo>
                <a:cubicBezTo>
                  <a:pt x="1545" y="697"/>
                  <a:pt x="1546" y="702"/>
                  <a:pt x="1548" y="702"/>
                </a:cubicBezTo>
                <a:cubicBezTo>
                  <a:pt x="1549" y="702"/>
                  <a:pt x="1549" y="702"/>
                  <a:pt x="1549" y="702"/>
                </a:cubicBezTo>
                <a:cubicBezTo>
                  <a:pt x="1549" y="702"/>
                  <a:pt x="1549" y="702"/>
                  <a:pt x="1549" y="702"/>
                </a:cubicBezTo>
                <a:cubicBezTo>
                  <a:pt x="1549" y="701"/>
                  <a:pt x="1550" y="697"/>
                  <a:pt x="1550" y="694"/>
                </a:cubicBezTo>
                <a:cubicBezTo>
                  <a:pt x="1551" y="692"/>
                  <a:pt x="1551" y="690"/>
                  <a:pt x="1552" y="688"/>
                </a:cubicBezTo>
                <a:cubicBezTo>
                  <a:pt x="1552" y="688"/>
                  <a:pt x="1552" y="688"/>
                  <a:pt x="1552" y="688"/>
                </a:cubicBezTo>
                <a:cubicBezTo>
                  <a:pt x="1551" y="688"/>
                  <a:pt x="1551" y="688"/>
                  <a:pt x="1551" y="688"/>
                </a:cubicBezTo>
                <a:cubicBezTo>
                  <a:pt x="1551" y="687"/>
                  <a:pt x="1550" y="686"/>
                  <a:pt x="1550" y="684"/>
                </a:cubicBezTo>
                <a:cubicBezTo>
                  <a:pt x="1550" y="684"/>
                  <a:pt x="1550" y="684"/>
                  <a:pt x="1550" y="684"/>
                </a:cubicBezTo>
                <a:close/>
                <a:moveTo>
                  <a:pt x="1540" y="709"/>
                </a:moveTo>
                <a:cubicBezTo>
                  <a:pt x="1540" y="709"/>
                  <a:pt x="1540" y="709"/>
                  <a:pt x="1540" y="709"/>
                </a:cubicBezTo>
                <a:cubicBezTo>
                  <a:pt x="1541" y="710"/>
                  <a:pt x="1541" y="712"/>
                  <a:pt x="1542" y="713"/>
                </a:cubicBezTo>
                <a:cubicBezTo>
                  <a:pt x="1543" y="714"/>
                  <a:pt x="1543" y="715"/>
                  <a:pt x="1543" y="716"/>
                </a:cubicBezTo>
                <a:cubicBezTo>
                  <a:pt x="1543" y="717"/>
                  <a:pt x="1543" y="718"/>
                  <a:pt x="1543" y="720"/>
                </a:cubicBezTo>
                <a:cubicBezTo>
                  <a:pt x="1542" y="721"/>
                  <a:pt x="1542" y="722"/>
                  <a:pt x="1542" y="723"/>
                </a:cubicBezTo>
                <a:cubicBezTo>
                  <a:pt x="1542" y="723"/>
                  <a:pt x="1542" y="723"/>
                  <a:pt x="1542" y="723"/>
                </a:cubicBezTo>
                <a:cubicBezTo>
                  <a:pt x="1542" y="723"/>
                  <a:pt x="1542" y="723"/>
                  <a:pt x="1542" y="723"/>
                </a:cubicBezTo>
                <a:cubicBezTo>
                  <a:pt x="1542" y="726"/>
                  <a:pt x="1542" y="731"/>
                  <a:pt x="1545" y="731"/>
                </a:cubicBezTo>
                <a:cubicBezTo>
                  <a:pt x="1548" y="731"/>
                  <a:pt x="1553" y="726"/>
                  <a:pt x="1553" y="721"/>
                </a:cubicBezTo>
                <a:cubicBezTo>
                  <a:pt x="1553" y="720"/>
                  <a:pt x="1553" y="719"/>
                  <a:pt x="1554" y="718"/>
                </a:cubicBezTo>
                <a:cubicBezTo>
                  <a:pt x="1554" y="714"/>
                  <a:pt x="1554" y="711"/>
                  <a:pt x="1552" y="706"/>
                </a:cubicBezTo>
                <a:cubicBezTo>
                  <a:pt x="1551" y="706"/>
                  <a:pt x="1551" y="706"/>
                  <a:pt x="1551" y="706"/>
                </a:cubicBezTo>
                <a:cubicBezTo>
                  <a:pt x="1551" y="706"/>
                  <a:pt x="1551" y="706"/>
                  <a:pt x="1551" y="706"/>
                </a:cubicBezTo>
                <a:cubicBezTo>
                  <a:pt x="1550" y="705"/>
                  <a:pt x="1550" y="705"/>
                  <a:pt x="1550" y="705"/>
                </a:cubicBezTo>
                <a:cubicBezTo>
                  <a:pt x="1550" y="705"/>
                  <a:pt x="1549" y="704"/>
                  <a:pt x="1547" y="704"/>
                </a:cubicBezTo>
                <a:cubicBezTo>
                  <a:pt x="1546" y="704"/>
                  <a:pt x="1545" y="705"/>
                  <a:pt x="1544" y="706"/>
                </a:cubicBezTo>
                <a:cubicBezTo>
                  <a:pt x="1543" y="707"/>
                  <a:pt x="1542" y="708"/>
                  <a:pt x="1541" y="708"/>
                </a:cubicBezTo>
                <a:lnTo>
                  <a:pt x="1540" y="709"/>
                </a:lnTo>
                <a:close/>
                <a:moveTo>
                  <a:pt x="1496" y="720"/>
                </a:moveTo>
                <a:cubicBezTo>
                  <a:pt x="1495" y="720"/>
                  <a:pt x="1494" y="721"/>
                  <a:pt x="1492" y="721"/>
                </a:cubicBezTo>
                <a:cubicBezTo>
                  <a:pt x="1491" y="722"/>
                  <a:pt x="1491" y="722"/>
                  <a:pt x="1491" y="722"/>
                </a:cubicBezTo>
                <a:cubicBezTo>
                  <a:pt x="1491" y="722"/>
                  <a:pt x="1491" y="722"/>
                  <a:pt x="1491" y="722"/>
                </a:cubicBezTo>
                <a:cubicBezTo>
                  <a:pt x="1491" y="723"/>
                  <a:pt x="1491" y="723"/>
                  <a:pt x="1491" y="723"/>
                </a:cubicBezTo>
                <a:cubicBezTo>
                  <a:pt x="1491" y="723"/>
                  <a:pt x="1491" y="723"/>
                  <a:pt x="1491" y="723"/>
                </a:cubicBezTo>
                <a:cubicBezTo>
                  <a:pt x="1493" y="725"/>
                  <a:pt x="1494" y="726"/>
                  <a:pt x="1495" y="726"/>
                </a:cubicBezTo>
                <a:cubicBezTo>
                  <a:pt x="1496" y="726"/>
                  <a:pt x="1498" y="725"/>
                  <a:pt x="1498" y="724"/>
                </a:cubicBezTo>
                <a:cubicBezTo>
                  <a:pt x="1498" y="723"/>
                  <a:pt x="1498" y="722"/>
                  <a:pt x="1497" y="721"/>
                </a:cubicBezTo>
                <a:cubicBezTo>
                  <a:pt x="1496" y="720"/>
                  <a:pt x="1496" y="720"/>
                  <a:pt x="1496" y="720"/>
                </a:cubicBezTo>
                <a:cubicBezTo>
                  <a:pt x="1496" y="720"/>
                  <a:pt x="1496" y="720"/>
                  <a:pt x="1496" y="720"/>
                </a:cubicBezTo>
                <a:close/>
                <a:moveTo>
                  <a:pt x="1562" y="530"/>
                </a:moveTo>
                <a:cubicBezTo>
                  <a:pt x="1562" y="530"/>
                  <a:pt x="1563" y="529"/>
                  <a:pt x="1563" y="529"/>
                </a:cubicBezTo>
                <a:cubicBezTo>
                  <a:pt x="1563" y="529"/>
                  <a:pt x="1563" y="528"/>
                  <a:pt x="1563" y="526"/>
                </a:cubicBezTo>
                <a:cubicBezTo>
                  <a:pt x="1563" y="525"/>
                  <a:pt x="1563" y="524"/>
                  <a:pt x="1562" y="523"/>
                </a:cubicBezTo>
                <a:cubicBezTo>
                  <a:pt x="1562" y="522"/>
                  <a:pt x="1561" y="521"/>
                  <a:pt x="1561" y="519"/>
                </a:cubicBezTo>
                <a:cubicBezTo>
                  <a:pt x="1561" y="519"/>
                  <a:pt x="1561" y="519"/>
                  <a:pt x="1561" y="519"/>
                </a:cubicBezTo>
                <a:cubicBezTo>
                  <a:pt x="1555" y="519"/>
                  <a:pt x="1555" y="519"/>
                  <a:pt x="1555" y="519"/>
                </a:cubicBezTo>
                <a:cubicBezTo>
                  <a:pt x="1555" y="523"/>
                  <a:pt x="1555" y="523"/>
                  <a:pt x="1555" y="523"/>
                </a:cubicBezTo>
                <a:cubicBezTo>
                  <a:pt x="1555" y="526"/>
                  <a:pt x="1557" y="528"/>
                  <a:pt x="1562" y="528"/>
                </a:cubicBezTo>
                <a:cubicBezTo>
                  <a:pt x="1562" y="530"/>
                  <a:pt x="1562" y="530"/>
                  <a:pt x="1562" y="530"/>
                </a:cubicBezTo>
                <a:close/>
                <a:moveTo>
                  <a:pt x="1567" y="529"/>
                </a:moveTo>
                <a:cubicBezTo>
                  <a:pt x="1566" y="528"/>
                  <a:pt x="1566" y="528"/>
                  <a:pt x="1566" y="528"/>
                </a:cubicBezTo>
                <a:cubicBezTo>
                  <a:pt x="1566" y="528"/>
                  <a:pt x="1566" y="528"/>
                  <a:pt x="1566" y="528"/>
                </a:cubicBezTo>
                <a:cubicBezTo>
                  <a:pt x="1566" y="528"/>
                  <a:pt x="1566" y="528"/>
                  <a:pt x="1566" y="528"/>
                </a:cubicBezTo>
                <a:cubicBezTo>
                  <a:pt x="1565" y="529"/>
                  <a:pt x="1565" y="529"/>
                  <a:pt x="1565" y="529"/>
                </a:cubicBezTo>
                <a:cubicBezTo>
                  <a:pt x="1565" y="529"/>
                  <a:pt x="1564" y="529"/>
                  <a:pt x="1564" y="530"/>
                </a:cubicBezTo>
                <a:cubicBezTo>
                  <a:pt x="1564" y="530"/>
                  <a:pt x="1564" y="530"/>
                  <a:pt x="1564" y="530"/>
                </a:cubicBezTo>
                <a:cubicBezTo>
                  <a:pt x="1564" y="531"/>
                  <a:pt x="1564" y="531"/>
                  <a:pt x="1564" y="531"/>
                </a:cubicBezTo>
                <a:cubicBezTo>
                  <a:pt x="1564" y="531"/>
                  <a:pt x="1566" y="533"/>
                  <a:pt x="1569" y="533"/>
                </a:cubicBezTo>
                <a:cubicBezTo>
                  <a:pt x="1573" y="533"/>
                  <a:pt x="1574" y="529"/>
                  <a:pt x="1575" y="525"/>
                </a:cubicBezTo>
                <a:cubicBezTo>
                  <a:pt x="1575" y="522"/>
                  <a:pt x="1576" y="519"/>
                  <a:pt x="1578" y="519"/>
                </a:cubicBezTo>
                <a:cubicBezTo>
                  <a:pt x="1579" y="519"/>
                  <a:pt x="1579" y="519"/>
                  <a:pt x="1579" y="519"/>
                </a:cubicBezTo>
                <a:cubicBezTo>
                  <a:pt x="1579" y="518"/>
                  <a:pt x="1579" y="518"/>
                  <a:pt x="1579" y="518"/>
                </a:cubicBezTo>
                <a:cubicBezTo>
                  <a:pt x="1578" y="517"/>
                  <a:pt x="1578" y="517"/>
                  <a:pt x="1578" y="517"/>
                </a:cubicBezTo>
                <a:cubicBezTo>
                  <a:pt x="1577" y="512"/>
                  <a:pt x="1576" y="509"/>
                  <a:pt x="1570" y="509"/>
                </a:cubicBezTo>
                <a:cubicBezTo>
                  <a:pt x="1568" y="509"/>
                  <a:pt x="1564" y="518"/>
                  <a:pt x="1564" y="520"/>
                </a:cubicBezTo>
                <a:cubicBezTo>
                  <a:pt x="1564" y="522"/>
                  <a:pt x="1567" y="525"/>
                  <a:pt x="1570" y="526"/>
                </a:cubicBezTo>
                <a:cubicBezTo>
                  <a:pt x="1570" y="527"/>
                  <a:pt x="1569" y="529"/>
                  <a:pt x="1567" y="529"/>
                </a:cubicBezTo>
                <a:close/>
                <a:moveTo>
                  <a:pt x="1626" y="497"/>
                </a:moveTo>
                <a:cubicBezTo>
                  <a:pt x="1627" y="497"/>
                  <a:pt x="1627" y="496"/>
                  <a:pt x="1628" y="495"/>
                </a:cubicBezTo>
                <a:cubicBezTo>
                  <a:pt x="1629" y="493"/>
                  <a:pt x="1631" y="491"/>
                  <a:pt x="1631" y="488"/>
                </a:cubicBezTo>
                <a:cubicBezTo>
                  <a:pt x="1631" y="487"/>
                  <a:pt x="1631" y="486"/>
                  <a:pt x="1632" y="486"/>
                </a:cubicBezTo>
                <a:cubicBezTo>
                  <a:pt x="1632" y="485"/>
                  <a:pt x="1633" y="485"/>
                  <a:pt x="1633" y="484"/>
                </a:cubicBezTo>
                <a:cubicBezTo>
                  <a:pt x="1633" y="483"/>
                  <a:pt x="1633" y="483"/>
                  <a:pt x="1633" y="483"/>
                </a:cubicBezTo>
                <a:cubicBezTo>
                  <a:pt x="1633" y="483"/>
                  <a:pt x="1633" y="483"/>
                  <a:pt x="1633" y="483"/>
                </a:cubicBezTo>
                <a:cubicBezTo>
                  <a:pt x="1627" y="484"/>
                  <a:pt x="1625" y="490"/>
                  <a:pt x="1625" y="493"/>
                </a:cubicBezTo>
                <a:cubicBezTo>
                  <a:pt x="1625" y="493"/>
                  <a:pt x="1625" y="494"/>
                  <a:pt x="1625" y="494"/>
                </a:cubicBezTo>
                <a:cubicBezTo>
                  <a:pt x="1625" y="495"/>
                  <a:pt x="1625" y="496"/>
                  <a:pt x="1625" y="497"/>
                </a:cubicBezTo>
                <a:cubicBezTo>
                  <a:pt x="1626" y="498"/>
                  <a:pt x="1626" y="498"/>
                  <a:pt x="1626" y="498"/>
                </a:cubicBezTo>
                <a:lnTo>
                  <a:pt x="1626" y="497"/>
                </a:lnTo>
                <a:close/>
                <a:moveTo>
                  <a:pt x="1657" y="476"/>
                </a:moveTo>
                <a:cubicBezTo>
                  <a:pt x="1657" y="476"/>
                  <a:pt x="1657" y="476"/>
                  <a:pt x="1657" y="476"/>
                </a:cubicBezTo>
                <a:cubicBezTo>
                  <a:pt x="1657" y="477"/>
                  <a:pt x="1657" y="477"/>
                  <a:pt x="1657" y="477"/>
                </a:cubicBezTo>
                <a:cubicBezTo>
                  <a:pt x="1657" y="481"/>
                  <a:pt x="1658" y="482"/>
                  <a:pt x="1660" y="482"/>
                </a:cubicBezTo>
                <a:cubicBezTo>
                  <a:pt x="1662" y="482"/>
                  <a:pt x="1666" y="480"/>
                  <a:pt x="1666" y="479"/>
                </a:cubicBezTo>
                <a:cubicBezTo>
                  <a:pt x="1666" y="475"/>
                  <a:pt x="1666" y="475"/>
                  <a:pt x="1666" y="475"/>
                </a:cubicBezTo>
                <a:cubicBezTo>
                  <a:pt x="1667" y="474"/>
                  <a:pt x="1668" y="472"/>
                  <a:pt x="1669" y="470"/>
                </a:cubicBezTo>
                <a:cubicBezTo>
                  <a:pt x="1669" y="470"/>
                  <a:pt x="1669" y="470"/>
                  <a:pt x="1669" y="470"/>
                </a:cubicBezTo>
                <a:cubicBezTo>
                  <a:pt x="1668" y="469"/>
                  <a:pt x="1668" y="469"/>
                  <a:pt x="1668" y="469"/>
                </a:cubicBezTo>
                <a:cubicBezTo>
                  <a:pt x="1667" y="469"/>
                  <a:pt x="1667" y="468"/>
                  <a:pt x="1665" y="466"/>
                </a:cubicBezTo>
                <a:cubicBezTo>
                  <a:pt x="1665" y="466"/>
                  <a:pt x="1665" y="466"/>
                  <a:pt x="1665" y="466"/>
                </a:cubicBezTo>
                <a:cubicBezTo>
                  <a:pt x="1665" y="466"/>
                  <a:pt x="1665" y="466"/>
                  <a:pt x="1665" y="466"/>
                </a:cubicBezTo>
                <a:cubicBezTo>
                  <a:pt x="1664" y="466"/>
                  <a:pt x="1662" y="468"/>
                  <a:pt x="1662" y="470"/>
                </a:cubicBezTo>
                <a:cubicBezTo>
                  <a:pt x="1662" y="471"/>
                  <a:pt x="1662" y="472"/>
                  <a:pt x="1663" y="473"/>
                </a:cubicBezTo>
                <a:cubicBezTo>
                  <a:pt x="1664" y="474"/>
                  <a:pt x="1664" y="474"/>
                  <a:pt x="1664" y="474"/>
                </a:cubicBezTo>
                <a:cubicBezTo>
                  <a:pt x="1662" y="474"/>
                  <a:pt x="1662" y="475"/>
                  <a:pt x="1661" y="475"/>
                </a:cubicBezTo>
                <a:cubicBezTo>
                  <a:pt x="1660" y="476"/>
                  <a:pt x="1659" y="476"/>
                  <a:pt x="1657" y="476"/>
                </a:cubicBezTo>
                <a:close/>
                <a:moveTo>
                  <a:pt x="1690" y="776"/>
                </a:moveTo>
                <a:cubicBezTo>
                  <a:pt x="1691" y="776"/>
                  <a:pt x="1693" y="777"/>
                  <a:pt x="1696" y="775"/>
                </a:cubicBezTo>
                <a:cubicBezTo>
                  <a:pt x="1697" y="774"/>
                  <a:pt x="1697" y="774"/>
                  <a:pt x="1697" y="774"/>
                </a:cubicBezTo>
                <a:cubicBezTo>
                  <a:pt x="1696" y="774"/>
                  <a:pt x="1696" y="774"/>
                  <a:pt x="1696" y="774"/>
                </a:cubicBezTo>
                <a:cubicBezTo>
                  <a:pt x="1688" y="772"/>
                  <a:pt x="1682" y="771"/>
                  <a:pt x="1676" y="772"/>
                </a:cubicBezTo>
                <a:cubicBezTo>
                  <a:pt x="1675" y="772"/>
                  <a:pt x="1675" y="772"/>
                  <a:pt x="1675" y="772"/>
                </a:cubicBezTo>
                <a:cubicBezTo>
                  <a:pt x="1676" y="773"/>
                  <a:pt x="1676" y="773"/>
                  <a:pt x="1676" y="773"/>
                </a:cubicBezTo>
                <a:cubicBezTo>
                  <a:pt x="1680" y="775"/>
                  <a:pt x="1685" y="776"/>
                  <a:pt x="1688" y="776"/>
                </a:cubicBezTo>
                <a:cubicBezTo>
                  <a:pt x="1689" y="776"/>
                  <a:pt x="1689" y="776"/>
                  <a:pt x="1690" y="776"/>
                </a:cubicBezTo>
                <a:close/>
                <a:moveTo>
                  <a:pt x="1754" y="779"/>
                </a:moveTo>
                <a:cubicBezTo>
                  <a:pt x="1757" y="779"/>
                  <a:pt x="1763" y="777"/>
                  <a:pt x="1764" y="775"/>
                </a:cubicBezTo>
                <a:cubicBezTo>
                  <a:pt x="1764" y="775"/>
                  <a:pt x="1764" y="775"/>
                  <a:pt x="1764" y="775"/>
                </a:cubicBezTo>
                <a:cubicBezTo>
                  <a:pt x="1764" y="775"/>
                  <a:pt x="1764" y="775"/>
                  <a:pt x="1764" y="775"/>
                </a:cubicBezTo>
                <a:cubicBezTo>
                  <a:pt x="1764" y="774"/>
                  <a:pt x="1764" y="774"/>
                  <a:pt x="1764" y="773"/>
                </a:cubicBezTo>
                <a:cubicBezTo>
                  <a:pt x="1764" y="772"/>
                  <a:pt x="1764" y="772"/>
                  <a:pt x="1765" y="772"/>
                </a:cubicBezTo>
                <a:cubicBezTo>
                  <a:pt x="1765" y="772"/>
                  <a:pt x="1765" y="772"/>
                  <a:pt x="1765" y="772"/>
                </a:cubicBezTo>
                <a:cubicBezTo>
                  <a:pt x="1765" y="772"/>
                  <a:pt x="1765" y="772"/>
                  <a:pt x="1765" y="772"/>
                </a:cubicBezTo>
                <a:cubicBezTo>
                  <a:pt x="1765" y="771"/>
                  <a:pt x="1766" y="771"/>
                  <a:pt x="1766" y="771"/>
                </a:cubicBezTo>
                <a:cubicBezTo>
                  <a:pt x="1767" y="771"/>
                  <a:pt x="1768" y="771"/>
                  <a:pt x="1769" y="768"/>
                </a:cubicBezTo>
                <a:cubicBezTo>
                  <a:pt x="1769" y="768"/>
                  <a:pt x="1769" y="768"/>
                  <a:pt x="1769" y="768"/>
                </a:cubicBezTo>
                <a:cubicBezTo>
                  <a:pt x="1768" y="768"/>
                  <a:pt x="1768" y="768"/>
                  <a:pt x="1768" y="768"/>
                </a:cubicBezTo>
                <a:cubicBezTo>
                  <a:pt x="1763" y="769"/>
                  <a:pt x="1755" y="773"/>
                  <a:pt x="1751" y="775"/>
                </a:cubicBezTo>
                <a:cubicBezTo>
                  <a:pt x="1750" y="775"/>
                  <a:pt x="1750" y="775"/>
                  <a:pt x="1750" y="775"/>
                </a:cubicBezTo>
                <a:cubicBezTo>
                  <a:pt x="1750" y="775"/>
                  <a:pt x="1750" y="775"/>
                  <a:pt x="1750" y="775"/>
                </a:cubicBezTo>
                <a:cubicBezTo>
                  <a:pt x="1750" y="776"/>
                  <a:pt x="1751" y="777"/>
                  <a:pt x="1752" y="777"/>
                </a:cubicBezTo>
                <a:cubicBezTo>
                  <a:pt x="1752" y="778"/>
                  <a:pt x="1753" y="779"/>
                  <a:pt x="1754" y="779"/>
                </a:cubicBezTo>
                <a:close/>
                <a:moveTo>
                  <a:pt x="1933" y="1016"/>
                </a:moveTo>
                <a:cubicBezTo>
                  <a:pt x="1933" y="1016"/>
                  <a:pt x="1933" y="1016"/>
                  <a:pt x="1933" y="1016"/>
                </a:cubicBezTo>
                <a:cubicBezTo>
                  <a:pt x="1933" y="1016"/>
                  <a:pt x="1933" y="1016"/>
                  <a:pt x="1933" y="1016"/>
                </a:cubicBezTo>
                <a:cubicBezTo>
                  <a:pt x="1933" y="1018"/>
                  <a:pt x="1936" y="1019"/>
                  <a:pt x="1937" y="1019"/>
                </a:cubicBezTo>
                <a:cubicBezTo>
                  <a:pt x="1939" y="1019"/>
                  <a:pt x="1942" y="1016"/>
                  <a:pt x="1943" y="1014"/>
                </a:cubicBezTo>
                <a:cubicBezTo>
                  <a:pt x="1943" y="1014"/>
                  <a:pt x="1943" y="1014"/>
                  <a:pt x="1943" y="1014"/>
                </a:cubicBezTo>
                <a:cubicBezTo>
                  <a:pt x="1942" y="1014"/>
                  <a:pt x="1942" y="1014"/>
                  <a:pt x="1942" y="1014"/>
                </a:cubicBezTo>
                <a:cubicBezTo>
                  <a:pt x="1938" y="1014"/>
                  <a:pt x="1936" y="1014"/>
                  <a:pt x="1933" y="1016"/>
                </a:cubicBezTo>
                <a:close/>
                <a:moveTo>
                  <a:pt x="1894" y="298"/>
                </a:moveTo>
                <a:cubicBezTo>
                  <a:pt x="1893" y="298"/>
                  <a:pt x="1892" y="299"/>
                  <a:pt x="1891" y="300"/>
                </a:cubicBezTo>
                <a:cubicBezTo>
                  <a:pt x="1891" y="301"/>
                  <a:pt x="1890" y="302"/>
                  <a:pt x="1890" y="302"/>
                </a:cubicBezTo>
                <a:cubicBezTo>
                  <a:pt x="1889" y="302"/>
                  <a:pt x="1885" y="309"/>
                  <a:pt x="1885" y="310"/>
                </a:cubicBezTo>
                <a:cubicBezTo>
                  <a:pt x="1885" y="314"/>
                  <a:pt x="1888" y="315"/>
                  <a:pt x="1891" y="315"/>
                </a:cubicBezTo>
                <a:cubicBezTo>
                  <a:pt x="1896" y="315"/>
                  <a:pt x="1899" y="313"/>
                  <a:pt x="1902" y="311"/>
                </a:cubicBezTo>
                <a:cubicBezTo>
                  <a:pt x="1903" y="310"/>
                  <a:pt x="1904" y="310"/>
                  <a:pt x="1905" y="309"/>
                </a:cubicBezTo>
                <a:cubicBezTo>
                  <a:pt x="1905" y="309"/>
                  <a:pt x="1905" y="309"/>
                  <a:pt x="1905" y="309"/>
                </a:cubicBezTo>
                <a:cubicBezTo>
                  <a:pt x="1905" y="304"/>
                  <a:pt x="1905" y="304"/>
                  <a:pt x="1905" y="304"/>
                </a:cubicBezTo>
                <a:cubicBezTo>
                  <a:pt x="1904" y="304"/>
                  <a:pt x="1904" y="304"/>
                  <a:pt x="1904" y="304"/>
                </a:cubicBezTo>
                <a:cubicBezTo>
                  <a:pt x="1902" y="303"/>
                  <a:pt x="1901" y="302"/>
                  <a:pt x="1899" y="301"/>
                </a:cubicBezTo>
                <a:cubicBezTo>
                  <a:pt x="1898" y="300"/>
                  <a:pt x="1896" y="298"/>
                  <a:pt x="1894" y="298"/>
                </a:cubicBezTo>
                <a:close/>
                <a:moveTo>
                  <a:pt x="1993" y="296"/>
                </a:moveTo>
                <a:cubicBezTo>
                  <a:pt x="1993" y="296"/>
                  <a:pt x="1993" y="295"/>
                  <a:pt x="1993" y="295"/>
                </a:cubicBezTo>
                <a:cubicBezTo>
                  <a:pt x="1993" y="289"/>
                  <a:pt x="1986" y="284"/>
                  <a:pt x="1981" y="284"/>
                </a:cubicBezTo>
                <a:cubicBezTo>
                  <a:pt x="1979" y="284"/>
                  <a:pt x="1978" y="286"/>
                  <a:pt x="1978" y="288"/>
                </a:cubicBezTo>
                <a:cubicBezTo>
                  <a:pt x="1978" y="292"/>
                  <a:pt x="1985" y="297"/>
                  <a:pt x="1989" y="297"/>
                </a:cubicBezTo>
                <a:cubicBezTo>
                  <a:pt x="1989" y="297"/>
                  <a:pt x="1989" y="297"/>
                  <a:pt x="1989" y="297"/>
                </a:cubicBezTo>
                <a:cubicBezTo>
                  <a:pt x="1989" y="297"/>
                  <a:pt x="1992" y="297"/>
                  <a:pt x="1993" y="296"/>
                </a:cubicBezTo>
                <a:close/>
                <a:moveTo>
                  <a:pt x="2079" y="236"/>
                </a:moveTo>
                <a:cubicBezTo>
                  <a:pt x="2083" y="236"/>
                  <a:pt x="2090" y="233"/>
                  <a:pt x="2092" y="232"/>
                </a:cubicBezTo>
                <a:cubicBezTo>
                  <a:pt x="2092" y="232"/>
                  <a:pt x="2092" y="232"/>
                  <a:pt x="2092" y="232"/>
                </a:cubicBezTo>
                <a:cubicBezTo>
                  <a:pt x="2092" y="231"/>
                  <a:pt x="2092" y="231"/>
                  <a:pt x="2092" y="231"/>
                </a:cubicBezTo>
                <a:cubicBezTo>
                  <a:pt x="2091" y="230"/>
                  <a:pt x="2090" y="229"/>
                  <a:pt x="2089" y="228"/>
                </a:cubicBezTo>
                <a:cubicBezTo>
                  <a:pt x="2088" y="226"/>
                  <a:pt x="2086" y="224"/>
                  <a:pt x="2084" y="224"/>
                </a:cubicBezTo>
                <a:cubicBezTo>
                  <a:pt x="2081" y="224"/>
                  <a:pt x="2079" y="228"/>
                  <a:pt x="2079" y="232"/>
                </a:cubicBezTo>
                <a:cubicBezTo>
                  <a:pt x="2079" y="233"/>
                  <a:pt x="2079" y="233"/>
                  <a:pt x="2079" y="233"/>
                </a:cubicBezTo>
                <a:cubicBezTo>
                  <a:pt x="2078" y="234"/>
                  <a:pt x="2078" y="235"/>
                  <a:pt x="2079" y="235"/>
                </a:cubicBezTo>
                <a:lnTo>
                  <a:pt x="2079" y="236"/>
                </a:lnTo>
                <a:close/>
                <a:moveTo>
                  <a:pt x="2697" y="224"/>
                </a:moveTo>
                <a:cubicBezTo>
                  <a:pt x="2700" y="225"/>
                  <a:pt x="2702" y="225"/>
                  <a:pt x="2705" y="226"/>
                </a:cubicBezTo>
                <a:cubicBezTo>
                  <a:pt x="2709" y="226"/>
                  <a:pt x="2712" y="227"/>
                  <a:pt x="2715" y="229"/>
                </a:cubicBezTo>
                <a:cubicBezTo>
                  <a:pt x="2716" y="229"/>
                  <a:pt x="2716" y="229"/>
                  <a:pt x="2716" y="229"/>
                </a:cubicBezTo>
                <a:cubicBezTo>
                  <a:pt x="2725" y="229"/>
                  <a:pt x="2725" y="229"/>
                  <a:pt x="2725" y="229"/>
                </a:cubicBezTo>
                <a:cubicBezTo>
                  <a:pt x="2725" y="228"/>
                  <a:pt x="2725" y="228"/>
                  <a:pt x="2725" y="228"/>
                </a:cubicBezTo>
                <a:cubicBezTo>
                  <a:pt x="2725" y="220"/>
                  <a:pt x="2719" y="214"/>
                  <a:pt x="2710" y="214"/>
                </a:cubicBezTo>
                <a:cubicBezTo>
                  <a:pt x="2703" y="214"/>
                  <a:pt x="2699" y="219"/>
                  <a:pt x="2695" y="225"/>
                </a:cubicBezTo>
                <a:cubicBezTo>
                  <a:pt x="2696" y="225"/>
                  <a:pt x="2696" y="225"/>
                  <a:pt x="2696" y="225"/>
                </a:cubicBezTo>
                <a:lnTo>
                  <a:pt x="2697" y="224"/>
                </a:lnTo>
                <a:close/>
                <a:moveTo>
                  <a:pt x="2777" y="198"/>
                </a:moveTo>
                <a:cubicBezTo>
                  <a:pt x="2780" y="198"/>
                  <a:pt x="2791" y="197"/>
                  <a:pt x="2791" y="192"/>
                </a:cubicBezTo>
                <a:cubicBezTo>
                  <a:pt x="2791" y="191"/>
                  <a:pt x="2789" y="189"/>
                  <a:pt x="2787" y="189"/>
                </a:cubicBezTo>
                <a:cubicBezTo>
                  <a:pt x="2786" y="189"/>
                  <a:pt x="2754" y="184"/>
                  <a:pt x="2751" y="182"/>
                </a:cubicBezTo>
                <a:cubicBezTo>
                  <a:pt x="2751" y="182"/>
                  <a:pt x="2751" y="182"/>
                  <a:pt x="2751" y="182"/>
                </a:cubicBezTo>
                <a:cubicBezTo>
                  <a:pt x="2754" y="185"/>
                  <a:pt x="2754" y="185"/>
                  <a:pt x="2754" y="185"/>
                </a:cubicBezTo>
                <a:cubicBezTo>
                  <a:pt x="2754" y="194"/>
                  <a:pt x="2769" y="198"/>
                  <a:pt x="2777" y="198"/>
                </a:cubicBezTo>
                <a:close/>
                <a:moveTo>
                  <a:pt x="2704" y="210"/>
                </a:moveTo>
                <a:cubicBezTo>
                  <a:pt x="2704" y="207"/>
                  <a:pt x="2701" y="206"/>
                  <a:pt x="2699" y="206"/>
                </a:cubicBezTo>
                <a:cubicBezTo>
                  <a:pt x="2698" y="206"/>
                  <a:pt x="2697" y="206"/>
                  <a:pt x="2696" y="207"/>
                </a:cubicBezTo>
                <a:cubicBezTo>
                  <a:pt x="2695" y="207"/>
                  <a:pt x="2695" y="208"/>
                  <a:pt x="2695" y="210"/>
                </a:cubicBezTo>
                <a:cubicBezTo>
                  <a:pt x="2695" y="213"/>
                  <a:pt x="2695" y="215"/>
                  <a:pt x="2699" y="215"/>
                </a:cubicBezTo>
                <a:cubicBezTo>
                  <a:pt x="2701" y="215"/>
                  <a:pt x="2704" y="213"/>
                  <a:pt x="2704" y="210"/>
                </a:cubicBezTo>
                <a:close/>
                <a:moveTo>
                  <a:pt x="927" y="607"/>
                </a:moveTo>
                <a:cubicBezTo>
                  <a:pt x="927" y="607"/>
                  <a:pt x="927" y="607"/>
                  <a:pt x="927" y="607"/>
                </a:cubicBezTo>
                <a:cubicBezTo>
                  <a:pt x="927" y="607"/>
                  <a:pt x="927" y="607"/>
                  <a:pt x="927" y="607"/>
                </a:cubicBezTo>
                <a:cubicBezTo>
                  <a:pt x="926" y="606"/>
                  <a:pt x="924" y="605"/>
                  <a:pt x="923" y="604"/>
                </a:cubicBezTo>
                <a:cubicBezTo>
                  <a:pt x="918" y="600"/>
                  <a:pt x="913" y="596"/>
                  <a:pt x="905" y="598"/>
                </a:cubicBezTo>
                <a:cubicBezTo>
                  <a:pt x="904" y="598"/>
                  <a:pt x="904" y="598"/>
                  <a:pt x="904" y="598"/>
                </a:cubicBezTo>
                <a:cubicBezTo>
                  <a:pt x="905" y="599"/>
                  <a:pt x="905" y="599"/>
                  <a:pt x="905" y="599"/>
                </a:cubicBezTo>
                <a:cubicBezTo>
                  <a:pt x="913" y="606"/>
                  <a:pt x="919" y="609"/>
                  <a:pt x="922" y="609"/>
                </a:cubicBezTo>
                <a:cubicBezTo>
                  <a:pt x="925" y="609"/>
                  <a:pt x="926" y="609"/>
                  <a:pt x="927" y="607"/>
                </a:cubicBezTo>
                <a:close/>
                <a:moveTo>
                  <a:pt x="908" y="636"/>
                </a:moveTo>
                <a:cubicBezTo>
                  <a:pt x="908" y="636"/>
                  <a:pt x="908" y="636"/>
                  <a:pt x="908" y="636"/>
                </a:cubicBezTo>
                <a:cubicBezTo>
                  <a:pt x="908" y="636"/>
                  <a:pt x="908" y="636"/>
                  <a:pt x="908" y="636"/>
                </a:cubicBezTo>
                <a:cubicBezTo>
                  <a:pt x="907" y="636"/>
                  <a:pt x="906" y="637"/>
                  <a:pt x="906" y="639"/>
                </a:cubicBezTo>
                <a:cubicBezTo>
                  <a:pt x="906" y="642"/>
                  <a:pt x="918" y="648"/>
                  <a:pt x="920" y="648"/>
                </a:cubicBezTo>
                <a:cubicBezTo>
                  <a:pt x="921" y="648"/>
                  <a:pt x="924" y="646"/>
                  <a:pt x="924" y="644"/>
                </a:cubicBezTo>
                <a:cubicBezTo>
                  <a:pt x="924" y="641"/>
                  <a:pt x="924" y="641"/>
                  <a:pt x="924" y="641"/>
                </a:cubicBezTo>
                <a:cubicBezTo>
                  <a:pt x="915" y="641"/>
                  <a:pt x="915" y="641"/>
                  <a:pt x="915" y="641"/>
                </a:cubicBezTo>
                <a:cubicBezTo>
                  <a:pt x="911" y="641"/>
                  <a:pt x="909" y="639"/>
                  <a:pt x="908" y="636"/>
                </a:cubicBezTo>
                <a:close/>
                <a:moveTo>
                  <a:pt x="943" y="648"/>
                </a:moveTo>
                <a:cubicBezTo>
                  <a:pt x="943" y="645"/>
                  <a:pt x="943" y="645"/>
                  <a:pt x="943" y="645"/>
                </a:cubicBezTo>
                <a:cubicBezTo>
                  <a:pt x="943" y="645"/>
                  <a:pt x="943" y="645"/>
                  <a:pt x="943" y="645"/>
                </a:cubicBezTo>
                <a:cubicBezTo>
                  <a:pt x="940" y="645"/>
                  <a:pt x="940" y="645"/>
                  <a:pt x="940" y="644"/>
                </a:cubicBezTo>
                <a:cubicBezTo>
                  <a:pt x="940" y="643"/>
                  <a:pt x="940" y="643"/>
                  <a:pt x="940" y="643"/>
                </a:cubicBezTo>
                <a:cubicBezTo>
                  <a:pt x="940" y="642"/>
                  <a:pt x="941" y="641"/>
                  <a:pt x="941" y="640"/>
                </a:cubicBezTo>
                <a:cubicBezTo>
                  <a:pt x="941" y="639"/>
                  <a:pt x="940" y="638"/>
                  <a:pt x="940" y="638"/>
                </a:cubicBezTo>
                <a:cubicBezTo>
                  <a:pt x="939" y="636"/>
                  <a:pt x="939" y="636"/>
                  <a:pt x="939" y="636"/>
                </a:cubicBezTo>
                <a:cubicBezTo>
                  <a:pt x="939" y="636"/>
                  <a:pt x="939" y="636"/>
                  <a:pt x="939" y="636"/>
                </a:cubicBezTo>
                <a:cubicBezTo>
                  <a:pt x="938" y="636"/>
                  <a:pt x="938" y="636"/>
                  <a:pt x="938" y="636"/>
                </a:cubicBezTo>
                <a:cubicBezTo>
                  <a:pt x="935" y="637"/>
                  <a:pt x="931" y="646"/>
                  <a:pt x="931" y="648"/>
                </a:cubicBezTo>
                <a:cubicBezTo>
                  <a:pt x="931" y="651"/>
                  <a:pt x="933" y="653"/>
                  <a:pt x="936" y="653"/>
                </a:cubicBezTo>
                <a:cubicBezTo>
                  <a:pt x="940" y="653"/>
                  <a:pt x="943" y="651"/>
                  <a:pt x="943" y="648"/>
                </a:cubicBezTo>
                <a:close/>
                <a:moveTo>
                  <a:pt x="18" y="461"/>
                </a:moveTo>
                <a:cubicBezTo>
                  <a:pt x="18" y="457"/>
                  <a:pt x="17" y="455"/>
                  <a:pt x="13" y="455"/>
                </a:cubicBezTo>
                <a:cubicBezTo>
                  <a:pt x="12" y="455"/>
                  <a:pt x="12" y="455"/>
                  <a:pt x="12" y="455"/>
                </a:cubicBezTo>
                <a:cubicBezTo>
                  <a:pt x="11" y="455"/>
                  <a:pt x="10" y="455"/>
                  <a:pt x="8" y="457"/>
                </a:cubicBezTo>
                <a:cubicBezTo>
                  <a:pt x="3" y="457"/>
                  <a:pt x="3" y="457"/>
                  <a:pt x="3" y="457"/>
                </a:cubicBezTo>
                <a:cubicBezTo>
                  <a:pt x="4" y="458"/>
                  <a:pt x="4" y="458"/>
                  <a:pt x="4" y="458"/>
                </a:cubicBezTo>
                <a:cubicBezTo>
                  <a:pt x="4" y="459"/>
                  <a:pt x="5" y="460"/>
                  <a:pt x="6" y="461"/>
                </a:cubicBezTo>
                <a:cubicBezTo>
                  <a:pt x="8" y="461"/>
                  <a:pt x="8" y="461"/>
                  <a:pt x="8" y="461"/>
                </a:cubicBezTo>
                <a:cubicBezTo>
                  <a:pt x="8" y="462"/>
                  <a:pt x="8" y="462"/>
                  <a:pt x="8" y="462"/>
                </a:cubicBezTo>
                <a:cubicBezTo>
                  <a:pt x="18" y="462"/>
                  <a:pt x="18" y="462"/>
                  <a:pt x="18" y="462"/>
                </a:cubicBezTo>
                <a:cubicBezTo>
                  <a:pt x="18" y="461"/>
                  <a:pt x="18" y="461"/>
                  <a:pt x="18" y="461"/>
                </a:cubicBezTo>
                <a:close/>
              </a:path>
            </a:pathLst>
          </a:custGeom>
          <a:solidFill>
            <a:schemeClr val="accent1">
              <a:lumMod val="50000"/>
              <a:alpha val="30000"/>
            </a:schemeClr>
          </a:solidFill>
          <a:ln w="9525">
            <a:noFill/>
            <a:round/>
            <a:headEnd/>
            <a:tailEnd/>
          </a:ln>
          <a:extLst/>
        </p:spPr>
        <p:txBody>
          <a:bodyPr vert="horz" wrap="square" lIns="91381" tIns="45690" rIns="91381" bIns="45690" numCol="1" anchor="t" anchorCtr="0" compatLnSpc="1">
            <a:prstTxWarp prst="textNoShape">
              <a:avLst/>
            </a:prstTxWarp>
          </a:bodyPr>
          <a:lstStyle/>
          <a:p>
            <a:pPr defTabSz="1088306">
              <a:defRPr/>
            </a:pPr>
            <a:endParaRPr lang="de-DE" sz="1799" kern="0">
              <a:solidFill>
                <a:prstClr val="black"/>
              </a:solidFill>
              <a:latin typeface="CorpoS"/>
            </a:endParaRPr>
          </a:p>
        </p:txBody>
      </p:sp>
      <p:sp>
        <p:nvSpPr>
          <p:cNvPr id="250" name="Title 6"/>
          <p:cNvSpPr txBox="1">
            <a:spLocks/>
          </p:cNvSpPr>
          <p:nvPr/>
        </p:nvSpPr>
        <p:spPr bwMode="gray">
          <a:xfrm>
            <a:off x="-2346788" y="6220011"/>
            <a:ext cx="10932454" cy="935347"/>
          </a:xfrm>
          <a:prstGeom prst="rect">
            <a:avLst/>
          </a:prstGeom>
        </p:spPr>
        <p:txBody>
          <a:bodyPr vert="horz" lIns="0" tIns="0" rIns="0" bIns="0" rtlCol="0" anchor="t" anchorCtr="0">
            <a:noAutofit/>
          </a:bodyPr>
          <a:lstStyle>
            <a:lvl1pPr marL="0" indent="0" algn="l" defTabSz="1088415" rtl="0" eaLnBrk="1" latinLnBrk="0" hangingPunct="1">
              <a:lnSpc>
                <a:spcPts val="3998"/>
              </a:lnSpc>
              <a:spcBef>
                <a:spcPts val="0"/>
              </a:spcBef>
              <a:buFont typeface="Arial" panose="020B0604020202020204" pitchFamily="34" charset="0"/>
              <a:buNone/>
              <a:defRPr sz="3498" kern="1200" baseline="0">
                <a:solidFill>
                  <a:schemeClr val="tx1"/>
                </a:solidFill>
                <a:latin typeface="+mn-lt"/>
                <a:ea typeface="+mj-ea"/>
                <a:cs typeface="+mj-cs"/>
              </a:defRPr>
            </a:lvl1pPr>
          </a:lstStyle>
          <a:p>
            <a:pPr lvl="0">
              <a:lnSpc>
                <a:spcPct val="80000"/>
              </a:lnSpc>
            </a:pPr>
            <a:endParaRPr lang="en-US" sz="2799" b="1" dirty="0">
              <a:latin typeface="CorpoS"/>
            </a:endParaRPr>
          </a:p>
        </p:txBody>
      </p:sp>
      <p:sp>
        <p:nvSpPr>
          <p:cNvPr id="37" name="Oval 262"/>
          <p:cNvSpPr/>
          <p:nvPr/>
        </p:nvSpPr>
        <p:spPr bwMode="gray">
          <a:xfrm>
            <a:off x="5209917" y="1516855"/>
            <a:ext cx="1822188" cy="1821661"/>
          </a:xfrm>
          <a:prstGeom prst="ellipse">
            <a:avLst/>
          </a:prstGeom>
          <a:solidFill>
            <a:schemeClr val="accent1">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endParaRPr lang="en-US" sz="1799"/>
          </a:p>
        </p:txBody>
      </p:sp>
      <p:sp>
        <p:nvSpPr>
          <p:cNvPr id="38" name="Oval 263"/>
          <p:cNvSpPr/>
          <p:nvPr/>
        </p:nvSpPr>
        <p:spPr bwMode="gray">
          <a:xfrm>
            <a:off x="5332901" y="1639805"/>
            <a:ext cx="1576220" cy="1575764"/>
          </a:xfrm>
          <a:prstGeom prst="ellipse">
            <a:avLst/>
          </a:prstGeom>
          <a:solidFill>
            <a:srgbClr val="00547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endParaRPr lang="en-US" sz="1799"/>
          </a:p>
        </p:txBody>
      </p:sp>
      <p:sp>
        <p:nvSpPr>
          <p:cNvPr id="39" name="TextBox 264"/>
          <p:cNvSpPr txBox="1"/>
          <p:nvPr/>
        </p:nvSpPr>
        <p:spPr bwMode="gray">
          <a:xfrm>
            <a:off x="5489504" y="2205219"/>
            <a:ext cx="1263012" cy="444935"/>
          </a:xfrm>
          <a:prstGeom prst="rect">
            <a:avLst/>
          </a:prstGeom>
          <a:solidFill>
            <a:srgbClr val="005478"/>
          </a:solidFill>
          <a:ln w="9525">
            <a:noFill/>
            <a:miter lim="800000"/>
            <a:headEnd/>
            <a:tailEnd/>
          </a:ln>
        </p:spPr>
        <p:txBody>
          <a:bodyPr wrap="square" lIns="0" tIns="0" rIns="0" bIns="0" rtlCol="0" anchor="ctr" anchorCtr="0">
            <a:noAutofit/>
          </a:bodyPr>
          <a:lstStyle>
            <a:defPPr>
              <a:defRPr lang="de-DE"/>
            </a:defPPr>
            <a:lvl1pPr algn="ctr" fontAlgn="base">
              <a:spcBef>
                <a:spcPct val="0"/>
              </a:spcBef>
              <a:spcAft>
                <a:spcPct val="0"/>
              </a:spcAft>
              <a:defRPr sz="3200" b="1">
                <a:solidFill>
                  <a:schemeClr val="accent2"/>
                </a:solidFill>
                <a:cs typeface="Daimler CS"/>
              </a:defRPr>
            </a:lvl1pPr>
          </a:lstStyle>
          <a:p>
            <a:pPr defTabSz="1088306"/>
            <a:r>
              <a:rPr lang="de-DE" sz="2400" dirty="0">
                <a:solidFill>
                  <a:schemeClr val="bg1"/>
                </a:solidFill>
                <a:latin typeface="CorpoS"/>
              </a:rPr>
              <a:t>42%</a:t>
            </a:r>
            <a:endParaRPr lang="en-US" sz="2400" dirty="0">
              <a:solidFill>
                <a:schemeClr val="bg1"/>
              </a:solidFill>
              <a:latin typeface="CorpoS"/>
            </a:endParaRPr>
          </a:p>
        </p:txBody>
      </p:sp>
      <p:sp>
        <p:nvSpPr>
          <p:cNvPr id="42" name="Oval 268"/>
          <p:cNvSpPr/>
          <p:nvPr/>
        </p:nvSpPr>
        <p:spPr bwMode="gray">
          <a:xfrm>
            <a:off x="8343694" y="3776335"/>
            <a:ext cx="1231554" cy="1231198"/>
          </a:xfrm>
          <a:prstGeom prst="ellipse">
            <a:avLst/>
          </a:prstGeom>
          <a:solidFill>
            <a:schemeClr val="accent1">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endParaRPr lang="en-US" sz="1799"/>
          </a:p>
        </p:txBody>
      </p:sp>
      <p:sp>
        <p:nvSpPr>
          <p:cNvPr id="43" name="Oval 269"/>
          <p:cNvSpPr/>
          <p:nvPr/>
        </p:nvSpPr>
        <p:spPr bwMode="gray">
          <a:xfrm>
            <a:off x="8454536" y="3887145"/>
            <a:ext cx="1009868" cy="1009576"/>
          </a:xfrm>
          <a:prstGeom prst="ellipse">
            <a:avLst/>
          </a:prstGeom>
          <a:solidFill>
            <a:srgbClr val="00547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endParaRPr lang="en-US" sz="1799">
              <a:solidFill>
                <a:srgbClr val="FFFF00"/>
              </a:solidFill>
            </a:endParaRPr>
          </a:p>
        </p:txBody>
      </p:sp>
      <p:sp>
        <p:nvSpPr>
          <p:cNvPr id="44" name="TextBox 270"/>
          <p:cNvSpPr txBox="1"/>
          <p:nvPr/>
        </p:nvSpPr>
        <p:spPr bwMode="gray">
          <a:xfrm>
            <a:off x="8327964" y="4169467"/>
            <a:ext cx="1263012" cy="444935"/>
          </a:xfrm>
          <a:prstGeom prst="rect">
            <a:avLst/>
          </a:prstGeom>
          <a:noFill/>
          <a:ln w="9525">
            <a:noFill/>
            <a:miter lim="800000"/>
            <a:headEnd/>
            <a:tailEnd/>
          </a:ln>
        </p:spPr>
        <p:txBody>
          <a:bodyPr wrap="square" lIns="0" tIns="0" rIns="0" bIns="0" rtlCol="0" anchor="ctr" anchorCtr="0">
            <a:noAutofit/>
          </a:bodyPr>
          <a:lstStyle>
            <a:defPPr>
              <a:defRPr lang="de-DE"/>
            </a:defPPr>
            <a:lvl1pPr algn="ctr" fontAlgn="base">
              <a:spcBef>
                <a:spcPct val="0"/>
              </a:spcBef>
              <a:spcAft>
                <a:spcPct val="0"/>
              </a:spcAft>
              <a:defRPr sz="3200" b="1">
                <a:solidFill>
                  <a:schemeClr val="accent2"/>
                </a:solidFill>
                <a:cs typeface="Daimler CS"/>
              </a:defRPr>
            </a:lvl1pPr>
          </a:lstStyle>
          <a:p>
            <a:pPr defTabSz="1088306"/>
            <a:r>
              <a:rPr lang="de-DE" sz="2400" dirty="0">
                <a:solidFill>
                  <a:schemeClr val="bg1"/>
                </a:solidFill>
                <a:latin typeface="CorpoS"/>
              </a:rPr>
              <a:t>12%</a:t>
            </a:r>
            <a:endParaRPr lang="en-US" sz="2400" dirty="0">
              <a:solidFill>
                <a:schemeClr val="bg1"/>
              </a:solidFill>
              <a:latin typeface="CorpoS"/>
            </a:endParaRPr>
          </a:p>
        </p:txBody>
      </p:sp>
      <p:sp>
        <p:nvSpPr>
          <p:cNvPr id="45" name="Oval 268"/>
          <p:cNvSpPr/>
          <p:nvPr/>
        </p:nvSpPr>
        <p:spPr bwMode="gray">
          <a:xfrm>
            <a:off x="8027332" y="2579039"/>
            <a:ext cx="1116668" cy="1116346"/>
          </a:xfrm>
          <a:prstGeom prst="ellipse">
            <a:avLst/>
          </a:prstGeom>
          <a:solidFill>
            <a:schemeClr val="accent1">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endParaRPr lang="en-US" sz="1799"/>
          </a:p>
        </p:txBody>
      </p:sp>
      <p:sp>
        <p:nvSpPr>
          <p:cNvPr id="40" name="Oval 265"/>
          <p:cNvSpPr/>
          <p:nvPr/>
        </p:nvSpPr>
        <p:spPr bwMode="gray">
          <a:xfrm>
            <a:off x="8148986" y="2700657"/>
            <a:ext cx="873360" cy="873107"/>
          </a:xfrm>
          <a:prstGeom prst="ellipse">
            <a:avLst/>
          </a:prstGeom>
          <a:solidFill>
            <a:srgbClr val="00547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endParaRPr lang="en-US" sz="1799"/>
          </a:p>
        </p:txBody>
      </p:sp>
      <p:sp>
        <p:nvSpPr>
          <p:cNvPr id="41" name="TextBox 267"/>
          <p:cNvSpPr txBox="1"/>
          <p:nvPr/>
        </p:nvSpPr>
        <p:spPr bwMode="gray">
          <a:xfrm>
            <a:off x="7954160" y="2918984"/>
            <a:ext cx="1263012" cy="444935"/>
          </a:xfrm>
          <a:prstGeom prst="rect">
            <a:avLst/>
          </a:prstGeom>
          <a:noFill/>
          <a:ln w="9525">
            <a:noFill/>
            <a:miter lim="800000"/>
            <a:headEnd/>
            <a:tailEnd/>
          </a:ln>
        </p:spPr>
        <p:txBody>
          <a:bodyPr wrap="square" lIns="0" tIns="0" rIns="0" bIns="0" rtlCol="0" anchor="ctr" anchorCtr="0">
            <a:noAutofit/>
          </a:bodyPr>
          <a:lstStyle>
            <a:defPPr>
              <a:defRPr lang="de-DE"/>
            </a:defPPr>
            <a:lvl1pPr algn="ctr" fontAlgn="base">
              <a:spcBef>
                <a:spcPct val="0"/>
              </a:spcBef>
              <a:spcAft>
                <a:spcPct val="0"/>
              </a:spcAft>
              <a:defRPr sz="3200" b="1">
                <a:solidFill>
                  <a:schemeClr val="accent2"/>
                </a:solidFill>
                <a:cs typeface="Daimler CS"/>
              </a:defRPr>
            </a:lvl1pPr>
          </a:lstStyle>
          <a:p>
            <a:pPr defTabSz="1088306"/>
            <a:r>
              <a:rPr lang="de-DE" sz="2399" dirty="0">
                <a:solidFill>
                  <a:schemeClr val="bg1"/>
                </a:solidFill>
                <a:latin typeface="CorpoS"/>
              </a:rPr>
              <a:t>10%</a:t>
            </a:r>
            <a:endParaRPr lang="en-US" sz="2399" dirty="0">
              <a:solidFill>
                <a:schemeClr val="bg1"/>
              </a:solidFill>
              <a:latin typeface="CorpoS"/>
            </a:endParaRPr>
          </a:p>
        </p:txBody>
      </p:sp>
      <p:sp>
        <p:nvSpPr>
          <p:cNvPr id="46" name="TextBox 223"/>
          <p:cNvSpPr txBox="1"/>
          <p:nvPr/>
        </p:nvSpPr>
        <p:spPr bwMode="gray">
          <a:xfrm>
            <a:off x="9172878" y="3264503"/>
            <a:ext cx="1035719" cy="444935"/>
          </a:xfrm>
          <a:prstGeom prst="rect">
            <a:avLst/>
          </a:prstGeom>
          <a:noFill/>
          <a:ln w="9525">
            <a:noFill/>
            <a:miter lim="800000"/>
            <a:headEnd/>
            <a:tailEnd/>
          </a:ln>
        </p:spPr>
        <p:txBody>
          <a:bodyPr wrap="square" lIns="0" tIns="0" rIns="0" bIns="0" rtlCol="0" anchor="ctr" anchorCtr="0">
            <a:noAutofit/>
          </a:bodyPr>
          <a:lstStyle>
            <a:defPPr>
              <a:defRPr lang="de-DE"/>
            </a:defPPr>
            <a:lvl1pPr algn="ctr" fontAlgn="base">
              <a:spcBef>
                <a:spcPct val="0"/>
              </a:spcBef>
              <a:spcAft>
                <a:spcPct val="0"/>
              </a:spcAft>
              <a:defRPr sz="3200" b="1">
                <a:solidFill>
                  <a:schemeClr val="accent2"/>
                </a:solidFill>
                <a:cs typeface="Daimler CS"/>
              </a:defRPr>
            </a:lvl1pPr>
          </a:lstStyle>
          <a:p>
            <a:pPr defTabSz="1088306">
              <a:lnSpc>
                <a:spcPct val="70000"/>
              </a:lnSpc>
            </a:pPr>
            <a:r>
              <a:rPr lang="ru-RU" sz="1800" dirty="0" smtClean="0">
                <a:solidFill>
                  <a:schemeClr val="accent1">
                    <a:lumMod val="50000"/>
                  </a:schemeClr>
                </a:solidFill>
                <a:latin typeface="CorpoS"/>
              </a:rPr>
              <a:t>КИТАЙ</a:t>
            </a:r>
            <a:endParaRPr lang="de-DE" sz="1800" dirty="0">
              <a:solidFill>
                <a:schemeClr val="accent1">
                  <a:lumMod val="50000"/>
                </a:schemeClr>
              </a:solidFill>
              <a:latin typeface="CorpoS"/>
            </a:endParaRPr>
          </a:p>
        </p:txBody>
      </p:sp>
      <p:sp>
        <p:nvSpPr>
          <p:cNvPr id="26" name="Oval 262"/>
          <p:cNvSpPr/>
          <p:nvPr/>
        </p:nvSpPr>
        <p:spPr bwMode="gray">
          <a:xfrm>
            <a:off x="2065652" y="2255074"/>
            <a:ext cx="1822188" cy="1821661"/>
          </a:xfrm>
          <a:prstGeom prst="ellipse">
            <a:avLst/>
          </a:prstGeom>
          <a:solidFill>
            <a:schemeClr val="accent1">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endParaRPr lang="en-US" sz="1799"/>
          </a:p>
        </p:txBody>
      </p:sp>
      <p:sp>
        <p:nvSpPr>
          <p:cNvPr id="27" name="Oval 263"/>
          <p:cNvSpPr/>
          <p:nvPr/>
        </p:nvSpPr>
        <p:spPr bwMode="gray">
          <a:xfrm>
            <a:off x="2188636" y="2378023"/>
            <a:ext cx="1576220" cy="1575764"/>
          </a:xfrm>
          <a:prstGeom prst="ellipse">
            <a:avLst/>
          </a:prstGeom>
          <a:solidFill>
            <a:srgbClr val="00547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endParaRPr lang="en-US" sz="1799"/>
          </a:p>
        </p:txBody>
      </p:sp>
      <p:sp>
        <p:nvSpPr>
          <p:cNvPr id="28" name="TextBox 264"/>
          <p:cNvSpPr txBox="1"/>
          <p:nvPr/>
        </p:nvSpPr>
        <p:spPr bwMode="gray">
          <a:xfrm>
            <a:off x="2345239" y="2943438"/>
            <a:ext cx="1263012" cy="444935"/>
          </a:xfrm>
          <a:prstGeom prst="rect">
            <a:avLst/>
          </a:prstGeom>
          <a:noFill/>
          <a:ln w="9525">
            <a:noFill/>
            <a:miter lim="800000"/>
            <a:headEnd/>
            <a:tailEnd/>
          </a:ln>
        </p:spPr>
        <p:txBody>
          <a:bodyPr wrap="square" lIns="0" tIns="0" rIns="0" bIns="0" rtlCol="0" anchor="ctr" anchorCtr="0">
            <a:noAutofit/>
          </a:bodyPr>
          <a:lstStyle>
            <a:defPPr>
              <a:defRPr lang="de-DE"/>
            </a:defPPr>
            <a:lvl1pPr algn="ctr" fontAlgn="base">
              <a:spcBef>
                <a:spcPct val="0"/>
              </a:spcBef>
              <a:spcAft>
                <a:spcPct val="0"/>
              </a:spcAft>
              <a:defRPr sz="3200" b="1">
                <a:solidFill>
                  <a:schemeClr val="accent2"/>
                </a:solidFill>
                <a:cs typeface="Daimler CS"/>
              </a:defRPr>
            </a:lvl1pPr>
          </a:lstStyle>
          <a:p>
            <a:pPr defTabSz="1088306"/>
            <a:r>
              <a:rPr lang="de-DE" sz="2400" dirty="0">
                <a:solidFill>
                  <a:schemeClr val="bg1"/>
                </a:solidFill>
                <a:latin typeface="CorpoS"/>
              </a:rPr>
              <a:t>36%</a:t>
            </a:r>
            <a:endParaRPr lang="en-US" sz="2400" dirty="0">
              <a:solidFill>
                <a:schemeClr val="bg1"/>
              </a:solidFill>
              <a:latin typeface="CorpoS"/>
            </a:endParaRPr>
          </a:p>
        </p:txBody>
      </p:sp>
      <p:sp>
        <p:nvSpPr>
          <p:cNvPr id="29" name="Textfeld 28"/>
          <p:cNvSpPr txBox="1"/>
          <p:nvPr/>
        </p:nvSpPr>
        <p:spPr bwMode="auto">
          <a:xfrm>
            <a:off x="1499046" y="4236550"/>
            <a:ext cx="3238313" cy="469595"/>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ru-RU" sz="2800" b="1" dirty="0" smtClean="0">
                <a:solidFill>
                  <a:srgbClr val="FFFF00"/>
                </a:solidFill>
                <a:latin typeface="CorpoS" pitchFamily="2" charset="0"/>
                <a:ea typeface="CorporateS-Regular" charset="0"/>
                <a:cs typeface="CorporateS-Regular" charset="0"/>
              </a:rPr>
              <a:t>ЛОЯЛЬНОСТЬ</a:t>
            </a:r>
            <a:endParaRPr lang="de-DE" sz="1600" b="1" dirty="0">
              <a:solidFill>
                <a:srgbClr val="FFFF00"/>
              </a:solidFill>
              <a:latin typeface="CorpoS" pitchFamily="2" charset="0"/>
              <a:ea typeface="CorporateS-Regular" charset="0"/>
              <a:cs typeface="CorporateS-Regular" charset="0"/>
            </a:endParaRPr>
          </a:p>
        </p:txBody>
      </p:sp>
      <p:sp>
        <p:nvSpPr>
          <p:cNvPr id="30" name="Textfeld 29"/>
          <p:cNvSpPr txBox="1"/>
          <p:nvPr/>
        </p:nvSpPr>
        <p:spPr bwMode="auto">
          <a:xfrm>
            <a:off x="2345239" y="4796397"/>
            <a:ext cx="3238313" cy="469595"/>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ru-RU" sz="2000" b="1" dirty="0" smtClean="0">
                <a:solidFill>
                  <a:schemeClr val="bg1"/>
                </a:solidFill>
                <a:latin typeface="CorpoS" pitchFamily="2" charset="0"/>
                <a:ea typeface="CorporateS-Regular" charset="0"/>
                <a:cs typeface="CorporateS-Regular" charset="0"/>
              </a:rPr>
              <a:t>ПОДДЕРЖКА ПРОДАЖ</a:t>
            </a:r>
            <a:endParaRPr lang="de-DE" sz="1200" b="1" dirty="0">
              <a:solidFill>
                <a:schemeClr val="bg1"/>
              </a:solidFill>
              <a:latin typeface="CorpoS" pitchFamily="2" charset="0"/>
              <a:ea typeface="CorporateS-Regular" charset="0"/>
              <a:cs typeface="CorporateS-Regular" charset="0"/>
            </a:endParaRPr>
          </a:p>
        </p:txBody>
      </p:sp>
      <p:sp>
        <p:nvSpPr>
          <p:cNvPr id="31" name="Textfeld 30"/>
          <p:cNvSpPr txBox="1"/>
          <p:nvPr/>
        </p:nvSpPr>
        <p:spPr bwMode="auto">
          <a:xfrm>
            <a:off x="2947422" y="5343847"/>
            <a:ext cx="3238313" cy="469595"/>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ru-RU" sz="2000" b="1" dirty="0" smtClean="0">
                <a:solidFill>
                  <a:srgbClr val="FFFF00"/>
                </a:solidFill>
                <a:latin typeface="CorpoS" pitchFamily="2" charset="0"/>
                <a:ea typeface="CorporateS-Regular" charset="0"/>
                <a:cs typeface="CorporateS-Regular" charset="0"/>
              </a:rPr>
              <a:t>УДЕРЖАНИЕ ПРИБЫЛИ</a:t>
            </a:r>
            <a:endParaRPr lang="de-DE" sz="1200" b="1" dirty="0">
              <a:solidFill>
                <a:srgbClr val="FFFF00"/>
              </a:solidFill>
              <a:latin typeface="CorpoS" pitchFamily="2" charset="0"/>
              <a:ea typeface="CorporateS-Regular" charset="0"/>
              <a:cs typeface="CorporateS-Regular" charset="0"/>
            </a:endParaRPr>
          </a:p>
        </p:txBody>
      </p:sp>
      <p:sp>
        <p:nvSpPr>
          <p:cNvPr id="32" name="Textfeld 31"/>
          <p:cNvSpPr txBox="1"/>
          <p:nvPr/>
        </p:nvSpPr>
        <p:spPr bwMode="auto">
          <a:xfrm>
            <a:off x="3608251" y="5913991"/>
            <a:ext cx="3238313" cy="469595"/>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ru-RU" sz="2000" b="1" dirty="0" smtClean="0">
                <a:solidFill>
                  <a:schemeClr val="bg1"/>
                </a:solidFill>
                <a:latin typeface="CorpoS" pitchFamily="2" charset="0"/>
                <a:ea typeface="CorporateS-Regular" charset="0"/>
                <a:cs typeface="CorporateS-Regular" charset="0"/>
              </a:rPr>
              <a:t>СОЗДАНИЕ ПРИБЫЛИ</a:t>
            </a:r>
            <a:endParaRPr lang="de-DE" sz="1200" b="1" dirty="0">
              <a:solidFill>
                <a:schemeClr val="bg1"/>
              </a:solidFill>
              <a:latin typeface="CorpoS" pitchFamily="2" charset="0"/>
              <a:ea typeface="CorporateS-Regular" charset="0"/>
              <a:cs typeface="CorporateS-Regular" charset="0"/>
            </a:endParaRPr>
          </a:p>
        </p:txBody>
      </p:sp>
      <p:sp>
        <p:nvSpPr>
          <p:cNvPr id="33" name="Rechteck 32"/>
          <p:cNvSpPr/>
          <p:nvPr/>
        </p:nvSpPr>
        <p:spPr bwMode="gray">
          <a:xfrm>
            <a:off x="216000" y="431999"/>
            <a:ext cx="11528329" cy="828000"/>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7306"/>
            <a:r>
              <a:rPr lang="ru-RU" sz="2800" b="1" dirty="0" smtClean="0">
                <a:solidFill>
                  <a:schemeClr val="bg1"/>
                </a:solidFill>
                <a:latin typeface="CorpoS" pitchFamily="2" charset="0"/>
              </a:rPr>
              <a:t>ПОД НАШИМ УПРАВЛЕНИЕМ ПОРТФОЛИО В</a:t>
            </a:r>
            <a:r>
              <a:rPr lang="en-US" sz="2800" b="1" dirty="0" smtClean="0">
                <a:solidFill>
                  <a:schemeClr val="bg1"/>
                </a:solidFill>
                <a:latin typeface="CorpoS" pitchFamily="2" charset="0"/>
              </a:rPr>
              <a:t> 154</a:t>
            </a:r>
            <a:r>
              <a:rPr lang="ru-RU" sz="2800" b="1" dirty="0" smtClean="0">
                <a:solidFill>
                  <a:schemeClr val="bg1"/>
                </a:solidFill>
                <a:latin typeface="CorpoS" pitchFamily="2" charset="0"/>
              </a:rPr>
              <a:t> МЛРД ЕВРО В </a:t>
            </a:r>
            <a:r>
              <a:rPr lang="en-US" sz="2800" b="1" dirty="0" smtClean="0">
                <a:solidFill>
                  <a:schemeClr val="bg1"/>
                </a:solidFill>
                <a:latin typeface="CorpoS" pitchFamily="2" charset="0"/>
              </a:rPr>
              <a:t> </a:t>
            </a:r>
            <a:r>
              <a:rPr lang="en-US" sz="2800" b="1" dirty="0">
                <a:solidFill>
                  <a:srgbClr val="FFFF00"/>
                </a:solidFill>
                <a:latin typeface="CorpoS" pitchFamily="2" charset="0"/>
              </a:rPr>
              <a:t>40 </a:t>
            </a:r>
            <a:r>
              <a:rPr lang="ru-RU" sz="2800" b="1" dirty="0" smtClean="0">
                <a:solidFill>
                  <a:srgbClr val="FFFF00"/>
                </a:solidFill>
                <a:latin typeface="CorpoS" pitchFamily="2" charset="0"/>
              </a:rPr>
              <a:t>СТРАНАХ</a:t>
            </a:r>
            <a:endParaRPr lang="de-DE" sz="2800" b="1" dirty="0">
              <a:solidFill>
                <a:srgbClr val="FFFF00"/>
              </a:solidFill>
              <a:latin typeface="CorpoS" pitchFamily="2" charset="0"/>
              <a:ea typeface="MS Mincho" panose="02020609040205080304" pitchFamily="49" charset="-128"/>
              <a:cs typeface="Helvetica" panose="020B0604020202020204" pitchFamily="34" charset="0"/>
            </a:endParaRPr>
          </a:p>
        </p:txBody>
      </p:sp>
      <p:sp>
        <p:nvSpPr>
          <p:cNvPr id="34" name="TextBox 223"/>
          <p:cNvSpPr txBox="1"/>
          <p:nvPr/>
        </p:nvSpPr>
        <p:spPr bwMode="gray">
          <a:xfrm>
            <a:off x="7373346" y="4718241"/>
            <a:ext cx="1649000" cy="444935"/>
          </a:xfrm>
          <a:prstGeom prst="rect">
            <a:avLst/>
          </a:prstGeom>
          <a:noFill/>
          <a:ln w="9525">
            <a:noFill/>
            <a:miter lim="800000"/>
            <a:headEnd/>
            <a:tailEnd/>
          </a:ln>
        </p:spPr>
        <p:txBody>
          <a:bodyPr wrap="square" lIns="0" tIns="0" rIns="0" bIns="0" rtlCol="0" anchor="ctr" anchorCtr="0">
            <a:noAutofit/>
          </a:bodyPr>
          <a:lstStyle>
            <a:defPPr>
              <a:defRPr lang="de-DE"/>
            </a:defPPr>
            <a:lvl1pPr algn="ctr" fontAlgn="base">
              <a:spcBef>
                <a:spcPct val="0"/>
              </a:spcBef>
              <a:spcAft>
                <a:spcPct val="0"/>
              </a:spcAft>
              <a:defRPr sz="3200" b="1">
                <a:solidFill>
                  <a:schemeClr val="accent2"/>
                </a:solidFill>
                <a:cs typeface="Daimler CS"/>
              </a:defRPr>
            </a:lvl1pPr>
          </a:lstStyle>
          <a:p>
            <a:pPr algn="l" defTabSz="1088306">
              <a:lnSpc>
                <a:spcPct val="70000"/>
              </a:lnSpc>
            </a:pPr>
            <a:r>
              <a:rPr lang="ru-RU" sz="1800" dirty="0" smtClean="0">
                <a:solidFill>
                  <a:schemeClr val="accent1">
                    <a:lumMod val="50000"/>
                  </a:schemeClr>
                </a:solidFill>
                <a:latin typeface="CorpoS" pitchFamily="2" charset="0"/>
              </a:rPr>
              <a:t>АФРИКА И АТР</a:t>
            </a:r>
            <a:endParaRPr lang="en-US" sz="1800" dirty="0">
              <a:solidFill>
                <a:schemeClr val="accent1">
                  <a:lumMod val="50000"/>
                </a:schemeClr>
              </a:solidFill>
              <a:latin typeface="CorpoS" pitchFamily="2" charset="0"/>
            </a:endParaRPr>
          </a:p>
        </p:txBody>
      </p:sp>
      <p:sp>
        <p:nvSpPr>
          <p:cNvPr id="35" name="TextBox 223"/>
          <p:cNvSpPr txBox="1"/>
          <p:nvPr/>
        </p:nvSpPr>
        <p:spPr bwMode="gray">
          <a:xfrm>
            <a:off x="4277042" y="2751451"/>
            <a:ext cx="1113064" cy="444935"/>
          </a:xfrm>
          <a:prstGeom prst="rect">
            <a:avLst/>
          </a:prstGeom>
          <a:noFill/>
          <a:ln w="9525">
            <a:noFill/>
            <a:miter lim="800000"/>
            <a:headEnd/>
            <a:tailEnd/>
          </a:ln>
        </p:spPr>
        <p:txBody>
          <a:bodyPr wrap="square" lIns="0" tIns="0" rIns="0" bIns="0" rtlCol="0" anchor="ctr" anchorCtr="0">
            <a:noAutofit/>
          </a:bodyPr>
          <a:lstStyle>
            <a:defPPr>
              <a:defRPr lang="de-DE"/>
            </a:defPPr>
            <a:lvl1pPr algn="ctr" fontAlgn="base">
              <a:spcBef>
                <a:spcPct val="0"/>
              </a:spcBef>
              <a:spcAft>
                <a:spcPct val="0"/>
              </a:spcAft>
              <a:defRPr sz="3200" b="1">
                <a:solidFill>
                  <a:schemeClr val="accent2"/>
                </a:solidFill>
                <a:cs typeface="Daimler CS"/>
              </a:defRPr>
            </a:lvl1pPr>
          </a:lstStyle>
          <a:p>
            <a:pPr defTabSz="1088306">
              <a:lnSpc>
                <a:spcPct val="70000"/>
              </a:lnSpc>
            </a:pPr>
            <a:r>
              <a:rPr lang="ru-RU" sz="1800" dirty="0" smtClean="0">
                <a:solidFill>
                  <a:schemeClr val="accent1">
                    <a:lumMod val="50000"/>
                  </a:schemeClr>
                </a:solidFill>
                <a:latin typeface="CorpoS"/>
              </a:rPr>
              <a:t>ЕВРОПА</a:t>
            </a:r>
            <a:endParaRPr lang="de-DE" sz="1800" dirty="0">
              <a:solidFill>
                <a:schemeClr val="accent1">
                  <a:lumMod val="50000"/>
                </a:schemeClr>
              </a:solidFill>
              <a:latin typeface="CorpoS"/>
            </a:endParaRPr>
          </a:p>
        </p:txBody>
      </p:sp>
      <p:sp>
        <p:nvSpPr>
          <p:cNvPr id="36" name="TextBox 223"/>
          <p:cNvSpPr txBox="1"/>
          <p:nvPr/>
        </p:nvSpPr>
        <p:spPr bwMode="gray">
          <a:xfrm>
            <a:off x="993165" y="3103253"/>
            <a:ext cx="1407987" cy="444935"/>
          </a:xfrm>
          <a:prstGeom prst="rect">
            <a:avLst/>
          </a:prstGeom>
          <a:noFill/>
          <a:ln w="9525">
            <a:noFill/>
            <a:miter lim="800000"/>
            <a:headEnd/>
            <a:tailEnd/>
          </a:ln>
        </p:spPr>
        <p:txBody>
          <a:bodyPr wrap="square" lIns="0" tIns="0" rIns="0" bIns="0" rtlCol="0" anchor="ctr" anchorCtr="0">
            <a:noAutofit/>
          </a:bodyPr>
          <a:lstStyle>
            <a:defPPr>
              <a:defRPr lang="de-DE"/>
            </a:defPPr>
            <a:lvl1pPr algn="ctr" fontAlgn="base">
              <a:spcBef>
                <a:spcPct val="0"/>
              </a:spcBef>
              <a:spcAft>
                <a:spcPct val="0"/>
              </a:spcAft>
              <a:defRPr sz="3200" b="1">
                <a:solidFill>
                  <a:schemeClr val="accent2"/>
                </a:solidFill>
                <a:cs typeface="Daimler CS"/>
              </a:defRPr>
            </a:lvl1pPr>
          </a:lstStyle>
          <a:p>
            <a:pPr algn="l" defTabSz="1088306">
              <a:lnSpc>
                <a:spcPct val="70000"/>
              </a:lnSpc>
            </a:pPr>
            <a:r>
              <a:rPr lang="ru-RU" sz="1800" dirty="0" smtClean="0">
                <a:solidFill>
                  <a:schemeClr val="accent1">
                    <a:lumMod val="50000"/>
                  </a:schemeClr>
                </a:solidFill>
                <a:latin typeface="CorpoS"/>
              </a:rPr>
              <a:t>СЕВЕРНАЯ И ЮЖНАЯ АМЕРИКА</a:t>
            </a:r>
            <a:endParaRPr lang="en-US" sz="2000" dirty="0">
              <a:solidFill>
                <a:schemeClr val="accent1">
                  <a:lumMod val="50000"/>
                </a:schemeClr>
              </a:solidFill>
              <a:latin typeface="CorpoS"/>
            </a:endParaRPr>
          </a:p>
        </p:txBody>
      </p:sp>
      <p:sp>
        <p:nvSpPr>
          <p:cNvPr id="47" name="Textfeld 46"/>
          <p:cNvSpPr txBox="1"/>
          <p:nvPr/>
        </p:nvSpPr>
        <p:spPr bwMode="auto">
          <a:xfrm>
            <a:off x="5465423" y="6476831"/>
            <a:ext cx="5858270" cy="138499"/>
          </a:xfrm>
          <a:prstGeom prst="rect">
            <a:avLst/>
          </a:prstGeom>
          <a:noFill/>
          <a:ln w="9525">
            <a:noFill/>
            <a:miter lim="800000"/>
            <a:headEnd/>
            <a:tailEnd/>
          </a:ln>
        </p:spPr>
        <p:txBody>
          <a:bodyPr wrap="square" lIns="0" tIns="0" rIns="0" bIns="0" rtlCol="0" anchor="t" anchorCtr="0">
            <a:spAutoFit/>
          </a:bodyPr>
          <a:lstStyle/>
          <a:p>
            <a:pPr algn="r" defTabSz="913943" fontAlgn="base">
              <a:spcBef>
                <a:spcPct val="0"/>
              </a:spcBef>
              <a:spcAft>
                <a:spcPct val="0"/>
              </a:spcAft>
            </a:pPr>
            <a:r>
              <a:rPr lang="en-US" sz="900" b="1" dirty="0" smtClean="0">
                <a:solidFill>
                  <a:schemeClr val="tx1">
                    <a:alpha val="61000"/>
                  </a:schemeClr>
                </a:solidFill>
                <a:latin typeface="CorpoS"/>
                <a:cs typeface="Daimler CS"/>
              </a:rPr>
              <a:t>YTD DECEMBER 2018</a:t>
            </a:r>
            <a:endParaRPr lang="en-US" sz="900" b="1" dirty="0">
              <a:solidFill>
                <a:schemeClr val="tx1">
                  <a:alpha val="61000"/>
                </a:schemeClr>
              </a:solidFill>
              <a:latin typeface="CorpoS"/>
              <a:cs typeface="Daimler CS"/>
            </a:endParaRPr>
          </a:p>
        </p:txBody>
      </p:sp>
    </p:spTree>
    <p:extLst>
      <p:ext uri="{BB962C8B-B14F-4D97-AF65-F5344CB8AC3E}">
        <p14:creationId xmlns:p14="http://schemas.microsoft.com/office/powerpoint/2010/main" val="500546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kt 40" hidden="1"/>
          <p:cNvGraphicFramePr>
            <a:graphicFrameLocks noChangeAspect="1"/>
          </p:cNvGraphicFramePr>
          <p:nvPr>
            <p:custDataLst>
              <p:tags r:id="rId2"/>
            </p:custDataLst>
            <p:extLst/>
          </p:nvPr>
        </p:nvGraphicFramePr>
        <p:xfrm>
          <a:off x="1587" y="2579"/>
          <a:ext cx="1587" cy="1587"/>
        </p:xfrm>
        <a:graphic>
          <a:graphicData uri="http://schemas.openxmlformats.org/presentationml/2006/ole">
            <mc:AlternateContent xmlns:mc="http://schemas.openxmlformats.org/markup-compatibility/2006">
              <mc:Choice xmlns:v="urn:schemas-microsoft-com:vml" Requires="v">
                <p:oleObj spid="_x0000_s230474" name="think-cell Folie" r:id="rId21" imgW="270" imgH="270" progId="TCLayout.ActiveDocument.1">
                  <p:embed/>
                </p:oleObj>
              </mc:Choice>
              <mc:Fallback>
                <p:oleObj name="think-cell Folie" r:id="rId21" imgW="270" imgH="270" progId="TCLayout.ActiveDocument.1">
                  <p:embed/>
                  <p:pic>
                    <p:nvPicPr>
                      <p:cNvPr id="0" name=""/>
                      <p:cNvPicPr/>
                      <p:nvPr/>
                    </p:nvPicPr>
                    <p:blipFill>
                      <a:blip r:embed="rId22"/>
                      <a:stretch>
                        <a:fillRect/>
                      </a:stretch>
                    </p:blipFill>
                    <p:spPr>
                      <a:xfrm>
                        <a:off x="1587" y="2579"/>
                        <a:ext cx="1587" cy="1587"/>
                      </a:xfrm>
                      <a:prstGeom prst="rect">
                        <a:avLst/>
                      </a:prstGeom>
                    </p:spPr>
                  </p:pic>
                </p:oleObj>
              </mc:Fallback>
            </mc:AlternateContent>
          </a:graphicData>
        </a:graphic>
      </p:graphicFrame>
      <p:sp>
        <p:nvSpPr>
          <p:cNvPr id="34" name="Rechteck 33" hidden="1"/>
          <p:cNvSpPr/>
          <p:nvPr>
            <p:custDataLst>
              <p:tags r:id="rId3"/>
            </p:custDataLst>
          </p:nvPr>
        </p:nvSpPr>
        <p:spPr>
          <a:xfrm>
            <a:off x="0" y="992"/>
            <a:ext cx="158667" cy="1586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111200"/>
              </a:lnSpc>
              <a:spcBef>
                <a:spcPct val="0"/>
              </a:spcBef>
              <a:spcAft>
                <a:spcPct val="0"/>
              </a:spcAft>
            </a:pPr>
            <a:endParaRPr lang="de-DE" sz="1399" dirty="0">
              <a:sym typeface="+mn-lt"/>
            </a:endParaRPr>
          </a:p>
        </p:txBody>
      </p:sp>
      <p:sp>
        <p:nvSpPr>
          <p:cNvPr id="2" name="Titel 1"/>
          <p:cNvSpPr>
            <a:spLocks noGrp="1"/>
          </p:cNvSpPr>
          <p:nvPr>
            <p:ph type="title"/>
          </p:nvPr>
        </p:nvSpPr>
        <p:spPr/>
        <p:txBody>
          <a:bodyPr/>
          <a:lstStyle/>
          <a:p>
            <a:endParaRPr lang="en-US"/>
          </a:p>
        </p:txBody>
      </p:sp>
      <p:sp>
        <p:nvSpPr>
          <p:cNvPr id="4" name="Foliennummernplatzhalter 3"/>
          <p:cNvSpPr>
            <a:spLocks noGrp="1"/>
          </p:cNvSpPr>
          <p:nvPr>
            <p:ph type="sldNum" sz="quarter" idx="4294967295"/>
          </p:nvPr>
        </p:nvSpPr>
        <p:spPr>
          <a:xfrm>
            <a:off x="11036804" y="6563973"/>
            <a:ext cx="1155196" cy="215888"/>
          </a:xfrm>
          <a:prstGeom prst="rect">
            <a:avLst/>
          </a:prstGeom>
        </p:spPr>
        <p:txBody>
          <a:bodyPr/>
          <a:lstStyle/>
          <a:p>
            <a:r>
              <a:rPr lang="en-GB" smtClean="0"/>
              <a:t>Page </a:t>
            </a:r>
            <a:fld id="{52531704-8F80-415D-BD2B-6B9991AE822F}" type="slidenum">
              <a:rPr lang="en-GB" smtClean="0"/>
              <a:pPr/>
              <a:t>7</a:t>
            </a:fld>
            <a:endParaRPr lang="en-GB" dirty="0"/>
          </a:p>
        </p:txBody>
      </p:sp>
      <p:pic>
        <p:nvPicPr>
          <p:cNvPr id="5" name="Picture 2" descr="C:\Users\Moliza Azizaj\Desktop\parkplatz1.jpg"/>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a:stretch/>
        </p:blipFill>
        <p:spPr bwMode="gray">
          <a:xfrm flipH="1" flipV="1">
            <a:off x="9396327" y="-1352"/>
            <a:ext cx="2795673" cy="443101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Moliza Azizaj\Desktop\parkplatz1.jpg"/>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r="-16242"/>
          <a:stretch/>
        </p:blipFill>
        <p:spPr bwMode="gray">
          <a:xfrm>
            <a:off x="0" y="992"/>
            <a:ext cx="12192000" cy="4431019"/>
          </a:xfrm>
          <a:prstGeom prst="rect">
            <a:avLst/>
          </a:prstGeom>
          <a:noFill/>
          <a:extLst>
            <a:ext uri="{909E8E84-426E-40DD-AFC4-6F175D3DCCD1}">
              <a14:hiddenFill xmlns:a14="http://schemas.microsoft.com/office/drawing/2010/main">
                <a:solidFill>
                  <a:srgbClr val="FFFFFF"/>
                </a:solidFill>
              </a14:hiddenFill>
            </a:ext>
          </a:extLst>
        </p:spPr>
      </p:pic>
      <p:sp>
        <p:nvSpPr>
          <p:cNvPr id="7" name="Freeform: Shape 65"/>
          <p:cNvSpPr/>
          <p:nvPr/>
        </p:nvSpPr>
        <p:spPr bwMode="gray">
          <a:xfrm rot="10800000" flipH="1" flipV="1">
            <a:off x="0" y="3250547"/>
            <a:ext cx="12192000" cy="3728477"/>
          </a:xfrm>
          <a:custGeom>
            <a:avLst/>
            <a:gdLst>
              <a:gd name="connsiteX0" fmla="*/ 12198350 w 12198350"/>
              <a:gd name="connsiteY0" fmla="*/ 0 h 4121748"/>
              <a:gd name="connsiteX1" fmla="*/ 12198350 w 12198350"/>
              <a:gd name="connsiteY1" fmla="*/ 4121748 h 4121748"/>
              <a:gd name="connsiteX2" fmla="*/ 0 w 12198350"/>
              <a:gd name="connsiteY2" fmla="*/ 4121748 h 4121748"/>
              <a:gd name="connsiteX3" fmla="*/ 0 w 12198350"/>
              <a:gd name="connsiteY3" fmla="*/ 619946 h 4121748"/>
            </a:gdLst>
            <a:ahLst/>
            <a:cxnLst>
              <a:cxn ang="0">
                <a:pos x="connsiteX0" y="connsiteY0"/>
              </a:cxn>
              <a:cxn ang="0">
                <a:pos x="connsiteX1" y="connsiteY1"/>
              </a:cxn>
              <a:cxn ang="0">
                <a:pos x="connsiteX2" y="connsiteY2"/>
              </a:cxn>
              <a:cxn ang="0">
                <a:pos x="connsiteX3" y="connsiteY3"/>
              </a:cxn>
            </a:cxnLst>
            <a:rect l="l" t="t" r="r" b="b"/>
            <a:pathLst>
              <a:path w="12198350" h="4121748">
                <a:moveTo>
                  <a:pt x="12198350" y="0"/>
                </a:moveTo>
                <a:lnTo>
                  <a:pt x="12198350" y="4121748"/>
                </a:lnTo>
                <a:lnTo>
                  <a:pt x="0" y="4121748"/>
                </a:lnTo>
                <a:lnTo>
                  <a:pt x="0" y="619946"/>
                </a:lnTo>
                <a:close/>
              </a:path>
            </a:pathLst>
          </a:custGeom>
          <a:solidFill>
            <a:schemeClr val="accent1">
              <a:lumMod val="20000"/>
              <a:lumOff val="80000"/>
            </a:schemeClr>
          </a:solidFill>
          <a:ln w="25400" cap="flat" cmpd="sng" algn="ctr">
            <a:noFill/>
            <a:prstDash val="solid"/>
          </a:ln>
          <a:effectLst/>
        </p:spPr>
        <p:txBody>
          <a:bodyPr lIns="91429" tIns="45714" rIns="91429" bIns="45714" rtlCol="0" anchor="ctr"/>
          <a:lstStyle/>
          <a:p>
            <a:pPr algn="ctr" defTabSz="1088306">
              <a:defRPr/>
            </a:pPr>
            <a:endParaRPr lang="en-US" sz="1799" kern="0">
              <a:solidFill>
                <a:prstClr val="white"/>
              </a:solidFill>
            </a:endParaRPr>
          </a:p>
        </p:txBody>
      </p:sp>
      <p:sp>
        <p:nvSpPr>
          <p:cNvPr id="9" name="Textfeld 8"/>
          <p:cNvSpPr txBox="1"/>
          <p:nvPr/>
        </p:nvSpPr>
        <p:spPr bwMode="gray">
          <a:xfrm>
            <a:off x="1632923" y="4160817"/>
            <a:ext cx="3030054" cy="366254"/>
          </a:xfrm>
          <a:prstGeom prst="rect">
            <a:avLst/>
          </a:prstGeom>
          <a:noFill/>
          <a:ln w="9525">
            <a:noFill/>
            <a:miter lim="800000"/>
            <a:headEnd/>
            <a:tailEnd/>
          </a:ln>
        </p:spPr>
        <p:txBody>
          <a:bodyPr wrap="square" lIns="0" tIns="0" rIns="0" bIns="0" rtlCol="0" anchor="t" anchorCtr="0">
            <a:spAutoFit/>
          </a:bodyPr>
          <a:lstStyle/>
          <a:p>
            <a:pPr algn="ctr" fontAlgn="base">
              <a:lnSpc>
                <a:spcPct val="85000"/>
              </a:lnSpc>
              <a:spcBef>
                <a:spcPct val="0"/>
              </a:spcBef>
              <a:spcAft>
                <a:spcPct val="0"/>
              </a:spcAft>
            </a:pPr>
            <a:r>
              <a:rPr lang="ru-RU" sz="1400" b="1" dirty="0" smtClean="0">
                <a:solidFill>
                  <a:srgbClr val="005478"/>
                </a:solidFill>
                <a:latin typeface="CorpoS" pitchFamily="2" charset="0"/>
                <a:cs typeface="Daimler CS"/>
              </a:rPr>
              <a:t>ОХВАТ ПО СЕГМЕНТАМ АВТОРЫНКА</a:t>
            </a:r>
            <a:endParaRPr lang="en-US" sz="1400" dirty="0">
              <a:solidFill>
                <a:srgbClr val="005478"/>
              </a:solidFill>
              <a:latin typeface="CorpoS" pitchFamily="2" charset="0"/>
              <a:cs typeface="Daimler CS"/>
            </a:endParaRPr>
          </a:p>
        </p:txBody>
      </p:sp>
      <p:sp>
        <p:nvSpPr>
          <p:cNvPr id="10" name="Rechteck 9">
            <a:extLst>
              <a:ext uri="{FF2B5EF4-FFF2-40B4-BE49-F238E27FC236}">
                <a16:creationId xmlns:a16="http://schemas.microsoft.com/office/drawing/2014/main" id="{A598DBB6-03F7-4F2C-8C47-7B7279133F32}"/>
              </a:ext>
            </a:extLst>
          </p:cNvPr>
          <p:cNvSpPr/>
          <p:nvPr/>
        </p:nvSpPr>
        <p:spPr bwMode="gray">
          <a:xfrm>
            <a:off x="4320823" y="4148706"/>
            <a:ext cx="342155" cy="1865516"/>
          </a:xfrm>
          <a:prstGeom prst="rect">
            <a:avLst/>
          </a:prstGeom>
          <a:solidFill>
            <a:srgbClr val="0054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5995" rIns="0" bIns="0" rtlCol="0" anchor="t" anchorCtr="0"/>
          <a:lstStyle/>
          <a:p>
            <a:pPr algn="ctr"/>
            <a:r>
              <a:rPr lang="de-DE" sz="1199" b="1" dirty="0">
                <a:solidFill>
                  <a:srgbClr val="FFFF00"/>
                </a:solidFill>
                <a:latin typeface="CorpoS" pitchFamily="2" charset="0"/>
              </a:rPr>
              <a:t>56%</a:t>
            </a:r>
          </a:p>
        </p:txBody>
      </p:sp>
      <p:sp>
        <p:nvSpPr>
          <p:cNvPr id="11" name="Rechteck 10">
            <a:extLst>
              <a:ext uri="{FF2B5EF4-FFF2-40B4-BE49-F238E27FC236}">
                <a16:creationId xmlns:a16="http://schemas.microsoft.com/office/drawing/2014/main" id="{864103B2-9E95-414F-8D6C-7CC6AA50C53D}"/>
              </a:ext>
            </a:extLst>
          </p:cNvPr>
          <p:cNvSpPr/>
          <p:nvPr/>
        </p:nvSpPr>
        <p:spPr bwMode="gray">
          <a:xfrm>
            <a:off x="2528890" y="4611687"/>
            <a:ext cx="342155" cy="1360807"/>
          </a:xfrm>
          <a:prstGeom prst="rect">
            <a:avLst/>
          </a:prstGeom>
          <a:solidFill>
            <a:srgbClr val="0054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5995" rIns="0" bIns="0" rtlCol="0" anchor="t" anchorCtr="0"/>
          <a:lstStyle/>
          <a:p>
            <a:pPr algn="ctr"/>
            <a:r>
              <a:rPr lang="de-DE" sz="1199" b="1" dirty="0">
                <a:solidFill>
                  <a:srgbClr val="FFFF00"/>
                </a:solidFill>
                <a:latin typeface="CorpoS" pitchFamily="2" charset="0"/>
              </a:rPr>
              <a:t>41%</a:t>
            </a:r>
          </a:p>
        </p:txBody>
      </p:sp>
      <p:sp>
        <p:nvSpPr>
          <p:cNvPr id="12" name="Rechteck 11">
            <a:extLst>
              <a:ext uri="{FF2B5EF4-FFF2-40B4-BE49-F238E27FC236}">
                <a16:creationId xmlns:a16="http://schemas.microsoft.com/office/drawing/2014/main" id="{4D9733CA-B377-4C38-A21F-634EE97262EA}"/>
              </a:ext>
            </a:extLst>
          </p:cNvPr>
          <p:cNvSpPr/>
          <p:nvPr/>
        </p:nvSpPr>
        <p:spPr bwMode="gray">
          <a:xfrm>
            <a:off x="1632923" y="4956518"/>
            <a:ext cx="342155" cy="805035"/>
          </a:xfrm>
          <a:prstGeom prst="rect">
            <a:avLst/>
          </a:prstGeom>
          <a:solidFill>
            <a:srgbClr val="0054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5995" rIns="0" bIns="0" rtlCol="0" anchor="t" anchorCtr="0"/>
          <a:lstStyle/>
          <a:p>
            <a:pPr algn="ctr"/>
            <a:r>
              <a:rPr lang="de-DE" sz="1199" b="1" dirty="0">
                <a:solidFill>
                  <a:srgbClr val="FFFF00"/>
                </a:solidFill>
                <a:latin typeface="CorpoS" pitchFamily="2" charset="0"/>
              </a:rPr>
              <a:t>35%</a:t>
            </a:r>
          </a:p>
        </p:txBody>
      </p:sp>
      <p:sp>
        <p:nvSpPr>
          <p:cNvPr id="13" name="Rechteck 12">
            <a:extLst>
              <a:ext uri="{FF2B5EF4-FFF2-40B4-BE49-F238E27FC236}">
                <a16:creationId xmlns:a16="http://schemas.microsoft.com/office/drawing/2014/main" id="{E3D3F7AB-983A-4874-8DBF-E982A0294565}"/>
              </a:ext>
            </a:extLst>
          </p:cNvPr>
          <p:cNvSpPr/>
          <p:nvPr/>
        </p:nvSpPr>
        <p:spPr bwMode="gray">
          <a:xfrm>
            <a:off x="3387599" y="5114859"/>
            <a:ext cx="342155" cy="723214"/>
          </a:xfrm>
          <a:prstGeom prst="rect">
            <a:avLst/>
          </a:prstGeom>
          <a:solidFill>
            <a:srgbClr val="00547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5995" rIns="0" bIns="0" rtlCol="0" anchor="t" anchorCtr="0"/>
          <a:lstStyle/>
          <a:p>
            <a:pPr algn="ctr"/>
            <a:r>
              <a:rPr lang="de-DE" sz="1199" b="1" dirty="0">
                <a:solidFill>
                  <a:srgbClr val="FFFF00"/>
                </a:solidFill>
                <a:latin typeface="CorpoS" pitchFamily="2" charset="0"/>
              </a:rPr>
              <a:t>25%</a:t>
            </a:r>
          </a:p>
        </p:txBody>
      </p:sp>
      <p:pic>
        <p:nvPicPr>
          <p:cNvPr id="32" name="Picture 2" descr="C:\Users\Philipp Maisch\Desktop\fleet.png">
            <a:extLst>
              <a:ext uri="{FF2B5EF4-FFF2-40B4-BE49-F238E27FC236}">
                <a16:creationId xmlns:a16="http://schemas.microsoft.com/office/drawing/2014/main" id="{CA027B4A-4981-4283-8BC6-F6A8D902A94A}"/>
              </a:ext>
            </a:extLst>
          </p:cNvPr>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8775" t="37909" r="18702"/>
          <a:stretch/>
        </p:blipFill>
        <p:spPr bwMode="gray">
          <a:xfrm>
            <a:off x="1124843" y="5218487"/>
            <a:ext cx="4408910" cy="156466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0" name="Chart 3"/>
          <p:cNvGraphicFramePr/>
          <p:nvPr>
            <p:custDataLst>
              <p:tags r:id="rId4"/>
            </p:custDataLst>
            <p:extLst>
              <p:ext uri="{D42A27DB-BD31-4B8C-83A1-F6EECF244321}">
                <p14:modId xmlns:p14="http://schemas.microsoft.com/office/powerpoint/2010/main" val="2159663599"/>
              </p:ext>
            </p:extLst>
          </p:nvPr>
        </p:nvGraphicFramePr>
        <p:xfrm>
          <a:off x="5581918" y="3632888"/>
          <a:ext cx="6497429" cy="2464104"/>
        </p:xfrm>
        <a:graphic>
          <a:graphicData uri="http://schemas.openxmlformats.org/drawingml/2006/chart">
            <c:chart xmlns:c="http://schemas.openxmlformats.org/drawingml/2006/chart" xmlns:r="http://schemas.openxmlformats.org/officeDocument/2006/relationships" r:id="rId26"/>
          </a:graphicData>
        </a:graphic>
      </p:graphicFrame>
      <p:sp>
        <p:nvSpPr>
          <p:cNvPr id="60" name="Textplatzhalter 2"/>
          <p:cNvSpPr>
            <a:spLocks noGrp="1"/>
          </p:cNvSpPr>
          <p:nvPr>
            <p:custDataLst>
              <p:tags r:id="rId5"/>
            </p:custDataLst>
          </p:nvPr>
        </p:nvSpPr>
        <p:spPr bwMode="auto">
          <a:xfrm>
            <a:off x="8872679" y="6073192"/>
            <a:ext cx="369695" cy="23641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376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1pPr>
            <a:lvl2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2pPr>
            <a:lvl3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3pPr>
            <a:lvl4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4pPr>
            <a:lvl5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5pPr>
            <a:lvl6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a:lstStyle>
          <a:p>
            <a:pPr marL="0" indent="0" algn="ctr">
              <a:lnSpc>
                <a:spcPct val="111200"/>
              </a:lnSpc>
              <a:spcBef>
                <a:spcPct val="0"/>
              </a:spcBef>
              <a:spcAft>
                <a:spcPct val="0"/>
              </a:spcAft>
              <a:buNone/>
            </a:pPr>
            <a:fld id="{CA90D3DF-486F-4214-AF41-855E12B258D6}" type="datetime'''''''''''''''''''''''''20''''''''12'''''''''''''''''''''">
              <a:rPr lang="de-DE" altLang="en-US" sz="1399">
                <a:solidFill>
                  <a:srgbClr val="005478"/>
                </a:solidFill>
                <a:latin typeface="CorpoS" pitchFamily="2" charset="0"/>
              </a:rPr>
              <a:pPr marL="0" indent="0" algn="ctr">
                <a:lnSpc>
                  <a:spcPct val="111200"/>
                </a:lnSpc>
                <a:spcBef>
                  <a:spcPct val="0"/>
                </a:spcBef>
                <a:spcAft>
                  <a:spcPct val="0"/>
                </a:spcAft>
                <a:buNone/>
              </a:pPr>
              <a:t>2012</a:t>
            </a:fld>
            <a:endParaRPr lang="de-DE" sz="1399" dirty="0">
              <a:solidFill>
                <a:srgbClr val="005478"/>
              </a:solidFill>
              <a:latin typeface="CorpoS" pitchFamily="2" charset="0"/>
              <a:sym typeface="+mn-lt"/>
            </a:endParaRPr>
          </a:p>
        </p:txBody>
      </p:sp>
      <p:sp>
        <p:nvSpPr>
          <p:cNvPr id="58" name="Textplatzhalter 2"/>
          <p:cNvSpPr>
            <a:spLocks noGrp="1"/>
          </p:cNvSpPr>
          <p:nvPr>
            <p:custDataLst>
              <p:tags r:id="rId6"/>
            </p:custDataLst>
          </p:nvPr>
        </p:nvSpPr>
        <p:spPr bwMode="auto">
          <a:xfrm>
            <a:off x="7965102" y="6073192"/>
            <a:ext cx="372869" cy="23641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376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1pPr>
            <a:lvl2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2pPr>
            <a:lvl3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3pPr>
            <a:lvl4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4pPr>
            <a:lvl5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5pPr>
            <a:lvl6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a:lstStyle>
          <a:p>
            <a:pPr marL="0" indent="0" algn="ctr">
              <a:lnSpc>
                <a:spcPct val="111200"/>
              </a:lnSpc>
              <a:spcBef>
                <a:spcPct val="0"/>
              </a:spcBef>
              <a:spcAft>
                <a:spcPct val="0"/>
              </a:spcAft>
              <a:buNone/>
            </a:pPr>
            <a:fld id="{46B38E3E-4DAB-4A2D-9EA2-4A9639C7F051}" type="datetime'''''''''''''20''''''''''''''''''1''''''0'''''''''''''''''''">
              <a:rPr lang="de-DE" altLang="en-US" sz="1399">
                <a:solidFill>
                  <a:srgbClr val="005478"/>
                </a:solidFill>
                <a:latin typeface="CorpoS" pitchFamily="2" charset="0"/>
              </a:rPr>
              <a:pPr marL="0" indent="0" algn="ctr">
                <a:lnSpc>
                  <a:spcPct val="111200"/>
                </a:lnSpc>
                <a:spcBef>
                  <a:spcPct val="0"/>
                </a:spcBef>
                <a:spcAft>
                  <a:spcPct val="0"/>
                </a:spcAft>
                <a:buNone/>
              </a:pPr>
              <a:t>2010</a:t>
            </a:fld>
            <a:endParaRPr lang="de-DE" sz="1399" dirty="0">
              <a:solidFill>
                <a:srgbClr val="005478"/>
              </a:solidFill>
              <a:latin typeface="CorpoS" pitchFamily="2" charset="0"/>
              <a:sym typeface="+mn-lt"/>
            </a:endParaRPr>
          </a:p>
        </p:txBody>
      </p:sp>
      <p:sp>
        <p:nvSpPr>
          <p:cNvPr id="57" name="Textplatzhalter 2"/>
          <p:cNvSpPr>
            <a:spLocks noGrp="1"/>
          </p:cNvSpPr>
          <p:nvPr>
            <p:custDataLst>
              <p:tags r:id="rId7"/>
            </p:custDataLst>
          </p:nvPr>
        </p:nvSpPr>
        <p:spPr bwMode="auto">
          <a:xfrm>
            <a:off x="7501793" y="6073192"/>
            <a:ext cx="393495" cy="23641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376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1pPr>
            <a:lvl2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2pPr>
            <a:lvl3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3pPr>
            <a:lvl4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4pPr>
            <a:lvl5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5pPr>
            <a:lvl6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a:lstStyle>
          <a:p>
            <a:pPr marL="0" indent="0" algn="ctr">
              <a:lnSpc>
                <a:spcPct val="111200"/>
              </a:lnSpc>
              <a:spcBef>
                <a:spcPct val="0"/>
              </a:spcBef>
              <a:spcAft>
                <a:spcPct val="0"/>
              </a:spcAft>
              <a:buNone/>
            </a:pPr>
            <a:fld id="{C85DAFAF-FF92-4F6C-834F-1744C7B52EAA}" type="datetime'''''''''2''''0''''0''''''''''''''''''''''''''''''9'''''''''''">
              <a:rPr lang="de-DE" altLang="en-US" sz="1399">
                <a:solidFill>
                  <a:srgbClr val="005478"/>
                </a:solidFill>
                <a:latin typeface="CorpoS" pitchFamily="2" charset="0"/>
              </a:rPr>
              <a:pPr marL="0" indent="0" algn="ctr">
                <a:lnSpc>
                  <a:spcPct val="111200"/>
                </a:lnSpc>
                <a:spcBef>
                  <a:spcPct val="0"/>
                </a:spcBef>
                <a:spcAft>
                  <a:spcPct val="0"/>
                </a:spcAft>
                <a:buNone/>
              </a:pPr>
              <a:t>2009</a:t>
            </a:fld>
            <a:endParaRPr lang="de-DE" sz="1399" dirty="0">
              <a:solidFill>
                <a:srgbClr val="005478"/>
              </a:solidFill>
              <a:latin typeface="CorpoS" pitchFamily="2" charset="0"/>
              <a:sym typeface="+mn-lt"/>
            </a:endParaRPr>
          </a:p>
        </p:txBody>
      </p:sp>
      <p:sp>
        <p:nvSpPr>
          <p:cNvPr id="46" name="Textplatzhalter 2"/>
          <p:cNvSpPr>
            <a:spLocks noGrp="1"/>
          </p:cNvSpPr>
          <p:nvPr>
            <p:custDataLst>
              <p:tags r:id="rId8"/>
            </p:custDataLst>
          </p:nvPr>
        </p:nvSpPr>
        <p:spPr bwMode="auto">
          <a:xfrm>
            <a:off x="5692985" y="6073192"/>
            <a:ext cx="393495" cy="23641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376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1pPr>
            <a:lvl2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2pPr>
            <a:lvl3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3pPr>
            <a:lvl4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4pPr>
            <a:lvl5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5pPr>
            <a:lvl6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a:lstStyle>
          <a:p>
            <a:pPr marL="0" indent="0" algn="ctr">
              <a:lnSpc>
                <a:spcPct val="111200"/>
              </a:lnSpc>
              <a:spcBef>
                <a:spcPct val="0"/>
              </a:spcBef>
              <a:spcAft>
                <a:spcPct val="0"/>
              </a:spcAft>
              <a:buNone/>
            </a:pPr>
            <a:fld id="{CDD28185-4E14-4191-AA82-201BD4D3CD8F}" type="datetime'''''''''''''''''''''''''''2''''0''0''''''5'''''">
              <a:rPr lang="de-DE" altLang="en-US" sz="1399">
                <a:solidFill>
                  <a:srgbClr val="005478"/>
                </a:solidFill>
                <a:latin typeface="CorpoS" pitchFamily="2" charset="0"/>
              </a:rPr>
              <a:pPr marL="0" indent="0" algn="ctr">
                <a:lnSpc>
                  <a:spcPct val="111200"/>
                </a:lnSpc>
                <a:spcBef>
                  <a:spcPct val="0"/>
                </a:spcBef>
                <a:spcAft>
                  <a:spcPct val="0"/>
                </a:spcAft>
                <a:buNone/>
              </a:pPr>
              <a:t>2005</a:t>
            </a:fld>
            <a:endParaRPr lang="de-DE" sz="1399" dirty="0">
              <a:solidFill>
                <a:srgbClr val="005478"/>
              </a:solidFill>
              <a:latin typeface="CorpoS" pitchFamily="2" charset="0"/>
              <a:sym typeface="+mn-lt"/>
            </a:endParaRPr>
          </a:p>
        </p:txBody>
      </p:sp>
      <p:sp>
        <p:nvSpPr>
          <p:cNvPr id="59" name="Textplatzhalter 2"/>
          <p:cNvSpPr>
            <a:spLocks noGrp="1"/>
          </p:cNvSpPr>
          <p:nvPr>
            <p:custDataLst>
              <p:tags r:id="rId9"/>
            </p:custDataLst>
          </p:nvPr>
        </p:nvSpPr>
        <p:spPr bwMode="auto">
          <a:xfrm>
            <a:off x="8423651" y="6073192"/>
            <a:ext cx="358588" cy="23641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376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1pPr>
            <a:lvl2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2pPr>
            <a:lvl3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3pPr>
            <a:lvl4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4pPr>
            <a:lvl5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5pPr>
            <a:lvl6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a:lstStyle>
          <a:p>
            <a:pPr marL="0" indent="0" algn="ctr">
              <a:lnSpc>
                <a:spcPct val="111200"/>
              </a:lnSpc>
              <a:spcBef>
                <a:spcPct val="0"/>
              </a:spcBef>
              <a:spcAft>
                <a:spcPct val="0"/>
              </a:spcAft>
              <a:buNone/>
            </a:pPr>
            <a:fld id="{8AA1C95C-F671-4BA8-95D0-39045A4E9C28}" type="datetime'''''''''''''''''''''2''''''''01''''''''''''''''1'''''''''''">
              <a:rPr lang="de-DE" altLang="en-US" sz="1399">
                <a:solidFill>
                  <a:srgbClr val="005478"/>
                </a:solidFill>
                <a:latin typeface="CorpoS" pitchFamily="2" charset="0"/>
              </a:rPr>
              <a:pPr marL="0" indent="0" algn="ctr">
                <a:lnSpc>
                  <a:spcPct val="111200"/>
                </a:lnSpc>
                <a:spcBef>
                  <a:spcPct val="0"/>
                </a:spcBef>
                <a:spcAft>
                  <a:spcPct val="0"/>
                </a:spcAft>
                <a:buNone/>
              </a:pPr>
              <a:t>2011</a:t>
            </a:fld>
            <a:endParaRPr lang="de-DE" sz="1399" dirty="0">
              <a:solidFill>
                <a:srgbClr val="005478"/>
              </a:solidFill>
              <a:latin typeface="CorpoS" pitchFamily="2" charset="0"/>
              <a:sym typeface="+mn-lt"/>
            </a:endParaRPr>
          </a:p>
        </p:txBody>
      </p:sp>
      <p:sp>
        <p:nvSpPr>
          <p:cNvPr id="47" name="Textplatzhalter 2"/>
          <p:cNvSpPr>
            <a:spLocks noGrp="1"/>
          </p:cNvSpPr>
          <p:nvPr>
            <p:custDataLst>
              <p:tags r:id="rId10"/>
            </p:custDataLst>
          </p:nvPr>
        </p:nvSpPr>
        <p:spPr bwMode="auto">
          <a:xfrm>
            <a:off x="6145187" y="6073192"/>
            <a:ext cx="393495" cy="23641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376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1pPr>
            <a:lvl2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2pPr>
            <a:lvl3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3pPr>
            <a:lvl4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4pPr>
            <a:lvl5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5pPr>
            <a:lvl6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a:lstStyle>
          <a:p>
            <a:pPr marL="0" indent="0" algn="ctr">
              <a:lnSpc>
                <a:spcPct val="111200"/>
              </a:lnSpc>
              <a:spcBef>
                <a:spcPct val="0"/>
              </a:spcBef>
              <a:spcAft>
                <a:spcPct val="0"/>
              </a:spcAft>
              <a:buNone/>
            </a:pPr>
            <a:fld id="{5E8DEB95-C4E9-4EC0-91A7-ECEFF82EBFF1}" type="datetime'''''''''''2''''''''''''''''0''0''''''''6'''''''''''''''''''''">
              <a:rPr lang="de-DE" altLang="en-US" sz="1399">
                <a:solidFill>
                  <a:srgbClr val="005478"/>
                </a:solidFill>
                <a:latin typeface="CorpoS" pitchFamily="2" charset="0"/>
              </a:rPr>
              <a:pPr marL="0" indent="0" algn="ctr">
                <a:lnSpc>
                  <a:spcPct val="111200"/>
                </a:lnSpc>
                <a:spcBef>
                  <a:spcPct val="0"/>
                </a:spcBef>
                <a:spcAft>
                  <a:spcPct val="0"/>
                </a:spcAft>
                <a:buNone/>
              </a:pPr>
              <a:t>2006</a:t>
            </a:fld>
            <a:endParaRPr lang="de-DE" sz="1399" dirty="0">
              <a:solidFill>
                <a:srgbClr val="005478"/>
              </a:solidFill>
              <a:latin typeface="CorpoS" pitchFamily="2" charset="0"/>
              <a:sym typeface="+mn-lt"/>
            </a:endParaRPr>
          </a:p>
        </p:txBody>
      </p:sp>
      <p:sp>
        <p:nvSpPr>
          <p:cNvPr id="56" name="Textplatzhalter 2"/>
          <p:cNvSpPr>
            <a:spLocks noGrp="1"/>
          </p:cNvSpPr>
          <p:nvPr>
            <p:custDataLst>
              <p:tags r:id="rId11"/>
            </p:custDataLst>
          </p:nvPr>
        </p:nvSpPr>
        <p:spPr bwMode="auto">
          <a:xfrm>
            <a:off x="7049591" y="6073192"/>
            <a:ext cx="393495" cy="23641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376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1pPr>
            <a:lvl2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2pPr>
            <a:lvl3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3pPr>
            <a:lvl4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4pPr>
            <a:lvl5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5pPr>
            <a:lvl6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a:lstStyle>
          <a:p>
            <a:pPr marL="0" indent="0" algn="ctr">
              <a:lnSpc>
                <a:spcPct val="111200"/>
              </a:lnSpc>
              <a:spcBef>
                <a:spcPct val="0"/>
              </a:spcBef>
              <a:spcAft>
                <a:spcPct val="0"/>
              </a:spcAft>
              <a:buNone/>
            </a:pPr>
            <a:fld id="{33632517-E3DE-4C97-8B80-32E8C783E211}" type="datetime'''''''''''''2''''''''''0''''''''''0''''8'''''''''''''">
              <a:rPr lang="de-DE" altLang="en-US" sz="1399">
                <a:solidFill>
                  <a:srgbClr val="005478"/>
                </a:solidFill>
                <a:latin typeface="CorpoS" pitchFamily="2" charset="0"/>
              </a:rPr>
              <a:pPr marL="0" indent="0" algn="ctr">
                <a:lnSpc>
                  <a:spcPct val="111200"/>
                </a:lnSpc>
                <a:spcBef>
                  <a:spcPct val="0"/>
                </a:spcBef>
                <a:spcAft>
                  <a:spcPct val="0"/>
                </a:spcAft>
                <a:buNone/>
              </a:pPr>
              <a:t>2008</a:t>
            </a:fld>
            <a:endParaRPr lang="de-DE" sz="1399" dirty="0">
              <a:solidFill>
                <a:srgbClr val="005478"/>
              </a:solidFill>
              <a:latin typeface="CorpoS" pitchFamily="2" charset="0"/>
              <a:sym typeface="+mn-lt"/>
            </a:endParaRPr>
          </a:p>
        </p:txBody>
      </p:sp>
      <p:sp>
        <p:nvSpPr>
          <p:cNvPr id="48" name="Textplatzhalter 2"/>
          <p:cNvSpPr>
            <a:spLocks noGrp="1"/>
          </p:cNvSpPr>
          <p:nvPr>
            <p:custDataLst>
              <p:tags r:id="rId12"/>
            </p:custDataLst>
          </p:nvPr>
        </p:nvSpPr>
        <p:spPr bwMode="auto">
          <a:xfrm>
            <a:off x="6600562" y="6073192"/>
            <a:ext cx="387148" cy="23641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376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1pPr>
            <a:lvl2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2pPr>
            <a:lvl3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3pPr>
            <a:lvl4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4pPr>
            <a:lvl5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5pPr>
            <a:lvl6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a:lstStyle>
          <a:p>
            <a:pPr marL="0" indent="0" algn="ctr">
              <a:lnSpc>
                <a:spcPct val="111200"/>
              </a:lnSpc>
              <a:spcBef>
                <a:spcPct val="0"/>
              </a:spcBef>
              <a:spcAft>
                <a:spcPct val="0"/>
              </a:spcAft>
              <a:buNone/>
            </a:pPr>
            <a:fld id="{875FF0E3-2F43-4B4A-A456-91435C542979}" type="datetime'''''''2''''''''''''''''''0''''''''''07'''''''''''''''">
              <a:rPr lang="de-DE" altLang="en-US" sz="1399">
                <a:solidFill>
                  <a:srgbClr val="005478"/>
                </a:solidFill>
                <a:latin typeface="CorpoS" pitchFamily="2" charset="0"/>
              </a:rPr>
              <a:pPr marL="0" indent="0" algn="ctr">
                <a:lnSpc>
                  <a:spcPct val="111200"/>
                </a:lnSpc>
                <a:spcBef>
                  <a:spcPct val="0"/>
                </a:spcBef>
                <a:spcAft>
                  <a:spcPct val="0"/>
                </a:spcAft>
                <a:buNone/>
              </a:pPr>
              <a:t>2007</a:t>
            </a:fld>
            <a:endParaRPr lang="de-DE" sz="1399" dirty="0">
              <a:solidFill>
                <a:srgbClr val="005478"/>
              </a:solidFill>
              <a:latin typeface="CorpoS" pitchFamily="2" charset="0"/>
              <a:sym typeface="+mn-lt"/>
            </a:endParaRPr>
          </a:p>
        </p:txBody>
      </p:sp>
      <p:sp>
        <p:nvSpPr>
          <p:cNvPr id="61" name="Textplatzhalter 2"/>
          <p:cNvSpPr>
            <a:spLocks noGrp="1"/>
          </p:cNvSpPr>
          <p:nvPr>
            <p:custDataLst>
              <p:tags r:id="rId13"/>
            </p:custDataLst>
          </p:nvPr>
        </p:nvSpPr>
        <p:spPr bwMode="auto">
          <a:xfrm>
            <a:off x="9324882" y="6073192"/>
            <a:ext cx="369695" cy="23641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376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1pPr>
            <a:lvl2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2pPr>
            <a:lvl3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3pPr>
            <a:lvl4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4pPr>
            <a:lvl5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5pPr>
            <a:lvl6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a:lstStyle>
          <a:p>
            <a:pPr marL="0" indent="0" algn="ctr">
              <a:lnSpc>
                <a:spcPct val="111200"/>
              </a:lnSpc>
              <a:spcBef>
                <a:spcPct val="0"/>
              </a:spcBef>
              <a:spcAft>
                <a:spcPct val="0"/>
              </a:spcAft>
              <a:buNone/>
            </a:pPr>
            <a:fld id="{CE0F2C75-CA1E-4E1F-A320-7EA559102788}" type="datetime'''''''''''''''20''''1''''''''''''''''''3'''''''''''">
              <a:rPr lang="de-DE" altLang="en-US" sz="1399">
                <a:solidFill>
                  <a:srgbClr val="005478"/>
                </a:solidFill>
                <a:latin typeface="CorpoS" pitchFamily="2" charset="0"/>
              </a:rPr>
              <a:pPr marL="0" indent="0" algn="ctr">
                <a:lnSpc>
                  <a:spcPct val="111200"/>
                </a:lnSpc>
                <a:spcBef>
                  <a:spcPct val="0"/>
                </a:spcBef>
                <a:spcAft>
                  <a:spcPct val="0"/>
                </a:spcAft>
                <a:buNone/>
              </a:pPr>
              <a:t>2013</a:t>
            </a:fld>
            <a:endParaRPr lang="de-DE" sz="1399" dirty="0">
              <a:solidFill>
                <a:srgbClr val="005478"/>
              </a:solidFill>
              <a:latin typeface="CorpoS" pitchFamily="2" charset="0"/>
              <a:sym typeface="+mn-lt"/>
            </a:endParaRPr>
          </a:p>
        </p:txBody>
      </p:sp>
      <p:sp>
        <p:nvSpPr>
          <p:cNvPr id="62" name="Textplatzhalter 2"/>
          <p:cNvSpPr>
            <a:spLocks noGrp="1"/>
          </p:cNvSpPr>
          <p:nvPr>
            <p:custDataLst>
              <p:tags r:id="rId14"/>
            </p:custDataLst>
          </p:nvPr>
        </p:nvSpPr>
        <p:spPr bwMode="auto">
          <a:xfrm>
            <a:off x="9777083" y="6073192"/>
            <a:ext cx="369695" cy="23641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376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1pPr>
            <a:lvl2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2pPr>
            <a:lvl3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3pPr>
            <a:lvl4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4pPr>
            <a:lvl5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5pPr>
            <a:lvl6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a:lstStyle>
          <a:p>
            <a:pPr marL="0" indent="0" algn="ctr">
              <a:lnSpc>
                <a:spcPct val="111200"/>
              </a:lnSpc>
              <a:spcBef>
                <a:spcPct val="0"/>
              </a:spcBef>
              <a:spcAft>
                <a:spcPct val="0"/>
              </a:spcAft>
              <a:buNone/>
            </a:pPr>
            <a:fld id="{641BCCA2-34CD-4CD5-9977-41BFE888F32D}" type="datetime'''''''''''''''20''''1''''''''''''''''''''4'''''''">
              <a:rPr lang="de-DE" altLang="en-US" sz="1399">
                <a:solidFill>
                  <a:srgbClr val="005478"/>
                </a:solidFill>
                <a:latin typeface="CorpoS" pitchFamily="2" charset="0"/>
              </a:rPr>
              <a:pPr marL="0" indent="0" algn="ctr">
                <a:lnSpc>
                  <a:spcPct val="111200"/>
                </a:lnSpc>
                <a:spcBef>
                  <a:spcPct val="0"/>
                </a:spcBef>
                <a:spcAft>
                  <a:spcPct val="0"/>
                </a:spcAft>
                <a:buNone/>
              </a:pPr>
              <a:t>2014</a:t>
            </a:fld>
            <a:endParaRPr lang="de-DE" sz="1399" dirty="0">
              <a:solidFill>
                <a:srgbClr val="005478"/>
              </a:solidFill>
              <a:latin typeface="CorpoS" pitchFamily="2" charset="0"/>
              <a:sym typeface="+mn-lt"/>
            </a:endParaRPr>
          </a:p>
        </p:txBody>
      </p:sp>
      <p:sp>
        <p:nvSpPr>
          <p:cNvPr id="33" name="Textplatzhalter 2"/>
          <p:cNvSpPr>
            <a:spLocks noGrp="1"/>
          </p:cNvSpPr>
          <p:nvPr>
            <p:custDataLst>
              <p:tags r:id="rId15"/>
            </p:custDataLst>
          </p:nvPr>
        </p:nvSpPr>
        <p:spPr bwMode="auto">
          <a:xfrm>
            <a:off x="11584305" y="6073192"/>
            <a:ext cx="371282" cy="23641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376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1pPr>
            <a:lvl2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2pPr>
            <a:lvl3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3pPr>
            <a:lvl4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4pPr>
            <a:lvl5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5pPr>
            <a:lvl6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a:lstStyle>
          <a:p>
            <a:pPr marL="0" indent="0" algn="ctr">
              <a:lnSpc>
                <a:spcPct val="111200"/>
              </a:lnSpc>
              <a:spcBef>
                <a:spcPct val="0"/>
              </a:spcBef>
              <a:spcAft>
                <a:spcPct val="0"/>
              </a:spcAft>
              <a:buNone/>
            </a:pPr>
            <a:fld id="{7E6C5751-4073-45C3-B568-A89F252D5CE3}" type="datetime'''''''20''''''''''''''''''''''1''''''''''8'''''''">
              <a:rPr lang="de-DE" altLang="en-US" sz="1399">
                <a:solidFill>
                  <a:srgbClr val="005478"/>
                </a:solidFill>
                <a:latin typeface="CorpoS" pitchFamily="2" charset="0"/>
              </a:rPr>
              <a:pPr marL="0" indent="0" algn="ctr">
                <a:lnSpc>
                  <a:spcPct val="111200"/>
                </a:lnSpc>
                <a:spcBef>
                  <a:spcPct val="0"/>
                </a:spcBef>
                <a:spcAft>
                  <a:spcPct val="0"/>
                </a:spcAft>
                <a:buNone/>
              </a:pPr>
              <a:t>2018</a:t>
            </a:fld>
            <a:endParaRPr lang="de-DE" sz="1399" dirty="0">
              <a:solidFill>
                <a:srgbClr val="005478"/>
              </a:solidFill>
              <a:latin typeface="CorpoS" pitchFamily="2" charset="0"/>
              <a:sym typeface="+mn-lt"/>
            </a:endParaRPr>
          </a:p>
        </p:txBody>
      </p:sp>
      <p:sp>
        <p:nvSpPr>
          <p:cNvPr id="63" name="Textplatzhalter 2"/>
          <p:cNvSpPr>
            <a:spLocks noGrp="1"/>
          </p:cNvSpPr>
          <p:nvPr>
            <p:custDataLst>
              <p:tags r:id="rId16"/>
            </p:custDataLst>
          </p:nvPr>
        </p:nvSpPr>
        <p:spPr bwMode="auto">
          <a:xfrm>
            <a:off x="10227698" y="6073192"/>
            <a:ext cx="371282" cy="23641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376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1pPr>
            <a:lvl2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2pPr>
            <a:lvl3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3pPr>
            <a:lvl4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4pPr>
            <a:lvl5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5pPr>
            <a:lvl6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a:lstStyle>
          <a:p>
            <a:pPr marL="0" indent="0" algn="ctr">
              <a:lnSpc>
                <a:spcPct val="111200"/>
              </a:lnSpc>
              <a:spcBef>
                <a:spcPct val="0"/>
              </a:spcBef>
              <a:spcAft>
                <a:spcPct val="0"/>
              </a:spcAft>
              <a:buNone/>
            </a:pPr>
            <a:fld id="{44457D55-155B-418A-AA95-99F4E4CE758C}" type="datetime'''''2''''''''''''''''''''''''''''''''0''''1''''''''5'">
              <a:rPr lang="de-DE" altLang="en-US" sz="1399">
                <a:solidFill>
                  <a:srgbClr val="005478"/>
                </a:solidFill>
                <a:latin typeface="CorpoS" pitchFamily="2" charset="0"/>
              </a:rPr>
              <a:pPr marL="0" indent="0" algn="ctr">
                <a:lnSpc>
                  <a:spcPct val="111200"/>
                </a:lnSpc>
                <a:spcBef>
                  <a:spcPct val="0"/>
                </a:spcBef>
                <a:spcAft>
                  <a:spcPct val="0"/>
                </a:spcAft>
                <a:buNone/>
              </a:pPr>
              <a:t>2015</a:t>
            </a:fld>
            <a:endParaRPr lang="de-DE" sz="1399" dirty="0">
              <a:solidFill>
                <a:srgbClr val="005478"/>
              </a:solidFill>
              <a:latin typeface="CorpoS" pitchFamily="2" charset="0"/>
              <a:sym typeface="+mn-lt"/>
            </a:endParaRPr>
          </a:p>
        </p:txBody>
      </p:sp>
      <p:sp>
        <p:nvSpPr>
          <p:cNvPr id="64" name="Textplatzhalter 2"/>
          <p:cNvSpPr>
            <a:spLocks noGrp="1"/>
          </p:cNvSpPr>
          <p:nvPr>
            <p:custDataLst>
              <p:tags r:id="rId17"/>
            </p:custDataLst>
          </p:nvPr>
        </p:nvSpPr>
        <p:spPr bwMode="auto">
          <a:xfrm>
            <a:off x="10681487" y="6073192"/>
            <a:ext cx="369695" cy="23641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376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1pPr>
            <a:lvl2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2pPr>
            <a:lvl3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3pPr>
            <a:lvl4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4pPr>
            <a:lvl5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5pPr>
            <a:lvl6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a:lstStyle>
          <a:p>
            <a:pPr marL="0" indent="0" algn="ctr">
              <a:lnSpc>
                <a:spcPct val="111200"/>
              </a:lnSpc>
              <a:spcBef>
                <a:spcPct val="0"/>
              </a:spcBef>
              <a:spcAft>
                <a:spcPct val="0"/>
              </a:spcAft>
              <a:buNone/>
            </a:pPr>
            <a:fld id="{30C2DEBA-69EC-4A7D-8FBE-3827A455D22C}" type="datetime'''''''''''2''0''''''''''1''''''''''''''''6'''''''''''''''''''">
              <a:rPr lang="de-DE" altLang="en-US" sz="1399">
                <a:solidFill>
                  <a:srgbClr val="005478"/>
                </a:solidFill>
                <a:latin typeface="CorpoS" pitchFamily="2" charset="0"/>
              </a:rPr>
              <a:pPr marL="0" indent="0" algn="ctr">
                <a:lnSpc>
                  <a:spcPct val="111200"/>
                </a:lnSpc>
                <a:spcBef>
                  <a:spcPct val="0"/>
                </a:spcBef>
                <a:spcAft>
                  <a:spcPct val="0"/>
                </a:spcAft>
                <a:buNone/>
              </a:pPr>
              <a:t>2016</a:t>
            </a:fld>
            <a:endParaRPr lang="de-DE" sz="1399" dirty="0">
              <a:solidFill>
                <a:srgbClr val="005478"/>
              </a:solidFill>
              <a:latin typeface="CorpoS" pitchFamily="2" charset="0"/>
              <a:sym typeface="+mn-lt"/>
            </a:endParaRPr>
          </a:p>
        </p:txBody>
      </p:sp>
      <p:sp>
        <p:nvSpPr>
          <p:cNvPr id="65" name="Textplatzhalter 2"/>
          <p:cNvSpPr>
            <a:spLocks noGrp="1"/>
          </p:cNvSpPr>
          <p:nvPr>
            <p:custDataLst>
              <p:tags r:id="rId18"/>
            </p:custDataLst>
          </p:nvPr>
        </p:nvSpPr>
        <p:spPr bwMode="auto">
          <a:xfrm>
            <a:off x="11133689" y="6073192"/>
            <a:ext cx="368108" cy="23641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37600" indent="-237600" algn="l" defTabSz="1088959" rtl="0" eaLnBrk="1" latinLnBrk="0" hangingPunct="1">
              <a:lnSpc>
                <a:spcPts val="3200"/>
              </a:lnSpc>
              <a:spcBef>
                <a:spcPts val="0"/>
              </a:spcBef>
              <a:buSzPct val="80000"/>
              <a:buFont typeface="Arial" panose="020B0604020202020204" pitchFamily="34" charset="0"/>
              <a:buChar char="•"/>
              <a:defRPr sz="2400" kern="1200">
                <a:solidFill>
                  <a:schemeClr val="tx1"/>
                </a:solidFill>
                <a:latin typeface="+mn-lt"/>
                <a:ea typeface="+mn-ea"/>
                <a:cs typeface="+mn-cs"/>
              </a:defRPr>
            </a:lvl1pPr>
            <a:lvl2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2pPr>
            <a:lvl3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3pPr>
            <a:lvl4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4pPr>
            <a:lvl5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5pPr>
            <a:lvl6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6pPr>
            <a:lvl7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7pPr>
            <a:lvl8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8pPr>
            <a:lvl9pPr marL="0" indent="0" algn="l" defTabSz="1088959" rtl="0" eaLnBrk="1" latinLnBrk="0" hangingPunct="1">
              <a:lnSpc>
                <a:spcPts val="3200"/>
              </a:lnSpc>
              <a:spcBef>
                <a:spcPts val="0"/>
              </a:spcBef>
              <a:buFont typeface="Arial" panose="020B0604020202020204" pitchFamily="34" charset="0"/>
              <a:buNone/>
              <a:defRPr sz="2400" kern="1200">
                <a:solidFill>
                  <a:schemeClr val="accent2"/>
                </a:solidFill>
                <a:latin typeface="+mn-lt"/>
                <a:ea typeface="+mn-ea"/>
                <a:cs typeface="+mn-cs"/>
              </a:defRPr>
            </a:lvl9pPr>
          </a:lstStyle>
          <a:p>
            <a:pPr marL="0" indent="0" algn="ctr">
              <a:lnSpc>
                <a:spcPct val="111200"/>
              </a:lnSpc>
              <a:spcBef>
                <a:spcPct val="0"/>
              </a:spcBef>
              <a:spcAft>
                <a:spcPct val="0"/>
              </a:spcAft>
              <a:buNone/>
            </a:pPr>
            <a:fld id="{9CB01C32-079E-4D08-B53B-AC691E58AFE1}" type="datetime'''''''''''2''''''''''''''''0''''''''1''''7'''''''''''''''">
              <a:rPr lang="de-DE" altLang="en-US" sz="1399">
                <a:solidFill>
                  <a:srgbClr val="005478"/>
                </a:solidFill>
                <a:latin typeface="CorpoS" pitchFamily="2" charset="0"/>
              </a:rPr>
              <a:pPr marL="0" indent="0" algn="ctr">
                <a:lnSpc>
                  <a:spcPct val="111200"/>
                </a:lnSpc>
                <a:spcBef>
                  <a:spcPct val="0"/>
                </a:spcBef>
                <a:spcAft>
                  <a:spcPct val="0"/>
                </a:spcAft>
                <a:buNone/>
              </a:pPr>
              <a:t>2017</a:t>
            </a:fld>
            <a:endParaRPr lang="de-DE" sz="1399" dirty="0">
              <a:solidFill>
                <a:srgbClr val="005478"/>
              </a:solidFill>
              <a:latin typeface="CorpoS" pitchFamily="2" charset="0"/>
              <a:sym typeface="+mn-lt"/>
            </a:endParaRPr>
          </a:p>
        </p:txBody>
      </p:sp>
      <p:sp>
        <p:nvSpPr>
          <p:cNvPr id="35" name="Titel 2"/>
          <p:cNvSpPr txBox="1">
            <a:spLocks/>
          </p:cNvSpPr>
          <p:nvPr/>
        </p:nvSpPr>
        <p:spPr>
          <a:xfrm>
            <a:off x="216000" y="431999"/>
            <a:ext cx="10932454" cy="828000"/>
          </a:xfrm>
          <a:prstGeom prst="rect">
            <a:avLst/>
          </a:prstGeom>
          <a:solidFill>
            <a:srgbClr val="005478">
              <a:alpha val="90000"/>
            </a:srgbClr>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1088306">
              <a:lnSpc>
                <a:spcPct val="80000"/>
              </a:lnSpc>
              <a:defRPr/>
            </a:pPr>
            <a:r>
              <a:rPr lang="ru-RU" sz="2800" b="1" cap="all" dirty="0" smtClean="0">
                <a:solidFill>
                  <a:prstClr val="white"/>
                </a:solidFill>
                <a:latin typeface="CorpoS" pitchFamily="2" charset="0"/>
              </a:rPr>
              <a:t>МЫ ПОСТАВЛЯЕМ ФИНАНСОВЫЕ ПРОДУКТЫ ДЛЯ КАЖДОГО ВТОРОГО АВТОМОБИЛЯ ПРОДАННОГО </a:t>
            </a:r>
            <a:r>
              <a:rPr lang="en-US" sz="2800" b="1" cap="all" dirty="0" smtClean="0">
                <a:solidFill>
                  <a:srgbClr val="FFFF00"/>
                </a:solidFill>
                <a:latin typeface="CorpoS" pitchFamily="2" charset="0"/>
              </a:rPr>
              <a:t>Daimler</a:t>
            </a:r>
            <a:endParaRPr lang="en-US" sz="2800" b="1" cap="all" dirty="0">
              <a:solidFill>
                <a:srgbClr val="FFFF00"/>
              </a:solidFill>
              <a:latin typeface="CorpoS" pitchFamily="2" charset="0"/>
            </a:endParaRPr>
          </a:p>
        </p:txBody>
      </p:sp>
    </p:spTree>
    <p:extLst>
      <p:ext uri="{BB962C8B-B14F-4D97-AF65-F5344CB8AC3E}">
        <p14:creationId xmlns:p14="http://schemas.microsoft.com/office/powerpoint/2010/main" val="2126435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7" y="2579"/>
          <a:ext cx="1587" cy="1587"/>
        </p:xfrm>
        <a:graphic>
          <a:graphicData uri="http://schemas.openxmlformats.org/presentationml/2006/ole">
            <mc:AlternateContent xmlns:mc="http://schemas.openxmlformats.org/markup-compatibility/2006">
              <mc:Choice xmlns:v="urn:schemas-microsoft-com:vml" Requires="v">
                <p:oleObj spid="_x0000_s231499" name="think-cell Folie" r:id="rId6" imgW="216" imgH="216" progId="TCLayout.ActiveDocument.1">
                  <p:embed/>
                </p:oleObj>
              </mc:Choice>
              <mc:Fallback>
                <p:oleObj name="think-cell Folie" r:id="rId6" imgW="216" imgH="216" progId="TCLayout.ActiveDocument.1">
                  <p:embed/>
                  <p:pic>
                    <p:nvPicPr>
                      <p:cNvPr id="0" name=""/>
                      <p:cNvPicPr/>
                      <p:nvPr/>
                    </p:nvPicPr>
                    <p:blipFill>
                      <a:blip r:embed="rId7"/>
                      <a:stretch>
                        <a:fillRect/>
                      </a:stretch>
                    </p:blipFill>
                    <p:spPr>
                      <a:xfrm>
                        <a:off x="1587" y="2579"/>
                        <a:ext cx="1587" cy="1587"/>
                      </a:xfrm>
                      <a:prstGeom prst="rect">
                        <a:avLst/>
                      </a:prstGeom>
                    </p:spPr>
                  </p:pic>
                </p:oleObj>
              </mc:Fallback>
            </mc:AlternateContent>
          </a:graphicData>
        </a:graphic>
      </p:graphicFrame>
      <p:sp>
        <p:nvSpPr>
          <p:cNvPr id="10" name="Rechteck 9" hidden="1"/>
          <p:cNvSpPr/>
          <p:nvPr>
            <p:custDataLst>
              <p:tags r:id="rId3"/>
            </p:custDataLst>
          </p:nvPr>
        </p:nvSpPr>
        <p:spPr>
          <a:xfrm>
            <a:off x="0" y="992"/>
            <a:ext cx="158667" cy="1586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3998"/>
              </a:lnSpc>
              <a:spcBef>
                <a:spcPct val="0"/>
              </a:spcBef>
              <a:spcAft>
                <a:spcPct val="0"/>
              </a:spcAft>
            </a:pPr>
            <a:endParaRPr lang="de-DE" sz="3498" dirty="0">
              <a:latin typeface="CorpoS" pitchFamily="2" charset="0"/>
              <a:ea typeface="+mj-ea"/>
              <a:cs typeface="+mj-cs"/>
              <a:sym typeface="CorpoS" pitchFamily="2" charset="0"/>
            </a:endParaRPr>
          </a:p>
        </p:txBody>
      </p:sp>
      <p:pic>
        <p:nvPicPr>
          <p:cNvPr id="2" name="Grafik 1"/>
          <p:cNvPicPr>
            <a:picLocks noChangeAspect="1"/>
          </p:cNvPicPr>
          <p:nvPr/>
        </p:nvPicPr>
        <p:blipFill rotWithShape="1">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a:xfrm>
            <a:off x="-21493" y="-25584"/>
            <a:ext cx="12234988" cy="6991160"/>
          </a:xfrm>
          <a:prstGeom prst="rect">
            <a:avLst/>
          </a:prstGeom>
        </p:spPr>
      </p:pic>
      <p:sp>
        <p:nvSpPr>
          <p:cNvPr id="4" name="Rechteck 3"/>
          <p:cNvSpPr/>
          <p:nvPr/>
        </p:nvSpPr>
        <p:spPr>
          <a:xfrm>
            <a:off x="653981" y="1651391"/>
            <a:ext cx="4578373" cy="4655375"/>
          </a:xfrm>
          <a:prstGeom prst="rect">
            <a:avLst/>
          </a:prstGeom>
          <a:solidFill>
            <a:srgbClr val="337693">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endParaRPr lang="de-DE" sz="1799" dirty="0"/>
          </a:p>
        </p:txBody>
      </p:sp>
      <p:sp>
        <p:nvSpPr>
          <p:cNvPr id="5" name="Rechteck 4"/>
          <p:cNvSpPr/>
          <p:nvPr/>
        </p:nvSpPr>
        <p:spPr>
          <a:xfrm>
            <a:off x="6911834" y="1642994"/>
            <a:ext cx="4581955" cy="4655375"/>
          </a:xfrm>
          <a:prstGeom prst="rect">
            <a:avLst/>
          </a:prstGeom>
          <a:solidFill>
            <a:srgbClr val="337693">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endParaRPr lang="de-DE" sz="1799" dirty="0"/>
          </a:p>
        </p:txBody>
      </p:sp>
      <p:sp>
        <p:nvSpPr>
          <p:cNvPr id="17" name="Textfeld 16"/>
          <p:cNvSpPr txBox="1"/>
          <p:nvPr/>
        </p:nvSpPr>
        <p:spPr>
          <a:xfrm>
            <a:off x="1832526" y="1672263"/>
            <a:ext cx="1972563" cy="461665"/>
          </a:xfrm>
          <a:prstGeom prst="rect">
            <a:avLst/>
          </a:prstGeom>
          <a:noFill/>
        </p:spPr>
        <p:txBody>
          <a:bodyPr wrap="square" rtlCol="0">
            <a:spAutoFit/>
          </a:bodyPr>
          <a:lstStyle/>
          <a:p>
            <a:pPr algn="ctr" defTabSz="914126"/>
            <a:r>
              <a:rPr lang="de-DE" sz="2400" b="1" dirty="0">
                <a:solidFill>
                  <a:srgbClr val="FFFF00"/>
                </a:solidFill>
                <a:latin typeface="CorpoS" pitchFamily="2" charset="0"/>
              </a:rPr>
              <a:t>DSI</a:t>
            </a:r>
          </a:p>
        </p:txBody>
      </p:sp>
      <p:sp>
        <p:nvSpPr>
          <p:cNvPr id="18" name="Textfeld 17"/>
          <p:cNvSpPr txBox="1"/>
          <p:nvPr/>
        </p:nvSpPr>
        <p:spPr>
          <a:xfrm>
            <a:off x="8111174" y="1672263"/>
            <a:ext cx="1972563" cy="461665"/>
          </a:xfrm>
          <a:prstGeom prst="rect">
            <a:avLst/>
          </a:prstGeom>
          <a:noFill/>
        </p:spPr>
        <p:txBody>
          <a:bodyPr wrap="square" rtlCol="0">
            <a:spAutoFit/>
          </a:bodyPr>
          <a:lstStyle/>
          <a:p>
            <a:pPr algn="ctr" defTabSz="914126"/>
            <a:r>
              <a:rPr lang="de-DE" sz="2400" b="1" dirty="0">
                <a:solidFill>
                  <a:srgbClr val="FFFF00"/>
                </a:solidFill>
                <a:latin typeface="CorpoS" pitchFamily="2" charset="0"/>
              </a:rPr>
              <a:t>CSI</a:t>
            </a:r>
            <a:endParaRPr lang="de-DE" sz="2000" b="1" dirty="0">
              <a:solidFill>
                <a:srgbClr val="FFFF00"/>
              </a:solidFill>
              <a:latin typeface="CorpoS" pitchFamily="2" charset="0"/>
            </a:endParaRPr>
          </a:p>
        </p:txBody>
      </p:sp>
      <p:sp>
        <p:nvSpPr>
          <p:cNvPr id="21" name="Textfeld 130">
            <a:extLst>
              <a:ext uri="{FF2B5EF4-FFF2-40B4-BE49-F238E27FC236}">
                <a16:creationId xmlns:a16="http://schemas.microsoft.com/office/drawing/2014/main" id="{9A622D94-16E4-4035-B6DD-DD4F0C49FB2E}"/>
              </a:ext>
            </a:extLst>
          </p:cNvPr>
          <p:cNvSpPr txBox="1"/>
          <p:nvPr/>
        </p:nvSpPr>
        <p:spPr bwMode="auto">
          <a:xfrm>
            <a:off x="796944" y="2180785"/>
            <a:ext cx="4246384" cy="3958791"/>
          </a:xfrm>
          <a:prstGeom prst="rect">
            <a:avLst/>
          </a:prstGeom>
          <a:solidFill>
            <a:srgbClr val="005478">
              <a:alpha val="8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defPPr>
              <a:defRPr lang="de-DE"/>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799" dirty="0"/>
          </a:p>
        </p:txBody>
      </p:sp>
      <p:pic>
        <p:nvPicPr>
          <p:cNvPr id="6" name="Grafik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36495" y="2309609"/>
            <a:ext cx="962536" cy="295526"/>
          </a:xfrm>
          <a:prstGeom prst="rect">
            <a:avLst/>
          </a:prstGeom>
        </p:spPr>
      </p:pic>
      <p:sp>
        <p:nvSpPr>
          <p:cNvPr id="22" name="Textfeld 130">
            <a:extLst>
              <a:ext uri="{FF2B5EF4-FFF2-40B4-BE49-F238E27FC236}">
                <a16:creationId xmlns:a16="http://schemas.microsoft.com/office/drawing/2014/main" id="{9A622D94-16E4-4035-B6DD-DD4F0C49FB2E}"/>
              </a:ext>
            </a:extLst>
          </p:cNvPr>
          <p:cNvSpPr txBox="1"/>
          <p:nvPr/>
        </p:nvSpPr>
        <p:spPr bwMode="auto">
          <a:xfrm>
            <a:off x="7065347" y="2133793"/>
            <a:ext cx="4245789" cy="4005782"/>
          </a:xfrm>
          <a:prstGeom prst="rect">
            <a:avLst/>
          </a:prstGeom>
          <a:solidFill>
            <a:srgbClr val="005478">
              <a:alpha val="8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defPPr>
              <a:defRPr lang="de-DE"/>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799" dirty="0"/>
          </a:p>
          <a:p>
            <a:endParaRPr lang="en-US" sz="1799" dirty="0"/>
          </a:p>
          <a:p>
            <a:r>
              <a:rPr lang="en-US" sz="1799" dirty="0"/>
              <a:t> </a:t>
            </a:r>
          </a:p>
        </p:txBody>
      </p:sp>
      <p:grpSp>
        <p:nvGrpSpPr>
          <p:cNvPr id="25" name="Gruppieren 24"/>
          <p:cNvGrpSpPr/>
          <p:nvPr/>
        </p:nvGrpSpPr>
        <p:grpSpPr>
          <a:xfrm>
            <a:off x="7235231" y="2595326"/>
            <a:ext cx="1508077" cy="386128"/>
            <a:chOff x="7164944" y="3022926"/>
            <a:chExt cx="1508513" cy="386240"/>
          </a:xfrm>
        </p:grpSpPr>
        <p:pic>
          <p:nvPicPr>
            <p:cNvPr id="23" name="Picture 1058" descr="DFS180_GERMANY.png                                             008790A8EIGA08                         7C26814B:"/>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164944" y="3033866"/>
              <a:ext cx="360362"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3778" name="Picture 2" descr="Bildergebnis für spain flag round png">
              <a:hlinkClick r:id="rId11"/>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508499" y="3028157"/>
              <a:ext cx="464988" cy="348741"/>
            </a:xfrm>
            <a:prstGeom prst="rect">
              <a:avLst/>
            </a:prstGeom>
            <a:noFill/>
            <a:extLst>
              <a:ext uri="{909E8E84-426E-40DD-AFC4-6F175D3DCCD1}">
                <a14:hiddenFill xmlns:a14="http://schemas.microsoft.com/office/drawing/2010/main">
                  <a:solidFill>
                    <a:srgbClr val="FFFFFF"/>
                  </a:solidFill>
                </a14:hiddenFill>
              </a:ext>
            </a:extLst>
          </p:spPr>
        </p:pic>
        <p:pic>
          <p:nvPicPr>
            <p:cNvPr id="203780" name="Picture 4" descr="Bildergebnis für austria flag round png">
              <a:hlinkClick r:id="rId13"/>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968137" y="3048732"/>
              <a:ext cx="292527" cy="292527"/>
            </a:xfrm>
            <a:prstGeom prst="rect">
              <a:avLst/>
            </a:prstGeom>
            <a:noFill/>
            <a:extLst>
              <a:ext uri="{909E8E84-426E-40DD-AFC4-6F175D3DCCD1}">
                <a14:hiddenFill xmlns:a14="http://schemas.microsoft.com/office/drawing/2010/main">
                  <a:solidFill>
                    <a:srgbClr val="FFFFFF"/>
                  </a:solidFill>
                </a14:hiddenFill>
              </a:ext>
            </a:extLst>
          </p:spPr>
        </p:pic>
        <p:pic>
          <p:nvPicPr>
            <p:cNvPr id="203782" name="Picture 6" descr="Bildergebnis für turkey flag round png">
              <a:hlinkClick r:id="rId15"/>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284103" y="3022926"/>
              <a:ext cx="389354" cy="38624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uppieren 26"/>
          <p:cNvGrpSpPr/>
          <p:nvPr/>
        </p:nvGrpSpPr>
        <p:grpSpPr>
          <a:xfrm>
            <a:off x="2094700" y="2309609"/>
            <a:ext cx="2915697" cy="683917"/>
            <a:chOff x="1058615" y="4149874"/>
            <a:chExt cx="2916541" cy="684115"/>
          </a:xfrm>
        </p:grpSpPr>
        <p:pic>
          <p:nvPicPr>
            <p:cNvPr id="28" name="Picture 1057" descr="DFS180_FRANCE.png                                              008790A8EIGA08                         7C26814B:"/>
            <p:cNvPicPr preferRelativeResize="0">
              <a:picLocks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894819" y="4149874"/>
              <a:ext cx="324253" cy="32407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1058" descr="DFS180_GERMANY.png                                             008790A8EIGA08                         7C26814B:"/>
            <p:cNvPicPr preferRelativeResize="0">
              <a:picLocks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534779" y="4149874"/>
              <a:ext cx="324253" cy="32407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1063" descr="DFS180_ITALY.png                                               008790A8EIGA08                         7C26814B:"/>
            <p:cNvPicPr preferRelativeResize="0">
              <a:picLocks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454659" y="4509914"/>
              <a:ext cx="324253" cy="32407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1071" descr="&#10;DFS180_UK.png                                                  008790A8EIGA08                         7C26814B:"/>
            <p:cNvPicPr preferRelativeResize="0">
              <a:picLocks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254859" y="4149874"/>
              <a:ext cx="324253" cy="32407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1062" descr="DFS180_HUNGARY.png                                             008790A8EIGA08                         7C26814B:"/>
            <p:cNvPicPr preferRelativeResize="0">
              <a:picLocks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650903" y="4149874"/>
              <a:ext cx="324253" cy="32407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1066" descr="DFS180_POLAND.png                                              008790A8EIGA08                         7C26814B:"/>
            <p:cNvPicPr preferRelativeResize="0">
              <a:picLocks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174739" y="4509914"/>
              <a:ext cx="324253" cy="32407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1070" descr="DFS180_ROMANIA.png                                             008790A8EIGA08                         7C26814B:"/>
            <p:cNvPicPr preferRelativeResize="0">
              <a:picLocks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2534779" y="4509914"/>
              <a:ext cx="324253" cy="32407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1076" descr="DFS180_SWISS.png                                               008790A8EIGA08                         7C26814B:"/>
            <p:cNvPicPr preferRelativeResize="0">
              <a:picLocks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814699" y="4149874"/>
              <a:ext cx="324253" cy="32407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55" descr="DFS180_AUSTRALIA.png                                           0087909FEIGA08                         7C26814B:"/>
            <p:cNvPicPr preferRelativeResize="0">
              <a:picLocks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454659" y="4149874"/>
              <a:ext cx="324253" cy="32407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56" descr="DFS180_CHINA.png                                               0087909FEIGA08                         7C26814B:"/>
            <p:cNvPicPr preferRelativeResize="0">
              <a:picLocks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2174739" y="4149874"/>
              <a:ext cx="324253" cy="32407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59" descr="DFS180_JAPAN.png                                               0087909FEIGA08                         7C26814B:"/>
            <p:cNvPicPr preferRelativeResize="0">
              <a:picLocks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814699" y="4509914"/>
              <a:ext cx="324253" cy="32407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64" descr="DFS180_TAIWAN.png                                              0087909FEIGA08                         7C26814B:"/>
            <p:cNvPicPr preferRelativeResize="0">
              <a:picLocks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3254859" y="4509914"/>
              <a:ext cx="324253" cy="32407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65" descr="DFS180_THAILAND.png                                            0087909FEIGA08                         7C26814B:"/>
            <p:cNvPicPr preferRelativeResize="0">
              <a:picLocks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2894819" y="4509914"/>
              <a:ext cx="324253" cy="32407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Grafik 40"/>
            <p:cNvPicPr preferRelativeResize="0">
              <a:picLocks/>
            </p:cNvPicPr>
            <p:nvPr/>
          </p:nvPicPr>
          <p:blipFill>
            <a:blip r:embed="rId30" cstate="print">
              <a:extLst>
                <a:ext uri="{28A0092B-C50C-407E-A947-70E740481C1C}">
                  <a14:useLocalDpi xmlns:a14="http://schemas.microsoft.com/office/drawing/2010/main" val="0"/>
                </a:ext>
              </a:extLst>
            </a:blip>
            <a:stretch>
              <a:fillRect/>
            </a:stretch>
          </p:blipFill>
          <p:spPr>
            <a:xfrm>
              <a:off x="1058615" y="4509914"/>
              <a:ext cx="324253" cy="324075"/>
            </a:xfrm>
            <a:prstGeom prst="rect">
              <a:avLst/>
            </a:prstGeom>
            <a:effectLst>
              <a:outerShdw blurRad="63500" sx="102000" sy="102000" algn="ctr" rotWithShape="0">
                <a:prstClr val="black">
                  <a:alpha val="40000"/>
                </a:prstClr>
              </a:outerShdw>
            </a:effectLst>
          </p:spPr>
        </p:pic>
        <p:pic>
          <p:nvPicPr>
            <p:cNvPr id="42" name="Picture 28" descr="DFS180_ARGENTINA.png                                           008790A6EIGA08                         7C26814B:"/>
            <p:cNvPicPr preferRelativeResize="0">
              <a:picLocks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1058615" y="4149874"/>
              <a:ext cx="324253" cy="32407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3" name="Grafik 42"/>
          <p:cNvPicPr>
            <a:picLocks noChangeAspect="1"/>
          </p:cNvPicPr>
          <p:nvPr/>
        </p:nvPicPr>
        <p:blipFill rotWithShape="1">
          <a:blip r:embed="rId32" cstate="print">
            <a:clrChange>
              <a:clrFrom>
                <a:srgbClr val="FCFEFC"/>
              </a:clrFrom>
              <a:clrTo>
                <a:srgbClr val="FCFEFC">
                  <a:alpha val="0"/>
                </a:srgbClr>
              </a:clrTo>
            </a:clrChange>
            <a:extLst>
              <a:ext uri="{28A0092B-C50C-407E-A947-70E740481C1C}">
                <a14:useLocalDpi xmlns:a14="http://schemas.microsoft.com/office/drawing/2010/main" val="0"/>
              </a:ext>
            </a:extLst>
          </a:blip>
          <a:srcRect l="5747" t="5623" r="5243" b="4902"/>
          <a:stretch/>
        </p:blipFill>
        <p:spPr>
          <a:xfrm>
            <a:off x="1066780" y="3637927"/>
            <a:ext cx="662044" cy="665512"/>
          </a:xfrm>
          <a:prstGeom prst="rect">
            <a:avLst/>
          </a:prstGeom>
        </p:spPr>
      </p:pic>
      <p:pic>
        <p:nvPicPr>
          <p:cNvPr id="44" name="Picture 32" descr="DFS180_USA.png                                                 008790A6EIGA08                         7C26814B:"/>
          <p:cNvPicPr preferRelativeResize="0">
            <a:picLocks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2095300" y="3807687"/>
            <a:ext cx="324159" cy="323981"/>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Textfeld 44"/>
          <p:cNvSpPr txBox="1"/>
          <p:nvPr/>
        </p:nvSpPr>
        <p:spPr bwMode="auto">
          <a:xfrm>
            <a:off x="9419767" y="6118277"/>
            <a:ext cx="5327627" cy="184613"/>
          </a:xfrm>
          <a:prstGeom prst="rect">
            <a:avLst/>
          </a:prstGeom>
          <a:noFill/>
          <a:ln w="9525">
            <a:noFill/>
            <a:miter lim="800000"/>
            <a:headEnd/>
            <a:tailEnd/>
          </a:ln>
        </p:spPr>
        <p:txBody>
          <a:bodyPr wrap="square" lIns="0" tIns="0" rIns="0" bIns="0" rtlCol="0" anchor="t" anchorCtr="0">
            <a:spAutoFit/>
          </a:bodyPr>
          <a:lstStyle/>
          <a:p>
            <a:pPr defTabSz="914309" fontAlgn="base">
              <a:spcBef>
                <a:spcPct val="0"/>
              </a:spcBef>
              <a:spcAft>
                <a:spcPct val="0"/>
              </a:spcAft>
            </a:pPr>
            <a:r>
              <a:rPr lang="en-US" sz="1199" b="1" dirty="0" smtClean="0">
                <a:solidFill>
                  <a:prstClr val="white">
                    <a:alpha val="61000"/>
                  </a:prstClr>
                </a:solidFill>
                <a:cs typeface="Daimler CS"/>
              </a:rPr>
              <a:t>*</a:t>
            </a:r>
            <a:r>
              <a:rPr lang="ru-RU" sz="1199" b="1" dirty="0" smtClean="0">
                <a:solidFill>
                  <a:prstClr val="white">
                    <a:alpha val="61000"/>
                  </a:prstClr>
                </a:solidFill>
                <a:cs typeface="Daimler CS"/>
              </a:rPr>
              <a:t>ВНУТРЕННЕ ИССЛЕДОВАНИЕ</a:t>
            </a:r>
            <a:endParaRPr lang="en-US" sz="1199" b="1" dirty="0">
              <a:solidFill>
                <a:prstClr val="white">
                  <a:alpha val="61000"/>
                </a:prstClr>
              </a:solidFill>
              <a:cs typeface="Daimler CS"/>
            </a:endParaRPr>
          </a:p>
        </p:txBody>
      </p:sp>
      <p:sp>
        <p:nvSpPr>
          <p:cNvPr id="24" name="Textfeld 23"/>
          <p:cNvSpPr txBox="1"/>
          <p:nvPr/>
        </p:nvSpPr>
        <p:spPr>
          <a:xfrm>
            <a:off x="7164636" y="2201888"/>
            <a:ext cx="2397462" cy="646074"/>
          </a:xfrm>
          <a:prstGeom prst="rect">
            <a:avLst/>
          </a:prstGeom>
          <a:noFill/>
        </p:spPr>
        <p:txBody>
          <a:bodyPr wrap="square" rtlCol="0">
            <a:spAutoFit/>
          </a:bodyPr>
          <a:lstStyle/>
          <a:p>
            <a:pPr defTabSz="914126"/>
            <a:r>
              <a:rPr lang="ru-RU" sz="1799" dirty="0" smtClean="0">
                <a:solidFill>
                  <a:schemeClr val="bg1"/>
                </a:solidFill>
                <a:latin typeface="CorpoS" pitchFamily="2" charset="0"/>
              </a:rPr>
              <a:t>БОЛЕЕ 85 ПУНКТОВ</a:t>
            </a:r>
            <a:r>
              <a:rPr lang="en-US" sz="1799" dirty="0" smtClean="0">
                <a:solidFill>
                  <a:schemeClr val="bg1"/>
                </a:solidFill>
                <a:latin typeface="CorpoS" pitchFamily="2" charset="0"/>
              </a:rPr>
              <a:t>*</a:t>
            </a:r>
            <a:endParaRPr lang="en-US" sz="1799" dirty="0">
              <a:solidFill>
                <a:schemeClr val="bg1"/>
              </a:solidFill>
              <a:latin typeface="CorpoS" pitchFamily="2" charset="0"/>
            </a:endParaRPr>
          </a:p>
        </p:txBody>
      </p:sp>
      <p:pic>
        <p:nvPicPr>
          <p:cNvPr id="47" name="Picture 2"/>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825398" y="5368431"/>
            <a:ext cx="1202852" cy="4196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 name="Picture 1058" descr="DFS180_GERMANY.png                                             008790A8EIGA08                         7C26814B:"/>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2131692" y="5444609"/>
            <a:ext cx="287767" cy="292595"/>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hteck 18"/>
          <p:cNvSpPr/>
          <p:nvPr/>
        </p:nvSpPr>
        <p:spPr>
          <a:xfrm>
            <a:off x="5175950" y="2933010"/>
            <a:ext cx="1856061" cy="1861509"/>
          </a:xfrm>
          <a:prstGeom prst="rect">
            <a:avLst/>
          </a:prstGeom>
        </p:spPr>
        <p:txBody>
          <a:bodyPr wrap="none">
            <a:spAutoFit/>
          </a:bodyPr>
          <a:lstStyle/>
          <a:p>
            <a:pPr algn="ctr" defTabSz="914126"/>
            <a:r>
              <a:rPr lang="de-DE" sz="11496" dirty="0">
                <a:solidFill>
                  <a:srgbClr val="005478"/>
                </a:solidFill>
                <a:latin typeface="CorpoS" pitchFamily="2" charset="0"/>
                <a:cs typeface="Consolas" panose="020B0609020204030204" pitchFamily="49" charset="0"/>
              </a:rPr>
              <a:t>#1</a:t>
            </a:r>
            <a:endParaRPr lang="de-DE" sz="900" dirty="0">
              <a:solidFill>
                <a:srgbClr val="005478"/>
              </a:solidFill>
              <a:latin typeface="CorpoS" pitchFamily="2" charset="0"/>
              <a:cs typeface="Consolas" panose="020B0609020204030204" pitchFamily="49" charset="0"/>
            </a:endParaRPr>
          </a:p>
        </p:txBody>
      </p:sp>
      <p:sp>
        <p:nvSpPr>
          <p:cNvPr id="3" name="Titel 2"/>
          <p:cNvSpPr>
            <a:spLocks noGrp="1"/>
          </p:cNvSpPr>
          <p:nvPr>
            <p:ph type="title"/>
          </p:nvPr>
        </p:nvSpPr>
        <p:spPr>
          <a:xfrm>
            <a:off x="216000" y="431999"/>
            <a:ext cx="10932454" cy="828000"/>
          </a:xfrm>
          <a:solidFill>
            <a:srgbClr val="005478">
              <a:alpha val="90000"/>
            </a:srgbClr>
          </a:solidFill>
        </p:spPr>
        <p:txBody>
          <a:bodyPr>
            <a:normAutofit fontScale="90000"/>
          </a:bodyPr>
          <a:lstStyle/>
          <a:p>
            <a:r>
              <a:rPr lang="ru-RU" sz="2800" b="1" dirty="0" smtClean="0">
                <a:solidFill>
                  <a:schemeClr val="bg1"/>
                </a:solidFill>
                <a:latin typeface="CorpoS" pitchFamily="2" charset="0"/>
              </a:rPr>
              <a:t>МЫ С ГОРДОСТЬЮ ДЕЛАЕМ ДИЛЕРОВ И КЛИЕНТОВ СЧАСТЛИВЫМИ</a:t>
            </a:r>
            <a:endParaRPr lang="en-US" sz="2800" b="1" dirty="0">
              <a:solidFill>
                <a:schemeClr val="bg1"/>
              </a:solidFill>
              <a:latin typeface="CorpoS" pitchFamily="2" charset="0"/>
            </a:endParaRPr>
          </a:p>
        </p:txBody>
      </p:sp>
      <p:sp>
        <p:nvSpPr>
          <p:cNvPr id="46" name="Titel 1"/>
          <p:cNvSpPr txBox="1">
            <a:spLocks/>
          </p:cNvSpPr>
          <p:nvPr/>
        </p:nvSpPr>
        <p:spPr bwMode="gray">
          <a:xfrm>
            <a:off x="628323" y="286593"/>
            <a:ext cx="10302272" cy="683857"/>
          </a:xfrm>
          <a:prstGeom prst="rect">
            <a:avLst/>
          </a:prstGeom>
        </p:spPr>
        <p:txBody>
          <a:bodyPr vert="horz" lIns="0" tIns="0" rIns="0" bIns="0" rtlCol="0" anchor="t" anchorCtr="0">
            <a:noAutofit/>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tx1"/>
                </a:solidFill>
                <a:latin typeface="+mn-lt"/>
                <a:ea typeface="+mj-ea"/>
                <a:cs typeface="+mj-cs"/>
              </a:defRPr>
            </a:lvl1pPr>
          </a:lstStyle>
          <a:p>
            <a:endParaRPr lang="de-DE" sz="2799" b="1" dirty="0"/>
          </a:p>
        </p:txBody>
      </p:sp>
    </p:spTree>
    <p:extLst>
      <p:ext uri="{BB962C8B-B14F-4D97-AF65-F5344CB8AC3E}">
        <p14:creationId xmlns:p14="http://schemas.microsoft.com/office/powerpoint/2010/main" val="1765530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en-US"/>
          </a:p>
        </p:txBody>
      </p:sp>
      <p:pic>
        <p:nvPicPr>
          <p:cNvPr id="5" name="Bild 93"/>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1493" y="-8336"/>
            <a:ext cx="12213494" cy="6866335"/>
          </a:xfrm>
          <a:prstGeom prst="rect">
            <a:avLst/>
          </a:prstGeom>
        </p:spPr>
      </p:pic>
      <p:sp>
        <p:nvSpPr>
          <p:cNvPr id="6" name="Rechteck 5"/>
          <p:cNvSpPr/>
          <p:nvPr/>
        </p:nvSpPr>
        <p:spPr>
          <a:xfrm>
            <a:off x="1901069" y="1438291"/>
            <a:ext cx="7505575" cy="4940225"/>
          </a:xfrm>
          <a:prstGeom prst="rect">
            <a:avLst/>
          </a:prstGeom>
          <a:solidFill>
            <a:schemeClr val="accent1">
              <a:alpha val="15000"/>
            </a:schemeClr>
          </a:solidFill>
          <a:ln w="190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7" name="Rechteck 6">
            <a:extLst>
              <a:ext uri="{FF2B5EF4-FFF2-40B4-BE49-F238E27FC236}">
                <a16:creationId xmlns:a16="http://schemas.microsoft.com/office/drawing/2014/main" id="{8C1BF6C6-8BA2-C347-B86F-7832FCF54DA9}"/>
              </a:ext>
            </a:extLst>
          </p:cNvPr>
          <p:cNvSpPr/>
          <p:nvPr/>
        </p:nvSpPr>
        <p:spPr>
          <a:xfrm>
            <a:off x="609600" y="2376000"/>
            <a:ext cx="1240640" cy="3564000"/>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sz="1599" dirty="0">
              <a:solidFill>
                <a:srgbClr val="FFC000"/>
              </a:solidFill>
              <a:ea typeface="CorporateS-Regular" charset="0"/>
              <a:cs typeface="CorporateS-Regular" charset="0"/>
            </a:endParaRPr>
          </a:p>
        </p:txBody>
      </p:sp>
      <p:sp>
        <p:nvSpPr>
          <p:cNvPr id="8" name="Rechteck 7">
            <a:extLst>
              <a:ext uri="{FF2B5EF4-FFF2-40B4-BE49-F238E27FC236}">
                <a16:creationId xmlns:a16="http://schemas.microsoft.com/office/drawing/2014/main" id="{ABF2841C-77A4-C146-B796-4F4AE608B997}"/>
              </a:ext>
            </a:extLst>
          </p:cNvPr>
          <p:cNvSpPr/>
          <p:nvPr/>
        </p:nvSpPr>
        <p:spPr>
          <a:xfrm>
            <a:off x="2094811" y="1650471"/>
            <a:ext cx="2266819" cy="4317751"/>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sz="1599" dirty="0">
              <a:solidFill>
                <a:srgbClr val="FFC000"/>
              </a:solidFill>
              <a:ea typeface="CorporateS-Regular" charset="0"/>
              <a:cs typeface="CorporateS-Regular" charset="0"/>
            </a:endParaRPr>
          </a:p>
        </p:txBody>
      </p:sp>
      <p:sp>
        <p:nvSpPr>
          <p:cNvPr id="9" name="Rechteck 8">
            <a:extLst>
              <a:ext uri="{FF2B5EF4-FFF2-40B4-BE49-F238E27FC236}">
                <a16:creationId xmlns:a16="http://schemas.microsoft.com/office/drawing/2014/main" id="{9EA7CBF8-1C3D-DC40-A368-86C880202CDC}"/>
              </a:ext>
            </a:extLst>
          </p:cNvPr>
          <p:cNvSpPr/>
          <p:nvPr/>
        </p:nvSpPr>
        <p:spPr>
          <a:xfrm>
            <a:off x="4523823" y="1650471"/>
            <a:ext cx="2266819" cy="4317751"/>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sz="1599" dirty="0">
              <a:solidFill>
                <a:srgbClr val="FFC000"/>
              </a:solidFill>
              <a:ea typeface="CorporateS-Regular" charset="0"/>
              <a:cs typeface="CorporateS-Regular" charset="0"/>
            </a:endParaRPr>
          </a:p>
        </p:txBody>
      </p:sp>
      <p:sp>
        <p:nvSpPr>
          <p:cNvPr id="10" name="Rechteck 9">
            <a:extLst>
              <a:ext uri="{FF2B5EF4-FFF2-40B4-BE49-F238E27FC236}">
                <a16:creationId xmlns:a16="http://schemas.microsoft.com/office/drawing/2014/main" id="{7F7D559C-B1A5-8945-8029-783922F1E88B}"/>
              </a:ext>
            </a:extLst>
          </p:cNvPr>
          <p:cNvSpPr/>
          <p:nvPr/>
        </p:nvSpPr>
        <p:spPr>
          <a:xfrm>
            <a:off x="6952835" y="1650471"/>
            <a:ext cx="2266819" cy="4317751"/>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sz="1599" dirty="0">
              <a:solidFill>
                <a:srgbClr val="FFC000"/>
              </a:solidFill>
              <a:ea typeface="CorporateS-Regular" charset="0"/>
              <a:cs typeface="CorporateS-Regular" charset="0"/>
            </a:endParaRPr>
          </a:p>
        </p:txBody>
      </p:sp>
      <p:sp>
        <p:nvSpPr>
          <p:cNvPr id="11" name="Rechteck 56"/>
          <p:cNvSpPr/>
          <p:nvPr/>
        </p:nvSpPr>
        <p:spPr bwMode="gray">
          <a:xfrm>
            <a:off x="7276451" y="3135370"/>
            <a:ext cx="1607700" cy="922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de-DE" sz="1199" dirty="0" smtClean="0">
                <a:solidFill>
                  <a:schemeClr val="bg1"/>
                </a:solidFill>
                <a:latin typeface="CorpoS" pitchFamily="2" charset="0"/>
                <a:ea typeface="CorporateS-Regular" charset="0"/>
                <a:cs typeface="CorporateS-Regular" charset="0"/>
              </a:rPr>
              <a:t>“</a:t>
            </a:r>
            <a:r>
              <a:rPr lang="ru-RU" sz="1199" dirty="0" smtClean="0">
                <a:solidFill>
                  <a:schemeClr val="bg1"/>
                </a:solidFill>
                <a:latin typeface="CorpoS" pitchFamily="2" charset="0"/>
                <a:ea typeface="CorporateS-Regular" charset="0"/>
                <a:cs typeface="CorporateS-Regular" charset="0"/>
              </a:rPr>
              <a:t>Кто-то должен предлагать клиентам индивидуальные услуги мобильности»</a:t>
            </a:r>
            <a:endParaRPr lang="de-DE" sz="1199" dirty="0">
              <a:solidFill>
                <a:schemeClr val="bg1"/>
              </a:solidFill>
              <a:latin typeface="CorpoS" pitchFamily="2" charset="0"/>
              <a:ea typeface="CorporateS-Regular" charset="0"/>
              <a:cs typeface="CorporateS-Regular" charset="0"/>
            </a:endParaRPr>
          </a:p>
        </p:txBody>
      </p:sp>
      <p:sp>
        <p:nvSpPr>
          <p:cNvPr id="12" name="Rechteck 30"/>
          <p:cNvSpPr/>
          <p:nvPr/>
        </p:nvSpPr>
        <p:spPr bwMode="gray">
          <a:xfrm>
            <a:off x="7276451" y="2559562"/>
            <a:ext cx="1607700" cy="3598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80000"/>
              </a:lnSpc>
            </a:pPr>
            <a:r>
              <a:rPr lang="ru-RU" sz="1599" b="1" dirty="0" smtClean="0">
                <a:solidFill>
                  <a:schemeClr val="bg1"/>
                </a:solidFill>
                <a:latin typeface="CorpoS" pitchFamily="2" charset="0"/>
                <a:ea typeface="CorporateS-Regular" charset="0"/>
                <a:cs typeface="CorporateS-Regular" charset="0"/>
              </a:rPr>
              <a:t>СЕРВИСНАЯ ПЛАТФОРМА</a:t>
            </a:r>
            <a:endParaRPr lang="de-DE" sz="1599" b="1" dirty="0">
              <a:solidFill>
                <a:schemeClr val="bg1"/>
              </a:solidFill>
              <a:latin typeface="CorpoS" pitchFamily="2" charset="0"/>
              <a:ea typeface="CorporateS-Regular" charset="0"/>
              <a:cs typeface="CorporateS-Regular" charset="0"/>
            </a:endParaRPr>
          </a:p>
        </p:txBody>
      </p:sp>
      <p:sp>
        <p:nvSpPr>
          <p:cNvPr id="13" name="Rechteck 55"/>
          <p:cNvSpPr/>
          <p:nvPr/>
        </p:nvSpPr>
        <p:spPr bwMode="gray">
          <a:xfrm>
            <a:off x="5046608" y="3135370"/>
            <a:ext cx="1295821" cy="9228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de-DE" sz="1199" dirty="0" smtClean="0">
                <a:solidFill>
                  <a:schemeClr val="bg1"/>
                </a:solidFill>
                <a:latin typeface="CorpoS" pitchFamily="2" charset="0"/>
                <a:ea typeface="CorporateS-Regular" charset="0"/>
                <a:cs typeface="CorporateS-Regular" charset="0"/>
              </a:rPr>
              <a:t>“</a:t>
            </a:r>
            <a:r>
              <a:rPr lang="ru-RU" sz="1199" dirty="0" smtClean="0">
                <a:solidFill>
                  <a:schemeClr val="bg1"/>
                </a:solidFill>
                <a:latin typeface="CorpoS" pitchFamily="2" charset="0"/>
                <a:ea typeface="CorporateS-Regular" charset="0"/>
                <a:cs typeface="CorporateS-Regular" charset="0"/>
              </a:rPr>
              <a:t>Кто-то должен заботиться об автомобилях</a:t>
            </a:r>
            <a:r>
              <a:rPr lang="de-DE" sz="1199" dirty="0" smtClean="0">
                <a:solidFill>
                  <a:schemeClr val="bg1"/>
                </a:solidFill>
                <a:latin typeface="CorpoS" pitchFamily="2" charset="0"/>
                <a:ea typeface="CorporateS-Regular" charset="0"/>
                <a:cs typeface="CorporateS-Regular" charset="0"/>
              </a:rPr>
              <a:t>”</a:t>
            </a:r>
            <a:endParaRPr lang="de-DE" sz="1199" dirty="0">
              <a:solidFill>
                <a:schemeClr val="bg1"/>
              </a:solidFill>
              <a:latin typeface="CorpoS" pitchFamily="2" charset="0"/>
              <a:ea typeface="CorporateS-Regular" charset="0"/>
              <a:cs typeface="CorporateS-Regular" charset="0"/>
            </a:endParaRPr>
          </a:p>
        </p:txBody>
      </p:sp>
      <p:sp>
        <p:nvSpPr>
          <p:cNvPr id="14" name="Rechteck 41"/>
          <p:cNvSpPr/>
          <p:nvPr/>
        </p:nvSpPr>
        <p:spPr bwMode="gray">
          <a:xfrm>
            <a:off x="4872770" y="2559562"/>
            <a:ext cx="1643499" cy="3598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80000"/>
              </a:lnSpc>
            </a:pPr>
            <a:r>
              <a:rPr lang="ru-RU" sz="1599" b="1" dirty="0" smtClean="0">
                <a:solidFill>
                  <a:schemeClr val="bg1"/>
                </a:solidFill>
                <a:latin typeface="CorpoS" pitchFamily="2" charset="0"/>
                <a:ea typeface="CorporateS-Regular" charset="0"/>
                <a:cs typeface="CorporateS-Regular" charset="0"/>
              </a:rPr>
              <a:t>ОПЕРАТОР АВТОПАРКА</a:t>
            </a:r>
            <a:endParaRPr lang="de-DE" sz="1599" b="1" dirty="0">
              <a:solidFill>
                <a:schemeClr val="bg1"/>
              </a:solidFill>
              <a:latin typeface="CorpoS" pitchFamily="2" charset="0"/>
              <a:ea typeface="CorporateS-Regular" charset="0"/>
              <a:cs typeface="CorporateS-Regular" charset="0"/>
            </a:endParaRPr>
          </a:p>
        </p:txBody>
      </p:sp>
      <p:sp>
        <p:nvSpPr>
          <p:cNvPr id="15" name="Rechteck 98"/>
          <p:cNvSpPr/>
          <p:nvPr/>
        </p:nvSpPr>
        <p:spPr bwMode="gray">
          <a:xfrm>
            <a:off x="2516873" y="3135370"/>
            <a:ext cx="1398308" cy="9228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de-DE" sz="1199" dirty="0" smtClean="0">
                <a:solidFill>
                  <a:schemeClr val="bg1"/>
                </a:solidFill>
                <a:latin typeface="CorpoS" pitchFamily="2" charset="0"/>
                <a:ea typeface="CorporateS-Regular" charset="0"/>
                <a:cs typeface="CorporateS-Regular" charset="0"/>
              </a:rPr>
              <a:t>“</a:t>
            </a:r>
            <a:r>
              <a:rPr lang="ru-RU" sz="1199" dirty="0" smtClean="0">
                <a:solidFill>
                  <a:schemeClr val="bg1"/>
                </a:solidFill>
                <a:latin typeface="CorpoS" pitchFamily="2" charset="0"/>
                <a:ea typeface="CorporateS-Regular" charset="0"/>
                <a:cs typeface="CorporateS-Regular" charset="0"/>
              </a:rPr>
              <a:t>Кто-то должен платить и владеть автомобилем</a:t>
            </a:r>
            <a:r>
              <a:rPr lang="de-DE" sz="1199" dirty="0" smtClean="0">
                <a:solidFill>
                  <a:schemeClr val="bg1"/>
                </a:solidFill>
                <a:latin typeface="CorpoS" pitchFamily="2" charset="0"/>
                <a:ea typeface="CorporateS-Regular" charset="0"/>
                <a:cs typeface="CorporateS-Regular" charset="0"/>
              </a:rPr>
              <a:t>”</a:t>
            </a:r>
            <a:endParaRPr lang="de-DE" sz="1199" dirty="0">
              <a:solidFill>
                <a:schemeClr val="bg1"/>
              </a:solidFill>
              <a:latin typeface="CorpoS" pitchFamily="2" charset="0"/>
              <a:ea typeface="CorporateS-Regular" charset="0"/>
              <a:cs typeface="CorporateS-Regular" charset="0"/>
            </a:endParaRPr>
          </a:p>
        </p:txBody>
      </p:sp>
      <p:sp>
        <p:nvSpPr>
          <p:cNvPr id="16" name="Rechteck 36"/>
          <p:cNvSpPr/>
          <p:nvPr/>
        </p:nvSpPr>
        <p:spPr bwMode="gray">
          <a:xfrm>
            <a:off x="2394278" y="2559562"/>
            <a:ext cx="1643499" cy="3598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80000"/>
              </a:lnSpc>
            </a:pPr>
            <a:r>
              <a:rPr lang="ru-RU" sz="1599" b="1" dirty="0" smtClean="0">
                <a:solidFill>
                  <a:schemeClr val="bg1"/>
                </a:solidFill>
                <a:latin typeface="CorpoS" pitchFamily="2" charset="0"/>
                <a:ea typeface="CorporateS-Regular" charset="0"/>
                <a:cs typeface="CorporateS-Regular" charset="0"/>
              </a:rPr>
              <a:t>ПОСТАВЩИК АКТИВОВ</a:t>
            </a:r>
            <a:endParaRPr lang="de-DE" sz="1599" b="1" dirty="0">
              <a:solidFill>
                <a:schemeClr val="bg1"/>
              </a:solidFill>
              <a:latin typeface="CorpoS" pitchFamily="2" charset="0"/>
              <a:ea typeface="CorporateS-Regular" charset="0"/>
              <a:cs typeface="CorporateS-Regular" charset="0"/>
            </a:endParaRPr>
          </a:p>
        </p:txBody>
      </p:sp>
      <p:sp>
        <p:nvSpPr>
          <p:cNvPr id="17" name="Rechteck 54"/>
          <p:cNvSpPr/>
          <p:nvPr/>
        </p:nvSpPr>
        <p:spPr bwMode="gray">
          <a:xfrm>
            <a:off x="822708" y="3168000"/>
            <a:ext cx="916167" cy="9228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de-DE" sz="1200" dirty="0" smtClean="0">
                <a:solidFill>
                  <a:schemeClr val="bg1"/>
                </a:solidFill>
                <a:latin typeface="CorpoS" pitchFamily="2" charset="0"/>
                <a:ea typeface="CorporateS-Regular" charset="0"/>
                <a:cs typeface="CorporateS-Regular" charset="0"/>
              </a:rPr>
              <a:t>“</a:t>
            </a:r>
            <a:r>
              <a:rPr lang="ru-RU" sz="1200" dirty="0" smtClean="0">
                <a:solidFill>
                  <a:schemeClr val="bg1"/>
                </a:solidFill>
                <a:latin typeface="CorpoS" pitchFamily="2" charset="0"/>
                <a:ea typeface="CorporateS-Regular" charset="0"/>
                <a:cs typeface="CorporateS-Regular" charset="0"/>
              </a:rPr>
              <a:t>Кто-то должен производить и продавать машины</a:t>
            </a:r>
            <a:r>
              <a:rPr lang="de-DE" sz="1200" dirty="0" smtClean="0">
                <a:solidFill>
                  <a:schemeClr val="bg1"/>
                </a:solidFill>
                <a:latin typeface="CorpoS" pitchFamily="2" charset="0"/>
                <a:ea typeface="CorporateS-Regular" charset="0"/>
                <a:cs typeface="CorporateS-Regular" charset="0"/>
              </a:rPr>
              <a:t>”</a:t>
            </a:r>
            <a:endParaRPr lang="de-DE" sz="1200" dirty="0">
              <a:solidFill>
                <a:schemeClr val="bg1"/>
              </a:solidFill>
              <a:latin typeface="CorpoS" pitchFamily="2" charset="0"/>
              <a:ea typeface="CorporateS-Regular" charset="0"/>
              <a:cs typeface="CorporateS-Regular" charset="0"/>
            </a:endParaRPr>
          </a:p>
        </p:txBody>
      </p:sp>
      <p:sp>
        <p:nvSpPr>
          <p:cNvPr id="18" name="Rechteck 25"/>
          <p:cNvSpPr/>
          <p:nvPr/>
        </p:nvSpPr>
        <p:spPr bwMode="gray">
          <a:xfrm>
            <a:off x="665570" y="2513909"/>
            <a:ext cx="1149446" cy="3598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80000"/>
              </a:lnSpc>
            </a:pPr>
            <a:r>
              <a:rPr lang="ru-RU" sz="1200" b="1" dirty="0" smtClean="0">
                <a:solidFill>
                  <a:schemeClr val="bg1"/>
                </a:solidFill>
                <a:latin typeface="CorpoS" pitchFamily="2" charset="0"/>
                <a:ea typeface="CorporateS-Regular" charset="0"/>
                <a:cs typeface="CorporateS-Regular" charset="0"/>
              </a:rPr>
              <a:t>АВТОПРОИЗВОДИТЕЛЬ</a:t>
            </a:r>
            <a:endParaRPr lang="de-DE" sz="1200" b="1" dirty="0">
              <a:solidFill>
                <a:schemeClr val="bg1"/>
              </a:solidFill>
              <a:latin typeface="CorpoS" pitchFamily="2" charset="0"/>
              <a:ea typeface="CorporateS-Regular" charset="0"/>
              <a:cs typeface="CorporateS-Regular" charset="0"/>
            </a:endParaRPr>
          </a:p>
        </p:txBody>
      </p:sp>
      <p:sp>
        <p:nvSpPr>
          <p:cNvPr id="20" name="Rechteck 19"/>
          <p:cNvSpPr/>
          <p:nvPr/>
        </p:nvSpPr>
        <p:spPr>
          <a:xfrm>
            <a:off x="554919" y="671983"/>
            <a:ext cx="184635" cy="399902"/>
          </a:xfrm>
          <a:prstGeom prst="rect">
            <a:avLst/>
          </a:prstGeom>
        </p:spPr>
        <p:txBody>
          <a:bodyPr wrap="none">
            <a:spAutoFit/>
          </a:bodyPr>
          <a:lstStyle/>
          <a:p>
            <a:endParaRPr lang="de-DE" sz="1999" b="1" dirty="0">
              <a:ea typeface="CorporateS-Regular" charset="0"/>
              <a:cs typeface="CorporateS-Regular" charset="0"/>
            </a:endParaRPr>
          </a:p>
        </p:txBody>
      </p:sp>
      <p:sp>
        <p:nvSpPr>
          <p:cNvPr id="21" name="Textplatzhalter 4"/>
          <p:cNvSpPr txBox="1">
            <a:spLocks/>
          </p:cNvSpPr>
          <p:nvPr/>
        </p:nvSpPr>
        <p:spPr>
          <a:xfrm>
            <a:off x="2079974" y="5968542"/>
            <a:ext cx="7326669" cy="329407"/>
          </a:xfrm>
          <a:prstGeom prst="homePlate">
            <a:avLst/>
          </a:prstGeom>
          <a:solidFill>
            <a:schemeClr val="bg1">
              <a:alpha val="81000"/>
            </a:schemeClr>
          </a:solidFill>
          <a:ln w="12700">
            <a:noFill/>
          </a:ln>
        </p:spPr>
        <p:txBody>
          <a:bodyPr vert="horz" lIns="107944" tIns="107944" rIns="107944" bIns="107944" rtlCol="0" anchor="ctr" anchorCtr="0">
            <a:noAutofit/>
          </a:bodyPr>
          <a:lstStyle>
            <a:lvl1pPr marL="360000" indent="-360000" algn="l" defTabSz="1088959" rtl="0" eaLnBrk="1" latinLnBrk="0" hangingPunct="1">
              <a:lnSpc>
                <a:spcPts val="3200"/>
              </a:lnSpc>
              <a:spcBef>
                <a:spcPts val="0"/>
              </a:spcBef>
              <a:buSzPct val="100000"/>
              <a:buFont typeface="+mj-lt"/>
              <a:buAutoNum type="arabicPeriod"/>
              <a:defRPr sz="2400" kern="1200">
                <a:solidFill>
                  <a:schemeClr val="tx1"/>
                </a:solidFill>
                <a:latin typeface="+mn-lt"/>
                <a:ea typeface="+mn-ea"/>
                <a:cs typeface="+mn-cs"/>
              </a:defRPr>
            </a:lvl1pPr>
            <a:lvl2pPr marL="360000" indent="-360000" algn="l" defTabSz="1088959" rtl="0" eaLnBrk="1" latinLnBrk="0" hangingPunct="1">
              <a:lnSpc>
                <a:spcPts val="3200"/>
              </a:lnSpc>
              <a:spcBef>
                <a:spcPts val="0"/>
              </a:spcBef>
              <a:buFont typeface="+mj-lt"/>
              <a:buAutoNum type="arabicPeriod"/>
              <a:defRPr sz="2400" kern="1200">
                <a:solidFill>
                  <a:schemeClr val="tx1"/>
                </a:solidFill>
                <a:latin typeface="+mn-lt"/>
                <a:ea typeface="+mn-ea"/>
                <a:cs typeface="+mn-cs"/>
              </a:defRPr>
            </a:lvl2pPr>
            <a:lvl3pPr marL="360000" indent="-360000" algn="l" defTabSz="1088959" rtl="0" eaLnBrk="1" latinLnBrk="0" hangingPunct="1">
              <a:lnSpc>
                <a:spcPts val="3200"/>
              </a:lnSpc>
              <a:spcBef>
                <a:spcPts val="0"/>
              </a:spcBef>
              <a:buFont typeface="+mj-lt"/>
              <a:buAutoNum type="arabicPeriod"/>
              <a:defRPr sz="2400" kern="1200">
                <a:solidFill>
                  <a:schemeClr val="tx1"/>
                </a:solidFill>
                <a:latin typeface="+mn-lt"/>
                <a:ea typeface="+mn-ea"/>
                <a:cs typeface="+mn-cs"/>
              </a:defRPr>
            </a:lvl3pPr>
            <a:lvl4pPr marL="360000" indent="-360000" algn="l" defTabSz="1088959" rtl="0" eaLnBrk="1" latinLnBrk="0" hangingPunct="1">
              <a:lnSpc>
                <a:spcPts val="3200"/>
              </a:lnSpc>
              <a:spcBef>
                <a:spcPts val="0"/>
              </a:spcBef>
              <a:buFont typeface="+mj-lt"/>
              <a:buAutoNum type="arabicPeriod"/>
              <a:defRPr sz="2400" kern="1200">
                <a:solidFill>
                  <a:schemeClr val="tx1"/>
                </a:solidFill>
                <a:latin typeface="+mn-lt"/>
                <a:ea typeface="+mn-ea"/>
                <a:cs typeface="+mn-cs"/>
              </a:defRPr>
            </a:lvl4pPr>
            <a:lvl5pPr marL="360000" indent="-360000" algn="l" defTabSz="1088959" rtl="0" eaLnBrk="1" latinLnBrk="0" hangingPunct="1">
              <a:lnSpc>
                <a:spcPts val="3200"/>
              </a:lnSpc>
              <a:spcBef>
                <a:spcPts val="0"/>
              </a:spcBef>
              <a:buFont typeface="+mj-lt"/>
              <a:buAutoNum type="arabicPeriod"/>
              <a:defRPr sz="2400" kern="1200">
                <a:solidFill>
                  <a:schemeClr val="tx1"/>
                </a:solidFill>
                <a:latin typeface="+mn-lt"/>
                <a:ea typeface="+mn-ea"/>
                <a:cs typeface="+mn-cs"/>
              </a:defRPr>
            </a:lvl5pPr>
            <a:lvl6pPr marL="360000" indent="-360000" algn="l" defTabSz="1088959" rtl="0" eaLnBrk="1" latinLnBrk="0" hangingPunct="1">
              <a:lnSpc>
                <a:spcPts val="3200"/>
              </a:lnSpc>
              <a:spcBef>
                <a:spcPts val="0"/>
              </a:spcBef>
              <a:buFont typeface="+mj-lt"/>
              <a:buAutoNum type="arabicPeriod"/>
              <a:defRPr sz="2400" kern="1200">
                <a:solidFill>
                  <a:schemeClr val="tx1"/>
                </a:solidFill>
                <a:latin typeface="+mn-lt"/>
                <a:ea typeface="+mn-ea"/>
                <a:cs typeface="+mn-cs"/>
              </a:defRPr>
            </a:lvl6pPr>
            <a:lvl7pPr marL="360000" indent="-360000" algn="l" defTabSz="1088959" rtl="0" eaLnBrk="1" latinLnBrk="0" hangingPunct="1">
              <a:lnSpc>
                <a:spcPts val="3200"/>
              </a:lnSpc>
              <a:spcBef>
                <a:spcPts val="0"/>
              </a:spcBef>
              <a:buFont typeface="+mj-lt"/>
              <a:buAutoNum type="arabicPeriod"/>
              <a:defRPr sz="2400" kern="1200">
                <a:solidFill>
                  <a:schemeClr val="tx1"/>
                </a:solidFill>
                <a:latin typeface="+mn-lt"/>
                <a:ea typeface="+mn-ea"/>
                <a:cs typeface="+mn-cs"/>
              </a:defRPr>
            </a:lvl7pPr>
            <a:lvl8pPr marL="360000" indent="-360000" algn="l" defTabSz="1088959" rtl="0" eaLnBrk="1" latinLnBrk="0" hangingPunct="1">
              <a:lnSpc>
                <a:spcPts val="3200"/>
              </a:lnSpc>
              <a:spcBef>
                <a:spcPts val="0"/>
              </a:spcBef>
              <a:buFont typeface="+mj-lt"/>
              <a:buAutoNum type="arabicPeriod"/>
              <a:defRPr sz="2400" kern="1200">
                <a:solidFill>
                  <a:schemeClr val="tx1"/>
                </a:solidFill>
                <a:latin typeface="+mn-lt"/>
                <a:ea typeface="+mn-ea"/>
                <a:cs typeface="+mn-cs"/>
              </a:defRPr>
            </a:lvl8pPr>
            <a:lvl9pPr marL="360000" indent="-360000" algn="l" defTabSz="1088959" rtl="0" eaLnBrk="1" latinLnBrk="0" hangingPunct="1">
              <a:lnSpc>
                <a:spcPts val="3200"/>
              </a:lnSpc>
              <a:spcBef>
                <a:spcPts val="0"/>
              </a:spcBef>
              <a:buFont typeface="+mj-lt"/>
              <a:buAutoNum type="arabicPeriod"/>
              <a:defRPr sz="2400" kern="1200">
                <a:solidFill>
                  <a:schemeClr val="tx1"/>
                </a:solidFill>
                <a:latin typeface="+mn-lt"/>
                <a:ea typeface="+mn-ea"/>
                <a:cs typeface="+mn-cs"/>
              </a:defRPr>
            </a:lvl9pPr>
          </a:lstStyle>
          <a:p>
            <a:pPr marL="0" indent="0" algn="ctr">
              <a:lnSpc>
                <a:spcPct val="100000"/>
              </a:lnSpc>
              <a:buNone/>
            </a:pPr>
            <a:r>
              <a:rPr lang="ru-RU" sz="1599" cap="all" noProof="1" smtClean="0">
                <a:ea typeface="CorporateS-Regular" charset="0"/>
                <a:cs typeface="CorporateS-Regular" charset="0"/>
              </a:rPr>
              <a:t>ТЕКУЩИЙ ОХВАТ БИЗНЕСА </a:t>
            </a:r>
            <a:r>
              <a:rPr lang="en-US" sz="1599" cap="all" noProof="1" smtClean="0">
                <a:ea typeface="CorporateS-Regular" charset="0"/>
                <a:cs typeface="CorporateS-Regular" charset="0"/>
              </a:rPr>
              <a:t>DAIMLER FINANCIAL SERVICES</a:t>
            </a:r>
            <a:endParaRPr lang="de-DE" sz="1599" cap="all" noProof="1">
              <a:ea typeface="CorporateS-Regular" charset="0"/>
              <a:cs typeface="CorporateS-Regular" charset="0"/>
            </a:endParaRPr>
          </a:p>
        </p:txBody>
      </p:sp>
      <p:pic>
        <p:nvPicPr>
          <p:cNvPr id="22" name="Grafik 21">
            <a:extLst>
              <a:ext uri="{FF2B5EF4-FFF2-40B4-BE49-F238E27FC236}">
                <a16:creationId xmlns:a16="http://schemas.microsoft.com/office/drawing/2014/main" id="{FC2E685B-B673-A445-8571-88E83840936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5065848" y="3880007"/>
            <a:ext cx="1257342" cy="692449"/>
          </a:xfrm>
          <a:prstGeom prst="rect">
            <a:avLst/>
          </a:prstGeom>
        </p:spPr>
      </p:pic>
      <p:pic>
        <p:nvPicPr>
          <p:cNvPr id="24" name="Picture 2">
            <a:extLst>
              <a:ext uri="{FF2B5EF4-FFF2-40B4-BE49-F238E27FC236}">
                <a16:creationId xmlns:a16="http://schemas.microsoft.com/office/drawing/2014/main" id="{D9C3AABD-5C86-0746-8618-845107B14215}"/>
              </a:ext>
            </a:extLst>
          </p:cNvPr>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5065368" y="4538895"/>
            <a:ext cx="1258301" cy="107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23" descr="P:\Projekte\Daimler\48_DFS_POLISHING\_BILDER\_ORIGINALE\2013-Mercedes-SL-Silver-Top.png">
            <a:extLst>
              <a:ext uri="{FF2B5EF4-FFF2-40B4-BE49-F238E27FC236}">
                <a16:creationId xmlns:a16="http://schemas.microsoft.com/office/drawing/2014/main" id="{122EDE44-91D1-3146-8135-A096AD41E8C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gray">
          <a:xfrm>
            <a:off x="762091" y="1800000"/>
            <a:ext cx="937857" cy="52657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6" descr="P:\Projekte\Daimler\60_DFS_CAPITAL_MARKET_DAY\02_UMSETZUNG\_Data\key.png">
            <a:extLst>
              <a:ext uri="{FF2B5EF4-FFF2-40B4-BE49-F238E27FC236}">
                <a16:creationId xmlns:a16="http://schemas.microsoft.com/office/drawing/2014/main" id="{706F0A86-D84D-0845-A742-8099DB8D4814}"/>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gray">
          <a:xfrm rot="21328210">
            <a:off x="2687387" y="1759920"/>
            <a:ext cx="1100688" cy="73345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1">
            <a:extLst>
              <a:ext uri="{FF2B5EF4-FFF2-40B4-BE49-F238E27FC236}">
                <a16:creationId xmlns:a16="http://schemas.microsoft.com/office/drawing/2014/main" id="{82FEB75E-A7A8-8A41-BDCB-AE3DB9AA845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bwMode="gray">
          <a:xfrm>
            <a:off x="7319499" y="2139768"/>
            <a:ext cx="1063206" cy="415678"/>
          </a:xfrm>
          <a:prstGeom prst="rect">
            <a:avLst/>
          </a:prstGeom>
        </p:spPr>
      </p:pic>
      <p:sp>
        <p:nvSpPr>
          <p:cNvPr id="28" name="Rechteck 27">
            <a:extLst>
              <a:ext uri="{FF2B5EF4-FFF2-40B4-BE49-F238E27FC236}">
                <a16:creationId xmlns:a16="http://schemas.microsoft.com/office/drawing/2014/main" id="{514EE27C-AD16-5A4F-9163-AD5CA5C5E97A}"/>
              </a:ext>
            </a:extLst>
          </p:cNvPr>
          <p:cNvSpPr/>
          <p:nvPr/>
        </p:nvSpPr>
        <p:spPr>
          <a:xfrm>
            <a:off x="6766977" y="5267523"/>
            <a:ext cx="164913" cy="24788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fontAlgn="base">
              <a:spcBef>
                <a:spcPct val="0"/>
              </a:spcBef>
              <a:spcAft>
                <a:spcPct val="0"/>
              </a:spcAft>
            </a:pPr>
            <a:endParaRPr lang="de-DE" sz="1199" dirty="0">
              <a:solidFill>
                <a:schemeClr val="bg1">
                  <a:alpha val="70000"/>
                </a:schemeClr>
              </a:solidFill>
              <a:ea typeface="CorporateS-Regular" charset="0"/>
              <a:cs typeface="CorporateS-Regular" charset="0"/>
            </a:endParaRPr>
          </a:p>
        </p:txBody>
      </p:sp>
      <p:sp>
        <p:nvSpPr>
          <p:cNvPr id="29" name="Rechteck 28">
            <a:extLst>
              <a:ext uri="{FF2B5EF4-FFF2-40B4-BE49-F238E27FC236}">
                <a16:creationId xmlns:a16="http://schemas.microsoft.com/office/drawing/2014/main" id="{4CEFE4FA-A7BC-6A4D-9657-6EB6877AA931}"/>
              </a:ext>
            </a:extLst>
          </p:cNvPr>
          <p:cNvSpPr/>
          <p:nvPr/>
        </p:nvSpPr>
        <p:spPr>
          <a:xfrm>
            <a:off x="10008335" y="2376000"/>
            <a:ext cx="1648800" cy="3564000"/>
          </a:xfrm>
          <a:prstGeom prst="rect">
            <a:avLst/>
          </a:prstGeom>
          <a:solidFill>
            <a:srgbClr val="00547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sz="1599" dirty="0">
              <a:solidFill>
                <a:srgbClr val="FFC000"/>
              </a:solidFill>
              <a:ea typeface="CorporateS-Regular" charset="0"/>
              <a:cs typeface="CorporateS-Regular" charset="0"/>
            </a:endParaRPr>
          </a:p>
        </p:txBody>
      </p:sp>
      <p:sp>
        <p:nvSpPr>
          <p:cNvPr id="30" name="Rechteck 58"/>
          <p:cNvSpPr/>
          <p:nvPr>
            <p:custDataLst>
              <p:tags r:id="rId1"/>
            </p:custDataLst>
          </p:nvPr>
        </p:nvSpPr>
        <p:spPr bwMode="gray">
          <a:xfrm>
            <a:off x="10300931" y="3168001"/>
            <a:ext cx="1063608" cy="9228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ru-RU" sz="1199" dirty="0" smtClean="0">
                <a:solidFill>
                  <a:schemeClr val="bg1"/>
                </a:solidFill>
                <a:latin typeface="CorpoS" pitchFamily="2" charset="0"/>
                <a:ea typeface="CorporateS-Regular" charset="0"/>
                <a:cs typeface="CorporateS-Regular" charset="0"/>
              </a:rPr>
              <a:t>Потребление мобильности как услуги</a:t>
            </a:r>
            <a:r>
              <a:rPr lang="en-US" sz="1199" dirty="0" smtClean="0">
                <a:solidFill>
                  <a:schemeClr val="bg1"/>
                </a:solidFill>
                <a:latin typeface="CorpoS" pitchFamily="2" charset="0"/>
                <a:ea typeface="CorporateS-Regular" charset="0"/>
                <a:cs typeface="CorporateS-Regular" charset="0"/>
              </a:rPr>
              <a:t>/</a:t>
            </a:r>
            <a:r>
              <a:rPr lang="ru-RU" sz="1199" dirty="0" smtClean="0">
                <a:solidFill>
                  <a:schemeClr val="bg1"/>
                </a:solidFill>
                <a:latin typeface="CorpoS" pitchFamily="2" charset="0"/>
                <a:ea typeface="CorporateS-Regular" charset="0"/>
                <a:cs typeface="CorporateS-Regular" charset="0"/>
              </a:rPr>
              <a:t>автономные автомобили</a:t>
            </a:r>
            <a:endParaRPr lang="de-DE" sz="1199" b="1" dirty="0">
              <a:solidFill>
                <a:schemeClr val="bg1"/>
              </a:solidFill>
              <a:latin typeface="CorpoS" pitchFamily="2" charset="0"/>
              <a:ea typeface="CorporateS-Regular" charset="0"/>
              <a:cs typeface="CorporateS-Regular" charset="0"/>
            </a:endParaRPr>
          </a:p>
        </p:txBody>
      </p:sp>
      <p:sp>
        <p:nvSpPr>
          <p:cNvPr id="31" name="Rechteck 117"/>
          <p:cNvSpPr/>
          <p:nvPr/>
        </p:nvSpPr>
        <p:spPr bwMode="gray">
          <a:xfrm>
            <a:off x="10063746" y="2559562"/>
            <a:ext cx="1680583" cy="3598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80000"/>
              </a:lnSpc>
            </a:pPr>
            <a:r>
              <a:rPr lang="ru-RU" sz="1600" b="1" dirty="0" smtClean="0">
                <a:solidFill>
                  <a:srgbClr val="FFFF00"/>
                </a:solidFill>
                <a:latin typeface="CorpoS" pitchFamily="2" charset="0"/>
                <a:ea typeface="CorporateS-Regular" charset="0"/>
                <a:cs typeface="CorporateS-Regular" charset="0"/>
              </a:rPr>
              <a:t>БУДУЩИЙ КЛИЕНТ МОБИЛЬНОСТИ</a:t>
            </a:r>
            <a:endParaRPr lang="de-DE" sz="1600" b="1" dirty="0">
              <a:solidFill>
                <a:srgbClr val="FFFF00"/>
              </a:solidFill>
              <a:latin typeface="CorpoS" pitchFamily="2" charset="0"/>
              <a:ea typeface="CorporateS-Regular" charset="0"/>
              <a:cs typeface="CorporateS-Regular" charset="0"/>
            </a:endParaRPr>
          </a:p>
        </p:txBody>
      </p:sp>
      <p:pic>
        <p:nvPicPr>
          <p:cNvPr id="32" name="Grafik 3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09968" y="4428000"/>
            <a:ext cx="907422" cy="857700"/>
          </a:xfrm>
          <a:prstGeom prst="rect">
            <a:avLst/>
          </a:prstGeom>
        </p:spPr>
      </p:pic>
      <p:pic>
        <p:nvPicPr>
          <p:cNvPr id="33" name="Grafik 3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582318" y="3855075"/>
            <a:ext cx="1267418" cy="1444125"/>
          </a:xfrm>
          <a:prstGeom prst="rect">
            <a:avLst/>
          </a:prstGeom>
        </p:spPr>
      </p:pic>
      <p:pic>
        <p:nvPicPr>
          <p:cNvPr id="36" name="Grafik 35"/>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0118921" y="1800000"/>
            <a:ext cx="1364567" cy="601136"/>
          </a:xfrm>
          <a:prstGeom prst="rect">
            <a:avLst/>
          </a:prstGeom>
          <a:effectLst>
            <a:outerShdw blurRad="50800" dist="38100" dir="2700000" algn="tl" rotWithShape="0">
              <a:prstClr val="black">
                <a:alpha val="40000"/>
              </a:prstClr>
            </a:outerShdw>
          </a:effectLst>
        </p:spPr>
      </p:pic>
      <p:pic>
        <p:nvPicPr>
          <p:cNvPr id="37" name="Picture 83">
            <a:extLst>
              <a:ext uri="{FF2B5EF4-FFF2-40B4-BE49-F238E27FC236}">
                <a16:creationId xmlns:a16="http://schemas.microsoft.com/office/drawing/2014/main" id="{F6E4C6D8-A9B2-5F4F-A9A2-7F2A93524323}"/>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bwMode="gray">
          <a:xfrm>
            <a:off x="4879335" y="1482118"/>
            <a:ext cx="1630367" cy="1029957"/>
          </a:xfrm>
          <a:prstGeom prst="rect">
            <a:avLst/>
          </a:prstGeom>
        </p:spPr>
      </p:pic>
      <p:pic>
        <p:nvPicPr>
          <p:cNvPr id="38" name="Picture 8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bwMode="gray">
          <a:xfrm>
            <a:off x="7391469" y="1733537"/>
            <a:ext cx="702338" cy="702338"/>
          </a:xfrm>
          <a:prstGeom prst="rect">
            <a:avLst/>
          </a:prstGeom>
        </p:spPr>
      </p:pic>
      <p:pic>
        <p:nvPicPr>
          <p:cNvPr id="39" name="Shape 173"/>
          <p:cNvPicPr preferRelativeResize="0"/>
          <p:nvPr/>
        </p:nvPicPr>
        <p:blipFill rotWithShape="1">
          <a:blip r:embed="rId15" cstate="print">
            <a:alphaModFix/>
            <a:extLst>
              <a:ext uri="{28A0092B-C50C-407E-A947-70E740481C1C}">
                <a14:useLocalDpi xmlns:a14="http://schemas.microsoft.com/office/drawing/2010/main" val="0"/>
              </a:ext>
            </a:extLst>
          </a:blip>
          <a:srcRect/>
          <a:stretch/>
        </p:blipFill>
        <p:spPr>
          <a:xfrm>
            <a:off x="8278511" y="1672215"/>
            <a:ext cx="403169" cy="708831"/>
          </a:xfrm>
          <a:prstGeom prst="rect">
            <a:avLst/>
          </a:prstGeom>
          <a:noFill/>
          <a:ln>
            <a:noFill/>
          </a:ln>
        </p:spPr>
      </p:pic>
      <p:pic>
        <p:nvPicPr>
          <p:cNvPr id="40" name="Picture 61">
            <a:extLst>
              <a:ext uri="{FF2B5EF4-FFF2-40B4-BE49-F238E27FC236}">
                <a16:creationId xmlns:a16="http://schemas.microsoft.com/office/drawing/2014/main" id="{82FEB75E-A7A8-8A41-BDCB-AE3DB9AA845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bwMode="gray">
          <a:xfrm>
            <a:off x="8132430" y="2184246"/>
            <a:ext cx="696310" cy="415678"/>
          </a:xfrm>
          <a:prstGeom prst="rect">
            <a:avLst/>
          </a:prstGeom>
        </p:spPr>
      </p:pic>
      <p:pic>
        <p:nvPicPr>
          <p:cNvPr id="44" name="Grafik 43">
            <a:extLst>
              <a:ext uri="{FF2B5EF4-FFF2-40B4-BE49-F238E27FC236}">
                <a16:creationId xmlns:a16="http://schemas.microsoft.com/office/drawing/2014/main" id="{3C8BA58A-D30C-3F4D-BB69-95B46BA56F53}"/>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443161" y="5531454"/>
            <a:ext cx="1315680" cy="298465"/>
          </a:xfrm>
          <a:prstGeom prst="rect">
            <a:avLst/>
          </a:prstGeom>
        </p:spPr>
      </p:pic>
      <p:sp>
        <p:nvSpPr>
          <p:cNvPr id="42" name="Rechteck 41"/>
          <p:cNvSpPr/>
          <p:nvPr/>
        </p:nvSpPr>
        <p:spPr bwMode="gray">
          <a:xfrm>
            <a:off x="216000" y="431999"/>
            <a:ext cx="11528329" cy="828000"/>
          </a:xfrm>
          <a:prstGeom prst="rect">
            <a:avLst/>
          </a:prstGeom>
          <a:solidFill>
            <a:srgbClr val="005478">
              <a:alpha val="9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087306"/>
            <a:r>
              <a:rPr lang="ru-RU" sz="2800" b="1" dirty="0" smtClean="0">
                <a:solidFill>
                  <a:schemeClr val="bg1"/>
                </a:solidFill>
                <a:latin typeface="CorpoS" pitchFamily="2" charset="0"/>
                <a:ea typeface="MS Mincho" panose="02020609040205080304" pitchFamily="49" charset="-128"/>
                <a:cs typeface="Helvetica" panose="020B0604020202020204" pitchFamily="34" charset="0"/>
              </a:rPr>
              <a:t>НАШ БИЗНЕС ОРИЕНТИРОВАН НА БУДУЩЕЕ</a:t>
            </a:r>
            <a:endParaRPr lang="de-DE" sz="2800" b="1" dirty="0">
              <a:solidFill>
                <a:srgbClr val="FFFF00"/>
              </a:solidFill>
              <a:latin typeface="CorpoS" pitchFamily="2" charset="0"/>
              <a:ea typeface="MS Mincho" panose="02020609040205080304" pitchFamily="49" charset="-128"/>
              <a:cs typeface="Helvetica" panose="020B0604020202020204" pitchFamily="34" charset="0"/>
            </a:endParaRPr>
          </a:p>
        </p:txBody>
      </p:sp>
      <p:pic>
        <p:nvPicPr>
          <p:cNvPr id="3" name="Grafik 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741001" y="4065881"/>
            <a:ext cx="720000" cy="403155"/>
          </a:xfrm>
          <a:prstGeom prst="rect">
            <a:avLst/>
          </a:prstGeom>
        </p:spPr>
      </p:pic>
      <p:pic>
        <p:nvPicPr>
          <p:cNvPr id="4" name="Grafik 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741001" y="4564918"/>
            <a:ext cx="720000" cy="403159"/>
          </a:xfrm>
          <a:prstGeom prst="rect">
            <a:avLst/>
          </a:prstGeom>
        </p:spPr>
      </p:pic>
      <p:pic>
        <p:nvPicPr>
          <p:cNvPr id="19" name="Grafik 1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735128" y="5084120"/>
            <a:ext cx="720000" cy="403159"/>
          </a:xfrm>
          <a:prstGeom prst="rect">
            <a:avLst/>
          </a:prstGeom>
        </p:spPr>
      </p:pic>
    </p:spTree>
    <p:extLst>
      <p:ext uri="{BB962C8B-B14F-4D97-AF65-F5344CB8AC3E}">
        <p14:creationId xmlns:p14="http://schemas.microsoft.com/office/powerpoint/2010/main" val="1898084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vuNN3RDrSQ69psPq4tmY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NnlkTzgDQ9WXK89luIBFF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SaeSrYiySDOMhUQlCCs_W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i6GqcnvR4yT8e.UaIMwB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M0sQ6pUnQOeHl7j8d3JSg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ZSHJ4iL5SFOB8qXy01yeX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ptfuMVAhTee2RsxQokMGK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zSOsxdEyQEKioeA_2w3FS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ASNfr5KWSI.LzIBfK_4eE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lmX2mffCQl2GY3U1Z9xcZ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IgH8XiikRb2win71xw2fa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Eq8SxurbThaC7kbk_JQV0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ASNfr5KWSI.LzIBfK_4e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lmX2mffCQl2GY3U1Z9xcZ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IgH8XiikRb2win71xw2fa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Eq8SxurbThaC7kbk_JQV0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SNfr5KWSI.LzIBfK_4eE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lmX2mffCQl2GY3U1Z9xcZ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IgH8XiikRb2win71xw2fa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Eq8SxurbThaC7kbk_JQV0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0fyuHqSqSKyRZ7Iyj1iSz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Ddvi.2FMTACrsoG89L.cK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T6gOooG5SieM_vlAS9OlL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ED8LLWa8RYeizMxeq5goR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vuNN3RDrSQ69psPq4tmYj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NnlkTzgDQ9WXK89luIBFF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SaeSrYiySDOMhUQlCCs_W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oi6GqcnvR4yT8e.UaIMwB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M0sQ6pUnQOeHl7j8d3JS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ZSHJ4iL5SFOB8qXy01yeX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ptfuMVAhTee2RsxQokMGK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zSOsxdEyQEKioeA_2w3FS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AK9cFHIzQrqgxlR6WSosR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65.euVzmR02MHIRZAoUYC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I5TnX24jQ_yaFlwwopFhU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R63y0cKOSVKSVQ99c3wFf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1P_9y7RrQKaGOelJLddQ8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ARPATSKfSEyNPb10bID.c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51GMFKPPRsKtQQ3iWZ9u3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iUaTXeuwQGC37HMEjXUwA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tBTwQHK6QrqnVHrLg1IBF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ZPTuaWCyQS6vYE_.fNZnV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Zpd2g4L1SA2UAafwYOHmT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zuYH4Ca1T7CAo6yKTDmt6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UAL3h56FRzSiBhEKF9qLb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sxEqU1ZcQbCR3x3O_m0GF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9ABleGtaS2ufoEjoazGW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bKetYZXpQ1uiMY3KbnC.t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zLsthHi7Rki8iRpCsSXWJ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9WDMPp0DQhSuvydtUNUkDQ"/>
</p:tagLst>
</file>

<file path=ppt/tags/tag2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U_Dj0IctQ_OnrPQgOPXs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10.xml><?xml version="1.0" encoding="utf-8"?>
<a:theme xmlns:a="http://schemas.openxmlformats.org/drawingml/2006/main" name="2_DFS_os">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11.xml><?xml version="1.0" encoding="utf-8"?>
<a:theme xmlns:a="http://schemas.openxmlformats.org/drawingml/2006/main" name="PPT Master // Mercedes-Benz // 16x9 // schwarz">
  <a:themeElements>
    <a:clrScheme name="Benutzerdefiniert 3">
      <a:dk1>
        <a:sysClr val="windowText" lastClr="000000"/>
      </a:dk1>
      <a:lt1>
        <a:sysClr val="window" lastClr="FFFFFF"/>
      </a:lt1>
      <a:dk2>
        <a:srgbClr val="B6BBC1"/>
      </a:dk2>
      <a:lt2>
        <a:srgbClr val="EAEAEA"/>
      </a:lt2>
      <a:accent1>
        <a:srgbClr val="B6BBC1"/>
      </a:accent1>
      <a:accent2>
        <a:srgbClr val="00ADEF"/>
      </a:accent2>
      <a:accent3>
        <a:srgbClr val="0082E6"/>
      </a:accent3>
      <a:accent4>
        <a:srgbClr val="003366"/>
      </a:accent4>
      <a:accent5>
        <a:srgbClr val="333333"/>
      </a:accent5>
      <a:accent6>
        <a:srgbClr val="9F0002"/>
      </a:accent6>
      <a:hlink>
        <a:srgbClr val="0082E6"/>
      </a:hlink>
      <a:folHlink>
        <a:srgbClr val="999999"/>
      </a:folHlink>
    </a:clrScheme>
    <a:fontScheme name="Mercedes-Benz alte Schriften">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72000" tIns="72000" rIns="72000" bIns="72000" rtlCol="0" anchor="t" anchorCtr="0"/>
      <a:lstStyle>
        <a:defPPr algn="l">
          <a:lnSpc>
            <a:spcPct val="108000"/>
          </a:lnSpc>
          <a:spcAft>
            <a:spcPts val="1008"/>
          </a:spcAft>
          <a:defRPr sz="20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lnSpc>
            <a:spcPct val="108000"/>
          </a:lnSpc>
          <a:spcAft>
            <a:spcPts val="1008"/>
          </a:spcAft>
          <a:defRPr sz="2000" dirty="0" err="1" smtClean="0">
            <a:solidFill>
              <a:schemeClr val="tx1"/>
            </a:solidFill>
          </a:defRPr>
        </a:defPPr>
      </a:lstStyle>
    </a:txDef>
  </a:objectDefaults>
  <a:extraClrSchemeLst/>
  <a:extLst>
    <a:ext uri="{05A4C25C-085E-4340-85A3-A5531E510DB2}">
      <thm15:themeFamily xmlns:thm15="http://schemas.microsoft.com/office/thememl/2012/main" name="PPT_16x9_Mercedes-Benz_14.potx" id="{D22AD8CC-8234-43D3-A9B2-9D2B3F5D8FCB}" vid="{D233F3CF-8711-4CA1-8AC7-1A71CEFCBD3D}"/>
    </a:ext>
  </a:extLst>
</a:theme>
</file>

<file path=ppt/theme/theme12.xml><?xml version="1.0" encoding="utf-8"?>
<a:theme xmlns:a="http://schemas.openxmlformats.org/drawingml/2006/main" name="3_DFS_os">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13.xml><?xml version="1.0" encoding="utf-8"?>
<a:theme xmlns:a="http://schemas.openxmlformats.org/drawingml/2006/main" name="4_DFS_os">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14.xml><?xml version="1.0" encoding="utf-8"?>
<a:theme xmlns:a="http://schemas.openxmlformats.org/drawingml/2006/main" name="5_DFS_os">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15.xml><?xml version="1.0" encoding="utf-8"?>
<a:theme xmlns:a="http://schemas.openxmlformats.org/drawingml/2006/main" name="3_DFS_ChartLibrary_CorpoS_EN">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16.xml><?xml version="1.0" encoding="utf-8"?>
<a:theme xmlns:a="http://schemas.openxmlformats.org/drawingml/2006/main" name="4_DFS_ChartLibrary_CorpoS_EN">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17.xml><?xml version="1.0" encoding="utf-8"?>
<a:theme xmlns:a="http://schemas.openxmlformats.org/drawingml/2006/main" name="6_DFS_os">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18.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7_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2.xml><?xml version="1.0" encoding="utf-8"?>
<a:theme xmlns:a="http://schemas.openxmlformats.org/drawingml/2006/main" name="1_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20.xml><?xml version="1.0" encoding="utf-8"?>
<a:theme xmlns:a="http://schemas.openxmlformats.org/drawingml/2006/main" name="8_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21.xml><?xml version="1.0" encoding="utf-8"?>
<a:theme xmlns:a="http://schemas.openxmlformats.org/drawingml/2006/main" name="7_DFS_os">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9_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24.xml><?xml version="1.0" encoding="utf-8"?>
<a:theme xmlns:a="http://schemas.openxmlformats.org/drawingml/2006/main" name="10_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25.xml><?xml version="1.0" encoding="utf-8"?>
<a:theme xmlns:a="http://schemas.openxmlformats.org/drawingml/2006/main" name="11_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26.xml><?xml version="1.0" encoding="utf-8"?>
<a:theme xmlns:a="http://schemas.openxmlformats.org/drawingml/2006/main" name="12_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27.xml><?xml version="1.0" encoding="utf-8"?>
<a:theme xmlns:a="http://schemas.openxmlformats.org/drawingml/2006/main" name="13_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28.xml><?xml version="1.0" encoding="utf-8"?>
<a:theme xmlns:a="http://schemas.openxmlformats.org/drawingml/2006/main" name="14_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29.xml><?xml version="1.0" encoding="utf-8"?>
<a:theme xmlns:a="http://schemas.openxmlformats.org/drawingml/2006/main" name="15_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3.xml><?xml version="1.0" encoding="utf-8"?>
<a:theme xmlns:a="http://schemas.openxmlformats.org/drawingml/2006/main" name="2_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30.xml><?xml version="1.0" encoding="utf-8"?>
<a:theme xmlns:a="http://schemas.openxmlformats.org/drawingml/2006/main" name="4_DAIMLER_FS_PPT_CorpoS_EN_01">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31.xml><?xml version="1.0" encoding="utf-8"?>
<a:theme xmlns:a="http://schemas.openxmlformats.org/drawingml/2006/main" name="3_DAIMLER_FS_PPT_CorpoS_EN_01">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32.xml><?xml version="1.0" encoding="utf-8"?>
<a:theme xmlns:a="http://schemas.openxmlformats.org/drawingml/2006/main" name="Daimler_PowerPoint_Presentations_Template_EN">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20181120_Sustainability_Strategy_Master.potx" id="{7379CAD4-43BA-46DA-9145-93D3287F2C87}" vid="{6DF51CEE-74FA-4BF1-B12F-664989F45F95}"/>
    </a:ext>
  </a:extLst>
</a:theme>
</file>

<file path=ppt/theme/theme33.xml><?xml version="1.0" encoding="utf-8"?>
<a:theme xmlns:a="http://schemas.openxmlformats.org/drawingml/2006/main" name="1_Daimler_PowerPoint_Presentations_Template_EN">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20181120_Sustainability_Strategy_Master.potx" id="{7379CAD4-43BA-46DA-9145-93D3287F2C87}" vid="{6DF51CEE-74FA-4BF1-B12F-664989F45F95}"/>
    </a:ext>
  </a:extLst>
</a:theme>
</file>

<file path=ppt/theme/theme34.xml><?xml version="1.0" encoding="utf-8"?>
<a:theme xmlns:a="http://schemas.openxmlformats.org/drawingml/2006/main" name="2_Daimler_PowerPoint_Presentations_Template_EN">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20181120_Sustainability_Strategy_Master.potx" id="{7379CAD4-43BA-46DA-9145-93D3287F2C87}" vid="{6DF51CEE-74FA-4BF1-B12F-664989F45F95}"/>
    </a:ext>
  </a:extLst>
</a:theme>
</file>

<file path=ppt/theme/theme35.xml><?xml version="1.0" encoding="utf-8"?>
<a:theme xmlns:a="http://schemas.openxmlformats.org/drawingml/2006/main" name="DFS_PowerPoint_Presentations_Examples_DE">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36.xml><?xml version="1.0" encoding="utf-8"?>
<a:theme xmlns:a="http://schemas.openxmlformats.org/drawingml/2006/main" name="DAIMLER_FS_PPT_CorpoS_EN_01">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37.xml><?xml version="1.0" encoding="utf-8"?>
<a:theme xmlns:a="http://schemas.openxmlformats.org/drawingml/2006/main" name="5_DAIMLER_FS_PPT_CorpoS_EN_01">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38.xml><?xml version="1.0" encoding="utf-8"?>
<a:theme xmlns:a="http://schemas.openxmlformats.org/drawingml/2006/main" name="JURBEY">
  <a:themeElements>
    <a:clrScheme name="Benutzerdefiniert 166">
      <a:dk1>
        <a:srgbClr val="001E3E"/>
      </a:dk1>
      <a:lt1>
        <a:sysClr val="window" lastClr="FFFFFF"/>
      </a:lt1>
      <a:dk2>
        <a:srgbClr val="D8E3BD"/>
      </a:dk2>
      <a:lt2>
        <a:srgbClr val="BEDAD1"/>
      </a:lt2>
      <a:accent1>
        <a:srgbClr val="005478"/>
      </a:accent1>
      <a:accent2>
        <a:srgbClr val="337693"/>
      </a:accent2>
      <a:accent3>
        <a:srgbClr val="6698AE"/>
      </a:accent3>
      <a:accent4>
        <a:srgbClr val="99BBC9"/>
      </a:accent4>
      <a:accent5>
        <a:srgbClr val="CCDDE4"/>
      </a:accent5>
      <a:accent6>
        <a:srgbClr val="F9F192"/>
      </a:accent6>
      <a:hlink>
        <a:srgbClr val="001E3E"/>
      </a:hlink>
      <a:folHlink>
        <a:srgbClr val="001E3E"/>
      </a:folHlink>
    </a:clrScheme>
    <a:fontScheme name="Benutzerdefiniert 120">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Light Intuitive Blue">
      <a:srgbClr val="E8F2EE"/>
    </a:custClr>
    <a:custClr name="Intuitive Blue">
      <a:srgbClr val="D2E1DD"/>
    </a:custClr>
    <a:custClr name="Agile Yellow">
      <a:srgbClr val="F9F192"/>
    </a:custClr>
    <a:custClr name="Urban Green">
      <a:srgbClr val="D8E3BD"/>
    </a:custClr>
    <a:custClr name="Vibrant Red">
      <a:srgbClr val="D27782"/>
    </a:custClr>
    <a:custClr name="Urban Jungle">
      <a:srgbClr val="94B9AE"/>
    </a:custClr>
    <a:custClr name="Light Agile Yellow">
      <a:srgbClr val="FDFBC7"/>
    </a:custClr>
    <a:custClr name="Light Urban Green">
      <a:srgbClr val="EFF5DF"/>
    </a:custClr>
    <a:custClr name="Light Vibrant Red">
      <a:srgbClr val="ECCDCE"/>
    </a:custClr>
    <a:custClr name="Light Urban Jungle">
      <a:srgbClr val="BEDAD1"/>
    </a:custClr>
  </a:custClrLst>
  <a:extLst>
    <a:ext uri="{05A4C25C-085E-4340-85A3-A5531E510DB2}">
      <thm15:themeFamily xmlns:thm15="http://schemas.microsoft.com/office/thememl/2012/main" name="181217_KITT_PPT_MAster" id="{1B171038-98C4-5B42-920F-DCBB9583CDFA}" vid="{BE7A44DF-0272-F748-A301-44AFF8457AF1}"/>
    </a:ext>
  </a:extLst>
</a:theme>
</file>

<file path=ppt/theme/theme39.xml><?xml version="1.0" encoding="utf-8"?>
<a:theme xmlns:a="http://schemas.openxmlformats.org/drawingml/2006/main" name="BCG Grid 16:9">
  <a:themeElements>
    <a:clrScheme name="Custom 2">
      <a:dk1>
        <a:srgbClr val="000000"/>
      </a:dk1>
      <a:lt1>
        <a:srgbClr val="FFFFFF"/>
      </a:lt1>
      <a:dk2>
        <a:srgbClr val="00677F"/>
      </a:dk2>
      <a:lt2>
        <a:srgbClr val="F2F2F2"/>
      </a:lt2>
      <a:accent1>
        <a:srgbClr val="002B35"/>
      </a:accent1>
      <a:accent2>
        <a:srgbClr val="00404F"/>
      </a:accent2>
      <a:accent3>
        <a:srgbClr val="D4DF33"/>
      </a:accent3>
      <a:accent4>
        <a:srgbClr val="0081A4"/>
      </a:accent4>
      <a:accent5>
        <a:srgbClr val="9A9A9A"/>
      </a:accent5>
      <a:accent6>
        <a:srgbClr val="FFC000"/>
      </a:accent6>
      <a:hlink>
        <a:srgbClr val="55A971"/>
      </a:hlink>
      <a:folHlink>
        <a:srgbClr val="8EC6A1"/>
      </a:folHlink>
    </a:clrScheme>
    <a:fontScheme name="CorpoS">
      <a:majorFont>
        <a:latin typeface="CorpoS"/>
        <a:ea typeface=""/>
        <a:cs typeface=""/>
      </a:majorFont>
      <a:minorFont>
        <a:latin typeface="Corpo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2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3_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4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6.xml><?xml version="1.0" encoding="utf-8"?>
<a:theme xmlns:a="http://schemas.openxmlformats.org/drawingml/2006/main" name="5_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7.xml><?xml version="1.0" encoding="utf-8"?>
<a:theme xmlns:a="http://schemas.openxmlformats.org/drawingml/2006/main" name="6_DAIMLER PowerPoint Master">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8.xml><?xml version="1.0" encoding="utf-8"?>
<a:theme xmlns:a="http://schemas.openxmlformats.org/drawingml/2006/main" name="DFS_os">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9.xml><?xml version="1.0" encoding="utf-8"?>
<a:theme xmlns:a="http://schemas.openxmlformats.org/drawingml/2006/main" name="1_DFS_os">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docProps/app.xml><?xml version="1.0" encoding="utf-8"?>
<Properties xmlns="http://schemas.openxmlformats.org/officeDocument/2006/extended-properties" xmlns:vt="http://schemas.openxmlformats.org/officeDocument/2006/docPropsVTypes">
  <TotalTime>115</TotalTime>
  <Words>2122</Words>
  <Application>Microsoft Office PowerPoint</Application>
  <PresentationFormat>Широкоэкранный</PresentationFormat>
  <Paragraphs>407</Paragraphs>
  <Slides>31</Slides>
  <Notes>29</Notes>
  <HiddenSlides>1</HiddenSlides>
  <MMClips>1</MMClips>
  <ScaleCrop>false</ScaleCrop>
  <HeadingPairs>
    <vt:vector size="8" baseType="variant">
      <vt:variant>
        <vt:lpstr>Использованные шрифты</vt:lpstr>
      </vt:variant>
      <vt:variant>
        <vt:i4>24</vt:i4>
      </vt:variant>
      <vt:variant>
        <vt:lpstr>Тема</vt:lpstr>
      </vt:variant>
      <vt:variant>
        <vt:i4>39</vt:i4>
      </vt:variant>
      <vt:variant>
        <vt:lpstr>Внедренные серверы OLE</vt:lpstr>
      </vt:variant>
      <vt:variant>
        <vt:i4>2</vt:i4>
      </vt:variant>
      <vt:variant>
        <vt:lpstr>Заголовки слайдов</vt:lpstr>
      </vt:variant>
      <vt:variant>
        <vt:i4>31</vt:i4>
      </vt:variant>
    </vt:vector>
  </HeadingPairs>
  <TitlesOfParts>
    <vt:vector size="96" baseType="lpstr">
      <vt:lpstr>ＭＳ Ｐゴシック</vt:lpstr>
      <vt:lpstr>Arial</vt:lpstr>
      <vt:lpstr>Arial monospaced for SAP</vt:lpstr>
      <vt:lpstr>Calibri</vt:lpstr>
      <vt:lpstr>Calibri Light</vt:lpstr>
      <vt:lpstr>Consolas</vt:lpstr>
      <vt:lpstr>Corbel</vt:lpstr>
      <vt:lpstr>CorpoA</vt:lpstr>
      <vt:lpstr>CorporateS-Regular</vt:lpstr>
      <vt:lpstr>CorpoS</vt:lpstr>
      <vt:lpstr>Daimler CS</vt:lpstr>
      <vt:lpstr>Franklin Gothic Book</vt:lpstr>
      <vt:lpstr>Georgia</vt:lpstr>
      <vt:lpstr>Helvetica</vt:lpstr>
      <vt:lpstr>Helvetica Light</vt:lpstr>
      <vt:lpstr>Helvetica Neue</vt:lpstr>
      <vt:lpstr>Moovel Akkurat</vt:lpstr>
      <vt:lpstr>MS Mincho</vt:lpstr>
      <vt:lpstr>Noto Sans Symbols</vt:lpstr>
      <vt:lpstr>Segoe UI</vt:lpstr>
      <vt:lpstr>Symbol</vt:lpstr>
      <vt:lpstr>Times New Roman</vt:lpstr>
      <vt:lpstr>Trebuchet MS</vt:lpstr>
      <vt:lpstr>Webdings</vt:lpstr>
      <vt:lpstr>DAIMLER PowerPoint Master</vt:lpstr>
      <vt:lpstr>1_DAIMLER PowerPoint Master</vt:lpstr>
      <vt:lpstr>2_DAIMLER PowerPoint Master</vt:lpstr>
      <vt:lpstr>3_DAIMLER PowerPoint Master</vt:lpstr>
      <vt:lpstr>4_DAIMLER PowerPoint Master</vt:lpstr>
      <vt:lpstr>5_DAIMLER PowerPoint Master</vt:lpstr>
      <vt:lpstr>6_DAIMLER PowerPoint Master</vt:lpstr>
      <vt:lpstr>DFS_os</vt:lpstr>
      <vt:lpstr>1_DFS_os</vt:lpstr>
      <vt:lpstr>2_DFS_os</vt:lpstr>
      <vt:lpstr>PPT Master // Mercedes-Benz // 16x9 // schwarz</vt:lpstr>
      <vt:lpstr>3_DFS_os</vt:lpstr>
      <vt:lpstr>4_DFS_os</vt:lpstr>
      <vt:lpstr>5_DFS_os</vt:lpstr>
      <vt:lpstr>3_DFS_ChartLibrary_CorpoS_EN</vt:lpstr>
      <vt:lpstr>4_DFS_ChartLibrary_CorpoS_EN</vt:lpstr>
      <vt:lpstr>6_DFS_os</vt:lpstr>
      <vt:lpstr>3_Office Theme</vt:lpstr>
      <vt:lpstr>7_DAIMLER PowerPoint Master</vt:lpstr>
      <vt:lpstr>8_DAIMLER PowerPoint Master</vt:lpstr>
      <vt:lpstr>7_DFS_os</vt:lpstr>
      <vt:lpstr>Office Theme</vt:lpstr>
      <vt:lpstr>9_DAIMLER PowerPoint Master</vt:lpstr>
      <vt:lpstr>10_DAIMLER PowerPoint Master</vt:lpstr>
      <vt:lpstr>11_DAIMLER PowerPoint Master</vt:lpstr>
      <vt:lpstr>12_DAIMLER PowerPoint Master</vt:lpstr>
      <vt:lpstr>13_DAIMLER PowerPoint Master</vt:lpstr>
      <vt:lpstr>14_DAIMLER PowerPoint Master</vt:lpstr>
      <vt:lpstr>15_DAIMLER PowerPoint Master</vt:lpstr>
      <vt:lpstr>4_DAIMLER_FS_PPT_CorpoS_EN_01</vt:lpstr>
      <vt:lpstr>3_DAIMLER_FS_PPT_CorpoS_EN_01</vt:lpstr>
      <vt:lpstr>Daimler_PowerPoint_Presentations_Template_EN</vt:lpstr>
      <vt:lpstr>1_Daimler_PowerPoint_Presentations_Template_EN</vt:lpstr>
      <vt:lpstr>2_Daimler_PowerPoint_Presentations_Template_EN</vt:lpstr>
      <vt:lpstr>DFS_PowerPoint_Presentations_Examples_DE</vt:lpstr>
      <vt:lpstr>DAIMLER_FS_PPT_CorpoS_EN_01</vt:lpstr>
      <vt:lpstr>5_DAIMLER_FS_PPT_CorpoS_EN_01</vt:lpstr>
      <vt:lpstr>JURBEY</vt:lpstr>
      <vt:lpstr>BCG Grid 16:9</vt:lpstr>
      <vt:lpstr>think-cell Folie</vt:lpstr>
      <vt:lpstr>think-cell Slid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МЫ С ГОРДОСТЬЮ ДЕЛАЕМ ДИЛЕРОВ И КЛИЕНТОВ СЧАСТЛИВЫМИ</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Daim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link, Ima (098)</dc:creator>
  <cp:lastModifiedBy>Никифоров Илья Александрович</cp:lastModifiedBy>
  <cp:revision>557</cp:revision>
  <cp:lastPrinted>2019-02-28T08:52:36Z</cp:lastPrinted>
  <dcterms:created xsi:type="dcterms:W3CDTF">2017-05-29T10:51:35Z</dcterms:created>
  <dcterms:modified xsi:type="dcterms:W3CDTF">2019-04-26T10:25:11Z</dcterms:modified>
</cp:coreProperties>
</file>